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81" r:id="rId1"/>
    <p:sldMasterId id="2147484012" r:id="rId2"/>
  </p:sldMasterIdLst>
  <p:notesMasterIdLst>
    <p:notesMasterId r:id="rId9"/>
  </p:notesMasterIdLst>
  <p:handoutMasterIdLst>
    <p:handoutMasterId r:id="rId10"/>
  </p:handoutMasterIdLst>
  <p:sldIdLst>
    <p:sldId id="402" r:id="rId3"/>
    <p:sldId id="407" r:id="rId4"/>
    <p:sldId id="417" r:id="rId5"/>
    <p:sldId id="418" r:id="rId6"/>
    <p:sldId id="412" r:id="rId7"/>
    <p:sldId id="408" r:id="rId8"/>
  </p:sldIdLst>
  <p:sldSz cx="9906000" cy="6858000" type="A4"/>
  <p:notesSz cx="6797675" cy="9926638"/>
  <p:custDataLst>
    <p:tags r:id="rId11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BFAF"/>
    <a:srgbClr val="CCCC00"/>
    <a:srgbClr val="007AAD"/>
    <a:srgbClr val="00A0D6"/>
    <a:srgbClr val="000000"/>
    <a:srgbClr val="AF1C63"/>
    <a:srgbClr val="ACB7B2"/>
    <a:srgbClr val="6A9529"/>
    <a:srgbClr val="0085B3"/>
    <a:srgbClr val="005B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99" autoAdjust="0"/>
    <p:restoredTop sz="94565" autoAdjust="0"/>
  </p:normalViewPr>
  <p:slideViewPr>
    <p:cSldViewPr snapToObjects="1">
      <p:cViewPr>
        <p:scale>
          <a:sx n="75" d="100"/>
          <a:sy n="75" d="100"/>
        </p:scale>
        <p:origin x="-1872" y="-804"/>
      </p:cViewPr>
      <p:guideLst>
        <p:guide orient="horz"/>
        <p:guide orient="horz" pos="945"/>
        <p:guide orient="horz" pos="3958"/>
        <p:guide pos="6239"/>
        <p:guide pos="216"/>
        <p:guide pos="6032"/>
        <p:guide pos="3098"/>
        <p:guide pos="317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Objects="1">
      <p:cViewPr varScale="1">
        <p:scale>
          <a:sx n="81" d="100"/>
          <a:sy n="81" d="100"/>
        </p:scale>
        <p:origin x="-4020" y="-102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5793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305"/>
            <a:ext cx="2945862" cy="495793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429305"/>
            <a:ext cx="2945862" cy="495793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N°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11030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7/2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2264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2.pn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image" Target="../media/image1.emf"/><Relationship Id="rId5" Type="http://schemas.openxmlformats.org/officeDocument/2006/relationships/tags" Target="../tags/tag14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3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1.emf"/><Relationship Id="rId2" Type="http://schemas.openxmlformats.org/officeDocument/2006/relationships/tags" Target="../tags/tag47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.emf"/><Relationship Id="rId2" Type="http://schemas.openxmlformats.org/officeDocument/2006/relationships/tags" Target="../tags/tag5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1.emf"/><Relationship Id="rId2" Type="http://schemas.openxmlformats.org/officeDocument/2006/relationships/tags" Target="../tags/tag5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71.xml"/><Relationship Id="rId7" Type="http://schemas.openxmlformats.org/officeDocument/2006/relationships/image" Target="../media/image17.png"/><Relationship Id="rId2" Type="http://schemas.openxmlformats.org/officeDocument/2006/relationships/tags" Target="../tags/tag7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17.png"/><Relationship Id="rId2" Type="http://schemas.openxmlformats.org/officeDocument/2006/relationships/tags" Target="../tags/tag7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7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41.xml"/><Relationship Id="rId7" Type="http://schemas.openxmlformats.org/officeDocument/2006/relationships/image" Target="../media/image8.png"/><Relationship Id="rId2" Type="http://schemas.openxmlformats.org/officeDocument/2006/relationships/tags" Target="../tags/tag4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11" Type="http://schemas.openxmlformats.org/officeDocument/2006/relationships/image" Target="../media/image10.png"/><Relationship Id="rId5" Type="http://schemas.openxmlformats.org/officeDocument/2006/relationships/image" Target="../media/image6.jpeg"/><Relationship Id="rId10" Type="http://schemas.openxmlformats.org/officeDocument/2006/relationships/image" Target="../media/image9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7000"/>
            <a:ext cx="9906000" cy="6604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1" y="127000"/>
            <a:ext cx="4952999" cy="6731000"/>
          </a:xfrm>
          <a:prstGeom prst="rect">
            <a:avLst/>
          </a:prstGeom>
          <a:gradFill flip="none" rotWithShape="1">
            <a:gsLst>
              <a:gs pos="35000">
                <a:schemeClr val="bg1"/>
              </a:gs>
              <a:gs pos="74000">
                <a:schemeClr val="bg1">
                  <a:alpha val="0"/>
                </a:schemeClr>
              </a:gs>
            </a:gsLst>
            <a:lin ang="20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 err="1" smtClean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-4763" y="-68379"/>
            <a:ext cx="9920859" cy="2994101"/>
          </a:xfrm>
          <a:custGeom>
            <a:avLst/>
            <a:gdLst>
              <a:gd name="connsiteX0" fmla="*/ 0 w 10000"/>
              <a:gd name="connsiteY0" fmla="*/ 9963 h 14666"/>
              <a:gd name="connsiteX1" fmla="*/ 1597 w 10000"/>
              <a:gd name="connsiteY1" fmla="*/ 14666 h 14666"/>
              <a:gd name="connsiteX2" fmla="*/ 3213 w 10000"/>
              <a:gd name="connsiteY2" fmla="*/ 9963 h 14666"/>
              <a:gd name="connsiteX3" fmla="*/ 7902 w 10000"/>
              <a:gd name="connsiteY3" fmla="*/ 9963 h 14666"/>
              <a:gd name="connsiteX4" fmla="*/ 8067 w 10000"/>
              <a:gd name="connsiteY4" fmla="*/ 9963 h 14666"/>
              <a:gd name="connsiteX5" fmla="*/ 8403 w 10000"/>
              <a:gd name="connsiteY5" fmla="*/ 9963 h 14666"/>
              <a:gd name="connsiteX6" fmla="*/ 10000 w 10000"/>
              <a:gd name="connsiteY6" fmla="*/ 5474 h 14666"/>
              <a:gd name="connsiteX7" fmla="*/ 10000 w 10000"/>
              <a:gd name="connsiteY7" fmla="*/ 4666 h 14666"/>
              <a:gd name="connsiteX8" fmla="*/ 8 w 10000"/>
              <a:gd name="connsiteY8" fmla="*/ 0 h 14666"/>
              <a:gd name="connsiteX9" fmla="*/ 0 w 10000"/>
              <a:gd name="connsiteY9" fmla="*/ 9963 h 14666"/>
              <a:gd name="connsiteX0" fmla="*/ 0 w 10015"/>
              <a:gd name="connsiteY0" fmla="*/ 9963 h 14666"/>
              <a:gd name="connsiteX1" fmla="*/ 1597 w 10015"/>
              <a:gd name="connsiteY1" fmla="*/ 14666 h 14666"/>
              <a:gd name="connsiteX2" fmla="*/ 3213 w 10015"/>
              <a:gd name="connsiteY2" fmla="*/ 9963 h 14666"/>
              <a:gd name="connsiteX3" fmla="*/ 7902 w 10015"/>
              <a:gd name="connsiteY3" fmla="*/ 9963 h 14666"/>
              <a:gd name="connsiteX4" fmla="*/ 8067 w 10015"/>
              <a:gd name="connsiteY4" fmla="*/ 9963 h 14666"/>
              <a:gd name="connsiteX5" fmla="*/ 8403 w 10015"/>
              <a:gd name="connsiteY5" fmla="*/ 9963 h 14666"/>
              <a:gd name="connsiteX6" fmla="*/ 10000 w 10015"/>
              <a:gd name="connsiteY6" fmla="*/ 5474 h 14666"/>
              <a:gd name="connsiteX7" fmla="*/ 10015 w 10015"/>
              <a:gd name="connsiteY7" fmla="*/ 112 h 14666"/>
              <a:gd name="connsiteX8" fmla="*/ 8 w 10015"/>
              <a:gd name="connsiteY8" fmla="*/ 0 h 14666"/>
              <a:gd name="connsiteX9" fmla="*/ 0 w 10015"/>
              <a:gd name="connsiteY9" fmla="*/ 9963 h 14666"/>
              <a:gd name="connsiteX0" fmla="*/ 0 w 10015"/>
              <a:gd name="connsiteY0" fmla="*/ 9963 h 14666"/>
              <a:gd name="connsiteX1" fmla="*/ 1597 w 10015"/>
              <a:gd name="connsiteY1" fmla="*/ 14666 h 14666"/>
              <a:gd name="connsiteX2" fmla="*/ 3213 w 10015"/>
              <a:gd name="connsiteY2" fmla="*/ 9963 h 14666"/>
              <a:gd name="connsiteX3" fmla="*/ 7902 w 10015"/>
              <a:gd name="connsiteY3" fmla="*/ 9963 h 14666"/>
              <a:gd name="connsiteX4" fmla="*/ 8067 w 10015"/>
              <a:gd name="connsiteY4" fmla="*/ 9963 h 14666"/>
              <a:gd name="connsiteX5" fmla="*/ 8403 w 10015"/>
              <a:gd name="connsiteY5" fmla="*/ 9963 h 14666"/>
              <a:gd name="connsiteX6" fmla="*/ 10000 w 10015"/>
              <a:gd name="connsiteY6" fmla="*/ 5474 h 14666"/>
              <a:gd name="connsiteX7" fmla="*/ 10015 w 10015"/>
              <a:gd name="connsiteY7" fmla="*/ 112 h 14666"/>
              <a:gd name="connsiteX8" fmla="*/ 8 w 10015"/>
              <a:gd name="connsiteY8" fmla="*/ 0 h 14666"/>
              <a:gd name="connsiteX9" fmla="*/ 0 w 10015"/>
              <a:gd name="connsiteY9" fmla="*/ 9963 h 1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015" h="14666">
                <a:moveTo>
                  <a:pt x="0" y="9963"/>
                </a:moveTo>
                <a:cubicBezTo>
                  <a:pt x="1290" y="10010"/>
                  <a:pt x="1597" y="14666"/>
                  <a:pt x="1597" y="14666"/>
                </a:cubicBezTo>
                <a:cubicBezTo>
                  <a:pt x="1597" y="14666"/>
                  <a:pt x="1908" y="9963"/>
                  <a:pt x="3213" y="9963"/>
                </a:cubicBezTo>
                <a:lnTo>
                  <a:pt x="7902" y="9963"/>
                </a:lnTo>
                <a:lnTo>
                  <a:pt x="8067" y="9963"/>
                </a:lnTo>
                <a:lnTo>
                  <a:pt x="8403" y="9963"/>
                </a:lnTo>
                <a:cubicBezTo>
                  <a:pt x="9542" y="9963"/>
                  <a:pt x="9922" y="6376"/>
                  <a:pt x="10000" y="5474"/>
                </a:cubicBezTo>
                <a:cubicBezTo>
                  <a:pt x="10005" y="3687"/>
                  <a:pt x="10010" y="1899"/>
                  <a:pt x="10015" y="112"/>
                </a:cubicBezTo>
                <a:cubicBezTo>
                  <a:pt x="15" y="112"/>
                  <a:pt x="8" y="0"/>
                  <a:pt x="8" y="0"/>
                </a:cubicBezTo>
                <a:cubicBezTo>
                  <a:pt x="39" y="-63"/>
                  <a:pt x="0" y="8197"/>
                  <a:pt x="0" y="9963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r>
              <a:rPr lang="fr-FR" sz="1000" dirty="0" smtClean="0">
                <a:solidFill>
                  <a:prstClr val="white"/>
                </a:solidFill>
                <a:cs typeface="Arial"/>
              </a:rPr>
              <a:t>a</a:t>
            </a:r>
          </a:p>
        </p:txBody>
      </p:sp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9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1" y="3124199"/>
            <a:ext cx="5410200" cy="1828800"/>
          </a:xfrm>
          <a:solidFill>
            <a:schemeClr val="bg1">
              <a:alpha val="50000"/>
            </a:schemeClr>
          </a:solidFill>
          <a:effectLst/>
        </p:spPr>
        <p:txBody>
          <a:bodyPr vert="horz" lIns="231412" tIns="33059" rIns="33059" bIns="33059" rtlCol="0" anchor="t">
            <a:noAutofit/>
          </a:bodyPr>
          <a:lstStyle>
            <a:lvl1pPr algn="l" defTabSz="914342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  <a:defRPr lang="en-US" sz="32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-4763" y="4952999"/>
            <a:ext cx="5416582" cy="609601"/>
          </a:xfrm>
          <a:solidFill>
            <a:schemeClr val="bg1">
              <a:alpha val="50000"/>
            </a:schemeClr>
          </a:solidFill>
        </p:spPr>
        <p:txBody>
          <a:bodyPr vert="horz" lIns="231412" tIns="33059" rIns="33059" bIns="33059" rtlCol="0">
            <a:noAutofit/>
          </a:bodyPr>
          <a:lstStyle>
            <a:lvl1pPr marL="0" indent="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ebdings" pitchFamily="18" charset="2"/>
              <a:buNone/>
              <a:defRPr lang="fr-FR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16234" y="653034"/>
            <a:ext cx="3001008" cy="6946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err="1" smtClean="0"/>
              <a:t>Sommaire</a:t>
            </a:r>
            <a:endParaRPr lang="en-US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0"/>
          </p:nvPr>
        </p:nvSpPr>
        <p:spPr>
          <a:xfrm>
            <a:off x="319088" y="1516063"/>
            <a:ext cx="9300040" cy="4861932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1"/>
            <a:endParaRPr lang="fr-FR" dirty="0" smtClean="0"/>
          </a:p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1"/>
            <a:endParaRPr lang="fr-FR" dirty="0" smtClean="0"/>
          </a:p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1"/>
            <a:endParaRPr lang="fr-FR" dirty="0" smtClean="0"/>
          </a:p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1"/>
            <a:endParaRPr lang="fr-FR" dirty="0" smtClean="0"/>
          </a:p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1"/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003668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6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accent2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6303"/>
            <a:ext cx="9906000" cy="1362097"/>
          </a:xfrm>
          <a:prstGeom prst="rect">
            <a:avLst/>
          </a:prstGeom>
        </p:spPr>
        <p:txBody>
          <a:bodyPr vert="horz" lIns="108000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3600" b="0" kern="1200" cap="none" baseline="0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914342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noProof="0" dirty="0" smtClean="0"/>
              <a:t>Click to edit Master text style</a:t>
            </a:r>
          </a:p>
        </p:txBody>
      </p:sp>
      <p:grpSp>
        <p:nvGrpSpPr>
          <p:cNvPr id="3" name="Groupe 82"/>
          <p:cNvGrpSpPr/>
          <p:nvPr userDrawn="1"/>
        </p:nvGrpSpPr>
        <p:grpSpPr>
          <a:xfrm>
            <a:off x="6484510" y="2191794"/>
            <a:ext cx="2348339" cy="1444141"/>
            <a:chOff x="4457274" y="3552748"/>
            <a:chExt cx="924354" cy="568444"/>
          </a:xfrm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grpSpPr>
        <p:grpSp>
          <p:nvGrpSpPr>
            <p:cNvPr id="4" name="Groupe 538"/>
            <p:cNvGrpSpPr/>
            <p:nvPr/>
          </p:nvGrpSpPr>
          <p:grpSpPr>
            <a:xfrm>
              <a:off x="4568093" y="3652792"/>
              <a:ext cx="702725" cy="346657"/>
              <a:chOff x="627038" y="2068314"/>
              <a:chExt cx="412750" cy="207962"/>
            </a:xfrm>
          </p:grpSpPr>
          <p:sp>
            <p:nvSpPr>
              <p:cNvPr id="24" name="Freeform 286"/>
              <p:cNvSpPr>
                <a:spLocks/>
              </p:cNvSpPr>
              <p:nvPr/>
            </p:nvSpPr>
            <p:spPr bwMode="auto">
              <a:xfrm>
                <a:off x="957238" y="2069902"/>
                <a:ext cx="82550" cy="185737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0" y="21"/>
                  </a:cxn>
                  <a:cxn ang="0">
                    <a:pos x="34" y="117"/>
                  </a:cxn>
                  <a:cxn ang="0">
                    <a:pos x="34" y="117"/>
                  </a:cxn>
                  <a:cxn ang="0">
                    <a:pos x="44" y="113"/>
                  </a:cxn>
                  <a:cxn ang="0">
                    <a:pos x="52" y="110"/>
                  </a:cxn>
                </a:cxnLst>
                <a:rect l="0" t="0" r="r" b="b"/>
                <a:pathLst>
                  <a:path w="52" h="117">
                    <a:moveTo>
                      <a:pt x="52" y="0"/>
                    </a:moveTo>
                    <a:lnTo>
                      <a:pt x="0" y="21"/>
                    </a:lnTo>
                    <a:lnTo>
                      <a:pt x="34" y="117"/>
                    </a:lnTo>
                    <a:lnTo>
                      <a:pt x="34" y="117"/>
                    </a:lnTo>
                    <a:lnTo>
                      <a:pt x="44" y="113"/>
                    </a:lnTo>
                    <a:lnTo>
                      <a:pt x="52" y="110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25" name="Freeform 287"/>
              <p:cNvSpPr>
                <a:spLocks/>
              </p:cNvSpPr>
              <p:nvPr/>
            </p:nvSpPr>
            <p:spPr bwMode="auto">
              <a:xfrm>
                <a:off x="627038" y="2231827"/>
                <a:ext cx="38100" cy="23812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9" y="15"/>
                  </a:cxn>
                  <a:cxn ang="0">
                    <a:pos x="24" y="0"/>
                  </a:cxn>
                </a:cxnLst>
                <a:rect l="0" t="0" r="r" b="b"/>
                <a:pathLst>
                  <a:path w="24" h="15">
                    <a:moveTo>
                      <a:pt x="0" y="8"/>
                    </a:moveTo>
                    <a:lnTo>
                      <a:pt x="19" y="15"/>
                    </a:lnTo>
                    <a:lnTo>
                      <a:pt x="24" y="0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26" name="Freeform 288"/>
              <p:cNvSpPr>
                <a:spLocks/>
              </p:cNvSpPr>
              <p:nvPr/>
            </p:nvSpPr>
            <p:spPr bwMode="auto">
              <a:xfrm>
                <a:off x="627038" y="2068314"/>
                <a:ext cx="84138" cy="30162"/>
              </a:xfrm>
              <a:custGeom>
                <a:avLst/>
                <a:gdLst/>
                <a:ahLst/>
                <a:cxnLst>
                  <a:cxn ang="0">
                    <a:pos x="53" y="19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53" h="19">
                    <a:moveTo>
                      <a:pt x="53" y="19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27" name="Freeform 289"/>
              <p:cNvSpPr>
                <a:spLocks/>
              </p:cNvSpPr>
              <p:nvPr/>
            </p:nvSpPr>
            <p:spPr bwMode="auto">
              <a:xfrm>
                <a:off x="687363" y="2096889"/>
                <a:ext cx="134938" cy="120650"/>
              </a:xfrm>
              <a:custGeom>
                <a:avLst/>
                <a:gdLst/>
                <a:ahLst/>
                <a:cxnLst>
                  <a:cxn ang="0">
                    <a:pos x="85" y="0"/>
                  </a:cxn>
                  <a:cxn ang="0">
                    <a:pos x="29" y="4"/>
                  </a:cxn>
                  <a:cxn ang="0">
                    <a:pos x="29" y="4"/>
                  </a:cxn>
                  <a:cxn ang="0">
                    <a:pos x="28" y="5"/>
                  </a:cxn>
                  <a:cxn ang="0">
                    <a:pos x="25" y="6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11" y="43"/>
                  </a:cxn>
                  <a:cxn ang="0">
                    <a:pos x="0" y="74"/>
                  </a:cxn>
                  <a:cxn ang="0">
                    <a:pos x="10" y="76"/>
                  </a:cxn>
                </a:cxnLst>
                <a:rect l="0" t="0" r="r" b="b"/>
                <a:pathLst>
                  <a:path w="85" h="76">
                    <a:moveTo>
                      <a:pt x="85" y="0"/>
                    </a:moveTo>
                    <a:lnTo>
                      <a:pt x="29" y="4"/>
                    </a:lnTo>
                    <a:lnTo>
                      <a:pt x="29" y="4"/>
                    </a:lnTo>
                    <a:lnTo>
                      <a:pt x="28" y="5"/>
                    </a:lnTo>
                    <a:lnTo>
                      <a:pt x="25" y="6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11" y="43"/>
                    </a:lnTo>
                    <a:lnTo>
                      <a:pt x="0" y="74"/>
                    </a:lnTo>
                    <a:lnTo>
                      <a:pt x="10" y="76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28" name="Freeform 290"/>
              <p:cNvSpPr>
                <a:spLocks/>
              </p:cNvSpPr>
              <p:nvPr/>
            </p:nvSpPr>
            <p:spPr bwMode="auto">
              <a:xfrm>
                <a:off x="846113" y="2188964"/>
                <a:ext cx="114300" cy="87312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0" y="34"/>
                  </a:cxn>
                  <a:cxn ang="0">
                    <a:pos x="6" y="39"/>
                  </a:cxn>
                  <a:cxn ang="0">
                    <a:pos x="13" y="44"/>
                  </a:cxn>
                  <a:cxn ang="0">
                    <a:pos x="13" y="44"/>
                  </a:cxn>
                  <a:cxn ang="0">
                    <a:pos x="19" y="51"/>
                  </a:cxn>
                  <a:cxn ang="0">
                    <a:pos x="21" y="53"/>
                  </a:cxn>
                  <a:cxn ang="0">
                    <a:pos x="25" y="55"/>
                  </a:cxn>
                  <a:cxn ang="0">
                    <a:pos x="28" y="55"/>
                  </a:cxn>
                  <a:cxn ang="0">
                    <a:pos x="28" y="55"/>
                  </a:cxn>
                  <a:cxn ang="0">
                    <a:pos x="32" y="55"/>
                  </a:cxn>
                  <a:cxn ang="0">
                    <a:pos x="34" y="52"/>
                  </a:cxn>
                  <a:cxn ang="0">
                    <a:pos x="37" y="48"/>
                  </a:cxn>
                  <a:cxn ang="0">
                    <a:pos x="37" y="46"/>
                  </a:cxn>
                  <a:cxn ang="0">
                    <a:pos x="37" y="46"/>
                  </a:cxn>
                  <a:cxn ang="0">
                    <a:pos x="37" y="43"/>
                  </a:cxn>
                  <a:cxn ang="0">
                    <a:pos x="35" y="41"/>
                  </a:cxn>
                  <a:cxn ang="0">
                    <a:pos x="32" y="35"/>
                  </a:cxn>
                  <a:cxn ang="0">
                    <a:pos x="23" y="29"/>
                  </a:cxn>
                  <a:cxn ang="0">
                    <a:pos x="8" y="14"/>
                  </a:cxn>
                  <a:cxn ang="0">
                    <a:pos x="9" y="13"/>
                  </a:cxn>
                  <a:cxn ang="0">
                    <a:pos x="33" y="34"/>
                  </a:cxn>
                  <a:cxn ang="0">
                    <a:pos x="33" y="34"/>
                  </a:cxn>
                  <a:cxn ang="0">
                    <a:pos x="38" y="39"/>
                  </a:cxn>
                  <a:cxn ang="0">
                    <a:pos x="42" y="42"/>
                  </a:cxn>
                  <a:cxn ang="0">
                    <a:pos x="46" y="44"/>
                  </a:cxn>
                  <a:cxn ang="0">
                    <a:pos x="46" y="44"/>
                  </a:cxn>
                  <a:cxn ang="0">
                    <a:pos x="49" y="44"/>
                  </a:cxn>
                  <a:cxn ang="0">
                    <a:pos x="53" y="42"/>
                  </a:cxn>
                  <a:cxn ang="0">
                    <a:pos x="53" y="42"/>
                  </a:cxn>
                  <a:cxn ang="0">
                    <a:pos x="56" y="39"/>
                  </a:cxn>
                  <a:cxn ang="0">
                    <a:pos x="58" y="34"/>
                  </a:cxn>
                  <a:cxn ang="0">
                    <a:pos x="58" y="34"/>
                  </a:cxn>
                  <a:cxn ang="0">
                    <a:pos x="57" y="32"/>
                  </a:cxn>
                  <a:cxn ang="0">
                    <a:pos x="56" y="29"/>
                  </a:cxn>
                  <a:cxn ang="0">
                    <a:pos x="52" y="25"/>
                  </a:cxn>
                  <a:cxn ang="0">
                    <a:pos x="27" y="3"/>
                  </a:cxn>
                  <a:cxn ang="0">
                    <a:pos x="27" y="3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44" y="15"/>
                  </a:cxn>
                  <a:cxn ang="0">
                    <a:pos x="44" y="15"/>
                  </a:cxn>
                  <a:cxn ang="0">
                    <a:pos x="53" y="23"/>
                  </a:cxn>
                  <a:cxn ang="0">
                    <a:pos x="58" y="27"/>
                  </a:cxn>
                  <a:cxn ang="0">
                    <a:pos x="62" y="28"/>
                  </a:cxn>
                  <a:cxn ang="0">
                    <a:pos x="62" y="28"/>
                  </a:cxn>
                  <a:cxn ang="0">
                    <a:pos x="62" y="28"/>
                  </a:cxn>
                  <a:cxn ang="0">
                    <a:pos x="66" y="28"/>
                  </a:cxn>
                  <a:cxn ang="0">
                    <a:pos x="70" y="25"/>
                  </a:cxn>
                  <a:cxn ang="0">
                    <a:pos x="72" y="23"/>
                  </a:cxn>
                  <a:cxn ang="0">
                    <a:pos x="72" y="19"/>
                  </a:cxn>
                  <a:cxn ang="0">
                    <a:pos x="72" y="18"/>
                  </a:cxn>
                </a:cxnLst>
                <a:rect l="0" t="0" r="r" b="b"/>
                <a:pathLst>
                  <a:path w="72" h="55">
                    <a:moveTo>
                      <a:pt x="0" y="34"/>
                    </a:moveTo>
                    <a:lnTo>
                      <a:pt x="0" y="34"/>
                    </a:lnTo>
                    <a:lnTo>
                      <a:pt x="6" y="39"/>
                    </a:lnTo>
                    <a:lnTo>
                      <a:pt x="13" y="44"/>
                    </a:lnTo>
                    <a:lnTo>
                      <a:pt x="13" y="44"/>
                    </a:lnTo>
                    <a:lnTo>
                      <a:pt x="19" y="51"/>
                    </a:lnTo>
                    <a:lnTo>
                      <a:pt x="21" y="53"/>
                    </a:lnTo>
                    <a:lnTo>
                      <a:pt x="25" y="55"/>
                    </a:lnTo>
                    <a:lnTo>
                      <a:pt x="28" y="55"/>
                    </a:lnTo>
                    <a:lnTo>
                      <a:pt x="28" y="55"/>
                    </a:lnTo>
                    <a:lnTo>
                      <a:pt x="32" y="55"/>
                    </a:lnTo>
                    <a:lnTo>
                      <a:pt x="34" y="52"/>
                    </a:lnTo>
                    <a:lnTo>
                      <a:pt x="37" y="48"/>
                    </a:lnTo>
                    <a:lnTo>
                      <a:pt x="37" y="46"/>
                    </a:lnTo>
                    <a:lnTo>
                      <a:pt x="37" y="46"/>
                    </a:lnTo>
                    <a:lnTo>
                      <a:pt x="37" y="43"/>
                    </a:lnTo>
                    <a:lnTo>
                      <a:pt x="35" y="41"/>
                    </a:lnTo>
                    <a:lnTo>
                      <a:pt x="32" y="35"/>
                    </a:lnTo>
                    <a:lnTo>
                      <a:pt x="23" y="29"/>
                    </a:lnTo>
                    <a:lnTo>
                      <a:pt x="8" y="14"/>
                    </a:lnTo>
                    <a:lnTo>
                      <a:pt x="9" y="13"/>
                    </a:lnTo>
                    <a:lnTo>
                      <a:pt x="33" y="34"/>
                    </a:lnTo>
                    <a:lnTo>
                      <a:pt x="33" y="34"/>
                    </a:lnTo>
                    <a:lnTo>
                      <a:pt x="38" y="39"/>
                    </a:lnTo>
                    <a:lnTo>
                      <a:pt x="42" y="42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9" y="44"/>
                    </a:lnTo>
                    <a:lnTo>
                      <a:pt x="53" y="42"/>
                    </a:lnTo>
                    <a:lnTo>
                      <a:pt x="53" y="42"/>
                    </a:lnTo>
                    <a:lnTo>
                      <a:pt x="56" y="39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7" y="32"/>
                    </a:lnTo>
                    <a:lnTo>
                      <a:pt x="56" y="29"/>
                    </a:lnTo>
                    <a:lnTo>
                      <a:pt x="52" y="25"/>
                    </a:lnTo>
                    <a:lnTo>
                      <a:pt x="27" y="3"/>
                    </a:lnTo>
                    <a:lnTo>
                      <a:pt x="27" y="3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44" y="15"/>
                    </a:lnTo>
                    <a:lnTo>
                      <a:pt x="44" y="15"/>
                    </a:lnTo>
                    <a:lnTo>
                      <a:pt x="53" y="23"/>
                    </a:lnTo>
                    <a:lnTo>
                      <a:pt x="58" y="27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6" y="28"/>
                    </a:lnTo>
                    <a:lnTo>
                      <a:pt x="70" y="25"/>
                    </a:lnTo>
                    <a:lnTo>
                      <a:pt x="72" y="23"/>
                    </a:lnTo>
                    <a:lnTo>
                      <a:pt x="72" y="19"/>
                    </a:lnTo>
                    <a:lnTo>
                      <a:pt x="72" y="18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29" name="Freeform 291"/>
              <p:cNvSpPr>
                <a:spLocks/>
              </p:cNvSpPr>
              <p:nvPr/>
            </p:nvSpPr>
            <p:spPr bwMode="auto">
              <a:xfrm>
                <a:off x="792138" y="2093714"/>
                <a:ext cx="192088" cy="138112"/>
              </a:xfrm>
              <a:custGeom>
                <a:avLst/>
                <a:gdLst/>
                <a:ahLst/>
                <a:cxnLst>
                  <a:cxn ang="0">
                    <a:pos x="93" y="4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8" y="0"/>
                  </a:cxn>
                  <a:cxn ang="0">
                    <a:pos x="24" y="2"/>
                  </a:cxn>
                  <a:cxn ang="0">
                    <a:pos x="20" y="3"/>
                  </a:cxn>
                  <a:cxn ang="0">
                    <a:pos x="19" y="6"/>
                  </a:cxn>
                  <a:cxn ang="0">
                    <a:pos x="19" y="6"/>
                  </a:cxn>
                  <a:cxn ang="0">
                    <a:pos x="14" y="16"/>
                  </a:cxn>
                  <a:cxn ang="0">
                    <a:pos x="9" y="25"/>
                  </a:cxn>
                  <a:cxn ang="0">
                    <a:pos x="0" y="45"/>
                  </a:cxn>
                  <a:cxn ang="0">
                    <a:pos x="0" y="45"/>
                  </a:cxn>
                  <a:cxn ang="0">
                    <a:pos x="2" y="47"/>
                  </a:cxn>
                  <a:cxn ang="0">
                    <a:pos x="5" y="49"/>
                  </a:cxn>
                  <a:cxn ang="0">
                    <a:pos x="9" y="50"/>
                  </a:cxn>
                  <a:cxn ang="0">
                    <a:pos x="12" y="50"/>
                  </a:cxn>
                  <a:cxn ang="0">
                    <a:pos x="12" y="50"/>
                  </a:cxn>
                  <a:cxn ang="0">
                    <a:pos x="16" y="49"/>
                  </a:cxn>
                  <a:cxn ang="0">
                    <a:pos x="19" y="47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29" y="32"/>
                  </a:cxn>
                  <a:cxn ang="0">
                    <a:pos x="31" y="27"/>
                  </a:cxn>
                  <a:cxn ang="0">
                    <a:pos x="31" y="27"/>
                  </a:cxn>
                  <a:cxn ang="0">
                    <a:pos x="35" y="19"/>
                  </a:cxn>
                  <a:cxn ang="0">
                    <a:pos x="35" y="19"/>
                  </a:cxn>
                  <a:cxn ang="0">
                    <a:pos x="50" y="21"/>
                  </a:cxn>
                  <a:cxn ang="0">
                    <a:pos x="50" y="21"/>
                  </a:cxn>
                  <a:cxn ang="0">
                    <a:pos x="53" y="21"/>
                  </a:cxn>
                  <a:cxn ang="0">
                    <a:pos x="55" y="23"/>
                  </a:cxn>
                  <a:cxn ang="0">
                    <a:pos x="59" y="27"/>
                  </a:cxn>
                  <a:cxn ang="0">
                    <a:pos x="59" y="27"/>
                  </a:cxn>
                  <a:cxn ang="0">
                    <a:pos x="76" y="42"/>
                  </a:cxn>
                  <a:cxn ang="0">
                    <a:pos x="121" y="87"/>
                  </a:cxn>
                </a:cxnLst>
                <a:rect l="0" t="0" r="r" b="b"/>
                <a:pathLst>
                  <a:path w="121" h="87">
                    <a:moveTo>
                      <a:pt x="93" y="4"/>
                    </a:moveTo>
                    <a:lnTo>
                      <a:pt x="31" y="0"/>
                    </a:lnTo>
                    <a:lnTo>
                      <a:pt x="31" y="0"/>
                    </a:lnTo>
                    <a:lnTo>
                      <a:pt x="28" y="0"/>
                    </a:lnTo>
                    <a:lnTo>
                      <a:pt x="24" y="2"/>
                    </a:lnTo>
                    <a:lnTo>
                      <a:pt x="20" y="3"/>
                    </a:lnTo>
                    <a:lnTo>
                      <a:pt x="19" y="6"/>
                    </a:lnTo>
                    <a:lnTo>
                      <a:pt x="19" y="6"/>
                    </a:lnTo>
                    <a:lnTo>
                      <a:pt x="14" y="16"/>
                    </a:lnTo>
                    <a:lnTo>
                      <a:pt x="9" y="25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2" y="47"/>
                    </a:lnTo>
                    <a:lnTo>
                      <a:pt x="5" y="49"/>
                    </a:lnTo>
                    <a:lnTo>
                      <a:pt x="9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6" y="49"/>
                    </a:lnTo>
                    <a:lnTo>
                      <a:pt x="19" y="47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9" y="32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5" y="19"/>
                    </a:lnTo>
                    <a:lnTo>
                      <a:pt x="35" y="19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3" y="21"/>
                    </a:lnTo>
                    <a:lnTo>
                      <a:pt x="55" y="23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76" y="42"/>
                    </a:lnTo>
                    <a:lnTo>
                      <a:pt x="121" y="87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30" name="Freeform 292"/>
              <p:cNvSpPr>
                <a:spLocks/>
              </p:cNvSpPr>
              <p:nvPr/>
            </p:nvSpPr>
            <p:spPr bwMode="auto">
              <a:xfrm>
                <a:off x="734988" y="2193727"/>
                <a:ext cx="44450" cy="6350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24" y="2"/>
                  </a:cxn>
                  <a:cxn ang="0">
                    <a:pos x="27" y="5"/>
                  </a:cxn>
                  <a:cxn ang="0">
                    <a:pos x="28" y="8"/>
                  </a:cxn>
                  <a:cxn ang="0">
                    <a:pos x="28" y="12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18" y="36"/>
                  </a:cxn>
                  <a:cxn ang="0">
                    <a:pos x="15" y="39"/>
                  </a:cxn>
                  <a:cxn ang="0">
                    <a:pos x="12" y="40"/>
                  </a:cxn>
                  <a:cxn ang="0">
                    <a:pos x="8" y="39"/>
                  </a:cxn>
                  <a:cxn ang="0">
                    <a:pos x="8" y="39"/>
                  </a:cxn>
                  <a:cxn ang="0">
                    <a:pos x="4" y="38"/>
                  </a:cxn>
                  <a:cxn ang="0">
                    <a:pos x="1" y="34"/>
                  </a:cxn>
                  <a:cxn ang="0">
                    <a:pos x="0" y="31"/>
                  </a:cxn>
                  <a:cxn ang="0">
                    <a:pos x="1" y="27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10" y="2"/>
                  </a:cxn>
                  <a:cxn ang="0">
                    <a:pos x="14" y="0"/>
                  </a:cxn>
                  <a:cxn ang="0">
                    <a:pos x="17" y="0"/>
                  </a:cxn>
                  <a:cxn ang="0">
                    <a:pos x="22" y="0"/>
                  </a:cxn>
                  <a:cxn ang="0">
                    <a:pos x="22" y="0"/>
                  </a:cxn>
                </a:cxnLst>
                <a:rect l="0" t="0" r="r" b="b"/>
                <a:pathLst>
                  <a:path w="28" h="40">
                    <a:moveTo>
                      <a:pt x="22" y="0"/>
                    </a:moveTo>
                    <a:lnTo>
                      <a:pt x="22" y="0"/>
                    </a:lnTo>
                    <a:lnTo>
                      <a:pt x="22" y="0"/>
                    </a:lnTo>
                    <a:lnTo>
                      <a:pt x="24" y="2"/>
                    </a:lnTo>
                    <a:lnTo>
                      <a:pt x="27" y="5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18" y="36"/>
                    </a:lnTo>
                    <a:lnTo>
                      <a:pt x="15" y="39"/>
                    </a:lnTo>
                    <a:lnTo>
                      <a:pt x="12" y="40"/>
                    </a:lnTo>
                    <a:lnTo>
                      <a:pt x="8" y="39"/>
                    </a:lnTo>
                    <a:lnTo>
                      <a:pt x="8" y="39"/>
                    </a:lnTo>
                    <a:lnTo>
                      <a:pt x="4" y="38"/>
                    </a:lnTo>
                    <a:lnTo>
                      <a:pt x="1" y="34"/>
                    </a:lnTo>
                    <a:lnTo>
                      <a:pt x="0" y="31"/>
                    </a:lnTo>
                    <a:lnTo>
                      <a:pt x="1" y="27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0" y="2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31" name="Freeform 293"/>
              <p:cNvSpPr>
                <a:spLocks/>
              </p:cNvSpPr>
              <p:nvPr/>
            </p:nvSpPr>
            <p:spPr bwMode="auto">
              <a:xfrm>
                <a:off x="706413" y="2184202"/>
                <a:ext cx="39688" cy="55562"/>
              </a:xfrm>
              <a:custGeom>
                <a:avLst/>
                <a:gdLst/>
                <a:ahLst/>
                <a:cxnLst>
                  <a:cxn ang="0">
                    <a:pos x="17" y="2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21" y="3"/>
                  </a:cxn>
                  <a:cxn ang="0">
                    <a:pos x="23" y="7"/>
                  </a:cxn>
                  <a:cxn ang="0">
                    <a:pos x="25" y="11"/>
                  </a:cxn>
                  <a:cxn ang="0">
                    <a:pos x="23" y="14"/>
                  </a:cxn>
                  <a:cxn ang="0">
                    <a:pos x="19" y="27"/>
                  </a:cxn>
                  <a:cxn ang="0">
                    <a:pos x="19" y="27"/>
                  </a:cxn>
                  <a:cxn ang="0">
                    <a:pos x="17" y="31"/>
                  </a:cxn>
                  <a:cxn ang="0">
                    <a:pos x="14" y="33"/>
                  </a:cxn>
                  <a:cxn ang="0">
                    <a:pos x="11" y="35"/>
                  </a:cxn>
                  <a:cxn ang="0">
                    <a:pos x="7" y="33"/>
                  </a:cxn>
                  <a:cxn ang="0">
                    <a:pos x="7" y="33"/>
                  </a:cxn>
                  <a:cxn ang="0">
                    <a:pos x="3" y="32"/>
                  </a:cxn>
                  <a:cxn ang="0">
                    <a:pos x="0" y="28"/>
                  </a:cxn>
                  <a:cxn ang="0">
                    <a:pos x="0" y="25"/>
                  </a:cxn>
                  <a:cxn ang="0">
                    <a:pos x="0" y="21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7" y="4"/>
                  </a:cxn>
                  <a:cxn ang="0">
                    <a:pos x="9" y="2"/>
                  </a:cxn>
                  <a:cxn ang="0">
                    <a:pos x="13" y="0"/>
                  </a:cxn>
                  <a:cxn ang="0">
                    <a:pos x="17" y="2"/>
                  </a:cxn>
                  <a:cxn ang="0">
                    <a:pos x="17" y="2"/>
                  </a:cxn>
                </a:cxnLst>
                <a:rect l="0" t="0" r="r" b="b"/>
                <a:pathLst>
                  <a:path w="25" h="35">
                    <a:moveTo>
                      <a:pt x="17" y="2"/>
                    </a:moveTo>
                    <a:lnTo>
                      <a:pt x="17" y="2"/>
                    </a:lnTo>
                    <a:lnTo>
                      <a:pt x="17" y="2"/>
                    </a:lnTo>
                    <a:lnTo>
                      <a:pt x="21" y="3"/>
                    </a:lnTo>
                    <a:lnTo>
                      <a:pt x="23" y="7"/>
                    </a:lnTo>
                    <a:lnTo>
                      <a:pt x="25" y="11"/>
                    </a:lnTo>
                    <a:lnTo>
                      <a:pt x="23" y="14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17" y="31"/>
                    </a:lnTo>
                    <a:lnTo>
                      <a:pt x="14" y="33"/>
                    </a:lnTo>
                    <a:lnTo>
                      <a:pt x="11" y="35"/>
                    </a:lnTo>
                    <a:lnTo>
                      <a:pt x="7" y="33"/>
                    </a:lnTo>
                    <a:lnTo>
                      <a:pt x="7" y="33"/>
                    </a:lnTo>
                    <a:lnTo>
                      <a:pt x="3" y="32"/>
                    </a:lnTo>
                    <a:lnTo>
                      <a:pt x="0" y="28"/>
                    </a:lnTo>
                    <a:lnTo>
                      <a:pt x="0" y="25"/>
                    </a:lnTo>
                    <a:lnTo>
                      <a:pt x="0" y="21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7" y="4"/>
                    </a:lnTo>
                    <a:lnTo>
                      <a:pt x="9" y="2"/>
                    </a:lnTo>
                    <a:lnTo>
                      <a:pt x="13" y="0"/>
                    </a:lnTo>
                    <a:lnTo>
                      <a:pt x="17" y="2"/>
                    </a:lnTo>
                    <a:lnTo>
                      <a:pt x="17" y="2"/>
                    </a:lnTo>
                    <a:close/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32" name="Freeform 294"/>
              <p:cNvSpPr>
                <a:spLocks/>
              </p:cNvSpPr>
              <p:nvPr/>
            </p:nvSpPr>
            <p:spPr bwMode="auto">
              <a:xfrm>
                <a:off x="769913" y="2203252"/>
                <a:ext cx="41275" cy="66675"/>
              </a:xfrm>
              <a:custGeom>
                <a:avLst/>
                <a:gdLst/>
                <a:ahLst/>
                <a:cxnLst>
                  <a:cxn ang="0">
                    <a:pos x="20" y="1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4" y="2"/>
                  </a:cxn>
                  <a:cxn ang="0">
                    <a:pos x="26" y="6"/>
                  </a:cxn>
                  <a:cxn ang="0">
                    <a:pos x="26" y="10"/>
                  </a:cxn>
                  <a:cxn ang="0">
                    <a:pos x="26" y="14"/>
                  </a:cxn>
                  <a:cxn ang="0">
                    <a:pos x="19" y="34"/>
                  </a:cxn>
                  <a:cxn ang="0">
                    <a:pos x="19" y="34"/>
                  </a:cxn>
                  <a:cxn ang="0">
                    <a:pos x="17" y="38"/>
                  </a:cxn>
                  <a:cxn ang="0">
                    <a:pos x="14" y="40"/>
                  </a:cxn>
                  <a:cxn ang="0">
                    <a:pos x="10" y="4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4" y="39"/>
                  </a:cxn>
                  <a:cxn ang="0">
                    <a:pos x="1" y="35"/>
                  </a:cxn>
                  <a:cxn ang="0">
                    <a:pos x="0" y="32"/>
                  </a:cxn>
                  <a:cxn ang="0">
                    <a:pos x="0" y="28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10" y="4"/>
                  </a:cxn>
                  <a:cxn ang="0">
                    <a:pos x="12" y="1"/>
                  </a:cxn>
                  <a:cxn ang="0">
                    <a:pos x="16" y="0"/>
                  </a:cxn>
                  <a:cxn ang="0">
                    <a:pos x="20" y="1"/>
                  </a:cxn>
                  <a:cxn ang="0">
                    <a:pos x="20" y="1"/>
                  </a:cxn>
                </a:cxnLst>
                <a:rect l="0" t="0" r="r" b="b"/>
                <a:pathLst>
                  <a:path w="26" h="42">
                    <a:moveTo>
                      <a:pt x="20" y="1"/>
                    </a:moveTo>
                    <a:lnTo>
                      <a:pt x="20" y="1"/>
                    </a:lnTo>
                    <a:lnTo>
                      <a:pt x="20" y="1"/>
                    </a:lnTo>
                    <a:lnTo>
                      <a:pt x="24" y="2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19" y="34"/>
                    </a:lnTo>
                    <a:lnTo>
                      <a:pt x="19" y="34"/>
                    </a:lnTo>
                    <a:lnTo>
                      <a:pt x="17" y="38"/>
                    </a:lnTo>
                    <a:lnTo>
                      <a:pt x="14" y="40"/>
                    </a:lnTo>
                    <a:lnTo>
                      <a:pt x="10" y="4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4" y="39"/>
                    </a:lnTo>
                    <a:lnTo>
                      <a:pt x="1" y="35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10" y="4"/>
                    </a:lnTo>
                    <a:lnTo>
                      <a:pt x="12" y="1"/>
                    </a:lnTo>
                    <a:lnTo>
                      <a:pt x="16" y="0"/>
                    </a:lnTo>
                    <a:lnTo>
                      <a:pt x="20" y="1"/>
                    </a:lnTo>
                    <a:lnTo>
                      <a:pt x="20" y="1"/>
                    </a:lnTo>
                    <a:close/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33" name="Freeform 295"/>
              <p:cNvSpPr>
                <a:spLocks/>
              </p:cNvSpPr>
              <p:nvPr/>
            </p:nvSpPr>
            <p:spPr bwMode="auto">
              <a:xfrm>
                <a:off x="806426" y="2220714"/>
                <a:ext cx="38100" cy="55562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7" y="0"/>
                  </a:cxn>
                  <a:cxn ang="0">
                    <a:pos x="20" y="3"/>
                  </a:cxn>
                  <a:cxn ang="0">
                    <a:pos x="22" y="5"/>
                  </a:cxn>
                  <a:cxn ang="0">
                    <a:pos x="24" y="9"/>
                  </a:cxn>
                  <a:cxn ang="0">
                    <a:pos x="22" y="14"/>
                  </a:cxn>
                  <a:cxn ang="0">
                    <a:pos x="19" y="27"/>
                  </a:cxn>
                  <a:cxn ang="0">
                    <a:pos x="19" y="27"/>
                  </a:cxn>
                  <a:cxn ang="0">
                    <a:pos x="16" y="31"/>
                  </a:cxn>
                  <a:cxn ang="0">
                    <a:pos x="14" y="33"/>
                  </a:cxn>
                  <a:cxn ang="0">
                    <a:pos x="10" y="35"/>
                  </a:cxn>
                  <a:cxn ang="0">
                    <a:pos x="6" y="33"/>
                  </a:cxn>
                  <a:cxn ang="0">
                    <a:pos x="6" y="33"/>
                  </a:cxn>
                  <a:cxn ang="0">
                    <a:pos x="2" y="32"/>
                  </a:cxn>
                  <a:cxn ang="0">
                    <a:pos x="0" y="28"/>
                  </a:cxn>
                  <a:cxn ang="0">
                    <a:pos x="0" y="24"/>
                  </a:cxn>
                  <a:cxn ang="0">
                    <a:pos x="0" y="21"/>
                  </a:cxn>
                  <a:cxn ang="0">
                    <a:pos x="5" y="8"/>
                  </a:cxn>
                  <a:cxn ang="0">
                    <a:pos x="5" y="8"/>
                  </a:cxn>
                  <a:cxn ang="0">
                    <a:pos x="6" y="4"/>
                  </a:cxn>
                  <a:cxn ang="0">
                    <a:pos x="10" y="2"/>
                  </a:cxn>
                  <a:cxn ang="0">
                    <a:pos x="12" y="0"/>
                  </a:cxn>
                  <a:cxn ang="0">
                    <a:pos x="17" y="0"/>
                  </a:cxn>
                  <a:cxn ang="0">
                    <a:pos x="17" y="0"/>
                  </a:cxn>
                </a:cxnLst>
                <a:rect l="0" t="0" r="r" b="b"/>
                <a:pathLst>
                  <a:path w="24" h="35">
                    <a:moveTo>
                      <a:pt x="17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20" y="3"/>
                    </a:lnTo>
                    <a:lnTo>
                      <a:pt x="22" y="5"/>
                    </a:lnTo>
                    <a:lnTo>
                      <a:pt x="24" y="9"/>
                    </a:lnTo>
                    <a:lnTo>
                      <a:pt x="22" y="14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16" y="31"/>
                    </a:lnTo>
                    <a:lnTo>
                      <a:pt x="14" y="33"/>
                    </a:lnTo>
                    <a:lnTo>
                      <a:pt x="10" y="35"/>
                    </a:lnTo>
                    <a:lnTo>
                      <a:pt x="6" y="33"/>
                    </a:lnTo>
                    <a:lnTo>
                      <a:pt x="6" y="33"/>
                    </a:lnTo>
                    <a:lnTo>
                      <a:pt x="2" y="32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6" y="4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17" y="0"/>
                    </a:lnTo>
                    <a:close/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</p:grpSp>
        <p:sp>
          <p:nvSpPr>
            <p:cNvPr id="23" name="Freeform 407"/>
            <p:cNvSpPr>
              <a:spLocks/>
            </p:cNvSpPr>
            <p:nvPr/>
          </p:nvSpPr>
          <p:spPr bwMode="auto">
            <a:xfrm>
              <a:off x="4457274" y="3552748"/>
              <a:ext cx="924354" cy="568444"/>
            </a:xfrm>
            <a:custGeom>
              <a:avLst/>
              <a:gdLst/>
              <a:ahLst/>
              <a:cxnLst>
                <a:cxn ang="0">
                  <a:pos x="242" y="136"/>
                </a:cxn>
                <a:cxn ang="0">
                  <a:pos x="242" y="136"/>
                </a:cxn>
                <a:cxn ang="0">
                  <a:pos x="240" y="142"/>
                </a:cxn>
                <a:cxn ang="0">
                  <a:pos x="238" y="147"/>
                </a:cxn>
                <a:cxn ang="0">
                  <a:pos x="231" y="151"/>
                </a:cxn>
                <a:cxn ang="0">
                  <a:pos x="225" y="152"/>
                </a:cxn>
                <a:cxn ang="0">
                  <a:pos x="16" y="152"/>
                </a:cxn>
                <a:cxn ang="0">
                  <a:pos x="16" y="152"/>
                </a:cxn>
                <a:cxn ang="0">
                  <a:pos x="10" y="151"/>
                </a:cxn>
                <a:cxn ang="0">
                  <a:pos x="5" y="147"/>
                </a:cxn>
                <a:cxn ang="0">
                  <a:pos x="1" y="142"/>
                </a:cxn>
                <a:cxn ang="0">
                  <a:pos x="0" y="136"/>
                </a:cxn>
                <a:cxn ang="0">
                  <a:pos x="220" y="136"/>
                </a:cxn>
                <a:cxn ang="0">
                  <a:pos x="220" y="0"/>
                </a:cxn>
                <a:cxn ang="0">
                  <a:pos x="21" y="0"/>
                </a:cxn>
                <a:cxn ang="0">
                  <a:pos x="21" y="117"/>
                </a:cxn>
              </a:cxnLst>
              <a:rect l="0" t="0" r="r" b="b"/>
              <a:pathLst>
                <a:path w="242" h="152">
                  <a:moveTo>
                    <a:pt x="242" y="136"/>
                  </a:moveTo>
                  <a:lnTo>
                    <a:pt x="242" y="136"/>
                  </a:lnTo>
                  <a:lnTo>
                    <a:pt x="240" y="142"/>
                  </a:lnTo>
                  <a:lnTo>
                    <a:pt x="238" y="147"/>
                  </a:lnTo>
                  <a:lnTo>
                    <a:pt x="231" y="151"/>
                  </a:lnTo>
                  <a:lnTo>
                    <a:pt x="225" y="152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0" y="151"/>
                  </a:lnTo>
                  <a:lnTo>
                    <a:pt x="5" y="147"/>
                  </a:lnTo>
                  <a:lnTo>
                    <a:pt x="1" y="142"/>
                  </a:lnTo>
                  <a:lnTo>
                    <a:pt x="0" y="136"/>
                  </a:lnTo>
                  <a:lnTo>
                    <a:pt x="220" y="136"/>
                  </a:lnTo>
                  <a:lnTo>
                    <a:pt x="220" y="0"/>
                  </a:lnTo>
                  <a:lnTo>
                    <a:pt x="21" y="0"/>
                  </a:lnTo>
                  <a:lnTo>
                    <a:pt x="21" y="117"/>
                  </a:lnTo>
                </a:path>
              </a:pathLst>
            </a:custGeom>
            <a:noFill/>
            <a:ln w="28575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83969" tIns="41985" rIns="83969" bIns="41985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</p:grpSp>
      <p:grpSp>
        <p:nvGrpSpPr>
          <p:cNvPr id="6" name="Groupe 33"/>
          <p:cNvGrpSpPr/>
          <p:nvPr userDrawn="1"/>
        </p:nvGrpSpPr>
        <p:grpSpPr>
          <a:xfrm>
            <a:off x="2008823" y="2461852"/>
            <a:ext cx="4694872" cy="1015408"/>
            <a:chOff x="3189288" y="2360613"/>
            <a:chExt cx="6796854" cy="1470025"/>
          </a:xfrm>
          <a:effectLst>
            <a:outerShdw blurRad="76200" sx="102000" sy="102000" algn="ctr" rotWithShape="0">
              <a:prstClr val="black">
                <a:alpha val="8000"/>
              </a:prstClr>
            </a:outerShdw>
          </a:effectLst>
        </p:grpSpPr>
        <p:sp>
          <p:nvSpPr>
            <p:cNvPr id="35" name="Line 6"/>
            <p:cNvSpPr>
              <a:spLocks noChangeShapeType="1"/>
            </p:cNvSpPr>
            <p:nvPr userDrawn="1"/>
          </p:nvSpPr>
          <p:spPr bwMode="auto">
            <a:xfrm>
              <a:off x="8020050" y="3570289"/>
              <a:ext cx="1966092" cy="0"/>
            </a:xfrm>
            <a:prstGeom prst="line">
              <a:avLst/>
            </a:pr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36" name="Line 7"/>
            <p:cNvSpPr>
              <a:spLocks noChangeShapeType="1"/>
            </p:cNvSpPr>
            <p:nvPr userDrawn="1"/>
          </p:nvSpPr>
          <p:spPr bwMode="auto">
            <a:xfrm>
              <a:off x="8047038" y="2703513"/>
              <a:ext cx="1588" cy="598488"/>
            </a:xfrm>
            <a:prstGeom prst="line">
              <a:avLst/>
            </a:pr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37" name="Freeform 8"/>
            <p:cNvSpPr>
              <a:spLocks/>
            </p:cNvSpPr>
            <p:nvPr userDrawn="1"/>
          </p:nvSpPr>
          <p:spPr bwMode="auto">
            <a:xfrm>
              <a:off x="9320213" y="2360613"/>
              <a:ext cx="265113" cy="268288"/>
            </a:xfrm>
            <a:custGeom>
              <a:avLst/>
              <a:gdLst/>
              <a:ahLst/>
              <a:cxnLst>
                <a:cxn ang="0">
                  <a:pos x="167" y="169"/>
                </a:cxn>
                <a:cxn ang="0">
                  <a:pos x="167" y="0"/>
                </a:cxn>
                <a:cxn ang="0">
                  <a:pos x="0" y="0"/>
                </a:cxn>
              </a:cxnLst>
              <a:rect l="0" t="0" r="r" b="b"/>
              <a:pathLst>
                <a:path w="167" h="169">
                  <a:moveTo>
                    <a:pt x="167" y="169"/>
                  </a:moveTo>
                  <a:lnTo>
                    <a:pt x="167" y="0"/>
                  </a:lnTo>
                  <a:lnTo>
                    <a:pt x="0" y="0"/>
                  </a:ln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38" name="Oval 9"/>
            <p:cNvSpPr>
              <a:spLocks noChangeArrowheads="1"/>
            </p:cNvSpPr>
            <p:nvPr userDrawn="1"/>
          </p:nvSpPr>
          <p:spPr bwMode="auto">
            <a:xfrm>
              <a:off x="5189538" y="2820988"/>
              <a:ext cx="244475" cy="247650"/>
            </a:xfrm>
            <a:prstGeom prst="ellipse">
              <a:avLst/>
            </a:pr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39" name="Freeform 10"/>
            <p:cNvSpPr>
              <a:spLocks/>
            </p:cNvSpPr>
            <p:nvPr userDrawn="1"/>
          </p:nvSpPr>
          <p:spPr bwMode="auto">
            <a:xfrm>
              <a:off x="3481388" y="2703513"/>
              <a:ext cx="565150" cy="612775"/>
            </a:xfrm>
            <a:custGeom>
              <a:avLst/>
              <a:gdLst/>
              <a:ahLst/>
              <a:cxnLst>
                <a:cxn ang="0">
                  <a:pos x="23" y="53"/>
                </a:cxn>
                <a:cxn ang="0">
                  <a:pos x="0" y="5"/>
                </a:cxn>
                <a:cxn ang="0">
                  <a:pos x="55" y="0"/>
                </a:cxn>
                <a:cxn ang="0">
                  <a:pos x="45" y="15"/>
                </a:cxn>
                <a:cxn ang="0">
                  <a:pos x="80" y="57"/>
                </a:cxn>
                <a:cxn ang="0">
                  <a:pos x="40" y="89"/>
                </a:cxn>
                <a:cxn ang="0">
                  <a:pos x="55" y="69"/>
                </a:cxn>
                <a:cxn ang="0">
                  <a:pos x="52" y="53"/>
                </a:cxn>
                <a:cxn ang="0">
                  <a:pos x="32" y="41"/>
                </a:cxn>
              </a:cxnLst>
              <a:rect l="0" t="0" r="r" b="b"/>
              <a:pathLst>
                <a:path w="83" h="89">
                  <a:moveTo>
                    <a:pt x="23" y="53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83" y="34"/>
                    <a:pt x="80" y="57"/>
                  </a:cubicBezTo>
                  <a:cubicBezTo>
                    <a:pt x="77" y="81"/>
                    <a:pt x="52" y="88"/>
                    <a:pt x="40" y="89"/>
                  </a:cubicBezTo>
                  <a:cubicBezTo>
                    <a:pt x="50" y="76"/>
                    <a:pt x="55" y="69"/>
                    <a:pt x="55" y="69"/>
                  </a:cubicBezTo>
                  <a:cubicBezTo>
                    <a:pt x="55" y="69"/>
                    <a:pt x="60" y="62"/>
                    <a:pt x="52" y="53"/>
                  </a:cubicBezTo>
                  <a:cubicBezTo>
                    <a:pt x="44" y="45"/>
                    <a:pt x="32" y="41"/>
                    <a:pt x="32" y="41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40" name="Freeform 11"/>
            <p:cNvSpPr>
              <a:spLocks/>
            </p:cNvSpPr>
            <p:nvPr userDrawn="1"/>
          </p:nvSpPr>
          <p:spPr bwMode="auto">
            <a:xfrm>
              <a:off x="4611688" y="3260725"/>
              <a:ext cx="747713" cy="350838"/>
            </a:xfrm>
            <a:custGeom>
              <a:avLst/>
              <a:gdLst/>
              <a:ahLst/>
              <a:cxnLst>
                <a:cxn ang="0">
                  <a:pos x="110" y="2"/>
                </a:cxn>
                <a:cxn ang="0">
                  <a:pos x="101" y="3"/>
                </a:cxn>
                <a:cxn ang="0">
                  <a:pos x="85" y="1"/>
                </a:cxn>
                <a:cxn ang="0">
                  <a:pos x="86" y="0"/>
                </a:cxn>
                <a:cxn ang="0">
                  <a:pos x="66" y="20"/>
                </a:cxn>
                <a:cxn ang="0">
                  <a:pos x="54" y="20"/>
                </a:cxn>
                <a:cxn ang="0">
                  <a:pos x="45" y="29"/>
                </a:cxn>
                <a:cxn ang="0">
                  <a:pos x="36" y="38"/>
                </a:cxn>
                <a:cxn ang="0">
                  <a:pos x="24" y="51"/>
                </a:cxn>
                <a:cxn ang="0">
                  <a:pos x="0" y="51"/>
                </a:cxn>
                <a:cxn ang="0">
                  <a:pos x="12" y="38"/>
                </a:cxn>
              </a:cxnLst>
              <a:rect l="0" t="0" r="r" b="b"/>
              <a:pathLst>
                <a:path w="110" h="51">
                  <a:moveTo>
                    <a:pt x="110" y="2"/>
                  </a:moveTo>
                  <a:cubicBezTo>
                    <a:pt x="107" y="3"/>
                    <a:pt x="104" y="3"/>
                    <a:pt x="101" y="3"/>
                  </a:cubicBezTo>
                  <a:cubicBezTo>
                    <a:pt x="96" y="3"/>
                    <a:pt x="90" y="2"/>
                    <a:pt x="85" y="1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12" y="38"/>
                    <a:pt x="12" y="38"/>
                    <a:pt x="12" y="38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41" name="Freeform 12"/>
            <p:cNvSpPr>
              <a:spLocks/>
            </p:cNvSpPr>
            <p:nvPr userDrawn="1"/>
          </p:nvSpPr>
          <p:spPr bwMode="auto">
            <a:xfrm>
              <a:off x="3189288" y="2552700"/>
              <a:ext cx="3490913" cy="1073150"/>
            </a:xfrm>
            <a:custGeom>
              <a:avLst/>
              <a:gdLst/>
              <a:ahLst/>
              <a:cxnLst>
                <a:cxn ang="0">
                  <a:pos x="513" y="70"/>
                </a:cxn>
                <a:cxn ang="0">
                  <a:pos x="488" y="46"/>
                </a:cxn>
                <a:cxn ang="0">
                  <a:pos x="479" y="0"/>
                </a:cxn>
                <a:cxn ang="0">
                  <a:pos x="467" y="47"/>
                </a:cxn>
                <a:cxn ang="0">
                  <a:pos x="437" y="96"/>
                </a:cxn>
                <a:cxn ang="0">
                  <a:pos x="337" y="96"/>
                </a:cxn>
                <a:cxn ang="0">
                  <a:pos x="342" y="93"/>
                </a:cxn>
                <a:cxn ang="0">
                  <a:pos x="356" y="60"/>
                </a:cxn>
                <a:cxn ang="0">
                  <a:pos x="310" y="14"/>
                </a:cxn>
                <a:cxn ang="0">
                  <a:pos x="264" y="60"/>
                </a:cxn>
                <a:cxn ang="0">
                  <a:pos x="268" y="80"/>
                </a:cxn>
                <a:cxn ang="0">
                  <a:pos x="269" y="80"/>
                </a:cxn>
                <a:cxn ang="0">
                  <a:pos x="251" y="99"/>
                </a:cxn>
                <a:cxn ang="0">
                  <a:pos x="251" y="115"/>
                </a:cxn>
                <a:cxn ang="0">
                  <a:pos x="235" y="115"/>
                </a:cxn>
                <a:cxn ang="0">
                  <a:pos x="235" y="131"/>
                </a:cxn>
                <a:cxn ang="0">
                  <a:pos x="221" y="131"/>
                </a:cxn>
                <a:cxn ang="0">
                  <a:pos x="216" y="131"/>
                </a:cxn>
                <a:cxn ang="0">
                  <a:pos x="74" y="131"/>
                </a:cxn>
                <a:cxn ang="0">
                  <a:pos x="83" y="151"/>
                </a:cxn>
                <a:cxn ang="0">
                  <a:pos x="29" y="156"/>
                </a:cxn>
                <a:cxn ang="0">
                  <a:pos x="39" y="141"/>
                </a:cxn>
                <a:cxn ang="0">
                  <a:pos x="3" y="98"/>
                </a:cxn>
                <a:cxn ang="0">
                  <a:pos x="43" y="66"/>
                </a:cxn>
                <a:cxn ang="0">
                  <a:pos x="29" y="87"/>
                </a:cxn>
                <a:cxn ang="0">
                  <a:pos x="32" y="102"/>
                </a:cxn>
                <a:cxn ang="0">
                  <a:pos x="51" y="115"/>
                </a:cxn>
                <a:cxn ang="0">
                  <a:pos x="61" y="101"/>
                </a:cxn>
                <a:cxn ang="0">
                  <a:pos x="67" y="114"/>
                </a:cxn>
              </a:cxnLst>
              <a:rect l="0" t="0" r="r" b="b"/>
              <a:pathLst>
                <a:path w="513" h="156">
                  <a:moveTo>
                    <a:pt x="513" y="70"/>
                  </a:moveTo>
                  <a:cubicBezTo>
                    <a:pt x="513" y="70"/>
                    <a:pt x="509" y="49"/>
                    <a:pt x="488" y="46"/>
                  </a:cubicBezTo>
                  <a:cubicBezTo>
                    <a:pt x="497" y="37"/>
                    <a:pt x="511" y="4"/>
                    <a:pt x="479" y="0"/>
                  </a:cubicBezTo>
                  <a:cubicBezTo>
                    <a:pt x="443" y="5"/>
                    <a:pt x="467" y="47"/>
                    <a:pt x="467" y="47"/>
                  </a:cubicBezTo>
                  <a:cubicBezTo>
                    <a:pt x="467" y="47"/>
                    <a:pt x="441" y="51"/>
                    <a:pt x="437" y="96"/>
                  </a:cubicBezTo>
                  <a:cubicBezTo>
                    <a:pt x="337" y="96"/>
                    <a:pt x="337" y="96"/>
                    <a:pt x="337" y="96"/>
                  </a:cubicBezTo>
                  <a:cubicBezTo>
                    <a:pt x="342" y="93"/>
                    <a:pt x="342" y="93"/>
                    <a:pt x="342" y="93"/>
                  </a:cubicBezTo>
                  <a:cubicBezTo>
                    <a:pt x="351" y="85"/>
                    <a:pt x="356" y="73"/>
                    <a:pt x="356" y="60"/>
                  </a:cubicBezTo>
                  <a:cubicBezTo>
                    <a:pt x="356" y="35"/>
                    <a:pt x="336" y="14"/>
                    <a:pt x="310" y="14"/>
                  </a:cubicBezTo>
                  <a:cubicBezTo>
                    <a:pt x="285" y="14"/>
                    <a:pt x="264" y="35"/>
                    <a:pt x="264" y="60"/>
                  </a:cubicBezTo>
                  <a:cubicBezTo>
                    <a:pt x="264" y="67"/>
                    <a:pt x="266" y="74"/>
                    <a:pt x="268" y="80"/>
                  </a:cubicBezTo>
                  <a:cubicBezTo>
                    <a:pt x="269" y="80"/>
                    <a:pt x="269" y="80"/>
                    <a:pt x="269" y="80"/>
                  </a:cubicBezTo>
                  <a:cubicBezTo>
                    <a:pt x="251" y="99"/>
                    <a:pt x="251" y="99"/>
                    <a:pt x="251" y="99"/>
                  </a:cubicBezTo>
                  <a:cubicBezTo>
                    <a:pt x="251" y="115"/>
                    <a:pt x="251" y="115"/>
                    <a:pt x="251" y="115"/>
                  </a:cubicBezTo>
                  <a:cubicBezTo>
                    <a:pt x="235" y="115"/>
                    <a:pt x="235" y="115"/>
                    <a:pt x="235" y="115"/>
                  </a:cubicBezTo>
                  <a:cubicBezTo>
                    <a:pt x="235" y="131"/>
                    <a:pt x="235" y="131"/>
                    <a:pt x="235" y="131"/>
                  </a:cubicBezTo>
                  <a:cubicBezTo>
                    <a:pt x="221" y="131"/>
                    <a:pt x="221" y="131"/>
                    <a:pt x="221" y="131"/>
                  </a:cubicBezTo>
                  <a:cubicBezTo>
                    <a:pt x="216" y="131"/>
                    <a:pt x="216" y="131"/>
                    <a:pt x="216" y="131"/>
                  </a:cubicBezTo>
                  <a:cubicBezTo>
                    <a:pt x="74" y="131"/>
                    <a:pt x="74" y="131"/>
                    <a:pt x="74" y="131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29" y="156"/>
                    <a:pt x="29" y="156"/>
                    <a:pt x="29" y="156"/>
                  </a:cubicBezTo>
                  <a:cubicBezTo>
                    <a:pt x="39" y="141"/>
                    <a:pt x="39" y="141"/>
                    <a:pt x="39" y="141"/>
                  </a:cubicBezTo>
                  <a:cubicBezTo>
                    <a:pt x="39" y="141"/>
                    <a:pt x="0" y="122"/>
                    <a:pt x="3" y="98"/>
                  </a:cubicBezTo>
                  <a:cubicBezTo>
                    <a:pt x="6" y="75"/>
                    <a:pt x="32" y="67"/>
                    <a:pt x="43" y="66"/>
                  </a:cubicBezTo>
                  <a:cubicBezTo>
                    <a:pt x="34" y="80"/>
                    <a:pt x="29" y="87"/>
                    <a:pt x="29" y="87"/>
                  </a:cubicBezTo>
                  <a:cubicBezTo>
                    <a:pt x="29" y="87"/>
                    <a:pt x="24" y="94"/>
                    <a:pt x="32" y="102"/>
                  </a:cubicBezTo>
                  <a:cubicBezTo>
                    <a:pt x="40" y="110"/>
                    <a:pt x="51" y="115"/>
                    <a:pt x="51" y="115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7" y="114"/>
                    <a:pt x="67" y="114"/>
                    <a:pt x="67" y="114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42" name="Freeform 13"/>
            <p:cNvSpPr>
              <a:spLocks/>
            </p:cNvSpPr>
            <p:nvPr userDrawn="1"/>
          </p:nvSpPr>
          <p:spPr bwMode="auto">
            <a:xfrm>
              <a:off x="7013575" y="3549650"/>
              <a:ext cx="277813" cy="47625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0" y="4"/>
                </a:cxn>
              </a:cxnLst>
              <a:rect l="0" t="0" r="r" b="b"/>
              <a:pathLst>
                <a:path w="41" h="7">
                  <a:moveTo>
                    <a:pt x="41" y="0"/>
                  </a:moveTo>
                  <a:cubicBezTo>
                    <a:pt x="30" y="7"/>
                    <a:pt x="0" y="4"/>
                    <a:pt x="0" y="4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43" name="Freeform 14"/>
            <p:cNvSpPr>
              <a:spLocks/>
            </p:cNvSpPr>
            <p:nvPr userDrawn="1"/>
          </p:nvSpPr>
          <p:spPr bwMode="auto">
            <a:xfrm>
              <a:off x="6796088" y="2449513"/>
              <a:ext cx="2687638" cy="990600"/>
            </a:xfrm>
            <a:custGeom>
              <a:avLst/>
              <a:gdLst/>
              <a:ahLst/>
              <a:cxnLst>
                <a:cxn ang="0">
                  <a:pos x="8" y="106"/>
                </a:cxn>
                <a:cxn ang="0">
                  <a:pos x="25" y="94"/>
                </a:cxn>
                <a:cxn ang="0">
                  <a:pos x="37" y="46"/>
                </a:cxn>
                <a:cxn ang="0">
                  <a:pos x="46" y="93"/>
                </a:cxn>
                <a:cxn ang="0">
                  <a:pos x="76" y="144"/>
                </a:cxn>
                <a:cxn ang="0">
                  <a:pos x="104" y="144"/>
                </a:cxn>
                <a:cxn ang="0">
                  <a:pos x="184" y="144"/>
                </a:cxn>
                <a:cxn ang="0">
                  <a:pos x="236" y="90"/>
                </a:cxn>
                <a:cxn ang="0">
                  <a:pos x="270" y="123"/>
                </a:cxn>
                <a:cxn ang="0">
                  <a:pos x="395" y="0"/>
                </a:cxn>
              </a:cxnLst>
              <a:rect l="0" t="0" r="r" b="b"/>
              <a:pathLst>
                <a:path w="395" h="144">
                  <a:moveTo>
                    <a:pt x="8" y="106"/>
                  </a:moveTo>
                  <a:cubicBezTo>
                    <a:pt x="16" y="95"/>
                    <a:pt x="25" y="94"/>
                    <a:pt x="25" y="94"/>
                  </a:cubicBezTo>
                  <a:cubicBezTo>
                    <a:pt x="25" y="94"/>
                    <a:pt x="0" y="52"/>
                    <a:pt x="37" y="46"/>
                  </a:cubicBezTo>
                  <a:cubicBezTo>
                    <a:pt x="68" y="51"/>
                    <a:pt x="54" y="84"/>
                    <a:pt x="46" y="93"/>
                  </a:cubicBezTo>
                  <a:cubicBezTo>
                    <a:pt x="70" y="102"/>
                    <a:pt x="75" y="125"/>
                    <a:pt x="76" y="144"/>
                  </a:cubicBezTo>
                  <a:cubicBezTo>
                    <a:pt x="104" y="144"/>
                    <a:pt x="104" y="144"/>
                    <a:pt x="104" y="144"/>
                  </a:cubicBezTo>
                  <a:cubicBezTo>
                    <a:pt x="184" y="144"/>
                    <a:pt x="184" y="144"/>
                    <a:pt x="184" y="144"/>
                  </a:cubicBezTo>
                  <a:cubicBezTo>
                    <a:pt x="236" y="90"/>
                    <a:pt x="236" y="90"/>
                    <a:pt x="236" y="90"/>
                  </a:cubicBezTo>
                  <a:cubicBezTo>
                    <a:pt x="270" y="123"/>
                    <a:pt x="270" y="123"/>
                    <a:pt x="270" y="123"/>
                  </a:cubicBezTo>
                  <a:cubicBezTo>
                    <a:pt x="395" y="0"/>
                    <a:pt x="395" y="0"/>
                    <a:pt x="395" y="0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44" name="Freeform 15"/>
            <p:cNvSpPr>
              <a:spLocks/>
            </p:cNvSpPr>
            <p:nvPr userDrawn="1"/>
          </p:nvSpPr>
          <p:spPr bwMode="auto">
            <a:xfrm>
              <a:off x="6386513" y="3033713"/>
              <a:ext cx="571500" cy="796925"/>
            </a:xfrm>
            <a:custGeom>
              <a:avLst/>
              <a:gdLst/>
              <a:ahLst/>
              <a:cxnLst>
                <a:cxn ang="0">
                  <a:pos x="0" y="108"/>
                </a:cxn>
                <a:cxn ang="0">
                  <a:pos x="33" y="47"/>
                </a:cxn>
                <a:cxn ang="0">
                  <a:pos x="44" y="0"/>
                </a:cxn>
                <a:cxn ang="0">
                  <a:pos x="53" y="46"/>
                </a:cxn>
                <a:cxn ang="0">
                  <a:pos x="84" y="110"/>
                </a:cxn>
                <a:cxn ang="0">
                  <a:pos x="23" y="114"/>
                </a:cxn>
              </a:cxnLst>
              <a:rect l="0" t="0" r="r" b="b"/>
              <a:pathLst>
                <a:path w="84" h="116">
                  <a:moveTo>
                    <a:pt x="0" y="108"/>
                  </a:moveTo>
                  <a:cubicBezTo>
                    <a:pt x="0" y="54"/>
                    <a:pt x="33" y="47"/>
                    <a:pt x="33" y="47"/>
                  </a:cubicBezTo>
                  <a:cubicBezTo>
                    <a:pt x="33" y="47"/>
                    <a:pt x="8" y="5"/>
                    <a:pt x="44" y="0"/>
                  </a:cubicBezTo>
                  <a:cubicBezTo>
                    <a:pt x="76" y="5"/>
                    <a:pt x="62" y="37"/>
                    <a:pt x="53" y="46"/>
                  </a:cubicBezTo>
                  <a:cubicBezTo>
                    <a:pt x="82" y="57"/>
                    <a:pt x="84" y="91"/>
                    <a:pt x="84" y="110"/>
                  </a:cubicBezTo>
                  <a:cubicBezTo>
                    <a:pt x="73" y="116"/>
                    <a:pt x="23" y="114"/>
                    <a:pt x="23" y="114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45" name="Line 16"/>
            <p:cNvSpPr>
              <a:spLocks noChangeShapeType="1"/>
            </p:cNvSpPr>
            <p:nvPr userDrawn="1"/>
          </p:nvSpPr>
          <p:spPr bwMode="auto">
            <a:xfrm flipV="1">
              <a:off x="6299200" y="3302000"/>
              <a:ext cx="265113" cy="6350"/>
            </a:xfrm>
            <a:prstGeom prst="line">
              <a:avLst/>
            </a:pr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02615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3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accent4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6303"/>
            <a:ext cx="9906000" cy="1362097"/>
          </a:xfrm>
          <a:prstGeom prst="rect">
            <a:avLst/>
          </a:prstGeom>
        </p:spPr>
        <p:txBody>
          <a:bodyPr vert="horz" lIns="108000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3600" b="0" kern="1200" cap="none" baseline="0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914342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noProof="0" dirty="0" smtClean="0"/>
              <a:t>Click to edit Master text style</a:t>
            </a:r>
          </a:p>
        </p:txBody>
      </p:sp>
      <p:grpSp>
        <p:nvGrpSpPr>
          <p:cNvPr id="3" name="Groupe 82"/>
          <p:cNvGrpSpPr/>
          <p:nvPr userDrawn="1"/>
        </p:nvGrpSpPr>
        <p:grpSpPr>
          <a:xfrm>
            <a:off x="6484510" y="2191794"/>
            <a:ext cx="2348339" cy="1444141"/>
            <a:chOff x="4457274" y="3552748"/>
            <a:chExt cx="924354" cy="568444"/>
          </a:xfrm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grpSpPr>
        <p:grpSp>
          <p:nvGrpSpPr>
            <p:cNvPr id="4" name="Groupe 538"/>
            <p:cNvGrpSpPr/>
            <p:nvPr/>
          </p:nvGrpSpPr>
          <p:grpSpPr>
            <a:xfrm>
              <a:off x="4568093" y="3652792"/>
              <a:ext cx="702725" cy="346657"/>
              <a:chOff x="627038" y="2068314"/>
              <a:chExt cx="412750" cy="207962"/>
            </a:xfrm>
          </p:grpSpPr>
          <p:sp>
            <p:nvSpPr>
              <p:cNvPr id="36" name="Freeform 286"/>
              <p:cNvSpPr>
                <a:spLocks/>
              </p:cNvSpPr>
              <p:nvPr/>
            </p:nvSpPr>
            <p:spPr bwMode="auto">
              <a:xfrm>
                <a:off x="957238" y="2069902"/>
                <a:ext cx="82550" cy="185737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0" y="21"/>
                  </a:cxn>
                  <a:cxn ang="0">
                    <a:pos x="34" y="117"/>
                  </a:cxn>
                  <a:cxn ang="0">
                    <a:pos x="34" y="117"/>
                  </a:cxn>
                  <a:cxn ang="0">
                    <a:pos x="44" y="113"/>
                  </a:cxn>
                  <a:cxn ang="0">
                    <a:pos x="52" y="110"/>
                  </a:cxn>
                </a:cxnLst>
                <a:rect l="0" t="0" r="r" b="b"/>
                <a:pathLst>
                  <a:path w="52" h="117">
                    <a:moveTo>
                      <a:pt x="52" y="0"/>
                    </a:moveTo>
                    <a:lnTo>
                      <a:pt x="0" y="21"/>
                    </a:lnTo>
                    <a:lnTo>
                      <a:pt x="34" y="117"/>
                    </a:lnTo>
                    <a:lnTo>
                      <a:pt x="34" y="117"/>
                    </a:lnTo>
                    <a:lnTo>
                      <a:pt x="44" y="113"/>
                    </a:lnTo>
                    <a:lnTo>
                      <a:pt x="52" y="110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37" name="Freeform 287"/>
              <p:cNvSpPr>
                <a:spLocks/>
              </p:cNvSpPr>
              <p:nvPr/>
            </p:nvSpPr>
            <p:spPr bwMode="auto">
              <a:xfrm>
                <a:off x="627038" y="2231827"/>
                <a:ext cx="38100" cy="23812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9" y="15"/>
                  </a:cxn>
                  <a:cxn ang="0">
                    <a:pos x="24" y="0"/>
                  </a:cxn>
                </a:cxnLst>
                <a:rect l="0" t="0" r="r" b="b"/>
                <a:pathLst>
                  <a:path w="24" h="15">
                    <a:moveTo>
                      <a:pt x="0" y="8"/>
                    </a:moveTo>
                    <a:lnTo>
                      <a:pt x="19" y="15"/>
                    </a:lnTo>
                    <a:lnTo>
                      <a:pt x="24" y="0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38" name="Freeform 288"/>
              <p:cNvSpPr>
                <a:spLocks/>
              </p:cNvSpPr>
              <p:nvPr/>
            </p:nvSpPr>
            <p:spPr bwMode="auto">
              <a:xfrm>
                <a:off x="627038" y="2068314"/>
                <a:ext cx="84138" cy="30162"/>
              </a:xfrm>
              <a:custGeom>
                <a:avLst/>
                <a:gdLst/>
                <a:ahLst/>
                <a:cxnLst>
                  <a:cxn ang="0">
                    <a:pos x="53" y="19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53" h="19">
                    <a:moveTo>
                      <a:pt x="53" y="19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39" name="Freeform 289"/>
              <p:cNvSpPr>
                <a:spLocks/>
              </p:cNvSpPr>
              <p:nvPr/>
            </p:nvSpPr>
            <p:spPr bwMode="auto">
              <a:xfrm>
                <a:off x="687363" y="2096889"/>
                <a:ext cx="134938" cy="120650"/>
              </a:xfrm>
              <a:custGeom>
                <a:avLst/>
                <a:gdLst/>
                <a:ahLst/>
                <a:cxnLst>
                  <a:cxn ang="0">
                    <a:pos x="85" y="0"/>
                  </a:cxn>
                  <a:cxn ang="0">
                    <a:pos x="29" y="4"/>
                  </a:cxn>
                  <a:cxn ang="0">
                    <a:pos x="29" y="4"/>
                  </a:cxn>
                  <a:cxn ang="0">
                    <a:pos x="28" y="5"/>
                  </a:cxn>
                  <a:cxn ang="0">
                    <a:pos x="25" y="6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11" y="43"/>
                  </a:cxn>
                  <a:cxn ang="0">
                    <a:pos x="0" y="74"/>
                  </a:cxn>
                  <a:cxn ang="0">
                    <a:pos x="10" y="76"/>
                  </a:cxn>
                </a:cxnLst>
                <a:rect l="0" t="0" r="r" b="b"/>
                <a:pathLst>
                  <a:path w="85" h="76">
                    <a:moveTo>
                      <a:pt x="85" y="0"/>
                    </a:moveTo>
                    <a:lnTo>
                      <a:pt x="29" y="4"/>
                    </a:lnTo>
                    <a:lnTo>
                      <a:pt x="29" y="4"/>
                    </a:lnTo>
                    <a:lnTo>
                      <a:pt x="28" y="5"/>
                    </a:lnTo>
                    <a:lnTo>
                      <a:pt x="25" y="6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11" y="43"/>
                    </a:lnTo>
                    <a:lnTo>
                      <a:pt x="0" y="74"/>
                    </a:lnTo>
                    <a:lnTo>
                      <a:pt x="10" y="76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0" name="Freeform 290"/>
              <p:cNvSpPr>
                <a:spLocks/>
              </p:cNvSpPr>
              <p:nvPr/>
            </p:nvSpPr>
            <p:spPr bwMode="auto">
              <a:xfrm>
                <a:off x="846113" y="2188964"/>
                <a:ext cx="114300" cy="87312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0" y="34"/>
                  </a:cxn>
                  <a:cxn ang="0">
                    <a:pos x="6" y="39"/>
                  </a:cxn>
                  <a:cxn ang="0">
                    <a:pos x="13" y="44"/>
                  </a:cxn>
                  <a:cxn ang="0">
                    <a:pos x="13" y="44"/>
                  </a:cxn>
                  <a:cxn ang="0">
                    <a:pos x="19" y="51"/>
                  </a:cxn>
                  <a:cxn ang="0">
                    <a:pos x="21" y="53"/>
                  </a:cxn>
                  <a:cxn ang="0">
                    <a:pos x="25" y="55"/>
                  </a:cxn>
                  <a:cxn ang="0">
                    <a:pos x="28" y="55"/>
                  </a:cxn>
                  <a:cxn ang="0">
                    <a:pos x="28" y="55"/>
                  </a:cxn>
                  <a:cxn ang="0">
                    <a:pos x="32" y="55"/>
                  </a:cxn>
                  <a:cxn ang="0">
                    <a:pos x="34" y="52"/>
                  </a:cxn>
                  <a:cxn ang="0">
                    <a:pos x="37" y="48"/>
                  </a:cxn>
                  <a:cxn ang="0">
                    <a:pos x="37" y="46"/>
                  </a:cxn>
                  <a:cxn ang="0">
                    <a:pos x="37" y="46"/>
                  </a:cxn>
                  <a:cxn ang="0">
                    <a:pos x="37" y="43"/>
                  </a:cxn>
                  <a:cxn ang="0">
                    <a:pos x="35" y="41"/>
                  </a:cxn>
                  <a:cxn ang="0">
                    <a:pos x="32" y="35"/>
                  </a:cxn>
                  <a:cxn ang="0">
                    <a:pos x="23" y="29"/>
                  </a:cxn>
                  <a:cxn ang="0">
                    <a:pos x="8" y="14"/>
                  </a:cxn>
                  <a:cxn ang="0">
                    <a:pos x="9" y="13"/>
                  </a:cxn>
                  <a:cxn ang="0">
                    <a:pos x="33" y="34"/>
                  </a:cxn>
                  <a:cxn ang="0">
                    <a:pos x="33" y="34"/>
                  </a:cxn>
                  <a:cxn ang="0">
                    <a:pos x="38" y="39"/>
                  </a:cxn>
                  <a:cxn ang="0">
                    <a:pos x="42" y="42"/>
                  </a:cxn>
                  <a:cxn ang="0">
                    <a:pos x="46" y="44"/>
                  </a:cxn>
                  <a:cxn ang="0">
                    <a:pos x="46" y="44"/>
                  </a:cxn>
                  <a:cxn ang="0">
                    <a:pos x="49" y="44"/>
                  </a:cxn>
                  <a:cxn ang="0">
                    <a:pos x="53" y="42"/>
                  </a:cxn>
                  <a:cxn ang="0">
                    <a:pos x="53" y="42"/>
                  </a:cxn>
                  <a:cxn ang="0">
                    <a:pos x="56" y="39"/>
                  </a:cxn>
                  <a:cxn ang="0">
                    <a:pos x="58" y="34"/>
                  </a:cxn>
                  <a:cxn ang="0">
                    <a:pos x="58" y="34"/>
                  </a:cxn>
                  <a:cxn ang="0">
                    <a:pos x="57" y="32"/>
                  </a:cxn>
                  <a:cxn ang="0">
                    <a:pos x="56" y="29"/>
                  </a:cxn>
                  <a:cxn ang="0">
                    <a:pos x="52" y="25"/>
                  </a:cxn>
                  <a:cxn ang="0">
                    <a:pos x="27" y="3"/>
                  </a:cxn>
                  <a:cxn ang="0">
                    <a:pos x="27" y="3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44" y="15"/>
                  </a:cxn>
                  <a:cxn ang="0">
                    <a:pos x="44" y="15"/>
                  </a:cxn>
                  <a:cxn ang="0">
                    <a:pos x="53" y="23"/>
                  </a:cxn>
                  <a:cxn ang="0">
                    <a:pos x="58" y="27"/>
                  </a:cxn>
                  <a:cxn ang="0">
                    <a:pos x="62" y="28"/>
                  </a:cxn>
                  <a:cxn ang="0">
                    <a:pos x="62" y="28"/>
                  </a:cxn>
                  <a:cxn ang="0">
                    <a:pos x="62" y="28"/>
                  </a:cxn>
                  <a:cxn ang="0">
                    <a:pos x="66" y="28"/>
                  </a:cxn>
                  <a:cxn ang="0">
                    <a:pos x="70" y="25"/>
                  </a:cxn>
                  <a:cxn ang="0">
                    <a:pos x="72" y="23"/>
                  </a:cxn>
                  <a:cxn ang="0">
                    <a:pos x="72" y="19"/>
                  </a:cxn>
                  <a:cxn ang="0">
                    <a:pos x="72" y="18"/>
                  </a:cxn>
                </a:cxnLst>
                <a:rect l="0" t="0" r="r" b="b"/>
                <a:pathLst>
                  <a:path w="72" h="55">
                    <a:moveTo>
                      <a:pt x="0" y="34"/>
                    </a:moveTo>
                    <a:lnTo>
                      <a:pt x="0" y="34"/>
                    </a:lnTo>
                    <a:lnTo>
                      <a:pt x="6" y="39"/>
                    </a:lnTo>
                    <a:lnTo>
                      <a:pt x="13" y="44"/>
                    </a:lnTo>
                    <a:lnTo>
                      <a:pt x="13" y="44"/>
                    </a:lnTo>
                    <a:lnTo>
                      <a:pt x="19" y="51"/>
                    </a:lnTo>
                    <a:lnTo>
                      <a:pt x="21" y="53"/>
                    </a:lnTo>
                    <a:lnTo>
                      <a:pt x="25" y="55"/>
                    </a:lnTo>
                    <a:lnTo>
                      <a:pt x="28" y="55"/>
                    </a:lnTo>
                    <a:lnTo>
                      <a:pt x="28" y="55"/>
                    </a:lnTo>
                    <a:lnTo>
                      <a:pt x="32" y="55"/>
                    </a:lnTo>
                    <a:lnTo>
                      <a:pt x="34" y="52"/>
                    </a:lnTo>
                    <a:lnTo>
                      <a:pt x="37" y="48"/>
                    </a:lnTo>
                    <a:lnTo>
                      <a:pt x="37" y="46"/>
                    </a:lnTo>
                    <a:lnTo>
                      <a:pt x="37" y="46"/>
                    </a:lnTo>
                    <a:lnTo>
                      <a:pt x="37" y="43"/>
                    </a:lnTo>
                    <a:lnTo>
                      <a:pt x="35" y="41"/>
                    </a:lnTo>
                    <a:lnTo>
                      <a:pt x="32" y="35"/>
                    </a:lnTo>
                    <a:lnTo>
                      <a:pt x="23" y="29"/>
                    </a:lnTo>
                    <a:lnTo>
                      <a:pt x="8" y="14"/>
                    </a:lnTo>
                    <a:lnTo>
                      <a:pt x="9" y="13"/>
                    </a:lnTo>
                    <a:lnTo>
                      <a:pt x="33" y="34"/>
                    </a:lnTo>
                    <a:lnTo>
                      <a:pt x="33" y="34"/>
                    </a:lnTo>
                    <a:lnTo>
                      <a:pt x="38" y="39"/>
                    </a:lnTo>
                    <a:lnTo>
                      <a:pt x="42" y="42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9" y="44"/>
                    </a:lnTo>
                    <a:lnTo>
                      <a:pt x="53" y="42"/>
                    </a:lnTo>
                    <a:lnTo>
                      <a:pt x="53" y="42"/>
                    </a:lnTo>
                    <a:lnTo>
                      <a:pt x="56" y="39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7" y="32"/>
                    </a:lnTo>
                    <a:lnTo>
                      <a:pt x="56" y="29"/>
                    </a:lnTo>
                    <a:lnTo>
                      <a:pt x="52" y="25"/>
                    </a:lnTo>
                    <a:lnTo>
                      <a:pt x="27" y="3"/>
                    </a:lnTo>
                    <a:lnTo>
                      <a:pt x="27" y="3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44" y="15"/>
                    </a:lnTo>
                    <a:lnTo>
                      <a:pt x="44" y="15"/>
                    </a:lnTo>
                    <a:lnTo>
                      <a:pt x="53" y="23"/>
                    </a:lnTo>
                    <a:lnTo>
                      <a:pt x="58" y="27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6" y="28"/>
                    </a:lnTo>
                    <a:lnTo>
                      <a:pt x="70" y="25"/>
                    </a:lnTo>
                    <a:lnTo>
                      <a:pt x="72" y="23"/>
                    </a:lnTo>
                    <a:lnTo>
                      <a:pt x="72" y="19"/>
                    </a:lnTo>
                    <a:lnTo>
                      <a:pt x="72" y="18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1" name="Freeform 291"/>
              <p:cNvSpPr>
                <a:spLocks/>
              </p:cNvSpPr>
              <p:nvPr/>
            </p:nvSpPr>
            <p:spPr bwMode="auto">
              <a:xfrm>
                <a:off x="792138" y="2093714"/>
                <a:ext cx="192088" cy="138112"/>
              </a:xfrm>
              <a:custGeom>
                <a:avLst/>
                <a:gdLst/>
                <a:ahLst/>
                <a:cxnLst>
                  <a:cxn ang="0">
                    <a:pos x="93" y="4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8" y="0"/>
                  </a:cxn>
                  <a:cxn ang="0">
                    <a:pos x="24" y="2"/>
                  </a:cxn>
                  <a:cxn ang="0">
                    <a:pos x="20" y="3"/>
                  </a:cxn>
                  <a:cxn ang="0">
                    <a:pos x="19" y="6"/>
                  </a:cxn>
                  <a:cxn ang="0">
                    <a:pos x="19" y="6"/>
                  </a:cxn>
                  <a:cxn ang="0">
                    <a:pos x="14" y="16"/>
                  </a:cxn>
                  <a:cxn ang="0">
                    <a:pos x="9" y="25"/>
                  </a:cxn>
                  <a:cxn ang="0">
                    <a:pos x="0" y="45"/>
                  </a:cxn>
                  <a:cxn ang="0">
                    <a:pos x="0" y="45"/>
                  </a:cxn>
                  <a:cxn ang="0">
                    <a:pos x="2" y="47"/>
                  </a:cxn>
                  <a:cxn ang="0">
                    <a:pos x="5" y="49"/>
                  </a:cxn>
                  <a:cxn ang="0">
                    <a:pos x="9" y="50"/>
                  </a:cxn>
                  <a:cxn ang="0">
                    <a:pos x="12" y="50"/>
                  </a:cxn>
                  <a:cxn ang="0">
                    <a:pos x="12" y="50"/>
                  </a:cxn>
                  <a:cxn ang="0">
                    <a:pos x="16" y="49"/>
                  </a:cxn>
                  <a:cxn ang="0">
                    <a:pos x="19" y="47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29" y="32"/>
                  </a:cxn>
                  <a:cxn ang="0">
                    <a:pos x="31" y="27"/>
                  </a:cxn>
                  <a:cxn ang="0">
                    <a:pos x="31" y="27"/>
                  </a:cxn>
                  <a:cxn ang="0">
                    <a:pos x="35" y="19"/>
                  </a:cxn>
                  <a:cxn ang="0">
                    <a:pos x="35" y="19"/>
                  </a:cxn>
                  <a:cxn ang="0">
                    <a:pos x="50" y="21"/>
                  </a:cxn>
                  <a:cxn ang="0">
                    <a:pos x="50" y="21"/>
                  </a:cxn>
                  <a:cxn ang="0">
                    <a:pos x="53" y="21"/>
                  </a:cxn>
                  <a:cxn ang="0">
                    <a:pos x="55" y="23"/>
                  </a:cxn>
                  <a:cxn ang="0">
                    <a:pos x="59" y="27"/>
                  </a:cxn>
                  <a:cxn ang="0">
                    <a:pos x="59" y="27"/>
                  </a:cxn>
                  <a:cxn ang="0">
                    <a:pos x="76" y="42"/>
                  </a:cxn>
                  <a:cxn ang="0">
                    <a:pos x="121" y="87"/>
                  </a:cxn>
                </a:cxnLst>
                <a:rect l="0" t="0" r="r" b="b"/>
                <a:pathLst>
                  <a:path w="121" h="87">
                    <a:moveTo>
                      <a:pt x="93" y="4"/>
                    </a:moveTo>
                    <a:lnTo>
                      <a:pt x="31" y="0"/>
                    </a:lnTo>
                    <a:lnTo>
                      <a:pt x="31" y="0"/>
                    </a:lnTo>
                    <a:lnTo>
                      <a:pt x="28" y="0"/>
                    </a:lnTo>
                    <a:lnTo>
                      <a:pt x="24" y="2"/>
                    </a:lnTo>
                    <a:lnTo>
                      <a:pt x="20" y="3"/>
                    </a:lnTo>
                    <a:lnTo>
                      <a:pt x="19" y="6"/>
                    </a:lnTo>
                    <a:lnTo>
                      <a:pt x="19" y="6"/>
                    </a:lnTo>
                    <a:lnTo>
                      <a:pt x="14" y="16"/>
                    </a:lnTo>
                    <a:lnTo>
                      <a:pt x="9" y="25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2" y="47"/>
                    </a:lnTo>
                    <a:lnTo>
                      <a:pt x="5" y="49"/>
                    </a:lnTo>
                    <a:lnTo>
                      <a:pt x="9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6" y="49"/>
                    </a:lnTo>
                    <a:lnTo>
                      <a:pt x="19" y="47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9" y="32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5" y="19"/>
                    </a:lnTo>
                    <a:lnTo>
                      <a:pt x="35" y="19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3" y="21"/>
                    </a:lnTo>
                    <a:lnTo>
                      <a:pt x="55" y="23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76" y="42"/>
                    </a:lnTo>
                    <a:lnTo>
                      <a:pt x="121" y="87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2" name="Freeform 292"/>
              <p:cNvSpPr>
                <a:spLocks/>
              </p:cNvSpPr>
              <p:nvPr/>
            </p:nvSpPr>
            <p:spPr bwMode="auto">
              <a:xfrm>
                <a:off x="734988" y="2193727"/>
                <a:ext cx="44450" cy="6350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24" y="2"/>
                  </a:cxn>
                  <a:cxn ang="0">
                    <a:pos x="27" y="5"/>
                  </a:cxn>
                  <a:cxn ang="0">
                    <a:pos x="28" y="8"/>
                  </a:cxn>
                  <a:cxn ang="0">
                    <a:pos x="28" y="12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18" y="36"/>
                  </a:cxn>
                  <a:cxn ang="0">
                    <a:pos x="15" y="39"/>
                  </a:cxn>
                  <a:cxn ang="0">
                    <a:pos x="12" y="40"/>
                  </a:cxn>
                  <a:cxn ang="0">
                    <a:pos x="8" y="39"/>
                  </a:cxn>
                  <a:cxn ang="0">
                    <a:pos x="8" y="39"/>
                  </a:cxn>
                  <a:cxn ang="0">
                    <a:pos x="4" y="38"/>
                  </a:cxn>
                  <a:cxn ang="0">
                    <a:pos x="1" y="34"/>
                  </a:cxn>
                  <a:cxn ang="0">
                    <a:pos x="0" y="31"/>
                  </a:cxn>
                  <a:cxn ang="0">
                    <a:pos x="1" y="27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10" y="2"/>
                  </a:cxn>
                  <a:cxn ang="0">
                    <a:pos x="14" y="0"/>
                  </a:cxn>
                  <a:cxn ang="0">
                    <a:pos x="17" y="0"/>
                  </a:cxn>
                  <a:cxn ang="0">
                    <a:pos x="22" y="0"/>
                  </a:cxn>
                  <a:cxn ang="0">
                    <a:pos x="22" y="0"/>
                  </a:cxn>
                </a:cxnLst>
                <a:rect l="0" t="0" r="r" b="b"/>
                <a:pathLst>
                  <a:path w="28" h="40">
                    <a:moveTo>
                      <a:pt x="22" y="0"/>
                    </a:moveTo>
                    <a:lnTo>
                      <a:pt x="22" y="0"/>
                    </a:lnTo>
                    <a:lnTo>
                      <a:pt x="22" y="0"/>
                    </a:lnTo>
                    <a:lnTo>
                      <a:pt x="24" y="2"/>
                    </a:lnTo>
                    <a:lnTo>
                      <a:pt x="27" y="5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18" y="36"/>
                    </a:lnTo>
                    <a:lnTo>
                      <a:pt x="15" y="39"/>
                    </a:lnTo>
                    <a:lnTo>
                      <a:pt x="12" y="40"/>
                    </a:lnTo>
                    <a:lnTo>
                      <a:pt x="8" y="39"/>
                    </a:lnTo>
                    <a:lnTo>
                      <a:pt x="8" y="39"/>
                    </a:lnTo>
                    <a:lnTo>
                      <a:pt x="4" y="38"/>
                    </a:lnTo>
                    <a:lnTo>
                      <a:pt x="1" y="34"/>
                    </a:lnTo>
                    <a:lnTo>
                      <a:pt x="0" y="31"/>
                    </a:lnTo>
                    <a:lnTo>
                      <a:pt x="1" y="27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0" y="2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3" name="Freeform 293"/>
              <p:cNvSpPr>
                <a:spLocks/>
              </p:cNvSpPr>
              <p:nvPr/>
            </p:nvSpPr>
            <p:spPr bwMode="auto">
              <a:xfrm>
                <a:off x="706413" y="2184202"/>
                <a:ext cx="39688" cy="55562"/>
              </a:xfrm>
              <a:custGeom>
                <a:avLst/>
                <a:gdLst/>
                <a:ahLst/>
                <a:cxnLst>
                  <a:cxn ang="0">
                    <a:pos x="17" y="2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21" y="3"/>
                  </a:cxn>
                  <a:cxn ang="0">
                    <a:pos x="23" y="7"/>
                  </a:cxn>
                  <a:cxn ang="0">
                    <a:pos x="25" y="11"/>
                  </a:cxn>
                  <a:cxn ang="0">
                    <a:pos x="23" y="14"/>
                  </a:cxn>
                  <a:cxn ang="0">
                    <a:pos x="19" y="27"/>
                  </a:cxn>
                  <a:cxn ang="0">
                    <a:pos x="19" y="27"/>
                  </a:cxn>
                  <a:cxn ang="0">
                    <a:pos x="17" y="31"/>
                  </a:cxn>
                  <a:cxn ang="0">
                    <a:pos x="14" y="33"/>
                  </a:cxn>
                  <a:cxn ang="0">
                    <a:pos x="11" y="35"/>
                  </a:cxn>
                  <a:cxn ang="0">
                    <a:pos x="7" y="33"/>
                  </a:cxn>
                  <a:cxn ang="0">
                    <a:pos x="7" y="33"/>
                  </a:cxn>
                  <a:cxn ang="0">
                    <a:pos x="3" y="32"/>
                  </a:cxn>
                  <a:cxn ang="0">
                    <a:pos x="0" y="28"/>
                  </a:cxn>
                  <a:cxn ang="0">
                    <a:pos x="0" y="25"/>
                  </a:cxn>
                  <a:cxn ang="0">
                    <a:pos x="0" y="21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7" y="4"/>
                  </a:cxn>
                  <a:cxn ang="0">
                    <a:pos x="9" y="2"/>
                  </a:cxn>
                  <a:cxn ang="0">
                    <a:pos x="13" y="0"/>
                  </a:cxn>
                  <a:cxn ang="0">
                    <a:pos x="17" y="2"/>
                  </a:cxn>
                  <a:cxn ang="0">
                    <a:pos x="17" y="2"/>
                  </a:cxn>
                </a:cxnLst>
                <a:rect l="0" t="0" r="r" b="b"/>
                <a:pathLst>
                  <a:path w="25" h="35">
                    <a:moveTo>
                      <a:pt x="17" y="2"/>
                    </a:moveTo>
                    <a:lnTo>
                      <a:pt x="17" y="2"/>
                    </a:lnTo>
                    <a:lnTo>
                      <a:pt x="17" y="2"/>
                    </a:lnTo>
                    <a:lnTo>
                      <a:pt x="21" y="3"/>
                    </a:lnTo>
                    <a:lnTo>
                      <a:pt x="23" y="7"/>
                    </a:lnTo>
                    <a:lnTo>
                      <a:pt x="25" y="11"/>
                    </a:lnTo>
                    <a:lnTo>
                      <a:pt x="23" y="14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17" y="31"/>
                    </a:lnTo>
                    <a:lnTo>
                      <a:pt x="14" y="33"/>
                    </a:lnTo>
                    <a:lnTo>
                      <a:pt x="11" y="35"/>
                    </a:lnTo>
                    <a:lnTo>
                      <a:pt x="7" y="33"/>
                    </a:lnTo>
                    <a:lnTo>
                      <a:pt x="7" y="33"/>
                    </a:lnTo>
                    <a:lnTo>
                      <a:pt x="3" y="32"/>
                    </a:lnTo>
                    <a:lnTo>
                      <a:pt x="0" y="28"/>
                    </a:lnTo>
                    <a:lnTo>
                      <a:pt x="0" y="25"/>
                    </a:lnTo>
                    <a:lnTo>
                      <a:pt x="0" y="21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7" y="4"/>
                    </a:lnTo>
                    <a:lnTo>
                      <a:pt x="9" y="2"/>
                    </a:lnTo>
                    <a:lnTo>
                      <a:pt x="13" y="0"/>
                    </a:lnTo>
                    <a:lnTo>
                      <a:pt x="17" y="2"/>
                    </a:lnTo>
                    <a:lnTo>
                      <a:pt x="17" y="2"/>
                    </a:lnTo>
                    <a:close/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4" name="Freeform 294"/>
              <p:cNvSpPr>
                <a:spLocks/>
              </p:cNvSpPr>
              <p:nvPr/>
            </p:nvSpPr>
            <p:spPr bwMode="auto">
              <a:xfrm>
                <a:off x="769913" y="2203252"/>
                <a:ext cx="41275" cy="66675"/>
              </a:xfrm>
              <a:custGeom>
                <a:avLst/>
                <a:gdLst/>
                <a:ahLst/>
                <a:cxnLst>
                  <a:cxn ang="0">
                    <a:pos x="20" y="1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4" y="2"/>
                  </a:cxn>
                  <a:cxn ang="0">
                    <a:pos x="26" y="6"/>
                  </a:cxn>
                  <a:cxn ang="0">
                    <a:pos x="26" y="10"/>
                  </a:cxn>
                  <a:cxn ang="0">
                    <a:pos x="26" y="14"/>
                  </a:cxn>
                  <a:cxn ang="0">
                    <a:pos x="19" y="34"/>
                  </a:cxn>
                  <a:cxn ang="0">
                    <a:pos x="19" y="34"/>
                  </a:cxn>
                  <a:cxn ang="0">
                    <a:pos x="17" y="38"/>
                  </a:cxn>
                  <a:cxn ang="0">
                    <a:pos x="14" y="40"/>
                  </a:cxn>
                  <a:cxn ang="0">
                    <a:pos x="10" y="4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4" y="39"/>
                  </a:cxn>
                  <a:cxn ang="0">
                    <a:pos x="1" y="35"/>
                  </a:cxn>
                  <a:cxn ang="0">
                    <a:pos x="0" y="32"/>
                  </a:cxn>
                  <a:cxn ang="0">
                    <a:pos x="0" y="28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10" y="4"/>
                  </a:cxn>
                  <a:cxn ang="0">
                    <a:pos x="12" y="1"/>
                  </a:cxn>
                  <a:cxn ang="0">
                    <a:pos x="16" y="0"/>
                  </a:cxn>
                  <a:cxn ang="0">
                    <a:pos x="20" y="1"/>
                  </a:cxn>
                  <a:cxn ang="0">
                    <a:pos x="20" y="1"/>
                  </a:cxn>
                </a:cxnLst>
                <a:rect l="0" t="0" r="r" b="b"/>
                <a:pathLst>
                  <a:path w="26" h="42">
                    <a:moveTo>
                      <a:pt x="20" y="1"/>
                    </a:moveTo>
                    <a:lnTo>
                      <a:pt x="20" y="1"/>
                    </a:lnTo>
                    <a:lnTo>
                      <a:pt x="20" y="1"/>
                    </a:lnTo>
                    <a:lnTo>
                      <a:pt x="24" y="2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19" y="34"/>
                    </a:lnTo>
                    <a:lnTo>
                      <a:pt x="19" y="34"/>
                    </a:lnTo>
                    <a:lnTo>
                      <a:pt x="17" y="38"/>
                    </a:lnTo>
                    <a:lnTo>
                      <a:pt x="14" y="40"/>
                    </a:lnTo>
                    <a:lnTo>
                      <a:pt x="10" y="4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4" y="39"/>
                    </a:lnTo>
                    <a:lnTo>
                      <a:pt x="1" y="35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10" y="4"/>
                    </a:lnTo>
                    <a:lnTo>
                      <a:pt x="12" y="1"/>
                    </a:lnTo>
                    <a:lnTo>
                      <a:pt x="16" y="0"/>
                    </a:lnTo>
                    <a:lnTo>
                      <a:pt x="20" y="1"/>
                    </a:lnTo>
                    <a:lnTo>
                      <a:pt x="20" y="1"/>
                    </a:lnTo>
                    <a:close/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5" name="Freeform 295"/>
              <p:cNvSpPr>
                <a:spLocks/>
              </p:cNvSpPr>
              <p:nvPr/>
            </p:nvSpPr>
            <p:spPr bwMode="auto">
              <a:xfrm>
                <a:off x="806426" y="2220714"/>
                <a:ext cx="38100" cy="55562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7" y="0"/>
                  </a:cxn>
                  <a:cxn ang="0">
                    <a:pos x="20" y="3"/>
                  </a:cxn>
                  <a:cxn ang="0">
                    <a:pos x="22" y="5"/>
                  </a:cxn>
                  <a:cxn ang="0">
                    <a:pos x="24" y="9"/>
                  </a:cxn>
                  <a:cxn ang="0">
                    <a:pos x="22" y="14"/>
                  </a:cxn>
                  <a:cxn ang="0">
                    <a:pos x="19" y="27"/>
                  </a:cxn>
                  <a:cxn ang="0">
                    <a:pos x="19" y="27"/>
                  </a:cxn>
                  <a:cxn ang="0">
                    <a:pos x="16" y="31"/>
                  </a:cxn>
                  <a:cxn ang="0">
                    <a:pos x="14" y="33"/>
                  </a:cxn>
                  <a:cxn ang="0">
                    <a:pos x="10" y="35"/>
                  </a:cxn>
                  <a:cxn ang="0">
                    <a:pos x="6" y="33"/>
                  </a:cxn>
                  <a:cxn ang="0">
                    <a:pos x="6" y="33"/>
                  </a:cxn>
                  <a:cxn ang="0">
                    <a:pos x="2" y="32"/>
                  </a:cxn>
                  <a:cxn ang="0">
                    <a:pos x="0" y="28"/>
                  </a:cxn>
                  <a:cxn ang="0">
                    <a:pos x="0" y="24"/>
                  </a:cxn>
                  <a:cxn ang="0">
                    <a:pos x="0" y="21"/>
                  </a:cxn>
                  <a:cxn ang="0">
                    <a:pos x="5" y="8"/>
                  </a:cxn>
                  <a:cxn ang="0">
                    <a:pos x="5" y="8"/>
                  </a:cxn>
                  <a:cxn ang="0">
                    <a:pos x="6" y="4"/>
                  </a:cxn>
                  <a:cxn ang="0">
                    <a:pos x="10" y="2"/>
                  </a:cxn>
                  <a:cxn ang="0">
                    <a:pos x="12" y="0"/>
                  </a:cxn>
                  <a:cxn ang="0">
                    <a:pos x="17" y="0"/>
                  </a:cxn>
                  <a:cxn ang="0">
                    <a:pos x="17" y="0"/>
                  </a:cxn>
                </a:cxnLst>
                <a:rect l="0" t="0" r="r" b="b"/>
                <a:pathLst>
                  <a:path w="24" h="35">
                    <a:moveTo>
                      <a:pt x="17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20" y="3"/>
                    </a:lnTo>
                    <a:lnTo>
                      <a:pt x="22" y="5"/>
                    </a:lnTo>
                    <a:lnTo>
                      <a:pt x="24" y="9"/>
                    </a:lnTo>
                    <a:lnTo>
                      <a:pt x="22" y="14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16" y="31"/>
                    </a:lnTo>
                    <a:lnTo>
                      <a:pt x="14" y="33"/>
                    </a:lnTo>
                    <a:lnTo>
                      <a:pt x="10" y="35"/>
                    </a:lnTo>
                    <a:lnTo>
                      <a:pt x="6" y="33"/>
                    </a:lnTo>
                    <a:lnTo>
                      <a:pt x="6" y="33"/>
                    </a:lnTo>
                    <a:lnTo>
                      <a:pt x="2" y="32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6" y="4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17" y="0"/>
                    </a:lnTo>
                    <a:close/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</p:grpSp>
        <p:sp>
          <p:nvSpPr>
            <p:cNvPr id="35" name="Freeform 407"/>
            <p:cNvSpPr>
              <a:spLocks/>
            </p:cNvSpPr>
            <p:nvPr/>
          </p:nvSpPr>
          <p:spPr bwMode="auto">
            <a:xfrm>
              <a:off x="4457274" y="3552748"/>
              <a:ext cx="924354" cy="568444"/>
            </a:xfrm>
            <a:custGeom>
              <a:avLst/>
              <a:gdLst/>
              <a:ahLst/>
              <a:cxnLst>
                <a:cxn ang="0">
                  <a:pos x="242" y="136"/>
                </a:cxn>
                <a:cxn ang="0">
                  <a:pos x="242" y="136"/>
                </a:cxn>
                <a:cxn ang="0">
                  <a:pos x="240" y="142"/>
                </a:cxn>
                <a:cxn ang="0">
                  <a:pos x="238" y="147"/>
                </a:cxn>
                <a:cxn ang="0">
                  <a:pos x="231" y="151"/>
                </a:cxn>
                <a:cxn ang="0">
                  <a:pos x="225" y="152"/>
                </a:cxn>
                <a:cxn ang="0">
                  <a:pos x="16" y="152"/>
                </a:cxn>
                <a:cxn ang="0">
                  <a:pos x="16" y="152"/>
                </a:cxn>
                <a:cxn ang="0">
                  <a:pos x="10" y="151"/>
                </a:cxn>
                <a:cxn ang="0">
                  <a:pos x="5" y="147"/>
                </a:cxn>
                <a:cxn ang="0">
                  <a:pos x="1" y="142"/>
                </a:cxn>
                <a:cxn ang="0">
                  <a:pos x="0" y="136"/>
                </a:cxn>
                <a:cxn ang="0">
                  <a:pos x="220" y="136"/>
                </a:cxn>
                <a:cxn ang="0">
                  <a:pos x="220" y="0"/>
                </a:cxn>
                <a:cxn ang="0">
                  <a:pos x="21" y="0"/>
                </a:cxn>
                <a:cxn ang="0">
                  <a:pos x="21" y="117"/>
                </a:cxn>
              </a:cxnLst>
              <a:rect l="0" t="0" r="r" b="b"/>
              <a:pathLst>
                <a:path w="242" h="152">
                  <a:moveTo>
                    <a:pt x="242" y="136"/>
                  </a:moveTo>
                  <a:lnTo>
                    <a:pt x="242" y="136"/>
                  </a:lnTo>
                  <a:lnTo>
                    <a:pt x="240" y="142"/>
                  </a:lnTo>
                  <a:lnTo>
                    <a:pt x="238" y="147"/>
                  </a:lnTo>
                  <a:lnTo>
                    <a:pt x="231" y="151"/>
                  </a:lnTo>
                  <a:lnTo>
                    <a:pt x="225" y="152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0" y="151"/>
                  </a:lnTo>
                  <a:lnTo>
                    <a:pt x="5" y="147"/>
                  </a:lnTo>
                  <a:lnTo>
                    <a:pt x="1" y="142"/>
                  </a:lnTo>
                  <a:lnTo>
                    <a:pt x="0" y="136"/>
                  </a:lnTo>
                  <a:lnTo>
                    <a:pt x="220" y="136"/>
                  </a:lnTo>
                  <a:lnTo>
                    <a:pt x="220" y="0"/>
                  </a:lnTo>
                  <a:lnTo>
                    <a:pt x="21" y="0"/>
                  </a:lnTo>
                  <a:lnTo>
                    <a:pt x="21" y="117"/>
                  </a:lnTo>
                </a:path>
              </a:pathLst>
            </a:custGeom>
            <a:noFill/>
            <a:ln w="28575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83969" tIns="41985" rIns="83969" bIns="41985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</p:grpSp>
      <p:grpSp>
        <p:nvGrpSpPr>
          <p:cNvPr id="6" name="Groupe 56"/>
          <p:cNvGrpSpPr/>
          <p:nvPr userDrawn="1"/>
        </p:nvGrpSpPr>
        <p:grpSpPr>
          <a:xfrm>
            <a:off x="2008823" y="2461852"/>
            <a:ext cx="4694872" cy="1015408"/>
            <a:chOff x="3189288" y="2360613"/>
            <a:chExt cx="6796854" cy="1470025"/>
          </a:xfrm>
          <a:effectLst>
            <a:outerShdw blurRad="76200" sx="102000" sy="102000" algn="ctr" rotWithShape="0">
              <a:prstClr val="black">
                <a:alpha val="8000"/>
              </a:prstClr>
            </a:outerShdw>
          </a:effectLst>
        </p:grpSpPr>
        <p:sp>
          <p:nvSpPr>
            <p:cNvPr id="46" name="Line 6"/>
            <p:cNvSpPr>
              <a:spLocks noChangeShapeType="1"/>
            </p:cNvSpPr>
            <p:nvPr userDrawn="1"/>
          </p:nvSpPr>
          <p:spPr bwMode="auto">
            <a:xfrm>
              <a:off x="8020050" y="3570289"/>
              <a:ext cx="1966092" cy="0"/>
            </a:xfrm>
            <a:prstGeom prst="line">
              <a:avLst/>
            </a:pr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47" name="Line 7"/>
            <p:cNvSpPr>
              <a:spLocks noChangeShapeType="1"/>
            </p:cNvSpPr>
            <p:nvPr userDrawn="1"/>
          </p:nvSpPr>
          <p:spPr bwMode="auto">
            <a:xfrm>
              <a:off x="8047038" y="2703513"/>
              <a:ext cx="1588" cy="598488"/>
            </a:xfrm>
            <a:prstGeom prst="line">
              <a:avLst/>
            </a:pr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9320213" y="2360613"/>
              <a:ext cx="265113" cy="268288"/>
            </a:xfrm>
            <a:custGeom>
              <a:avLst/>
              <a:gdLst/>
              <a:ahLst/>
              <a:cxnLst>
                <a:cxn ang="0">
                  <a:pos x="167" y="169"/>
                </a:cxn>
                <a:cxn ang="0">
                  <a:pos x="167" y="0"/>
                </a:cxn>
                <a:cxn ang="0">
                  <a:pos x="0" y="0"/>
                </a:cxn>
              </a:cxnLst>
              <a:rect l="0" t="0" r="r" b="b"/>
              <a:pathLst>
                <a:path w="167" h="169">
                  <a:moveTo>
                    <a:pt x="167" y="169"/>
                  </a:moveTo>
                  <a:lnTo>
                    <a:pt x="167" y="0"/>
                  </a:lnTo>
                  <a:lnTo>
                    <a:pt x="0" y="0"/>
                  </a:ln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49" name="Oval 9"/>
            <p:cNvSpPr>
              <a:spLocks noChangeArrowheads="1"/>
            </p:cNvSpPr>
            <p:nvPr userDrawn="1"/>
          </p:nvSpPr>
          <p:spPr bwMode="auto">
            <a:xfrm>
              <a:off x="5189538" y="2820988"/>
              <a:ext cx="244475" cy="247650"/>
            </a:xfrm>
            <a:prstGeom prst="ellipse">
              <a:avLst/>
            </a:pr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3481388" y="2703513"/>
              <a:ext cx="565150" cy="612775"/>
            </a:xfrm>
            <a:custGeom>
              <a:avLst/>
              <a:gdLst/>
              <a:ahLst/>
              <a:cxnLst>
                <a:cxn ang="0">
                  <a:pos x="23" y="53"/>
                </a:cxn>
                <a:cxn ang="0">
                  <a:pos x="0" y="5"/>
                </a:cxn>
                <a:cxn ang="0">
                  <a:pos x="55" y="0"/>
                </a:cxn>
                <a:cxn ang="0">
                  <a:pos x="45" y="15"/>
                </a:cxn>
                <a:cxn ang="0">
                  <a:pos x="80" y="57"/>
                </a:cxn>
                <a:cxn ang="0">
                  <a:pos x="40" y="89"/>
                </a:cxn>
                <a:cxn ang="0">
                  <a:pos x="55" y="69"/>
                </a:cxn>
                <a:cxn ang="0">
                  <a:pos x="52" y="53"/>
                </a:cxn>
                <a:cxn ang="0">
                  <a:pos x="32" y="41"/>
                </a:cxn>
              </a:cxnLst>
              <a:rect l="0" t="0" r="r" b="b"/>
              <a:pathLst>
                <a:path w="83" h="89">
                  <a:moveTo>
                    <a:pt x="23" y="53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83" y="34"/>
                    <a:pt x="80" y="57"/>
                  </a:cubicBezTo>
                  <a:cubicBezTo>
                    <a:pt x="77" y="81"/>
                    <a:pt x="52" y="88"/>
                    <a:pt x="40" y="89"/>
                  </a:cubicBezTo>
                  <a:cubicBezTo>
                    <a:pt x="50" y="76"/>
                    <a:pt x="55" y="69"/>
                    <a:pt x="55" y="69"/>
                  </a:cubicBezTo>
                  <a:cubicBezTo>
                    <a:pt x="55" y="69"/>
                    <a:pt x="60" y="62"/>
                    <a:pt x="52" y="53"/>
                  </a:cubicBezTo>
                  <a:cubicBezTo>
                    <a:pt x="44" y="45"/>
                    <a:pt x="32" y="41"/>
                    <a:pt x="32" y="41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1" name="Freeform 11"/>
            <p:cNvSpPr>
              <a:spLocks/>
            </p:cNvSpPr>
            <p:nvPr userDrawn="1"/>
          </p:nvSpPr>
          <p:spPr bwMode="auto">
            <a:xfrm>
              <a:off x="4611688" y="3260725"/>
              <a:ext cx="747713" cy="350838"/>
            </a:xfrm>
            <a:custGeom>
              <a:avLst/>
              <a:gdLst/>
              <a:ahLst/>
              <a:cxnLst>
                <a:cxn ang="0">
                  <a:pos x="110" y="2"/>
                </a:cxn>
                <a:cxn ang="0">
                  <a:pos x="101" y="3"/>
                </a:cxn>
                <a:cxn ang="0">
                  <a:pos x="85" y="1"/>
                </a:cxn>
                <a:cxn ang="0">
                  <a:pos x="86" y="0"/>
                </a:cxn>
                <a:cxn ang="0">
                  <a:pos x="66" y="20"/>
                </a:cxn>
                <a:cxn ang="0">
                  <a:pos x="54" y="20"/>
                </a:cxn>
                <a:cxn ang="0">
                  <a:pos x="45" y="29"/>
                </a:cxn>
                <a:cxn ang="0">
                  <a:pos x="36" y="38"/>
                </a:cxn>
                <a:cxn ang="0">
                  <a:pos x="24" y="51"/>
                </a:cxn>
                <a:cxn ang="0">
                  <a:pos x="0" y="51"/>
                </a:cxn>
                <a:cxn ang="0">
                  <a:pos x="12" y="38"/>
                </a:cxn>
              </a:cxnLst>
              <a:rect l="0" t="0" r="r" b="b"/>
              <a:pathLst>
                <a:path w="110" h="51">
                  <a:moveTo>
                    <a:pt x="110" y="2"/>
                  </a:moveTo>
                  <a:cubicBezTo>
                    <a:pt x="107" y="3"/>
                    <a:pt x="104" y="3"/>
                    <a:pt x="101" y="3"/>
                  </a:cubicBezTo>
                  <a:cubicBezTo>
                    <a:pt x="96" y="3"/>
                    <a:pt x="90" y="2"/>
                    <a:pt x="85" y="1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12" y="38"/>
                    <a:pt x="12" y="38"/>
                    <a:pt x="12" y="38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2" name="Freeform 12"/>
            <p:cNvSpPr>
              <a:spLocks/>
            </p:cNvSpPr>
            <p:nvPr userDrawn="1"/>
          </p:nvSpPr>
          <p:spPr bwMode="auto">
            <a:xfrm>
              <a:off x="3189288" y="2552700"/>
              <a:ext cx="3490913" cy="1073150"/>
            </a:xfrm>
            <a:custGeom>
              <a:avLst/>
              <a:gdLst/>
              <a:ahLst/>
              <a:cxnLst>
                <a:cxn ang="0">
                  <a:pos x="513" y="70"/>
                </a:cxn>
                <a:cxn ang="0">
                  <a:pos x="488" y="46"/>
                </a:cxn>
                <a:cxn ang="0">
                  <a:pos x="479" y="0"/>
                </a:cxn>
                <a:cxn ang="0">
                  <a:pos x="467" y="47"/>
                </a:cxn>
                <a:cxn ang="0">
                  <a:pos x="437" y="96"/>
                </a:cxn>
                <a:cxn ang="0">
                  <a:pos x="337" y="96"/>
                </a:cxn>
                <a:cxn ang="0">
                  <a:pos x="342" y="93"/>
                </a:cxn>
                <a:cxn ang="0">
                  <a:pos x="356" y="60"/>
                </a:cxn>
                <a:cxn ang="0">
                  <a:pos x="310" y="14"/>
                </a:cxn>
                <a:cxn ang="0">
                  <a:pos x="264" y="60"/>
                </a:cxn>
                <a:cxn ang="0">
                  <a:pos x="268" y="80"/>
                </a:cxn>
                <a:cxn ang="0">
                  <a:pos x="269" y="80"/>
                </a:cxn>
                <a:cxn ang="0">
                  <a:pos x="251" y="99"/>
                </a:cxn>
                <a:cxn ang="0">
                  <a:pos x="251" y="115"/>
                </a:cxn>
                <a:cxn ang="0">
                  <a:pos x="235" y="115"/>
                </a:cxn>
                <a:cxn ang="0">
                  <a:pos x="235" y="131"/>
                </a:cxn>
                <a:cxn ang="0">
                  <a:pos x="221" y="131"/>
                </a:cxn>
                <a:cxn ang="0">
                  <a:pos x="216" y="131"/>
                </a:cxn>
                <a:cxn ang="0">
                  <a:pos x="74" y="131"/>
                </a:cxn>
                <a:cxn ang="0">
                  <a:pos x="83" y="151"/>
                </a:cxn>
                <a:cxn ang="0">
                  <a:pos x="29" y="156"/>
                </a:cxn>
                <a:cxn ang="0">
                  <a:pos x="39" y="141"/>
                </a:cxn>
                <a:cxn ang="0">
                  <a:pos x="3" y="98"/>
                </a:cxn>
                <a:cxn ang="0">
                  <a:pos x="43" y="66"/>
                </a:cxn>
                <a:cxn ang="0">
                  <a:pos x="29" y="87"/>
                </a:cxn>
                <a:cxn ang="0">
                  <a:pos x="32" y="102"/>
                </a:cxn>
                <a:cxn ang="0">
                  <a:pos x="51" y="115"/>
                </a:cxn>
                <a:cxn ang="0">
                  <a:pos x="61" y="101"/>
                </a:cxn>
                <a:cxn ang="0">
                  <a:pos x="67" y="114"/>
                </a:cxn>
              </a:cxnLst>
              <a:rect l="0" t="0" r="r" b="b"/>
              <a:pathLst>
                <a:path w="513" h="156">
                  <a:moveTo>
                    <a:pt x="513" y="70"/>
                  </a:moveTo>
                  <a:cubicBezTo>
                    <a:pt x="513" y="70"/>
                    <a:pt x="509" y="49"/>
                    <a:pt x="488" y="46"/>
                  </a:cubicBezTo>
                  <a:cubicBezTo>
                    <a:pt x="497" y="37"/>
                    <a:pt x="511" y="4"/>
                    <a:pt x="479" y="0"/>
                  </a:cubicBezTo>
                  <a:cubicBezTo>
                    <a:pt x="443" y="5"/>
                    <a:pt x="467" y="47"/>
                    <a:pt x="467" y="47"/>
                  </a:cubicBezTo>
                  <a:cubicBezTo>
                    <a:pt x="467" y="47"/>
                    <a:pt x="441" y="51"/>
                    <a:pt x="437" y="96"/>
                  </a:cubicBezTo>
                  <a:cubicBezTo>
                    <a:pt x="337" y="96"/>
                    <a:pt x="337" y="96"/>
                    <a:pt x="337" y="96"/>
                  </a:cubicBezTo>
                  <a:cubicBezTo>
                    <a:pt x="342" y="93"/>
                    <a:pt x="342" y="93"/>
                    <a:pt x="342" y="93"/>
                  </a:cubicBezTo>
                  <a:cubicBezTo>
                    <a:pt x="351" y="85"/>
                    <a:pt x="356" y="73"/>
                    <a:pt x="356" y="60"/>
                  </a:cubicBezTo>
                  <a:cubicBezTo>
                    <a:pt x="356" y="35"/>
                    <a:pt x="336" y="14"/>
                    <a:pt x="310" y="14"/>
                  </a:cubicBezTo>
                  <a:cubicBezTo>
                    <a:pt x="285" y="14"/>
                    <a:pt x="264" y="35"/>
                    <a:pt x="264" y="60"/>
                  </a:cubicBezTo>
                  <a:cubicBezTo>
                    <a:pt x="264" y="67"/>
                    <a:pt x="266" y="74"/>
                    <a:pt x="268" y="80"/>
                  </a:cubicBezTo>
                  <a:cubicBezTo>
                    <a:pt x="269" y="80"/>
                    <a:pt x="269" y="80"/>
                    <a:pt x="269" y="80"/>
                  </a:cubicBezTo>
                  <a:cubicBezTo>
                    <a:pt x="251" y="99"/>
                    <a:pt x="251" y="99"/>
                    <a:pt x="251" y="99"/>
                  </a:cubicBezTo>
                  <a:cubicBezTo>
                    <a:pt x="251" y="115"/>
                    <a:pt x="251" y="115"/>
                    <a:pt x="251" y="115"/>
                  </a:cubicBezTo>
                  <a:cubicBezTo>
                    <a:pt x="235" y="115"/>
                    <a:pt x="235" y="115"/>
                    <a:pt x="235" y="115"/>
                  </a:cubicBezTo>
                  <a:cubicBezTo>
                    <a:pt x="235" y="131"/>
                    <a:pt x="235" y="131"/>
                    <a:pt x="235" y="131"/>
                  </a:cubicBezTo>
                  <a:cubicBezTo>
                    <a:pt x="221" y="131"/>
                    <a:pt x="221" y="131"/>
                    <a:pt x="221" y="131"/>
                  </a:cubicBezTo>
                  <a:cubicBezTo>
                    <a:pt x="216" y="131"/>
                    <a:pt x="216" y="131"/>
                    <a:pt x="216" y="131"/>
                  </a:cubicBezTo>
                  <a:cubicBezTo>
                    <a:pt x="74" y="131"/>
                    <a:pt x="74" y="131"/>
                    <a:pt x="74" y="131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29" y="156"/>
                    <a:pt x="29" y="156"/>
                    <a:pt x="29" y="156"/>
                  </a:cubicBezTo>
                  <a:cubicBezTo>
                    <a:pt x="39" y="141"/>
                    <a:pt x="39" y="141"/>
                    <a:pt x="39" y="141"/>
                  </a:cubicBezTo>
                  <a:cubicBezTo>
                    <a:pt x="39" y="141"/>
                    <a:pt x="0" y="122"/>
                    <a:pt x="3" y="98"/>
                  </a:cubicBezTo>
                  <a:cubicBezTo>
                    <a:pt x="6" y="75"/>
                    <a:pt x="32" y="67"/>
                    <a:pt x="43" y="66"/>
                  </a:cubicBezTo>
                  <a:cubicBezTo>
                    <a:pt x="34" y="80"/>
                    <a:pt x="29" y="87"/>
                    <a:pt x="29" y="87"/>
                  </a:cubicBezTo>
                  <a:cubicBezTo>
                    <a:pt x="29" y="87"/>
                    <a:pt x="24" y="94"/>
                    <a:pt x="32" y="102"/>
                  </a:cubicBezTo>
                  <a:cubicBezTo>
                    <a:pt x="40" y="110"/>
                    <a:pt x="51" y="115"/>
                    <a:pt x="51" y="115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7" y="114"/>
                    <a:pt x="67" y="114"/>
                    <a:pt x="67" y="114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3" name="Freeform 13"/>
            <p:cNvSpPr>
              <a:spLocks/>
            </p:cNvSpPr>
            <p:nvPr userDrawn="1"/>
          </p:nvSpPr>
          <p:spPr bwMode="auto">
            <a:xfrm>
              <a:off x="7013575" y="3549650"/>
              <a:ext cx="277813" cy="47625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0" y="4"/>
                </a:cxn>
              </a:cxnLst>
              <a:rect l="0" t="0" r="r" b="b"/>
              <a:pathLst>
                <a:path w="41" h="7">
                  <a:moveTo>
                    <a:pt x="41" y="0"/>
                  </a:moveTo>
                  <a:cubicBezTo>
                    <a:pt x="30" y="7"/>
                    <a:pt x="0" y="4"/>
                    <a:pt x="0" y="4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4" name="Freeform 14"/>
            <p:cNvSpPr>
              <a:spLocks/>
            </p:cNvSpPr>
            <p:nvPr userDrawn="1"/>
          </p:nvSpPr>
          <p:spPr bwMode="auto">
            <a:xfrm>
              <a:off x="6796088" y="2449513"/>
              <a:ext cx="2687638" cy="990600"/>
            </a:xfrm>
            <a:custGeom>
              <a:avLst/>
              <a:gdLst/>
              <a:ahLst/>
              <a:cxnLst>
                <a:cxn ang="0">
                  <a:pos x="8" y="106"/>
                </a:cxn>
                <a:cxn ang="0">
                  <a:pos x="25" y="94"/>
                </a:cxn>
                <a:cxn ang="0">
                  <a:pos x="37" y="46"/>
                </a:cxn>
                <a:cxn ang="0">
                  <a:pos x="46" y="93"/>
                </a:cxn>
                <a:cxn ang="0">
                  <a:pos x="76" y="144"/>
                </a:cxn>
                <a:cxn ang="0">
                  <a:pos x="104" y="144"/>
                </a:cxn>
                <a:cxn ang="0">
                  <a:pos x="184" y="144"/>
                </a:cxn>
                <a:cxn ang="0">
                  <a:pos x="236" y="90"/>
                </a:cxn>
                <a:cxn ang="0">
                  <a:pos x="270" y="123"/>
                </a:cxn>
                <a:cxn ang="0">
                  <a:pos x="395" y="0"/>
                </a:cxn>
              </a:cxnLst>
              <a:rect l="0" t="0" r="r" b="b"/>
              <a:pathLst>
                <a:path w="395" h="144">
                  <a:moveTo>
                    <a:pt x="8" y="106"/>
                  </a:moveTo>
                  <a:cubicBezTo>
                    <a:pt x="16" y="95"/>
                    <a:pt x="25" y="94"/>
                    <a:pt x="25" y="94"/>
                  </a:cubicBezTo>
                  <a:cubicBezTo>
                    <a:pt x="25" y="94"/>
                    <a:pt x="0" y="52"/>
                    <a:pt x="37" y="46"/>
                  </a:cubicBezTo>
                  <a:cubicBezTo>
                    <a:pt x="68" y="51"/>
                    <a:pt x="54" y="84"/>
                    <a:pt x="46" y="93"/>
                  </a:cubicBezTo>
                  <a:cubicBezTo>
                    <a:pt x="70" y="102"/>
                    <a:pt x="75" y="125"/>
                    <a:pt x="76" y="144"/>
                  </a:cubicBezTo>
                  <a:cubicBezTo>
                    <a:pt x="104" y="144"/>
                    <a:pt x="104" y="144"/>
                    <a:pt x="104" y="144"/>
                  </a:cubicBezTo>
                  <a:cubicBezTo>
                    <a:pt x="184" y="144"/>
                    <a:pt x="184" y="144"/>
                    <a:pt x="184" y="144"/>
                  </a:cubicBezTo>
                  <a:cubicBezTo>
                    <a:pt x="236" y="90"/>
                    <a:pt x="236" y="90"/>
                    <a:pt x="236" y="90"/>
                  </a:cubicBezTo>
                  <a:cubicBezTo>
                    <a:pt x="270" y="123"/>
                    <a:pt x="270" y="123"/>
                    <a:pt x="270" y="123"/>
                  </a:cubicBezTo>
                  <a:cubicBezTo>
                    <a:pt x="395" y="0"/>
                    <a:pt x="395" y="0"/>
                    <a:pt x="395" y="0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6386513" y="3033713"/>
              <a:ext cx="571500" cy="796925"/>
            </a:xfrm>
            <a:custGeom>
              <a:avLst/>
              <a:gdLst/>
              <a:ahLst/>
              <a:cxnLst>
                <a:cxn ang="0">
                  <a:pos x="0" y="108"/>
                </a:cxn>
                <a:cxn ang="0">
                  <a:pos x="33" y="47"/>
                </a:cxn>
                <a:cxn ang="0">
                  <a:pos x="44" y="0"/>
                </a:cxn>
                <a:cxn ang="0">
                  <a:pos x="53" y="46"/>
                </a:cxn>
                <a:cxn ang="0">
                  <a:pos x="84" y="110"/>
                </a:cxn>
                <a:cxn ang="0">
                  <a:pos x="23" y="114"/>
                </a:cxn>
              </a:cxnLst>
              <a:rect l="0" t="0" r="r" b="b"/>
              <a:pathLst>
                <a:path w="84" h="116">
                  <a:moveTo>
                    <a:pt x="0" y="108"/>
                  </a:moveTo>
                  <a:cubicBezTo>
                    <a:pt x="0" y="54"/>
                    <a:pt x="33" y="47"/>
                    <a:pt x="33" y="47"/>
                  </a:cubicBezTo>
                  <a:cubicBezTo>
                    <a:pt x="33" y="47"/>
                    <a:pt x="8" y="5"/>
                    <a:pt x="44" y="0"/>
                  </a:cubicBezTo>
                  <a:cubicBezTo>
                    <a:pt x="76" y="5"/>
                    <a:pt x="62" y="37"/>
                    <a:pt x="53" y="46"/>
                  </a:cubicBezTo>
                  <a:cubicBezTo>
                    <a:pt x="82" y="57"/>
                    <a:pt x="84" y="91"/>
                    <a:pt x="84" y="110"/>
                  </a:cubicBezTo>
                  <a:cubicBezTo>
                    <a:pt x="73" y="116"/>
                    <a:pt x="23" y="114"/>
                    <a:pt x="23" y="114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6" name="Line 16"/>
            <p:cNvSpPr>
              <a:spLocks noChangeShapeType="1"/>
            </p:cNvSpPr>
            <p:nvPr userDrawn="1"/>
          </p:nvSpPr>
          <p:spPr bwMode="auto">
            <a:xfrm flipV="1">
              <a:off x="6299200" y="3302000"/>
              <a:ext cx="265113" cy="6350"/>
            </a:xfrm>
            <a:prstGeom prst="line">
              <a:avLst/>
            </a:pr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65166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5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accent6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6303"/>
            <a:ext cx="9906000" cy="1362097"/>
          </a:xfrm>
          <a:prstGeom prst="rect">
            <a:avLst/>
          </a:prstGeom>
        </p:spPr>
        <p:txBody>
          <a:bodyPr vert="horz" lIns="108000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3600" b="0" kern="1200" cap="none" baseline="0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914342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noProof="0" dirty="0" smtClean="0"/>
              <a:t>Click to edit Master text style</a:t>
            </a:r>
          </a:p>
        </p:txBody>
      </p:sp>
      <p:grpSp>
        <p:nvGrpSpPr>
          <p:cNvPr id="3" name="Groupe 82"/>
          <p:cNvGrpSpPr/>
          <p:nvPr userDrawn="1"/>
        </p:nvGrpSpPr>
        <p:grpSpPr>
          <a:xfrm>
            <a:off x="6484510" y="2191794"/>
            <a:ext cx="2348339" cy="1444141"/>
            <a:chOff x="4457274" y="3552748"/>
            <a:chExt cx="924354" cy="568444"/>
          </a:xfrm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grpSpPr>
        <p:grpSp>
          <p:nvGrpSpPr>
            <p:cNvPr id="4" name="Groupe 538"/>
            <p:cNvGrpSpPr/>
            <p:nvPr/>
          </p:nvGrpSpPr>
          <p:grpSpPr>
            <a:xfrm>
              <a:off x="4568093" y="3652792"/>
              <a:ext cx="702725" cy="346657"/>
              <a:chOff x="627038" y="2068314"/>
              <a:chExt cx="412750" cy="207962"/>
            </a:xfrm>
          </p:grpSpPr>
          <p:sp>
            <p:nvSpPr>
              <p:cNvPr id="36" name="Freeform 286"/>
              <p:cNvSpPr>
                <a:spLocks/>
              </p:cNvSpPr>
              <p:nvPr/>
            </p:nvSpPr>
            <p:spPr bwMode="auto">
              <a:xfrm>
                <a:off x="957238" y="2069902"/>
                <a:ext cx="82550" cy="185737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0" y="21"/>
                  </a:cxn>
                  <a:cxn ang="0">
                    <a:pos x="34" y="117"/>
                  </a:cxn>
                  <a:cxn ang="0">
                    <a:pos x="34" y="117"/>
                  </a:cxn>
                  <a:cxn ang="0">
                    <a:pos x="44" y="113"/>
                  </a:cxn>
                  <a:cxn ang="0">
                    <a:pos x="52" y="110"/>
                  </a:cxn>
                </a:cxnLst>
                <a:rect l="0" t="0" r="r" b="b"/>
                <a:pathLst>
                  <a:path w="52" h="117">
                    <a:moveTo>
                      <a:pt x="52" y="0"/>
                    </a:moveTo>
                    <a:lnTo>
                      <a:pt x="0" y="21"/>
                    </a:lnTo>
                    <a:lnTo>
                      <a:pt x="34" y="117"/>
                    </a:lnTo>
                    <a:lnTo>
                      <a:pt x="34" y="117"/>
                    </a:lnTo>
                    <a:lnTo>
                      <a:pt x="44" y="113"/>
                    </a:lnTo>
                    <a:lnTo>
                      <a:pt x="52" y="110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37" name="Freeform 287"/>
              <p:cNvSpPr>
                <a:spLocks/>
              </p:cNvSpPr>
              <p:nvPr/>
            </p:nvSpPr>
            <p:spPr bwMode="auto">
              <a:xfrm>
                <a:off x="627038" y="2231827"/>
                <a:ext cx="38100" cy="23812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9" y="15"/>
                  </a:cxn>
                  <a:cxn ang="0">
                    <a:pos x="24" y="0"/>
                  </a:cxn>
                </a:cxnLst>
                <a:rect l="0" t="0" r="r" b="b"/>
                <a:pathLst>
                  <a:path w="24" h="15">
                    <a:moveTo>
                      <a:pt x="0" y="8"/>
                    </a:moveTo>
                    <a:lnTo>
                      <a:pt x="19" y="15"/>
                    </a:lnTo>
                    <a:lnTo>
                      <a:pt x="24" y="0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38" name="Freeform 288"/>
              <p:cNvSpPr>
                <a:spLocks/>
              </p:cNvSpPr>
              <p:nvPr/>
            </p:nvSpPr>
            <p:spPr bwMode="auto">
              <a:xfrm>
                <a:off x="627038" y="2068314"/>
                <a:ext cx="84138" cy="30162"/>
              </a:xfrm>
              <a:custGeom>
                <a:avLst/>
                <a:gdLst/>
                <a:ahLst/>
                <a:cxnLst>
                  <a:cxn ang="0">
                    <a:pos x="53" y="19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53" h="19">
                    <a:moveTo>
                      <a:pt x="53" y="19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39" name="Freeform 289"/>
              <p:cNvSpPr>
                <a:spLocks/>
              </p:cNvSpPr>
              <p:nvPr/>
            </p:nvSpPr>
            <p:spPr bwMode="auto">
              <a:xfrm>
                <a:off x="687363" y="2096889"/>
                <a:ext cx="134938" cy="120650"/>
              </a:xfrm>
              <a:custGeom>
                <a:avLst/>
                <a:gdLst/>
                <a:ahLst/>
                <a:cxnLst>
                  <a:cxn ang="0">
                    <a:pos x="85" y="0"/>
                  </a:cxn>
                  <a:cxn ang="0">
                    <a:pos x="29" y="4"/>
                  </a:cxn>
                  <a:cxn ang="0">
                    <a:pos x="29" y="4"/>
                  </a:cxn>
                  <a:cxn ang="0">
                    <a:pos x="28" y="5"/>
                  </a:cxn>
                  <a:cxn ang="0">
                    <a:pos x="25" y="6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11" y="43"/>
                  </a:cxn>
                  <a:cxn ang="0">
                    <a:pos x="0" y="74"/>
                  </a:cxn>
                  <a:cxn ang="0">
                    <a:pos x="10" y="76"/>
                  </a:cxn>
                </a:cxnLst>
                <a:rect l="0" t="0" r="r" b="b"/>
                <a:pathLst>
                  <a:path w="85" h="76">
                    <a:moveTo>
                      <a:pt x="85" y="0"/>
                    </a:moveTo>
                    <a:lnTo>
                      <a:pt x="29" y="4"/>
                    </a:lnTo>
                    <a:lnTo>
                      <a:pt x="29" y="4"/>
                    </a:lnTo>
                    <a:lnTo>
                      <a:pt x="28" y="5"/>
                    </a:lnTo>
                    <a:lnTo>
                      <a:pt x="25" y="6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11" y="43"/>
                    </a:lnTo>
                    <a:lnTo>
                      <a:pt x="0" y="74"/>
                    </a:lnTo>
                    <a:lnTo>
                      <a:pt x="10" y="76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0" name="Freeform 290"/>
              <p:cNvSpPr>
                <a:spLocks/>
              </p:cNvSpPr>
              <p:nvPr/>
            </p:nvSpPr>
            <p:spPr bwMode="auto">
              <a:xfrm>
                <a:off x="846113" y="2188964"/>
                <a:ext cx="114300" cy="87312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0" y="34"/>
                  </a:cxn>
                  <a:cxn ang="0">
                    <a:pos x="6" y="39"/>
                  </a:cxn>
                  <a:cxn ang="0">
                    <a:pos x="13" y="44"/>
                  </a:cxn>
                  <a:cxn ang="0">
                    <a:pos x="13" y="44"/>
                  </a:cxn>
                  <a:cxn ang="0">
                    <a:pos x="19" y="51"/>
                  </a:cxn>
                  <a:cxn ang="0">
                    <a:pos x="21" y="53"/>
                  </a:cxn>
                  <a:cxn ang="0">
                    <a:pos x="25" y="55"/>
                  </a:cxn>
                  <a:cxn ang="0">
                    <a:pos x="28" y="55"/>
                  </a:cxn>
                  <a:cxn ang="0">
                    <a:pos x="28" y="55"/>
                  </a:cxn>
                  <a:cxn ang="0">
                    <a:pos x="32" y="55"/>
                  </a:cxn>
                  <a:cxn ang="0">
                    <a:pos x="34" y="52"/>
                  </a:cxn>
                  <a:cxn ang="0">
                    <a:pos x="37" y="48"/>
                  </a:cxn>
                  <a:cxn ang="0">
                    <a:pos x="37" y="46"/>
                  </a:cxn>
                  <a:cxn ang="0">
                    <a:pos x="37" y="46"/>
                  </a:cxn>
                  <a:cxn ang="0">
                    <a:pos x="37" y="43"/>
                  </a:cxn>
                  <a:cxn ang="0">
                    <a:pos x="35" y="41"/>
                  </a:cxn>
                  <a:cxn ang="0">
                    <a:pos x="32" y="35"/>
                  </a:cxn>
                  <a:cxn ang="0">
                    <a:pos x="23" y="29"/>
                  </a:cxn>
                  <a:cxn ang="0">
                    <a:pos x="8" y="14"/>
                  </a:cxn>
                  <a:cxn ang="0">
                    <a:pos x="9" y="13"/>
                  </a:cxn>
                  <a:cxn ang="0">
                    <a:pos x="33" y="34"/>
                  </a:cxn>
                  <a:cxn ang="0">
                    <a:pos x="33" y="34"/>
                  </a:cxn>
                  <a:cxn ang="0">
                    <a:pos x="38" y="39"/>
                  </a:cxn>
                  <a:cxn ang="0">
                    <a:pos x="42" y="42"/>
                  </a:cxn>
                  <a:cxn ang="0">
                    <a:pos x="46" y="44"/>
                  </a:cxn>
                  <a:cxn ang="0">
                    <a:pos x="46" y="44"/>
                  </a:cxn>
                  <a:cxn ang="0">
                    <a:pos x="49" y="44"/>
                  </a:cxn>
                  <a:cxn ang="0">
                    <a:pos x="53" y="42"/>
                  </a:cxn>
                  <a:cxn ang="0">
                    <a:pos x="53" y="42"/>
                  </a:cxn>
                  <a:cxn ang="0">
                    <a:pos x="56" y="39"/>
                  </a:cxn>
                  <a:cxn ang="0">
                    <a:pos x="58" y="34"/>
                  </a:cxn>
                  <a:cxn ang="0">
                    <a:pos x="58" y="34"/>
                  </a:cxn>
                  <a:cxn ang="0">
                    <a:pos x="57" y="32"/>
                  </a:cxn>
                  <a:cxn ang="0">
                    <a:pos x="56" y="29"/>
                  </a:cxn>
                  <a:cxn ang="0">
                    <a:pos x="52" y="25"/>
                  </a:cxn>
                  <a:cxn ang="0">
                    <a:pos x="27" y="3"/>
                  </a:cxn>
                  <a:cxn ang="0">
                    <a:pos x="27" y="3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44" y="15"/>
                  </a:cxn>
                  <a:cxn ang="0">
                    <a:pos x="44" y="15"/>
                  </a:cxn>
                  <a:cxn ang="0">
                    <a:pos x="53" y="23"/>
                  </a:cxn>
                  <a:cxn ang="0">
                    <a:pos x="58" y="27"/>
                  </a:cxn>
                  <a:cxn ang="0">
                    <a:pos x="62" y="28"/>
                  </a:cxn>
                  <a:cxn ang="0">
                    <a:pos x="62" y="28"/>
                  </a:cxn>
                  <a:cxn ang="0">
                    <a:pos x="62" y="28"/>
                  </a:cxn>
                  <a:cxn ang="0">
                    <a:pos x="66" y="28"/>
                  </a:cxn>
                  <a:cxn ang="0">
                    <a:pos x="70" y="25"/>
                  </a:cxn>
                  <a:cxn ang="0">
                    <a:pos x="72" y="23"/>
                  </a:cxn>
                  <a:cxn ang="0">
                    <a:pos x="72" y="19"/>
                  </a:cxn>
                  <a:cxn ang="0">
                    <a:pos x="72" y="18"/>
                  </a:cxn>
                </a:cxnLst>
                <a:rect l="0" t="0" r="r" b="b"/>
                <a:pathLst>
                  <a:path w="72" h="55">
                    <a:moveTo>
                      <a:pt x="0" y="34"/>
                    </a:moveTo>
                    <a:lnTo>
                      <a:pt x="0" y="34"/>
                    </a:lnTo>
                    <a:lnTo>
                      <a:pt x="6" y="39"/>
                    </a:lnTo>
                    <a:lnTo>
                      <a:pt x="13" y="44"/>
                    </a:lnTo>
                    <a:lnTo>
                      <a:pt x="13" y="44"/>
                    </a:lnTo>
                    <a:lnTo>
                      <a:pt x="19" y="51"/>
                    </a:lnTo>
                    <a:lnTo>
                      <a:pt x="21" y="53"/>
                    </a:lnTo>
                    <a:lnTo>
                      <a:pt x="25" y="55"/>
                    </a:lnTo>
                    <a:lnTo>
                      <a:pt x="28" y="55"/>
                    </a:lnTo>
                    <a:lnTo>
                      <a:pt x="28" y="55"/>
                    </a:lnTo>
                    <a:lnTo>
                      <a:pt x="32" y="55"/>
                    </a:lnTo>
                    <a:lnTo>
                      <a:pt x="34" y="52"/>
                    </a:lnTo>
                    <a:lnTo>
                      <a:pt x="37" y="48"/>
                    </a:lnTo>
                    <a:lnTo>
                      <a:pt x="37" y="46"/>
                    </a:lnTo>
                    <a:lnTo>
                      <a:pt x="37" y="46"/>
                    </a:lnTo>
                    <a:lnTo>
                      <a:pt x="37" y="43"/>
                    </a:lnTo>
                    <a:lnTo>
                      <a:pt x="35" y="41"/>
                    </a:lnTo>
                    <a:lnTo>
                      <a:pt x="32" y="35"/>
                    </a:lnTo>
                    <a:lnTo>
                      <a:pt x="23" y="29"/>
                    </a:lnTo>
                    <a:lnTo>
                      <a:pt x="8" y="14"/>
                    </a:lnTo>
                    <a:lnTo>
                      <a:pt x="9" y="13"/>
                    </a:lnTo>
                    <a:lnTo>
                      <a:pt x="33" y="34"/>
                    </a:lnTo>
                    <a:lnTo>
                      <a:pt x="33" y="34"/>
                    </a:lnTo>
                    <a:lnTo>
                      <a:pt x="38" y="39"/>
                    </a:lnTo>
                    <a:lnTo>
                      <a:pt x="42" y="42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9" y="44"/>
                    </a:lnTo>
                    <a:lnTo>
                      <a:pt x="53" y="42"/>
                    </a:lnTo>
                    <a:lnTo>
                      <a:pt x="53" y="42"/>
                    </a:lnTo>
                    <a:lnTo>
                      <a:pt x="56" y="39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7" y="32"/>
                    </a:lnTo>
                    <a:lnTo>
                      <a:pt x="56" y="29"/>
                    </a:lnTo>
                    <a:lnTo>
                      <a:pt x="52" y="25"/>
                    </a:lnTo>
                    <a:lnTo>
                      <a:pt x="27" y="3"/>
                    </a:lnTo>
                    <a:lnTo>
                      <a:pt x="27" y="3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44" y="15"/>
                    </a:lnTo>
                    <a:lnTo>
                      <a:pt x="44" y="15"/>
                    </a:lnTo>
                    <a:lnTo>
                      <a:pt x="53" y="23"/>
                    </a:lnTo>
                    <a:lnTo>
                      <a:pt x="58" y="27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6" y="28"/>
                    </a:lnTo>
                    <a:lnTo>
                      <a:pt x="70" y="25"/>
                    </a:lnTo>
                    <a:lnTo>
                      <a:pt x="72" y="23"/>
                    </a:lnTo>
                    <a:lnTo>
                      <a:pt x="72" y="19"/>
                    </a:lnTo>
                    <a:lnTo>
                      <a:pt x="72" y="18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1" name="Freeform 291"/>
              <p:cNvSpPr>
                <a:spLocks/>
              </p:cNvSpPr>
              <p:nvPr/>
            </p:nvSpPr>
            <p:spPr bwMode="auto">
              <a:xfrm>
                <a:off x="792138" y="2093714"/>
                <a:ext cx="192088" cy="138112"/>
              </a:xfrm>
              <a:custGeom>
                <a:avLst/>
                <a:gdLst/>
                <a:ahLst/>
                <a:cxnLst>
                  <a:cxn ang="0">
                    <a:pos x="93" y="4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8" y="0"/>
                  </a:cxn>
                  <a:cxn ang="0">
                    <a:pos x="24" y="2"/>
                  </a:cxn>
                  <a:cxn ang="0">
                    <a:pos x="20" y="3"/>
                  </a:cxn>
                  <a:cxn ang="0">
                    <a:pos x="19" y="6"/>
                  </a:cxn>
                  <a:cxn ang="0">
                    <a:pos x="19" y="6"/>
                  </a:cxn>
                  <a:cxn ang="0">
                    <a:pos x="14" y="16"/>
                  </a:cxn>
                  <a:cxn ang="0">
                    <a:pos x="9" y="25"/>
                  </a:cxn>
                  <a:cxn ang="0">
                    <a:pos x="0" y="45"/>
                  </a:cxn>
                  <a:cxn ang="0">
                    <a:pos x="0" y="45"/>
                  </a:cxn>
                  <a:cxn ang="0">
                    <a:pos x="2" y="47"/>
                  </a:cxn>
                  <a:cxn ang="0">
                    <a:pos x="5" y="49"/>
                  </a:cxn>
                  <a:cxn ang="0">
                    <a:pos x="9" y="50"/>
                  </a:cxn>
                  <a:cxn ang="0">
                    <a:pos x="12" y="50"/>
                  </a:cxn>
                  <a:cxn ang="0">
                    <a:pos x="12" y="50"/>
                  </a:cxn>
                  <a:cxn ang="0">
                    <a:pos x="16" y="49"/>
                  </a:cxn>
                  <a:cxn ang="0">
                    <a:pos x="19" y="47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29" y="32"/>
                  </a:cxn>
                  <a:cxn ang="0">
                    <a:pos x="31" y="27"/>
                  </a:cxn>
                  <a:cxn ang="0">
                    <a:pos x="31" y="27"/>
                  </a:cxn>
                  <a:cxn ang="0">
                    <a:pos x="35" y="19"/>
                  </a:cxn>
                  <a:cxn ang="0">
                    <a:pos x="35" y="19"/>
                  </a:cxn>
                  <a:cxn ang="0">
                    <a:pos x="50" y="21"/>
                  </a:cxn>
                  <a:cxn ang="0">
                    <a:pos x="50" y="21"/>
                  </a:cxn>
                  <a:cxn ang="0">
                    <a:pos x="53" y="21"/>
                  </a:cxn>
                  <a:cxn ang="0">
                    <a:pos x="55" y="23"/>
                  </a:cxn>
                  <a:cxn ang="0">
                    <a:pos x="59" y="27"/>
                  </a:cxn>
                  <a:cxn ang="0">
                    <a:pos x="59" y="27"/>
                  </a:cxn>
                  <a:cxn ang="0">
                    <a:pos x="76" y="42"/>
                  </a:cxn>
                  <a:cxn ang="0">
                    <a:pos x="121" y="87"/>
                  </a:cxn>
                </a:cxnLst>
                <a:rect l="0" t="0" r="r" b="b"/>
                <a:pathLst>
                  <a:path w="121" h="87">
                    <a:moveTo>
                      <a:pt x="93" y="4"/>
                    </a:moveTo>
                    <a:lnTo>
                      <a:pt x="31" y="0"/>
                    </a:lnTo>
                    <a:lnTo>
                      <a:pt x="31" y="0"/>
                    </a:lnTo>
                    <a:lnTo>
                      <a:pt x="28" y="0"/>
                    </a:lnTo>
                    <a:lnTo>
                      <a:pt x="24" y="2"/>
                    </a:lnTo>
                    <a:lnTo>
                      <a:pt x="20" y="3"/>
                    </a:lnTo>
                    <a:lnTo>
                      <a:pt x="19" y="6"/>
                    </a:lnTo>
                    <a:lnTo>
                      <a:pt x="19" y="6"/>
                    </a:lnTo>
                    <a:lnTo>
                      <a:pt x="14" y="16"/>
                    </a:lnTo>
                    <a:lnTo>
                      <a:pt x="9" y="25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2" y="47"/>
                    </a:lnTo>
                    <a:lnTo>
                      <a:pt x="5" y="49"/>
                    </a:lnTo>
                    <a:lnTo>
                      <a:pt x="9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6" y="49"/>
                    </a:lnTo>
                    <a:lnTo>
                      <a:pt x="19" y="47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9" y="32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5" y="19"/>
                    </a:lnTo>
                    <a:lnTo>
                      <a:pt x="35" y="19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3" y="21"/>
                    </a:lnTo>
                    <a:lnTo>
                      <a:pt x="55" y="23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76" y="42"/>
                    </a:lnTo>
                    <a:lnTo>
                      <a:pt x="121" y="87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2" name="Freeform 292"/>
              <p:cNvSpPr>
                <a:spLocks/>
              </p:cNvSpPr>
              <p:nvPr/>
            </p:nvSpPr>
            <p:spPr bwMode="auto">
              <a:xfrm>
                <a:off x="734988" y="2193727"/>
                <a:ext cx="44450" cy="6350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24" y="2"/>
                  </a:cxn>
                  <a:cxn ang="0">
                    <a:pos x="27" y="5"/>
                  </a:cxn>
                  <a:cxn ang="0">
                    <a:pos x="28" y="8"/>
                  </a:cxn>
                  <a:cxn ang="0">
                    <a:pos x="28" y="12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18" y="36"/>
                  </a:cxn>
                  <a:cxn ang="0">
                    <a:pos x="15" y="39"/>
                  </a:cxn>
                  <a:cxn ang="0">
                    <a:pos x="12" y="40"/>
                  </a:cxn>
                  <a:cxn ang="0">
                    <a:pos x="8" y="39"/>
                  </a:cxn>
                  <a:cxn ang="0">
                    <a:pos x="8" y="39"/>
                  </a:cxn>
                  <a:cxn ang="0">
                    <a:pos x="4" y="38"/>
                  </a:cxn>
                  <a:cxn ang="0">
                    <a:pos x="1" y="34"/>
                  </a:cxn>
                  <a:cxn ang="0">
                    <a:pos x="0" y="31"/>
                  </a:cxn>
                  <a:cxn ang="0">
                    <a:pos x="1" y="27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10" y="2"/>
                  </a:cxn>
                  <a:cxn ang="0">
                    <a:pos x="14" y="0"/>
                  </a:cxn>
                  <a:cxn ang="0">
                    <a:pos x="17" y="0"/>
                  </a:cxn>
                  <a:cxn ang="0">
                    <a:pos x="22" y="0"/>
                  </a:cxn>
                  <a:cxn ang="0">
                    <a:pos x="22" y="0"/>
                  </a:cxn>
                </a:cxnLst>
                <a:rect l="0" t="0" r="r" b="b"/>
                <a:pathLst>
                  <a:path w="28" h="40">
                    <a:moveTo>
                      <a:pt x="22" y="0"/>
                    </a:moveTo>
                    <a:lnTo>
                      <a:pt x="22" y="0"/>
                    </a:lnTo>
                    <a:lnTo>
                      <a:pt x="22" y="0"/>
                    </a:lnTo>
                    <a:lnTo>
                      <a:pt x="24" y="2"/>
                    </a:lnTo>
                    <a:lnTo>
                      <a:pt x="27" y="5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18" y="36"/>
                    </a:lnTo>
                    <a:lnTo>
                      <a:pt x="15" y="39"/>
                    </a:lnTo>
                    <a:lnTo>
                      <a:pt x="12" y="40"/>
                    </a:lnTo>
                    <a:lnTo>
                      <a:pt x="8" y="39"/>
                    </a:lnTo>
                    <a:lnTo>
                      <a:pt x="8" y="39"/>
                    </a:lnTo>
                    <a:lnTo>
                      <a:pt x="4" y="38"/>
                    </a:lnTo>
                    <a:lnTo>
                      <a:pt x="1" y="34"/>
                    </a:lnTo>
                    <a:lnTo>
                      <a:pt x="0" y="31"/>
                    </a:lnTo>
                    <a:lnTo>
                      <a:pt x="1" y="27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0" y="2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3" name="Freeform 293"/>
              <p:cNvSpPr>
                <a:spLocks/>
              </p:cNvSpPr>
              <p:nvPr/>
            </p:nvSpPr>
            <p:spPr bwMode="auto">
              <a:xfrm>
                <a:off x="706413" y="2184202"/>
                <a:ext cx="39688" cy="55562"/>
              </a:xfrm>
              <a:custGeom>
                <a:avLst/>
                <a:gdLst/>
                <a:ahLst/>
                <a:cxnLst>
                  <a:cxn ang="0">
                    <a:pos x="17" y="2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21" y="3"/>
                  </a:cxn>
                  <a:cxn ang="0">
                    <a:pos x="23" y="7"/>
                  </a:cxn>
                  <a:cxn ang="0">
                    <a:pos x="25" y="11"/>
                  </a:cxn>
                  <a:cxn ang="0">
                    <a:pos x="23" y="14"/>
                  </a:cxn>
                  <a:cxn ang="0">
                    <a:pos x="19" y="27"/>
                  </a:cxn>
                  <a:cxn ang="0">
                    <a:pos x="19" y="27"/>
                  </a:cxn>
                  <a:cxn ang="0">
                    <a:pos x="17" y="31"/>
                  </a:cxn>
                  <a:cxn ang="0">
                    <a:pos x="14" y="33"/>
                  </a:cxn>
                  <a:cxn ang="0">
                    <a:pos x="11" y="35"/>
                  </a:cxn>
                  <a:cxn ang="0">
                    <a:pos x="7" y="33"/>
                  </a:cxn>
                  <a:cxn ang="0">
                    <a:pos x="7" y="33"/>
                  </a:cxn>
                  <a:cxn ang="0">
                    <a:pos x="3" y="32"/>
                  </a:cxn>
                  <a:cxn ang="0">
                    <a:pos x="0" y="28"/>
                  </a:cxn>
                  <a:cxn ang="0">
                    <a:pos x="0" y="25"/>
                  </a:cxn>
                  <a:cxn ang="0">
                    <a:pos x="0" y="21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7" y="4"/>
                  </a:cxn>
                  <a:cxn ang="0">
                    <a:pos x="9" y="2"/>
                  </a:cxn>
                  <a:cxn ang="0">
                    <a:pos x="13" y="0"/>
                  </a:cxn>
                  <a:cxn ang="0">
                    <a:pos x="17" y="2"/>
                  </a:cxn>
                  <a:cxn ang="0">
                    <a:pos x="17" y="2"/>
                  </a:cxn>
                </a:cxnLst>
                <a:rect l="0" t="0" r="r" b="b"/>
                <a:pathLst>
                  <a:path w="25" h="35">
                    <a:moveTo>
                      <a:pt x="17" y="2"/>
                    </a:moveTo>
                    <a:lnTo>
                      <a:pt x="17" y="2"/>
                    </a:lnTo>
                    <a:lnTo>
                      <a:pt x="17" y="2"/>
                    </a:lnTo>
                    <a:lnTo>
                      <a:pt x="21" y="3"/>
                    </a:lnTo>
                    <a:lnTo>
                      <a:pt x="23" y="7"/>
                    </a:lnTo>
                    <a:lnTo>
                      <a:pt x="25" y="11"/>
                    </a:lnTo>
                    <a:lnTo>
                      <a:pt x="23" y="14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17" y="31"/>
                    </a:lnTo>
                    <a:lnTo>
                      <a:pt x="14" y="33"/>
                    </a:lnTo>
                    <a:lnTo>
                      <a:pt x="11" y="35"/>
                    </a:lnTo>
                    <a:lnTo>
                      <a:pt x="7" y="33"/>
                    </a:lnTo>
                    <a:lnTo>
                      <a:pt x="7" y="33"/>
                    </a:lnTo>
                    <a:lnTo>
                      <a:pt x="3" y="32"/>
                    </a:lnTo>
                    <a:lnTo>
                      <a:pt x="0" y="28"/>
                    </a:lnTo>
                    <a:lnTo>
                      <a:pt x="0" y="25"/>
                    </a:lnTo>
                    <a:lnTo>
                      <a:pt x="0" y="21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7" y="4"/>
                    </a:lnTo>
                    <a:lnTo>
                      <a:pt x="9" y="2"/>
                    </a:lnTo>
                    <a:lnTo>
                      <a:pt x="13" y="0"/>
                    </a:lnTo>
                    <a:lnTo>
                      <a:pt x="17" y="2"/>
                    </a:lnTo>
                    <a:lnTo>
                      <a:pt x="17" y="2"/>
                    </a:lnTo>
                    <a:close/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4" name="Freeform 294"/>
              <p:cNvSpPr>
                <a:spLocks/>
              </p:cNvSpPr>
              <p:nvPr/>
            </p:nvSpPr>
            <p:spPr bwMode="auto">
              <a:xfrm>
                <a:off x="769913" y="2203252"/>
                <a:ext cx="41275" cy="66675"/>
              </a:xfrm>
              <a:custGeom>
                <a:avLst/>
                <a:gdLst/>
                <a:ahLst/>
                <a:cxnLst>
                  <a:cxn ang="0">
                    <a:pos x="20" y="1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4" y="2"/>
                  </a:cxn>
                  <a:cxn ang="0">
                    <a:pos x="26" y="6"/>
                  </a:cxn>
                  <a:cxn ang="0">
                    <a:pos x="26" y="10"/>
                  </a:cxn>
                  <a:cxn ang="0">
                    <a:pos x="26" y="14"/>
                  </a:cxn>
                  <a:cxn ang="0">
                    <a:pos x="19" y="34"/>
                  </a:cxn>
                  <a:cxn ang="0">
                    <a:pos x="19" y="34"/>
                  </a:cxn>
                  <a:cxn ang="0">
                    <a:pos x="17" y="38"/>
                  </a:cxn>
                  <a:cxn ang="0">
                    <a:pos x="14" y="40"/>
                  </a:cxn>
                  <a:cxn ang="0">
                    <a:pos x="10" y="4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4" y="39"/>
                  </a:cxn>
                  <a:cxn ang="0">
                    <a:pos x="1" y="35"/>
                  </a:cxn>
                  <a:cxn ang="0">
                    <a:pos x="0" y="32"/>
                  </a:cxn>
                  <a:cxn ang="0">
                    <a:pos x="0" y="28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10" y="4"/>
                  </a:cxn>
                  <a:cxn ang="0">
                    <a:pos x="12" y="1"/>
                  </a:cxn>
                  <a:cxn ang="0">
                    <a:pos x="16" y="0"/>
                  </a:cxn>
                  <a:cxn ang="0">
                    <a:pos x="20" y="1"/>
                  </a:cxn>
                  <a:cxn ang="0">
                    <a:pos x="20" y="1"/>
                  </a:cxn>
                </a:cxnLst>
                <a:rect l="0" t="0" r="r" b="b"/>
                <a:pathLst>
                  <a:path w="26" h="42">
                    <a:moveTo>
                      <a:pt x="20" y="1"/>
                    </a:moveTo>
                    <a:lnTo>
                      <a:pt x="20" y="1"/>
                    </a:lnTo>
                    <a:lnTo>
                      <a:pt x="20" y="1"/>
                    </a:lnTo>
                    <a:lnTo>
                      <a:pt x="24" y="2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19" y="34"/>
                    </a:lnTo>
                    <a:lnTo>
                      <a:pt x="19" y="34"/>
                    </a:lnTo>
                    <a:lnTo>
                      <a:pt x="17" y="38"/>
                    </a:lnTo>
                    <a:lnTo>
                      <a:pt x="14" y="40"/>
                    </a:lnTo>
                    <a:lnTo>
                      <a:pt x="10" y="4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4" y="39"/>
                    </a:lnTo>
                    <a:lnTo>
                      <a:pt x="1" y="35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10" y="4"/>
                    </a:lnTo>
                    <a:lnTo>
                      <a:pt x="12" y="1"/>
                    </a:lnTo>
                    <a:lnTo>
                      <a:pt x="16" y="0"/>
                    </a:lnTo>
                    <a:lnTo>
                      <a:pt x="20" y="1"/>
                    </a:lnTo>
                    <a:lnTo>
                      <a:pt x="20" y="1"/>
                    </a:lnTo>
                    <a:close/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5" name="Freeform 295"/>
              <p:cNvSpPr>
                <a:spLocks/>
              </p:cNvSpPr>
              <p:nvPr/>
            </p:nvSpPr>
            <p:spPr bwMode="auto">
              <a:xfrm>
                <a:off x="806426" y="2220714"/>
                <a:ext cx="38100" cy="55562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7" y="0"/>
                  </a:cxn>
                  <a:cxn ang="0">
                    <a:pos x="20" y="3"/>
                  </a:cxn>
                  <a:cxn ang="0">
                    <a:pos x="22" y="5"/>
                  </a:cxn>
                  <a:cxn ang="0">
                    <a:pos x="24" y="9"/>
                  </a:cxn>
                  <a:cxn ang="0">
                    <a:pos x="22" y="14"/>
                  </a:cxn>
                  <a:cxn ang="0">
                    <a:pos x="19" y="27"/>
                  </a:cxn>
                  <a:cxn ang="0">
                    <a:pos x="19" y="27"/>
                  </a:cxn>
                  <a:cxn ang="0">
                    <a:pos x="16" y="31"/>
                  </a:cxn>
                  <a:cxn ang="0">
                    <a:pos x="14" y="33"/>
                  </a:cxn>
                  <a:cxn ang="0">
                    <a:pos x="10" y="35"/>
                  </a:cxn>
                  <a:cxn ang="0">
                    <a:pos x="6" y="33"/>
                  </a:cxn>
                  <a:cxn ang="0">
                    <a:pos x="6" y="33"/>
                  </a:cxn>
                  <a:cxn ang="0">
                    <a:pos x="2" y="32"/>
                  </a:cxn>
                  <a:cxn ang="0">
                    <a:pos x="0" y="28"/>
                  </a:cxn>
                  <a:cxn ang="0">
                    <a:pos x="0" y="24"/>
                  </a:cxn>
                  <a:cxn ang="0">
                    <a:pos x="0" y="21"/>
                  </a:cxn>
                  <a:cxn ang="0">
                    <a:pos x="5" y="8"/>
                  </a:cxn>
                  <a:cxn ang="0">
                    <a:pos x="5" y="8"/>
                  </a:cxn>
                  <a:cxn ang="0">
                    <a:pos x="6" y="4"/>
                  </a:cxn>
                  <a:cxn ang="0">
                    <a:pos x="10" y="2"/>
                  </a:cxn>
                  <a:cxn ang="0">
                    <a:pos x="12" y="0"/>
                  </a:cxn>
                  <a:cxn ang="0">
                    <a:pos x="17" y="0"/>
                  </a:cxn>
                  <a:cxn ang="0">
                    <a:pos x="17" y="0"/>
                  </a:cxn>
                </a:cxnLst>
                <a:rect l="0" t="0" r="r" b="b"/>
                <a:pathLst>
                  <a:path w="24" h="35">
                    <a:moveTo>
                      <a:pt x="17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20" y="3"/>
                    </a:lnTo>
                    <a:lnTo>
                      <a:pt x="22" y="5"/>
                    </a:lnTo>
                    <a:lnTo>
                      <a:pt x="24" y="9"/>
                    </a:lnTo>
                    <a:lnTo>
                      <a:pt x="22" y="14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16" y="31"/>
                    </a:lnTo>
                    <a:lnTo>
                      <a:pt x="14" y="33"/>
                    </a:lnTo>
                    <a:lnTo>
                      <a:pt x="10" y="35"/>
                    </a:lnTo>
                    <a:lnTo>
                      <a:pt x="6" y="33"/>
                    </a:lnTo>
                    <a:lnTo>
                      <a:pt x="6" y="33"/>
                    </a:lnTo>
                    <a:lnTo>
                      <a:pt x="2" y="32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6" y="4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17" y="0"/>
                    </a:lnTo>
                    <a:close/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</p:grpSp>
        <p:sp>
          <p:nvSpPr>
            <p:cNvPr id="35" name="Freeform 407"/>
            <p:cNvSpPr>
              <a:spLocks/>
            </p:cNvSpPr>
            <p:nvPr/>
          </p:nvSpPr>
          <p:spPr bwMode="auto">
            <a:xfrm>
              <a:off x="4457274" y="3552748"/>
              <a:ext cx="924354" cy="568444"/>
            </a:xfrm>
            <a:custGeom>
              <a:avLst/>
              <a:gdLst/>
              <a:ahLst/>
              <a:cxnLst>
                <a:cxn ang="0">
                  <a:pos x="242" y="136"/>
                </a:cxn>
                <a:cxn ang="0">
                  <a:pos x="242" y="136"/>
                </a:cxn>
                <a:cxn ang="0">
                  <a:pos x="240" y="142"/>
                </a:cxn>
                <a:cxn ang="0">
                  <a:pos x="238" y="147"/>
                </a:cxn>
                <a:cxn ang="0">
                  <a:pos x="231" y="151"/>
                </a:cxn>
                <a:cxn ang="0">
                  <a:pos x="225" y="152"/>
                </a:cxn>
                <a:cxn ang="0">
                  <a:pos x="16" y="152"/>
                </a:cxn>
                <a:cxn ang="0">
                  <a:pos x="16" y="152"/>
                </a:cxn>
                <a:cxn ang="0">
                  <a:pos x="10" y="151"/>
                </a:cxn>
                <a:cxn ang="0">
                  <a:pos x="5" y="147"/>
                </a:cxn>
                <a:cxn ang="0">
                  <a:pos x="1" y="142"/>
                </a:cxn>
                <a:cxn ang="0">
                  <a:pos x="0" y="136"/>
                </a:cxn>
                <a:cxn ang="0">
                  <a:pos x="220" y="136"/>
                </a:cxn>
                <a:cxn ang="0">
                  <a:pos x="220" y="0"/>
                </a:cxn>
                <a:cxn ang="0">
                  <a:pos x="21" y="0"/>
                </a:cxn>
                <a:cxn ang="0">
                  <a:pos x="21" y="117"/>
                </a:cxn>
              </a:cxnLst>
              <a:rect l="0" t="0" r="r" b="b"/>
              <a:pathLst>
                <a:path w="242" h="152">
                  <a:moveTo>
                    <a:pt x="242" y="136"/>
                  </a:moveTo>
                  <a:lnTo>
                    <a:pt x="242" y="136"/>
                  </a:lnTo>
                  <a:lnTo>
                    <a:pt x="240" y="142"/>
                  </a:lnTo>
                  <a:lnTo>
                    <a:pt x="238" y="147"/>
                  </a:lnTo>
                  <a:lnTo>
                    <a:pt x="231" y="151"/>
                  </a:lnTo>
                  <a:lnTo>
                    <a:pt x="225" y="152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0" y="151"/>
                  </a:lnTo>
                  <a:lnTo>
                    <a:pt x="5" y="147"/>
                  </a:lnTo>
                  <a:lnTo>
                    <a:pt x="1" y="142"/>
                  </a:lnTo>
                  <a:lnTo>
                    <a:pt x="0" y="136"/>
                  </a:lnTo>
                  <a:lnTo>
                    <a:pt x="220" y="136"/>
                  </a:lnTo>
                  <a:lnTo>
                    <a:pt x="220" y="0"/>
                  </a:lnTo>
                  <a:lnTo>
                    <a:pt x="21" y="0"/>
                  </a:lnTo>
                  <a:lnTo>
                    <a:pt x="21" y="117"/>
                  </a:lnTo>
                </a:path>
              </a:pathLst>
            </a:custGeom>
            <a:noFill/>
            <a:ln w="28575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83969" tIns="41985" rIns="83969" bIns="41985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</p:grpSp>
      <p:grpSp>
        <p:nvGrpSpPr>
          <p:cNvPr id="6" name="Groupe 56"/>
          <p:cNvGrpSpPr/>
          <p:nvPr userDrawn="1"/>
        </p:nvGrpSpPr>
        <p:grpSpPr>
          <a:xfrm>
            <a:off x="2008823" y="2461852"/>
            <a:ext cx="4694872" cy="1015408"/>
            <a:chOff x="3189288" y="2360613"/>
            <a:chExt cx="6796854" cy="1470025"/>
          </a:xfrm>
          <a:effectLst>
            <a:outerShdw blurRad="76200" sx="102000" sy="102000" algn="ctr" rotWithShape="0">
              <a:prstClr val="black">
                <a:alpha val="8000"/>
              </a:prstClr>
            </a:outerShdw>
          </a:effectLst>
        </p:grpSpPr>
        <p:sp>
          <p:nvSpPr>
            <p:cNvPr id="46" name="Line 6"/>
            <p:cNvSpPr>
              <a:spLocks noChangeShapeType="1"/>
            </p:cNvSpPr>
            <p:nvPr userDrawn="1"/>
          </p:nvSpPr>
          <p:spPr bwMode="auto">
            <a:xfrm>
              <a:off x="8020050" y="3570289"/>
              <a:ext cx="1966092" cy="0"/>
            </a:xfrm>
            <a:prstGeom prst="line">
              <a:avLst/>
            </a:pr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47" name="Line 7"/>
            <p:cNvSpPr>
              <a:spLocks noChangeShapeType="1"/>
            </p:cNvSpPr>
            <p:nvPr userDrawn="1"/>
          </p:nvSpPr>
          <p:spPr bwMode="auto">
            <a:xfrm>
              <a:off x="8047038" y="2703513"/>
              <a:ext cx="1588" cy="598488"/>
            </a:xfrm>
            <a:prstGeom prst="line">
              <a:avLst/>
            </a:pr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9320213" y="2360613"/>
              <a:ext cx="265113" cy="268288"/>
            </a:xfrm>
            <a:custGeom>
              <a:avLst/>
              <a:gdLst/>
              <a:ahLst/>
              <a:cxnLst>
                <a:cxn ang="0">
                  <a:pos x="167" y="169"/>
                </a:cxn>
                <a:cxn ang="0">
                  <a:pos x="167" y="0"/>
                </a:cxn>
                <a:cxn ang="0">
                  <a:pos x="0" y="0"/>
                </a:cxn>
              </a:cxnLst>
              <a:rect l="0" t="0" r="r" b="b"/>
              <a:pathLst>
                <a:path w="167" h="169">
                  <a:moveTo>
                    <a:pt x="167" y="169"/>
                  </a:moveTo>
                  <a:lnTo>
                    <a:pt x="167" y="0"/>
                  </a:lnTo>
                  <a:lnTo>
                    <a:pt x="0" y="0"/>
                  </a:ln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49" name="Oval 9"/>
            <p:cNvSpPr>
              <a:spLocks noChangeArrowheads="1"/>
            </p:cNvSpPr>
            <p:nvPr userDrawn="1"/>
          </p:nvSpPr>
          <p:spPr bwMode="auto">
            <a:xfrm>
              <a:off x="5189538" y="2820988"/>
              <a:ext cx="244475" cy="247650"/>
            </a:xfrm>
            <a:prstGeom prst="ellipse">
              <a:avLst/>
            </a:pr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3481388" y="2703513"/>
              <a:ext cx="565150" cy="612775"/>
            </a:xfrm>
            <a:custGeom>
              <a:avLst/>
              <a:gdLst/>
              <a:ahLst/>
              <a:cxnLst>
                <a:cxn ang="0">
                  <a:pos x="23" y="53"/>
                </a:cxn>
                <a:cxn ang="0">
                  <a:pos x="0" y="5"/>
                </a:cxn>
                <a:cxn ang="0">
                  <a:pos x="55" y="0"/>
                </a:cxn>
                <a:cxn ang="0">
                  <a:pos x="45" y="15"/>
                </a:cxn>
                <a:cxn ang="0">
                  <a:pos x="80" y="57"/>
                </a:cxn>
                <a:cxn ang="0">
                  <a:pos x="40" y="89"/>
                </a:cxn>
                <a:cxn ang="0">
                  <a:pos x="55" y="69"/>
                </a:cxn>
                <a:cxn ang="0">
                  <a:pos x="52" y="53"/>
                </a:cxn>
                <a:cxn ang="0">
                  <a:pos x="32" y="41"/>
                </a:cxn>
              </a:cxnLst>
              <a:rect l="0" t="0" r="r" b="b"/>
              <a:pathLst>
                <a:path w="83" h="89">
                  <a:moveTo>
                    <a:pt x="23" y="53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83" y="34"/>
                    <a:pt x="80" y="57"/>
                  </a:cubicBezTo>
                  <a:cubicBezTo>
                    <a:pt x="77" y="81"/>
                    <a:pt x="52" y="88"/>
                    <a:pt x="40" y="89"/>
                  </a:cubicBezTo>
                  <a:cubicBezTo>
                    <a:pt x="50" y="76"/>
                    <a:pt x="55" y="69"/>
                    <a:pt x="55" y="69"/>
                  </a:cubicBezTo>
                  <a:cubicBezTo>
                    <a:pt x="55" y="69"/>
                    <a:pt x="60" y="62"/>
                    <a:pt x="52" y="53"/>
                  </a:cubicBezTo>
                  <a:cubicBezTo>
                    <a:pt x="44" y="45"/>
                    <a:pt x="32" y="41"/>
                    <a:pt x="32" y="41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1" name="Freeform 11"/>
            <p:cNvSpPr>
              <a:spLocks/>
            </p:cNvSpPr>
            <p:nvPr userDrawn="1"/>
          </p:nvSpPr>
          <p:spPr bwMode="auto">
            <a:xfrm>
              <a:off x="4611688" y="3260725"/>
              <a:ext cx="747713" cy="350838"/>
            </a:xfrm>
            <a:custGeom>
              <a:avLst/>
              <a:gdLst/>
              <a:ahLst/>
              <a:cxnLst>
                <a:cxn ang="0">
                  <a:pos x="110" y="2"/>
                </a:cxn>
                <a:cxn ang="0">
                  <a:pos x="101" y="3"/>
                </a:cxn>
                <a:cxn ang="0">
                  <a:pos x="85" y="1"/>
                </a:cxn>
                <a:cxn ang="0">
                  <a:pos x="86" y="0"/>
                </a:cxn>
                <a:cxn ang="0">
                  <a:pos x="66" y="20"/>
                </a:cxn>
                <a:cxn ang="0">
                  <a:pos x="54" y="20"/>
                </a:cxn>
                <a:cxn ang="0">
                  <a:pos x="45" y="29"/>
                </a:cxn>
                <a:cxn ang="0">
                  <a:pos x="36" y="38"/>
                </a:cxn>
                <a:cxn ang="0">
                  <a:pos x="24" y="51"/>
                </a:cxn>
                <a:cxn ang="0">
                  <a:pos x="0" y="51"/>
                </a:cxn>
                <a:cxn ang="0">
                  <a:pos x="12" y="38"/>
                </a:cxn>
              </a:cxnLst>
              <a:rect l="0" t="0" r="r" b="b"/>
              <a:pathLst>
                <a:path w="110" h="51">
                  <a:moveTo>
                    <a:pt x="110" y="2"/>
                  </a:moveTo>
                  <a:cubicBezTo>
                    <a:pt x="107" y="3"/>
                    <a:pt x="104" y="3"/>
                    <a:pt x="101" y="3"/>
                  </a:cubicBezTo>
                  <a:cubicBezTo>
                    <a:pt x="96" y="3"/>
                    <a:pt x="90" y="2"/>
                    <a:pt x="85" y="1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12" y="38"/>
                    <a:pt x="12" y="38"/>
                    <a:pt x="12" y="38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2" name="Freeform 12"/>
            <p:cNvSpPr>
              <a:spLocks/>
            </p:cNvSpPr>
            <p:nvPr userDrawn="1"/>
          </p:nvSpPr>
          <p:spPr bwMode="auto">
            <a:xfrm>
              <a:off x="3189288" y="2552700"/>
              <a:ext cx="3490913" cy="1073150"/>
            </a:xfrm>
            <a:custGeom>
              <a:avLst/>
              <a:gdLst/>
              <a:ahLst/>
              <a:cxnLst>
                <a:cxn ang="0">
                  <a:pos x="513" y="70"/>
                </a:cxn>
                <a:cxn ang="0">
                  <a:pos x="488" y="46"/>
                </a:cxn>
                <a:cxn ang="0">
                  <a:pos x="479" y="0"/>
                </a:cxn>
                <a:cxn ang="0">
                  <a:pos x="467" y="47"/>
                </a:cxn>
                <a:cxn ang="0">
                  <a:pos x="437" y="96"/>
                </a:cxn>
                <a:cxn ang="0">
                  <a:pos x="337" y="96"/>
                </a:cxn>
                <a:cxn ang="0">
                  <a:pos x="342" y="93"/>
                </a:cxn>
                <a:cxn ang="0">
                  <a:pos x="356" y="60"/>
                </a:cxn>
                <a:cxn ang="0">
                  <a:pos x="310" y="14"/>
                </a:cxn>
                <a:cxn ang="0">
                  <a:pos x="264" y="60"/>
                </a:cxn>
                <a:cxn ang="0">
                  <a:pos x="268" y="80"/>
                </a:cxn>
                <a:cxn ang="0">
                  <a:pos x="269" y="80"/>
                </a:cxn>
                <a:cxn ang="0">
                  <a:pos x="251" y="99"/>
                </a:cxn>
                <a:cxn ang="0">
                  <a:pos x="251" y="115"/>
                </a:cxn>
                <a:cxn ang="0">
                  <a:pos x="235" y="115"/>
                </a:cxn>
                <a:cxn ang="0">
                  <a:pos x="235" y="131"/>
                </a:cxn>
                <a:cxn ang="0">
                  <a:pos x="221" y="131"/>
                </a:cxn>
                <a:cxn ang="0">
                  <a:pos x="216" y="131"/>
                </a:cxn>
                <a:cxn ang="0">
                  <a:pos x="74" y="131"/>
                </a:cxn>
                <a:cxn ang="0">
                  <a:pos x="83" y="151"/>
                </a:cxn>
                <a:cxn ang="0">
                  <a:pos x="29" y="156"/>
                </a:cxn>
                <a:cxn ang="0">
                  <a:pos x="39" y="141"/>
                </a:cxn>
                <a:cxn ang="0">
                  <a:pos x="3" y="98"/>
                </a:cxn>
                <a:cxn ang="0">
                  <a:pos x="43" y="66"/>
                </a:cxn>
                <a:cxn ang="0">
                  <a:pos x="29" y="87"/>
                </a:cxn>
                <a:cxn ang="0">
                  <a:pos x="32" y="102"/>
                </a:cxn>
                <a:cxn ang="0">
                  <a:pos x="51" y="115"/>
                </a:cxn>
                <a:cxn ang="0">
                  <a:pos x="61" y="101"/>
                </a:cxn>
                <a:cxn ang="0">
                  <a:pos x="67" y="114"/>
                </a:cxn>
              </a:cxnLst>
              <a:rect l="0" t="0" r="r" b="b"/>
              <a:pathLst>
                <a:path w="513" h="156">
                  <a:moveTo>
                    <a:pt x="513" y="70"/>
                  </a:moveTo>
                  <a:cubicBezTo>
                    <a:pt x="513" y="70"/>
                    <a:pt x="509" y="49"/>
                    <a:pt x="488" y="46"/>
                  </a:cubicBezTo>
                  <a:cubicBezTo>
                    <a:pt x="497" y="37"/>
                    <a:pt x="511" y="4"/>
                    <a:pt x="479" y="0"/>
                  </a:cubicBezTo>
                  <a:cubicBezTo>
                    <a:pt x="443" y="5"/>
                    <a:pt x="467" y="47"/>
                    <a:pt x="467" y="47"/>
                  </a:cubicBezTo>
                  <a:cubicBezTo>
                    <a:pt x="467" y="47"/>
                    <a:pt x="441" y="51"/>
                    <a:pt x="437" y="96"/>
                  </a:cubicBezTo>
                  <a:cubicBezTo>
                    <a:pt x="337" y="96"/>
                    <a:pt x="337" y="96"/>
                    <a:pt x="337" y="96"/>
                  </a:cubicBezTo>
                  <a:cubicBezTo>
                    <a:pt x="342" y="93"/>
                    <a:pt x="342" y="93"/>
                    <a:pt x="342" y="93"/>
                  </a:cubicBezTo>
                  <a:cubicBezTo>
                    <a:pt x="351" y="85"/>
                    <a:pt x="356" y="73"/>
                    <a:pt x="356" y="60"/>
                  </a:cubicBezTo>
                  <a:cubicBezTo>
                    <a:pt x="356" y="35"/>
                    <a:pt x="336" y="14"/>
                    <a:pt x="310" y="14"/>
                  </a:cubicBezTo>
                  <a:cubicBezTo>
                    <a:pt x="285" y="14"/>
                    <a:pt x="264" y="35"/>
                    <a:pt x="264" y="60"/>
                  </a:cubicBezTo>
                  <a:cubicBezTo>
                    <a:pt x="264" y="67"/>
                    <a:pt x="266" y="74"/>
                    <a:pt x="268" y="80"/>
                  </a:cubicBezTo>
                  <a:cubicBezTo>
                    <a:pt x="269" y="80"/>
                    <a:pt x="269" y="80"/>
                    <a:pt x="269" y="80"/>
                  </a:cubicBezTo>
                  <a:cubicBezTo>
                    <a:pt x="251" y="99"/>
                    <a:pt x="251" y="99"/>
                    <a:pt x="251" y="99"/>
                  </a:cubicBezTo>
                  <a:cubicBezTo>
                    <a:pt x="251" y="115"/>
                    <a:pt x="251" y="115"/>
                    <a:pt x="251" y="115"/>
                  </a:cubicBezTo>
                  <a:cubicBezTo>
                    <a:pt x="235" y="115"/>
                    <a:pt x="235" y="115"/>
                    <a:pt x="235" y="115"/>
                  </a:cubicBezTo>
                  <a:cubicBezTo>
                    <a:pt x="235" y="131"/>
                    <a:pt x="235" y="131"/>
                    <a:pt x="235" y="131"/>
                  </a:cubicBezTo>
                  <a:cubicBezTo>
                    <a:pt x="221" y="131"/>
                    <a:pt x="221" y="131"/>
                    <a:pt x="221" y="131"/>
                  </a:cubicBezTo>
                  <a:cubicBezTo>
                    <a:pt x="216" y="131"/>
                    <a:pt x="216" y="131"/>
                    <a:pt x="216" y="131"/>
                  </a:cubicBezTo>
                  <a:cubicBezTo>
                    <a:pt x="74" y="131"/>
                    <a:pt x="74" y="131"/>
                    <a:pt x="74" y="131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29" y="156"/>
                    <a:pt x="29" y="156"/>
                    <a:pt x="29" y="156"/>
                  </a:cubicBezTo>
                  <a:cubicBezTo>
                    <a:pt x="39" y="141"/>
                    <a:pt x="39" y="141"/>
                    <a:pt x="39" y="141"/>
                  </a:cubicBezTo>
                  <a:cubicBezTo>
                    <a:pt x="39" y="141"/>
                    <a:pt x="0" y="122"/>
                    <a:pt x="3" y="98"/>
                  </a:cubicBezTo>
                  <a:cubicBezTo>
                    <a:pt x="6" y="75"/>
                    <a:pt x="32" y="67"/>
                    <a:pt x="43" y="66"/>
                  </a:cubicBezTo>
                  <a:cubicBezTo>
                    <a:pt x="34" y="80"/>
                    <a:pt x="29" y="87"/>
                    <a:pt x="29" y="87"/>
                  </a:cubicBezTo>
                  <a:cubicBezTo>
                    <a:pt x="29" y="87"/>
                    <a:pt x="24" y="94"/>
                    <a:pt x="32" y="102"/>
                  </a:cubicBezTo>
                  <a:cubicBezTo>
                    <a:pt x="40" y="110"/>
                    <a:pt x="51" y="115"/>
                    <a:pt x="51" y="115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7" y="114"/>
                    <a:pt x="67" y="114"/>
                    <a:pt x="67" y="114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3" name="Freeform 13"/>
            <p:cNvSpPr>
              <a:spLocks/>
            </p:cNvSpPr>
            <p:nvPr userDrawn="1"/>
          </p:nvSpPr>
          <p:spPr bwMode="auto">
            <a:xfrm>
              <a:off x="7013575" y="3549650"/>
              <a:ext cx="277813" cy="47625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0" y="4"/>
                </a:cxn>
              </a:cxnLst>
              <a:rect l="0" t="0" r="r" b="b"/>
              <a:pathLst>
                <a:path w="41" h="7">
                  <a:moveTo>
                    <a:pt x="41" y="0"/>
                  </a:moveTo>
                  <a:cubicBezTo>
                    <a:pt x="30" y="7"/>
                    <a:pt x="0" y="4"/>
                    <a:pt x="0" y="4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4" name="Freeform 14"/>
            <p:cNvSpPr>
              <a:spLocks/>
            </p:cNvSpPr>
            <p:nvPr userDrawn="1"/>
          </p:nvSpPr>
          <p:spPr bwMode="auto">
            <a:xfrm>
              <a:off x="6796088" y="2449513"/>
              <a:ext cx="2687638" cy="990600"/>
            </a:xfrm>
            <a:custGeom>
              <a:avLst/>
              <a:gdLst/>
              <a:ahLst/>
              <a:cxnLst>
                <a:cxn ang="0">
                  <a:pos x="8" y="106"/>
                </a:cxn>
                <a:cxn ang="0">
                  <a:pos x="25" y="94"/>
                </a:cxn>
                <a:cxn ang="0">
                  <a:pos x="37" y="46"/>
                </a:cxn>
                <a:cxn ang="0">
                  <a:pos x="46" y="93"/>
                </a:cxn>
                <a:cxn ang="0">
                  <a:pos x="76" y="144"/>
                </a:cxn>
                <a:cxn ang="0">
                  <a:pos x="104" y="144"/>
                </a:cxn>
                <a:cxn ang="0">
                  <a:pos x="184" y="144"/>
                </a:cxn>
                <a:cxn ang="0">
                  <a:pos x="236" y="90"/>
                </a:cxn>
                <a:cxn ang="0">
                  <a:pos x="270" y="123"/>
                </a:cxn>
                <a:cxn ang="0">
                  <a:pos x="395" y="0"/>
                </a:cxn>
              </a:cxnLst>
              <a:rect l="0" t="0" r="r" b="b"/>
              <a:pathLst>
                <a:path w="395" h="144">
                  <a:moveTo>
                    <a:pt x="8" y="106"/>
                  </a:moveTo>
                  <a:cubicBezTo>
                    <a:pt x="16" y="95"/>
                    <a:pt x="25" y="94"/>
                    <a:pt x="25" y="94"/>
                  </a:cubicBezTo>
                  <a:cubicBezTo>
                    <a:pt x="25" y="94"/>
                    <a:pt x="0" y="52"/>
                    <a:pt x="37" y="46"/>
                  </a:cubicBezTo>
                  <a:cubicBezTo>
                    <a:pt x="68" y="51"/>
                    <a:pt x="54" y="84"/>
                    <a:pt x="46" y="93"/>
                  </a:cubicBezTo>
                  <a:cubicBezTo>
                    <a:pt x="70" y="102"/>
                    <a:pt x="75" y="125"/>
                    <a:pt x="76" y="144"/>
                  </a:cubicBezTo>
                  <a:cubicBezTo>
                    <a:pt x="104" y="144"/>
                    <a:pt x="104" y="144"/>
                    <a:pt x="104" y="144"/>
                  </a:cubicBezTo>
                  <a:cubicBezTo>
                    <a:pt x="184" y="144"/>
                    <a:pt x="184" y="144"/>
                    <a:pt x="184" y="144"/>
                  </a:cubicBezTo>
                  <a:cubicBezTo>
                    <a:pt x="236" y="90"/>
                    <a:pt x="236" y="90"/>
                    <a:pt x="236" y="90"/>
                  </a:cubicBezTo>
                  <a:cubicBezTo>
                    <a:pt x="270" y="123"/>
                    <a:pt x="270" y="123"/>
                    <a:pt x="270" y="123"/>
                  </a:cubicBezTo>
                  <a:cubicBezTo>
                    <a:pt x="395" y="0"/>
                    <a:pt x="395" y="0"/>
                    <a:pt x="395" y="0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6386513" y="3033713"/>
              <a:ext cx="571500" cy="796925"/>
            </a:xfrm>
            <a:custGeom>
              <a:avLst/>
              <a:gdLst/>
              <a:ahLst/>
              <a:cxnLst>
                <a:cxn ang="0">
                  <a:pos x="0" y="108"/>
                </a:cxn>
                <a:cxn ang="0">
                  <a:pos x="33" y="47"/>
                </a:cxn>
                <a:cxn ang="0">
                  <a:pos x="44" y="0"/>
                </a:cxn>
                <a:cxn ang="0">
                  <a:pos x="53" y="46"/>
                </a:cxn>
                <a:cxn ang="0">
                  <a:pos x="84" y="110"/>
                </a:cxn>
                <a:cxn ang="0">
                  <a:pos x="23" y="114"/>
                </a:cxn>
              </a:cxnLst>
              <a:rect l="0" t="0" r="r" b="b"/>
              <a:pathLst>
                <a:path w="84" h="116">
                  <a:moveTo>
                    <a:pt x="0" y="108"/>
                  </a:moveTo>
                  <a:cubicBezTo>
                    <a:pt x="0" y="54"/>
                    <a:pt x="33" y="47"/>
                    <a:pt x="33" y="47"/>
                  </a:cubicBezTo>
                  <a:cubicBezTo>
                    <a:pt x="33" y="47"/>
                    <a:pt x="8" y="5"/>
                    <a:pt x="44" y="0"/>
                  </a:cubicBezTo>
                  <a:cubicBezTo>
                    <a:pt x="76" y="5"/>
                    <a:pt x="62" y="37"/>
                    <a:pt x="53" y="46"/>
                  </a:cubicBezTo>
                  <a:cubicBezTo>
                    <a:pt x="82" y="57"/>
                    <a:pt x="84" y="91"/>
                    <a:pt x="84" y="110"/>
                  </a:cubicBezTo>
                  <a:cubicBezTo>
                    <a:pt x="73" y="116"/>
                    <a:pt x="23" y="114"/>
                    <a:pt x="23" y="114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6" name="Line 16"/>
            <p:cNvSpPr>
              <a:spLocks noChangeShapeType="1"/>
            </p:cNvSpPr>
            <p:nvPr userDrawn="1"/>
          </p:nvSpPr>
          <p:spPr bwMode="auto">
            <a:xfrm flipV="1">
              <a:off x="6299200" y="3302000"/>
              <a:ext cx="265113" cy="6350"/>
            </a:xfrm>
            <a:prstGeom prst="line">
              <a:avLst/>
            </a:pr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80084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2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6303"/>
            <a:ext cx="9906000" cy="1362097"/>
          </a:xfrm>
          <a:prstGeom prst="rect">
            <a:avLst/>
          </a:prstGeom>
        </p:spPr>
        <p:txBody>
          <a:bodyPr vert="horz" lIns="108000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3600" b="0" kern="1200" cap="none" baseline="0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914342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noProof="0" dirty="0" smtClean="0"/>
              <a:t>Click to edit Master text style</a:t>
            </a:r>
          </a:p>
        </p:txBody>
      </p:sp>
      <p:grpSp>
        <p:nvGrpSpPr>
          <p:cNvPr id="3" name="Groupe 82"/>
          <p:cNvGrpSpPr/>
          <p:nvPr userDrawn="1"/>
        </p:nvGrpSpPr>
        <p:grpSpPr>
          <a:xfrm>
            <a:off x="6484510" y="2191794"/>
            <a:ext cx="2348339" cy="1444141"/>
            <a:chOff x="4457274" y="3552748"/>
            <a:chExt cx="924354" cy="568444"/>
          </a:xfrm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grpSpPr>
        <p:grpSp>
          <p:nvGrpSpPr>
            <p:cNvPr id="4" name="Groupe 538"/>
            <p:cNvGrpSpPr/>
            <p:nvPr/>
          </p:nvGrpSpPr>
          <p:grpSpPr>
            <a:xfrm>
              <a:off x="4568093" y="3652792"/>
              <a:ext cx="702725" cy="346657"/>
              <a:chOff x="627038" y="2068314"/>
              <a:chExt cx="412750" cy="207962"/>
            </a:xfrm>
          </p:grpSpPr>
          <p:sp>
            <p:nvSpPr>
              <p:cNvPr id="36" name="Freeform 286"/>
              <p:cNvSpPr>
                <a:spLocks/>
              </p:cNvSpPr>
              <p:nvPr/>
            </p:nvSpPr>
            <p:spPr bwMode="auto">
              <a:xfrm>
                <a:off x="957238" y="2069902"/>
                <a:ext cx="82550" cy="185737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0" y="21"/>
                  </a:cxn>
                  <a:cxn ang="0">
                    <a:pos x="34" y="117"/>
                  </a:cxn>
                  <a:cxn ang="0">
                    <a:pos x="34" y="117"/>
                  </a:cxn>
                  <a:cxn ang="0">
                    <a:pos x="44" y="113"/>
                  </a:cxn>
                  <a:cxn ang="0">
                    <a:pos x="52" y="110"/>
                  </a:cxn>
                </a:cxnLst>
                <a:rect l="0" t="0" r="r" b="b"/>
                <a:pathLst>
                  <a:path w="52" h="117">
                    <a:moveTo>
                      <a:pt x="52" y="0"/>
                    </a:moveTo>
                    <a:lnTo>
                      <a:pt x="0" y="21"/>
                    </a:lnTo>
                    <a:lnTo>
                      <a:pt x="34" y="117"/>
                    </a:lnTo>
                    <a:lnTo>
                      <a:pt x="34" y="117"/>
                    </a:lnTo>
                    <a:lnTo>
                      <a:pt x="44" y="113"/>
                    </a:lnTo>
                    <a:lnTo>
                      <a:pt x="52" y="110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37" name="Freeform 287"/>
              <p:cNvSpPr>
                <a:spLocks/>
              </p:cNvSpPr>
              <p:nvPr/>
            </p:nvSpPr>
            <p:spPr bwMode="auto">
              <a:xfrm>
                <a:off x="627038" y="2231827"/>
                <a:ext cx="38100" cy="23812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9" y="15"/>
                  </a:cxn>
                  <a:cxn ang="0">
                    <a:pos x="24" y="0"/>
                  </a:cxn>
                </a:cxnLst>
                <a:rect l="0" t="0" r="r" b="b"/>
                <a:pathLst>
                  <a:path w="24" h="15">
                    <a:moveTo>
                      <a:pt x="0" y="8"/>
                    </a:moveTo>
                    <a:lnTo>
                      <a:pt x="19" y="15"/>
                    </a:lnTo>
                    <a:lnTo>
                      <a:pt x="24" y="0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38" name="Freeform 288"/>
              <p:cNvSpPr>
                <a:spLocks/>
              </p:cNvSpPr>
              <p:nvPr/>
            </p:nvSpPr>
            <p:spPr bwMode="auto">
              <a:xfrm>
                <a:off x="627038" y="2068314"/>
                <a:ext cx="84138" cy="30162"/>
              </a:xfrm>
              <a:custGeom>
                <a:avLst/>
                <a:gdLst/>
                <a:ahLst/>
                <a:cxnLst>
                  <a:cxn ang="0">
                    <a:pos x="53" y="19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53" h="19">
                    <a:moveTo>
                      <a:pt x="53" y="19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39" name="Freeform 289"/>
              <p:cNvSpPr>
                <a:spLocks/>
              </p:cNvSpPr>
              <p:nvPr/>
            </p:nvSpPr>
            <p:spPr bwMode="auto">
              <a:xfrm>
                <a:off x="687363" y="2096889"/>
                <a:ext cx="134938" cy="120650"/>
              </a:xfrm>
              <a:custGeom>
                <a:avLst/>
                <a:gdLst/>
                <a:ahLst/>
                <a:cxnLst>
                  <a:cxn ang="0">
                    <a:pos x="85" y="0"/>
                  </a:cxn>
                  <a:cxn ang="0">
                    <a:pos x="29" y="4"/>
                  </a:cxn>
                  <a:cxn ang="0">
                    <a:pos x="29" y="4"/>
                  </a:cxn>
                  <a:cxn ang="0">
                    <a:pos x="28" y="5"/>
                  </a:cxn>
                  <a:cxn ang="0">
                    <a:pos x="25" y="6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11" y="43"/>
                  </a:cxn>
                  <a:cxn ang="0">
                    <a:pos x="0" y="74"/>
                  </a:cxn>
                  <a:cxn ang="0">
                    <a:pos x="10" y="76"/>
                  </a:cxn>
                </a:cxnLst>
                <a:rect l="0" t="0" r="r" b="b"/>
                <a:pathLst>
                  <a:path w="85" h="76">
                    <a:moveTo>
                      <a:pt x="85" y="0"/>
                    </a:moveTo>
                    <a:lnTo>
                      <a:pt x="29" y="4"/>
                    </a:lnTo>
                    <a:lnTo>
                      <a:pt x="29" y="4"/>
                    </a:lnTo>
                    <a:lnTo>
                      <a:pt x="28" y="5"/>
                    </a:lnTo>
                    <a:lnTo>
                      <a:pt x="25" y="6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11" y="43"/>
                    </a:lnTo>
                    <a:lnTo>
                      <a:pt x="0" y="74"/>
                    </a:lnTo>
                    <a:lnTo>
                      <a:pt x="10" y="76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0" name="Freeform 290"/>
              <p:cNvSpPr>
                <a:spLocks/>
              </p:cNvSpPr>
              <p:nvPr/>
            </p:nvSpPr>
            <p:spPr bwMode="auto">
              <a:xfrm>
                <a:off x="846113" y="2188964"/>
                <a:ext cx="114300" cy="87312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0" y="34"/>
                  </a:cxn>
                  <a:cxn ang="0">
                    <a:pos x="6" y="39"/>
                  </a:cxn>
                  <a:cxn ang="0">
                    <a:pos x="13" y="44"/>
                  </a:cxn>
                  <a:cxn ang="0">
                    <a:pos x="13" y="44"/>
                  </a:cxn>
                  <a:cxn ang="0">
                    <a:pos x="19" y="51"/>
                  </a:cxn>
                  <a:cxn ang="0">
                    <a:pos x="21" y="53"/>
                  </a:cxn>
                  <a:cxn ang="0">
                    <a:pos x="25" y="55"/>
                  </a:cxn>
                  <a:cxn ang="0">
                    <a:pos x="28" y="55"/>
                  </a:cxn>
                  <a:cxn ang="0">
                    <a:pos x="28" y="55"/>
                  </a:cxn>
                  <a:cxn ang="0">
                    <a:pos x="32" y="55"/>
                  </a:cxn>
                  <a:cxn ang="0">
                    <a:pos x="34" y="52"/>
                  </a:cxn>
                  <a:cxn ang="0">
                    <a:pos x="37" y="48"/>
                  </a:cxn>
                  <a:cxn ang="0">
                    <a:pos x="37" y="46"/>
                  </a:cxn>
                  <a:cxn ang="0">
                    <a:pos x="37" y="46"/>
                  </a:cxn>
                  <a:cxn ang="0">
                    <a:pos x="37" y="43"/>
                  </a:cxn>
                  <a:cxn ang="0">
                    <a:pos x="35" y="41"/>
                  </a:cxn>
                  <a:cxn ang="0">
                    <a:pos x="32" y="35"/>
                  </a:cxn>
                  <a:cxn ang="0">
                    <a:pos x="23" y="29"/>
                  </a:cxn>
                  <a:cxn ang="0">
                    <a:pos x="8" y="14"/>
                  </a:cxn>
                  <a:cxn ang="0">
                    <a:pos x="9" y="13"/>
                  </a:cxn>
                  <a:cxn ang="0">
                    <a:pos x="33" y="34"/>
                  </a:cxn>
                  <a:cxn ang="0">
                    <a:pos x="33" y="34"/>
                  </a:cxn>
                  <a:cxn ang="0">
                    <a:pos x="38" y="39"/>
                  </a:cxn>
                  <a:cxn ang="0">
                    <a:pos x="42" y="42"/>
                  </a:cxn>
                  <a:cxn ang="0">
                    <a:pos x="46" y="44"/>
                  </a:cxn>
                  <a:cxn ang="0">
                    <a:pos x="46" y="44"/>
                  </a:cxn>
                  <a:cxn ang="0">
                    <a:pos x="49" y="44"/>
                  </a:cxn>
                  <a:cxn ang="0">
                    <a:pos x="53" y="42"/>
                  </a:cxn>
                  <a:cxn ang="0">
                    <a:pos x="53" y="42"/>
                  </a:cxn>
                  <a:cxn ang="0">
                    <a:pos x="56" y="39"/>
                  </a:cxn>
                  <a:cxn ang="0">
                    <a:pos x="58" y="34"/>
                  </a:cxn>
                  <a:cxn ang="0">
                    <a:pos x="58" y="34"/>
                  </a:cxn>
                  <a:cxn ang="0">
                    <a:pos x="57" y="32"/>
                  </a:cxn>
                  <a:cxn ang="0">
                    <a:pos x="56" y="29"/>
                  </a:cxn>
                  <a:cxn ang="0">
                    <a:pos x="52" y="25"/>
                  </a:cxn>
                  <a:cxn ang="0">
                    <a:pos x="27" y="3"/>
                  </a:cxn>
                  <a:cxn ang="0">
                    <a:pos x="27" y="3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44" y="15"/>
                  </a:cxn>
                  <a:cxn ang="0">
                    <a:pos x="44" y="15"/>
                  </a:cxn>
                  <a:cxn ang="0">
                    <a:pos x="53" y="23"/>
                  </a:cxn>
                  <a:cxn ang="0">
                    <a:pos x="58" y="27"/>
                  </a:cxn>
                  <a:cxn ang="0">
                    <a:pos x="62" y="28"/>
                  </a:cxn>
                  <a:cxn ang="0">
                    <a:pos x="62" y="28"/>
                  </a:cxn>
                  <a:cxn ang="0">
                    <a:pos x="62" y="28"/>
                  </a:cxn>
                  <a:cxn ang="0">
                    <a:pos x="66" y="28"/>
                  </a:cxn>
                  <a:cxn ang="0">
                    <a:pos x="70" y="25"/>
                  </a:cxn>
                  <a:cxn ang="0">
                    <a:pos x="72" y="23"/>
                  </a:cxn>
                  <a:cxn ang="0">
                    <a:pos x="72" y="19"/>
                  </a:cxn>
                  <a:cxn ang="0">
                    <a:pos x="72" y="18"/>
                  </a:cxn>
                </a:cxnLst>
                <a:rect l="0" t="0" r="r" b="b"/>
                <a:pathLst>
                  <a:path w="72" h="55">
                    <a:moveTo>
                      <a:pt x="0" y="34"/>
                    </a:moveTo>
                    <a:lnTo>
                      <a:pt x="0" y="34"/>
                    </a:lnTo>
                    <a:lnTo>
                      <a:pt x="6" y="39"/>
                    </a:lnTo>
                    <a:lnTo>
                      <a:pt x="13" y="44"/>
                    </a:lnTo>
                    <a:lnTo>
                      <a:pt x="13" y="44"/>
                    </a:lnTo>
                    <a:lnTo>
                      <a:pt x="19" y="51"/>
                    </a:lnTo>
                    <a:lnTo>
                      <a:pt x="21" y="53"/>
                    </a:lnTo>
                    <a:lnTo>
                      <a:pt x="25" y="55"/>
                    </a:lnTo>
                    <a:lnTo>
                      <a:pt x="28" y="55"/>
                    </a:lnTo>
                    <a:lnTo>
                      <a:pt x="28" y="55"/>
                    </a:lnTo>
                    <a:lnTo>
                      <a:pt x="32" y="55"/>
                    </a:lnTo>
                    <a:lnTo>
                      <a:pt x="34" y="52"/>
                    </a:lnTo>
                    <a:lnTo>
                      <a:pt x="37" y="48"/>
                    </a:lnTo>
                    <a:lnTo>
                      <a:pt x="37" y="46"/>
                    </a:lnTo>
                    <a:lnTo>
                      <a:pt x="37" y="46"/>
                    </a:lnTo>
                    <a:lnTo>
                      <a:pt x="37" y="43"/>
                    </a:lnTo>
                    <a:lnTo>
                      <a:pt x="35" y="41"/>
                    </a:lnTo>
                    <a:lnTo>
                      <a:pt x="32" y="35"/>
                    </a:lnTo>
                    <a:lnTo>
                      <a:pt x="23" y="29"/>
                    </a:lnTo>
                    <a:lnTo>
                      <a:pt x="8" y="14"/>
                    </a:lnTo>
                    <a:lnTo>
                      <a:pt x="9" y="13"/>
                    </a:lnTo>
                    <a:lnTo>
                      <a:pt x="33" y="34"/>
                    </a:lnTo>
                    <a:lnTo>
                      <a:pt x="33" y="34"/>
                    </a:lnTo>
                    <a:lnTo>
                      <a:pt x="38" y="39"/>
                    </a:lnTo>
                    <a:lnTo>
                      <a:pt x="42" y="42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9" y="44"/>
                    </a:lnTo>
                    <a:lnTo>
                      <a:pt x="53" y="42"/>
                    </a:lnTo>
                    <a:lnTo>
                      <a:pt x="53" y="42"/>
                    </a:lnTo>
                    <a:lnTo>
                      <a:pt x="56" y="39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7" y="32"/>
                    </a:lnTo>
                    <a:lnTo>
                      <a:pt x="56" y="29"/>
                    </a:lnTo>
                    <a:lnTo>
                      <a:pt x="52" y="25"/>
                    </a:lnTo>
                    <a:lnTo>
                      <a:pt x="27" y="3"/>
                    </a:lnTo>
                    <a:lnTo>
                      <a:pt x="27" y="3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44" y="15"/>
                    </a:lnTo>
                    <a:lnTo>
                      <a:pt x="44" y="15"/>
                    </a:lnTo>
                    <a:lnTo>
                      <a:pt x="53" y="23"/>
                    </a:lnTo>
                    <a:lnTo>
                      <a:pt x="58" y="27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6" y="28"/>
                    </a:lnTo>
                    <a:lnTo>
                      <a:pt x="70" y="25"/>
                    </a:lnTo>
                    <a:lnTo>
                      <a:pt x="72" y="23"/>
                    </a:lnTo>
                    <a:lnTo>
                      <a:pt x="72" y="19"/>
                    </a:lnTo>
                    <a:lnTo>
                      <a:pt x="72" y="18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1" name="Freeform 291"/>
              <p:cNvSpPr>
                <a:spLocks/>
              </p:cNvSpPr>
              <p:nvPr/>
            </p:nvSpPr>
            <p:spPr bwMode="auto">
              <a:xfrm>
                <a:off x="792138" y="2093714"/>
                <a:ext cx="192088" cy="138112"/>
              </a:xfrm>
              <a:custGeom>
                <a:avLst/>
                <a:gdLst/>
                <a:ahLst/>
                <a:cxnLst>
                  <a:cxn ang="0">
                    <a:pos x="93" y="4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8" y="0"/>
                  </a:cxn>
                  <a:cxn ang="0">
                    <a:pos x="24" y="2"/>
                  </a:cxn>
                  <a:cxn ang="0">
                    <a:pos x="20" y="3"/>
                  </a:cxn>
                  <a:cxn ang="0">
                    <a:pos x="19" y="6"/>
                  </a:cxn>
                  <a:cxn ang="0">
                    <a:pos x="19" y="6"/>
                  </a:cxn>
                  <a:cxn ang="0">
                    <a:pos x="14" y="16"/>
                  </a:cxn>
                  <a:cxn ang="0">
                    <a:pos x="9" y="25"/>
                  </a:cxn>
                  <a:cxn ang="0">
                    <a:pos x="0" y="45"/>
                  </a:cxn>
                  <a:cxn ang="0">
                    <a:pos x="0" y="45"/>
                  </a:cxn>
                  <a:cxn ang="0">
                    <a:pos x="2" y="47"/>
                  </a:cxn>
                  <a:cxn ang="0">
                    <a:pos x="5" y="49"/>
                  </a:cxn>
                  <a:cxn ang="0">
                    <a:pos x="9" y="50"/>
                  </a:cxn>
                  <a:cxn ang="0">
                    <a:pos x="12" y="50"/>
                  </a:cxn>
                  <a:cxn ang="0">
                    <a:pos x="12" y="50"/>
                  </a:cxn>
                  <a:cxn ang="0">
                    <a:pos x="16" y="49"/>
                  </a:cxn>
                  <a:cxn ang="0">
                    <a:pos x="19" y="47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29" y="32"/>
                  </a:cxn>
                  <a:cxn ang="0">
                    <a:pos x="31" y="27"/>
                  </a:cxn>
                  <a:cxn ang="0">
                    <a:pos x="31" y="27"/>
                  </a:cxn>
                  <a:cxn ang="0">
                    <a:pos x="35" y="19"/>
                  </a:cxn>
                  <a:cxn ang="0">
                    <a:pos x="35" y="19"/>
                  </a:cxn>
                  <a:cxn ang="0">
                    <a:pos x="50" y="21"/>
                  </a:cxn>
                  <a:cxn ang="0">
                    <a:pos x="50" y="21"/>
                  </a:cxn>
                  <a:cxn ang="0">
                    <a:pos x="53" y="21"/>
                  </a:cxn>
                  <a:cxn ang="0">
                    <a:pos x="55" y="23"/>
                  </a:cxn>
                  <a:cxn ang="0">
                    <a:pos x="59" y="27"/>
                  </a:cxn>
                  <a:cxn ang="0">
                    <a:pos x="59" y="27"/>
                  </a:cxn>
                  <a:cxn ang="0">
                    <a:pos x="76" y="42"/>
                  </a:cxn>
                  <a:cxn ang="0">
                    <a:pos x="121" y="87"/>
                  </a:cxn>
                </a:cxnLst>
                <a:rect l="0" t="0" r="r" b="b"/>
                <a:pathLst>
                  <a:path w="121" h="87">
                    <a:moveTo>
                      <a:pt x="93" y="4"/>
                    </a:moveTo>
                    <a:lnTo>
                      <a:pt x="31" y="0"/>
                    </a:lnTo>
                    <a:lnTo>
                      <a:pt x="31" y="0"/>
                    </a:lnTo>
                    <a:lnTo>
                      <a:pt x="28" y="0"/>
                    </a:lnTo>
                    <a:lnTo>
                      <a:pt x="24" y="2"/>
                    </a:lnTo>
                    <a:lnTo>
                      <a:pt x="20" y="3"/>
                    </a:lnTo>
                    <a:lnTo>
                      <a:pt x="19" y="6"/>
                    </a:lnTo>
                    <a:lnTo>
                      <a:pt x="19" y="6"/>
                    </a:lnTo>
                    <a:lnTo>
                      <a:pt x="14" y="16"/>
                    </a:lnTo>
                    <a:lnTo>
                      <a:pt x="9" y="25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2" y="47"/>
                    </a:lnTo>
                    <a:lnTo>
                      <a:pt x="5" y="49"/>
                    </a:lnTo>
                    <a:lnTo>
                      <a:pt x="9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6" y="49"/>
                    </a:lnTo>
                    <a:lnTo>
                      <a:pt x="19" y="47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9" y="32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5" y="19"/>
                    </a:lnTo>
                    <a:lnTo>
                      <a:pt x="35" y="19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3" y="21"/>
                    </a:lnTo>
                    <a:lnTo>
                      <a:pt x="55" y="23"/>
                    </a:lnTo>
                    <a:lnTo>
                      <a:pt x="59" y="27"/>
                    </a:lnTo>
                    <a:lnTo>
                      <a:pt x="59" y="27"/>
                    </a:lnTo>
                    <a:lnTo>
                      <a:pt x="76" y="42"/>
                    </a:lnTo>
                    <a:lnTo>
                      <a:pt x="121" y="87"/>
                    </a:lnTo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2" name="Freeform 292"/>
              <p:cNvSpPr>
                <a:spLocks/>
              </p:cNvSpPr>
              <p:nvPr/>
            </p:nvSpPr>
            <p:spPr bwMode="auto">
              <a:xfrm>
                <a:off x="734988" y="2193727"/>
                <a:ext cx="44450" cy="6350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24" y="2"/>
                  </a:cxn>
                  <a:cxn ang="0">
                    <a:pos x="27" y="5"/>
                  </a:cxn>
                  <a:cxn ang="0">
                    <a:pos x="28" y="8"/>
                  </a:cxn>
                  <a:cxn ang="0">
                    <a:pos x="28" y="12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18" y="36"/>
                  </a:cxn>
                  <a:cxn ang="0">
                    <a:pos x="15" y="39"/>
                  </a:cxn>
                  <a:cxn ang="0">
                    <a:pos x="12" y="40"/>
                  </a:cxn>
                  <a:cxn ang="0">
                    <a:pos x="8" y="39"/>
                  </a:cxn>
                  <a:cxn ang="0">
                    <a:pos x="8" y="39"/>
                  </a:cxn>
                  <a:cxn ang="0">
                    <a:pos x="4" y="38"/>
                  </a:cxn>
                  <a:cxn ang="0">
                    <a:pos x="1" y="34"/>
                  </a:cxn>
                  <a:cxn ang="0">
                    <a:pos x="0" y="31"/>
                  </a:cxn>
                  <a:cxn ang="0">
                    <a:pos x="1" y="27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10" y="2"/>
                  </a:cxn>
                  <a:cxn ang="0">
                    <a:pos x="14" y="0"/>
                  </a:cxn>
                  <a:cxn ang="0">
                    <a:pos x="17" y="0"/>
                  </a:cxn>
                  <a:cxn ang="0">
                    <a:pos x="22" y="0"/>
                  </a:cxn>
                  <a:cxn ang="0">
                    <a:pos x="22" y="0"/>
                  </a:cxn>
                </a:cxnLst>
                <a:rect l="0" t="0" r="r" b="b"/>
                <a:pathLst>
                  <a:path w="28" h="40">
                    <a:moveTo>
                      <a:pt x="22" y="0"/>
                    </a:moveTo>
                    <a:lnTo>
                      <a:pt x="22" y="0"/>
                    </a:lnTo>
                    <a:lnTo>
                      <a:pt x="22" y="0"/>
                    </a:lnTo>
                    <a:lnTo>
                      <a:pt x="24" y="2"/>
                    </a:lnTo>
                    <a:lnTo>
                      <a:pt x="27" y="5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18" y="36"/>
                    </a:lnTo>
                    <a:lnTo>
                      <a:pt x="15" y="39"/>
                    </a:lnTo>
                    <a:lnTo>
                      <a:pt x="12" y="40"/>
                    </a:lnTo>
                    <a:lnTo>
                      <a:pt x="8" y="39"/>
                    </a:lnTo>
                    <a:lnTo>
                      <a:pt x="8" y="39"/>
                    </a:lnTo>
                    <a:lnTo>
                      <a:pt x="4" y="38"/>
                    </a:lnTo>
                    <a:lnTo>
                      <a:pt x="1" y="34"/>
                    </a:lnTo>
                    <a:lnTo>
                      <a:pt x="0" y="31"/>
                    </a:lnTo>
                    <a:lnTo>
                      <a:pt x="1" y="27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0" y="2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3" name="Freeform 293"/>
              <p:cNvSpPr>
                <a:spLocks/>
              </p:cNvSpPr>
              <p:nvPr/>
            </p:nvSpPr>
            <p:spPr bwMode="auto">
              <a:xfrm>
                <a:off x="706413" y="2184202"/>
                <a:ext cx="39688" cy="55562"/>
              </a:xfrm>
              <a:custGeom>
                <a:avLst/>
                <a:gdLst/>
                <a:ahLst/>
                <a:cxnLst>
                  <a:cxn ang="0">
                    <a:pos x="17" y="2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21" y="3"/>
                  </a:cxn>
                  <a:cxn ang="0">
                    <a:pos x="23" y="7"/>
                  </a:cxn>
                  <a:cxn ang="0">
                    <a:pos x="25" y="11"/>
                  </a:cxn>
                  <a:cxn ang="0">
                    <a:pos x="23" y="14"/>
                  </a:cxn>
                  <a:cxn ang="0">
                    <a:pos x="19" y="27"/>
                  </a:cxn>
                  <a:cxn ang="0">
                    <a:pos x="19" y="27"/>
                  </a:cxn>
                  <a:cxn ang="0">
                    <a:pos x="17" y="31"/>
                  </a:cxn>
                  <a:cxn ang="0">
                    <a:pos x="14" y="33"/>
                  </a:cxn>
                  <a:cxn ang="0">
                    <a:pos x="11" y="35"/>
                  </a:cxn>
                  <a:cxn ang="0">
                    <a:pos x="7" y="33"/>
                  </a:cxn>
                  <a:cxn ang="0">
                    <a:pos x="7" y="33"/>
                  </a:cxn>
                  <a:cxn ang="0">
                    <a:pos x="3" y="32"/>
                  </a:cxn>
                  <a:cxn ang="0">
                    <a:pos x="0" y="28"/>
                  </a:cxn>
                  <a:cxn ang="0">
                    <a:pos x="0" y="25"/>
                  </a:cxn>
                  <a:cxn ang="0">
                    <a:pos x="0" y="21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7" y="4"/>
                  </a:cxn>
                  <a:cxn ang="0">
                    <a:pos x="9" y="2"/>
                  </a:cxn>
                  <a:cxn ang="0">
                    <a:pos x="13" y="0"/>
                  </a:cxn>
                  <a:cxn ang="0">
                    <a:pos x="17" y="2"/>
                  </a:cxn>
                  <a:cxn ang="0">
                    <a:pos x="17" y="2"/>
                  </a:cxn>
                </a:cxnLst>
                <a:rect l="0" t="0" r="r" b="b"/>
                <a:pathLst>
                  <a:path w="25" h="35">
                    <a:moveTo>
                      <a:pt x="17" y="2"/>
                    </a:moveTo>
                    <a:lnTo>
                      <a:pt x="17" y="2"/>
                    </a:lnTo>
                    <a:lnTo>
                      <a:pt x="17" y="2"/>
                    </a:lnTo>
                    <a:lnTo>
                      <a:pt x="21" y="3"/>
                    </a:lnTo>
                    <a:lnTo>
                      <a:pt x="23" y="7"/>
                    </a:lnTo>
                    <a:lnTo>
                      <a:pt x="25" y="11"/>
                    </a:lnTo>
                    <a:lnTo>
                      <a:pt x="23" y="14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17" y="31"/>
                    </a:lnTo>
                    <a:lnTo>
                      <a:pt x="14" y="33"/>
                    </a:lnTo>
                    <a:lnTo>
                      <a:pt x="11" y="35"/>
                    </a:lnTo>
                    <a:lnTo>
                      <a:pt x="7" y="33"/>
                    </a:lnTo>
                    <a:lnTo>
                      <a:pt x="7" y="33"/>
                    </a:lnTo>
                    <a:lnTo>
                      <a:pt x="3" y="32"/>
                    </a:lnTo>
                    <a:lnTo>
                      <a:pt x="0" y="28"/>
                    </a:lnTo>
                    <a:lnTo>
                      <a:pt x="0" y="25"/>
                    </a:lnTo>
                    <a:lnTo>
                      <a:pt x="0" y="21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7" y="4"/>
                    </a:lnTo>
                    <a:lnTo>
                      <a:pt x="9" y="2"/>
                    </a:lnTo>
                    <a:lnTo>
                      <a:pt x="13" y="0"/>
                    </a:lnTo>
                    <a:lnTo>
                      <a:pt x="17" y="2"/>
                    </a:lnTo>
                    <a:lnTo>
                      <a:pt x="17" y="2"/>
                    </a:lnTo>
                    <a:close/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4" name="Freeform 294"/>
              <p:cNvSpPr>
                <a:spLocks/>
              </p:cNvSpPr>
              <p:nvPr/>
            </p:nvSpPr>
            <p:spPr bwMode="auto">
              <a:xfrm>
                <a:off x="769913" y="2203252"/>
                <a:ext cx="41275" cy="66675"/>
              </a:xfrm>
              <a:custGeom>
                <a:avLst/>
                <a:gdLst/>
                <a:ahLst/>
                <a:cxnLst>
                  <a:cxn ang="0">
                    <a:pos x="20" y="1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4" y="2"/>
                  </a:cxn>
                  <a:cxn ang="0">
                    <a:pos x="26" y="6"/>
                  </a:cxn>
                  <a:cxn ang="0">
                    <a:pos x="26" y="10"/>
                  </a:cxn>
                  <a:cxn ang="0">
                    <a:pos x="26" y="14"/>
                  </a:cxn>
                  <a:cxn ang="0">
                    <a:pos x="19" y="34"/>
                  </a:cxn>
                  <a:cxn ang="0">
                    <a:pos x="19" y="34"/>
                  </a:cxn>
                  <a:cxn ang="0">
                    <a:pos x="17" y="38"/>
                  </a:cxn>
                  <a:cxn ang="0">
                    <a:pos x="14" y="40"/>
                  </a:cxn>
                  <a:cxn ang="0">
                    <a:pos x="10" y="4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4" y="39"/>
                  </a:cxn>
                  <a:cxn ang="0">
                    <a:pos x="1" y="35"/>
                  </a:cxn>
                  <a:cxn ang="0">
                    <a:pos x="0" y="32"/>
                  </a:cxn>
                  <a:cxn ang="0">
                    <a:pos x="0" y="28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10" y="4"/>
                  </a:cxn>
                  <a:cxn ang="0">
                    <a:pos x="12" y="1"/>
                  </a:cxn>
                  <a:cxn ang="0">
                    <a:pos x="16" y="0"/>
                  </a:cxn>
                  <a:cxn ang="0">
                    <a:pos x="20" y="1"/>
                  </a:cxn>
                  <a:cxn ang="0">
                    <a:pos x="20" y="1"/>
                  </a:cxn>
                </a:cxnLst>
                <a:rect l="0" t="0" r="r" b="b"/>
                <a:pathLst>
                  <a:path w="26" h="42">
                    <a:moveTo>
                      <a:pt x="20" y="1"/>
                    </a:moveTo>
                    <a:lnTo>
                      <a:pt x="20" y="1"/>
                    </a:lnTo>
                    <a:lnTo>
                      <a:pt x="20" y="1"/>
                    </a:lnTo>
                    <a:lnTo>
                      <a:pt x="24" y="2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19" y="34"/>
                    </a:lnTo>
                    <a:lnTo>
                      <a:pt x="19" y="34"/>
                    </a:lnTo>
                    <a:lnTo>
                      <a:pt x="17" y="38"/>
                    </a:lnTo>
                    <a:lnTo>
                      <a:pt x="14" y="40"/>
                    </a:lnTo>
                    <a:lnTo>
                      <a:pt x="10" y="4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4" y="39"/>
                    </a:lnTo>
                    <a:lnTo>
                      <a:pt x="1" y="35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10" y="4"/>
                    </a:lnTo>
                    <a:lnTo>
                      <a:pt x="12" y="1"/>
                    </a:lnTo>
                    <a:lnTo>
                      <a:pt x="16" y="0"/>
                    </a:lnTo>
                    <a:lnTo>
                      <a:pt x="20" y="1"/>
                    </a:lnTo>
                    <a:lnTo>
                      <a:pt x="20" y="1"/>
                    </a:lnTo>
                    <a:close/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5" name="Freeform 295"/>
              <p:cNvSpPr>
                <a:spLocks/>
              </p:cNvSpPr>
              <p:nvPr/>
            </p:nvSpPr>
            <p:spPr bwMode="auto">
              <a:xfrm>
                <a:off x="806426" y="2220714"/>
                <a:ext cx="38100" cy="55562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7" y="0"/>
                  </a:cxn>
                  <a:cxn ang="0">
                    <a:pos x="20" y="3"/>
                  </a:cxn>
                  <a:cxn ang="0">
                    <a:pos x="22" y="5"/>
                  </a:cxn>
                  <a:cxn ang="0">
                    <a:pos x="24" y="9"/>
                  </a:cxn>
                  <a:cxn ang="0">
                    <a:pos x="22" y="14"/>
                  </a:cxn>
                  <a:cxn ang="0">
                    <a:pos x="19" y="27"/>
                  </a:cxn>
                  <a:cxn ang="0">
                    <a:pos x="19" y="27"/>
                  </a:cxn>
                  <a:cxn ang="0">
                    <a:pos x="16" y="31"/>
                  </a:cxn>
                  <a:cxn ang="0">
                    <a:pos x="14" y="33"/>
                  </a:cxn>
                  <a:cxn ang="0">
                    <a:pos x="10" y="35"/>
                  </a:cxn>
                  <a:cxn ang="0">
                    <a:pos x="6" y="33"/>
                  </a:cxn>
                  <a:cxn ang="0">
                    <a:pos x="6" y="33"/>
                  </a:cxn>
                  <a:cxn ang="0">
                    <a:pos x="2" y="32"/>
                  </a:cxn>
                  <a:cxn ang="0">
                    <a:pos x="0" y="28"/>
                  </a:cxn>
                  <a:cxn ang="0">
                    <a:pos x="0" y="24"/>
                  </a:cxn>
                  <a:cxn ang="0">
                    <a:pos x="0" y="21"/>
                  </a:cxn>
                  <a:cxn ang="0">
                    <a:pos x="5" y="8"/>
                  </a:cxn>
                  <a:cxn ang="0">
                    <a:pos x="5" y="8"/>
                  </a:cxn>
                  <a:cxn ang="0">
                    <a:pos x="6" y="4"/>
                  </a:cxn>
                  <a:cxn ang="0">
                    <a:pos x="10" y="2"/>
                  </a:cxn>
                  <a:cxn ang="0">
                    <a:pos x="12" y="0"/>
                  </a:cxn>
                  <a:cxn ang="0">
                    <a:pos x="17" y="0"/>
                  </a:cxn>
                  <a:cxn ang="0">
                    <a:pos x="17" y="0"/>
                  </a:cxn>
                </a:cxnLst>
                <a:rect l="0" t="0" r="r" b="b"/>
                <a:pathLst>
                  <a:path w="24" h="35">
                    <a:moveTo>
                      <a:pt x="17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20" y="3"/>
                    </a:lnTo>
                    <a:lnTo>
                      <a:pt x="22" y="5"/>
                    </a:lnTo>
                    <a:lnTo>
                      <a:pt x="24" y="9"/>
                    </a:lnTo>
                    <a:lnTo>
                      <a:pt x="22" y="14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16" y="31"/>
                    </a:lnTo>
                    <a:lnTo>
                      <a:pt x="14" y="33"/>
                    </a:lnTo>
                    <a:lnTo>
                      <a:pt x="10" y="35"/>
                    </a:lnTo>
                    <a:lnTo>
                      <a:pt x="6" y="33"/>
                    </a:lnTo>
                    <a:lnTo>
                      <a:pt x="6" y="33"/>
                    </a:lnTo>
                    <a:lnTo>
                      <a:pt x="2" y="32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6" y="4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17" y="0"/>
                    </a:lnTo>
                    <a:close/>
                  </a:path>
                </a:pathLst>
              </a:custGeom>
              <a:noFill/>
              <a:ln w="28575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</p:grpSp>
        <p:sp>
          <p:nvSpPr>
            <p:cNvPr id="35" name="Freeform 407"/>
            <p:cNvSpPr>
              <a:spLocks/>
            </p:cNvSpPr>
            <p:nvPr/>
          </p:nvSpPr>
          <p:spPr bwMode="auto">
            <a:xfrm>
              <a:off x="4457274" y="3552748"/>
              <a:ext cx="924354" cy="568444"/>
            </a:xfrm>
            <a:custGeom>
              <a:avLst/>
              <a:gdLst/>
              <a:ahLst/>
              <a:cxnLst>
                <a:cxn ang="0">
                  <a:pos x="242" y="136"/>
                </a:cxn>
                <a:cxn ang="0">
                  <a:pos x="242" y="136"/>
                </a:cxn>
                <a:cxn ang="0">
                  <a:pos x="240" y="142"/>
                </a:cxn>
                <a:cxn ang="0">
                  <a:pos x="238" y="147"/>
                </a:cxn>
                <a:cxn ang="0">
                  <a:pos x="231" y="151"/>
                </a:cxn>
                <a:cxn ang="0">
                  <a:pos x="225" y="152"/>
                </a:cxn>
                <a:cxn ang="0">
                  <a:pos x="16" y="152"/>
                </a:cxn>
                <a:cxn ang="0">
                  <a:pos x="16" y="152"/>
                </a:cxn>
                <a:cxn ang="0">
                  <a:pos x="10" y="151"/>
                </a:cxn>
                <a:cxn ang="0">
                  <a:pos x="5" y="147"/>
                </a:cxn>
                <a:cxn ang="0">
                  <a:pos x="1" y="142"/>
                </a:cxn>
                <a:cxn ang="0">
                  <a:pos x="0" y="136"/>
                </a:cxn>
                <a:cxn ang="0">
                  <a:pos x="220" y="136"/>
                </a:cxn>
                <a:cxn ang="0">
                  <a:pos x="220" y="0"/>
                </a:cxn>
                <a:cxn ang="0">
                  <a:pos x="21" y="0"/>
                </a:cxn>
                <a:cxn ang="0">
                  <a:pos x="21" y="117"/>
                </a:cxn>
              </a:cxnLst>
              <a:rect l="0" t="0" r="r" b="b"/>
              <a:pathLst>
                <a:path w="242" h="152">
                  <a:moveTo>
                    <a:pt x="242" y="136"/>
                  </a:moveTo>
                  <a:lnTo>
                    <a:pt x="242" y="136"/>
                  </a:lnTo>
                  <a:lnTo>
                    <a:pt x="240" y="142"/>
                  </a:lnTo>
                  <a:lnTo>
                    <a:pt x="238" y="147"/>
                  </a:lnTo>
                  <a:lnTo>
                    <a:pt x="231" y="151"/>
                  </a:lnTo>
                  <a:lnTo>
                    <a:pt x="225" y="152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0" y="151"/>
                  </a:lnTo>
                  <a:lnTo>
                    <a:pt x="5" y="147"/>
                  </a:lnTo>
                  <a:lnTo>
                    <a:pt x="1" y="142"/>
                  </a:lnTo>
                  <a:lnTo>
                    <a:pt x="0" y="136"/>
                  </a:lnTo>
                  <a:lnTo>
                    <a:pt x="220" y="136"/>
                  </a:lnTo>
                  <a:lnTo>
                    <a:pt x="220" y="0"/>
                  </a:lnTo>
                  <a:lnTo>
                    <a:pt x="21" y="0"/>
                  </a:lnTo>
                  <a:lnTo>
                    <a:pt x="21" y="117"/>
                  </a:lnTo>
                </a:path>
              </a:pathLst>
            </a:custGeom>
            <a:noFill/>
            <a:ln w="28575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83969" tIns="41985" rIns="83969" bIns="41985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</p:grpSp>
      <p:grpSp>
        <p:nvGrpSpPr>
          <p:cNvPr id="6" name="Groupe 56"/>
          <p:cNvGrpSpPr/>
          <p:nvPr userDrawn="1"/>
        </p:nvGrpSpPr>
        <p:grpSpPr>
          <a:xfrm>
            <a:off x="2008823" y="2461852"/>
            <a:ext cx="4694872" cy="1015408"/>
            <a:chOff x="3189288" y="2360613"/>
            <a:chExt cx="6796854" cy="1470025"/>
          </a:xfrm>
          <a:effectLst>
            <a:outerShdw blurRad="76200" sx="102000" sy="102000" algn="ctr" rotWithShape="0">
              <a:prstClr val="black">
                <a:alpha val="8000"/>
              </a:prstClr>
            </a:outerShdw>
          </a:effectLst>
        </p:grpSpPr>
        <p:sp>
          <p:nvSpPr>
            <p:cNvPr id="46" name="Line 6"/>
            <p:cNvSpPr>
              <a:spLocks noChangeShapeType="1"/>
            </p:cNvSpPr>
            <p:nvPr userDrawn="1"/>
          </p:nvSpPr>
          <p:spPr bwMode="auto">
            <a:xfrm>
              <a:off x="8020050" y="3570289"/>
              <a:ext cx="1966092" cy="0"/>
            </a:xfrm>
            <a:prstGeom prst="line">
              <a:avLst/>
            </a:pr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47" name="Line 7"/>
            <p:cNvSpPr>
              <a:spLocks noChangeShapeType="1"/>
            </p:cNvSpPr>
            <p:nvPr userDrawn="1"/>
          </p:nvSpPr>
          <p:spPr bwMode="auto">
            <a:xfrm>
              <a:off x="8047038" y="2703513"/>
              <a:ext cx="1588" cy="598488"/>
            </a:xfrm>
            <a:prstGeom prst="line">
              <a:avLst/>
            </a:pr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9320213" y="2360613"/>
              <a:ext cx="265113" cy="268288"/>
            </a:xfrm>
            <a:custGeom>
              <a:avLst/>
              <a:gdLst/>
              <a:ahLst/>
              <a:cxnLst>
                <a:cxn ang="0">
                  <a:pos x="167" y="169"/>
                </a:cxn>
                <a:cxn ang="0">
                  <a:pos x="167" y="0"/>
                </a:cxn>
                <a:cxn ang="0">
                  <a:pos x="0" y="0"/>
                </a:cxn>
              </a:cxnLst>
              <a:rect l="0" t="0" r="r" b="b"/>
              <a:pathLst>
                <a:path w="167" h="169">
                  <a:moveTo>
                    <a:pt x="167" y="169"/>
                  </a:moveTo>
                  <a:lnTo>
                    <a:pt x="167" y="0"/>
                  </a:lnTo>
                  <a:lnTo>
                    <a:pt x="0" y="0"/>
                  </a:ln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49" name="Oval 9"/>
            <p:cNvSpPr>
              <a:spLocks noChangeArrowheads="1"/>
            </p:cNvSpPr>
            <p:nvPr userDrawn="1"/>
          </p:nvSpPr>
          <p:spPr bwMode="auto">
            <a:xfrm>
              <a:off x="5189538" y="2820988"/>
              <a:ext cx="244475" cy="247650"/>
            </a:xfrm>
            <a:prstGeom prst="ellipse">
              <a:avLst/>
            </a:pr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3481388" y="2703513"/>
              <a:ext cx="565150" cy="612775"/>
            </a:xfrm>
            <a:custGeom>
              <a:avLst/>
              <a:gdLst/>
              <a:ahLst/>
              <a:cxnLst>
                <a:cxn ang="0">
                  <a:pos x="23" y="53"/>
                </a:cxn>
                <a:cxn ang="0">
                  <a:pos x="0" y="5"/>
                </a:cxn>
                <a:cxn ang="0">
                  <a:pos x="55" y="0"/>
                </a:cxn>
                <a:cxn ang="0">
                  <a:pos x="45" y="15"/>
                </a:cxn>
                <a:cxn ang="0">
                  <a:pos x="80" y="57"/>
                </a:cxn>
                <a:cxn ang="0">
                  <a:pos x="40" y="89"/>
                </a:cxn>
                <a:cxn ang="0">
                  <a:pos x="55" y="69"/>
                </a:cxn>
                <a:cxn ang="0">
                  <a:pos x="52" y="53"/>
                </a:cxn>
                <a:cxn ang="0">
                  <a:pos x="32" y="41"/>
                </a:cxn>
              </a:cxnLst>
              <a:rect l="0" t="0" r="r" b="b"/>
              <a:pathLst>
                <a:path w="83" h="89">
                  <a:moveTo>
                    <a:pt x="23" y="53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83" y="34"/>
                    <a:pt x="80" y="57"/>
                  </a:cubicBezTo>
                  <a:cubicBezTo>
                    <a:pt x="77" y="81"/>
                    <a:pt x="52" y="88"/>
                    <a:pt x="40" y="89"/>
                  </a:cubicBezTo>
                  <a:cubicBezTo>
                    <a:pt x="50" y="76"/>
                    <a:pt x="55" y="69"/>
                    <a:pt x="55" y="69"/>
                  </a:cubicBezTo>
                  <a:cubicBezTo>
                    <a:pt x="55" y="69"/>
                    <a:pt x="60" y="62"/>
                    <a:pt x="52" y="53"/>
                  </a:cubicBezTo>
                  <a:cubicBezTo>
                    <a:pt x="44" y="45"/>
                    <a:pt x="32" y="41"/>
                    <a:pt x="32" y="41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1" name="Freeform 11"/>
            <p:cNvSpPr>
              <a:spLocks/>
            </p:cNvSpPr>
            <p:nvPr userDrawn="1"/>
          </p:nvSpPr>
          <p:spPr bwMode="auto">
            <a:xfrm>
              <a:off x="4611688" y="3260725"/>
              <a:ext cx="747713" cy="350838"/>
            </a:xfrm>
            <a:custGeom>
              <a:avLst/>
              <a:gdLst/>
              <a:ahLst/>
              <a:cxnLst>
                <a:cxn ang="0">
                  <a:pos x="110" y="2"/>
                </a:cxn>
                <a:cxn ang="0">
                  <a:pos x="101" y="3"/>
                </a:cxn>
                <a:cxn ang="0">
                  <a:pos x="85" y="1"/>
                </a:cxn>
                <a:cxn ang="0">
                  <a:pos x="86" y="0"/>
                </a:cxn>
                <a:cxn ang="0">
                  <a:pos x="66" y="20"/>
                </a:cxn>
                <a:cxn ang="0">
                  <a:pos x="54" y="20"/>
                </a:cxn>
                <a:cxn ang="0">
                  <a:pos x="45" y="29"/>
                </a:cxn>
                <a:cxn ang="0">
                  <a:pos x="36" y="38"/>
                </a:cxn>
                <a:cxn ang="0">
                  <a:pos x="24" y="51"/>
                </a:cxn>
                <a:cxn ang="0">
                  <a:pos x="0" y="51"/>
                </a:cxn>
                <a:cxn ang="0">
                  <a:pos x="12" y="38"/>
                </a:cxn>
              </a:cxnLst>
              <a:rect l="0" t="0" r="r" b="b"/>
              <a:pathLst>
                <a:path w="110" h="51">
                  <a:moveTo>
                    <a:pt x="110" y="2"/>
                  </a:moveTo>
                  <a:cubicBezTo>
                    <a:pt x="107" y="3"/>
                    <a:pt x="104" y="3"/>
                    <a:pt x="101" y="3"/>
                  </a:cubicBezTo>
                  <a:cubicBezTo>
                    <a:pt x="96" y="3"/>
                    <a:pt x="90" y="2"/>
                    <a:pt x="85" y="1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12" y="38"/>
                    <a:pt x="12" y="38"/>
                    <a:pt x="12" y="38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2" name="Freeform 12"/>
            <p:cNvSpPr>
              <a:spLocks/>
            </p:cNvSpPr>
            <p:nvPr userDrawn="1"/>
          </p:nvSpPr>
          <p:spPr bwMode="auto">
            <a:xfrm>
              <a:off x="3189288" y="2552700"/>
              <a:ext cx="3490913" cy="1073150"/>
            </a:xfrm>
            <a:custGeom>
              <a:avLst/>
              <a:gdLst/>
              <a:ahLst/>
              <a:cxnLst>
                <a:cxn ang="0">
                  <a:pos x="513" y="70"/>
                </a:cxn>
                <a:cxn ang="0">
                  <a:pos x="488" y="46"/>
                </a:cxn>
                <a:cxn ang="0">
                  <a:pos x="479" y="0"/>
                </a:cxn>
                <a:cxn ang="0">
                  <a:pos x="467" y="47"/>
                </a:cxn>
                <a:cxn ang="0">
                  <a:pos x="437" y="96"/>
                </a:cxn>
                <a:cxn ang="0">
                  <a:pos x="337" y="96"/>
                </a:cxn>
                <a:cxn ang="0">
                  <a:pos x="342" y="93"/>
                </a:cxn>
                <a:cxn ang="0">
                  <a:pos x="356" y="60"/>
                </a:cxn>
                <a:cxn ang="0">
                  <a:pos x="310" y="14"/>
                </a:cxn>
                <a:cxn ang="0">
                  <a:pos x="264" y="60"/>
                </a:cxn>
                <a:cxn ang="0">
                  <a:pos x="268" y="80"/>
                </a:cxn>
                <a:cxn ang="0">
                  <a:pos x="269" y="80"/>
                </a:cxn>
                <a:cxn ang="0">
                  <a:pos x="251" y="99"/>
                </a:cxn>
                <a:cxn ang="0">
                  <a:pos x="251" y="115"/>
                </a:cxn>
                <a:cxn ang="0">
                  <a:pos x="235" y="115"/>
                </a:cxn>
                <a:cxn ang="0">
                  <a:pos x="235" y="131"/>
                </a:cxn>
                <a:cxn ang="0">
                  <a:pos x="221" y="131"/>
                </a:cxn>
                <a:cxn ang="0">
                  <a:pos x="216" y="131"/>
                </a:cxn>
                <a:cxn ang="0">
                  <a:pos x="74" y="131"/>
                </a:cxn>
                <a:cxn ang="0">
                  <a:pos x="83" y="151"/>
                </a:cxn>
                <a:cxn ang="0">
                  <a:pos x="29" y="156"/>
                </a:cxn>
                <a:cxn ang="0">
                  <a:pos x="39" y="141"/>
                </a:cxn>
                <a:cxn ang="0">
                  <a:pos x="3" y="98"/>
                </a:cxn>
                <a:cxn ang="0">
                  <a:pos x="43" y="66"/>
                </a:cxn>
                <a:cxn ang="0">
                  <a:pos x="29" y="87"/>
                </a:cxn>
                <a:cxn ang="0">
                  <a:pos x="32" y="102"/>
                </a:cxn>
                <a:cxn ang="0">
                  <a:pos x="51" y="115"/>
                </a:cxn>
                <a:cxn ang="0">
                  <a:pos x="61" y="101"/>
                </a:cxn>
                <a:cxn ang="0">
                  <a:pos x="67" y="114"/>
                </a:cxn>
              </a:cxnLst>
              <a:rect l="0" t="0" r="r" b="b"/>
              <a:pathLst>
                <a:path w="513" h="156">
                  <a:moveTo>
                    <a:pt x="513" y="70"/>
                  </a:moveTo>
                  <a:cubicBezTo>
                    <a:pt x="513" y="70"/>
                    <a:pt x="509" y="49"/>
                    <a:pt x="488" y="46"/>
                  </a:cubicBezTo>
                  <a:cubicBezTo>
                    <a:pt x="497" y="37"/>
                    <a:pt x="511" y="4"/>
                    <a:pt x="479" y="0"/>
                  </a:cubicBezTo>
                  <a:cubicBezTo>
                    <a:pt x="443" y="5"/>
                    <a:pt x="467" y="47"/>
                    <a:pt x="467" y="47"/>
                  </a:cubicBezTo>
                  <a:cubicBezTo>
                    <a:pt x="467" y="47"/>
                    <a:pt x="441" y="51"/>
                    <a:pt x="437" y="96"/>
                  </a:cubicBezTo>
                  <a:cubicBezTo>
                    <a:pt x="337" y="96"/>
                    <a:pt x="337" y="96"/>
                    <a:pt x="337" y="96"/>
                  </a:cubicBezTo>
                  <a:cubicBezTo>
                    <a:pt x="342" y="93"/>
                    <a:pt x="342" y="93"/>
                    <a:pt x="342" y="93"/>
                  </a:cubicBezTo>
                  <a:cubicBezTo>
                    <a:pt x="351" y="85"/>
                    <a:pt x="356" y="73"/>
                    <a:pt x="356" y="60"/>
                  </a:cubicBezTo>
                  <a:cubicBezTo>
                    <a:pt x="356" y="35"/>
                    <a:pt x="336" y="14"/>
                    <a:pt x="310" y="14"/>
                  </a:cubicBezTo>
                  <a:cubicBezTo>
                    <a:pt x="285" y="14"/>
                    <a:pt x="264" y="35"/>
                    <a:pt x="264" y="60"/>
                  </a:cubicBezTo>
                  <a:cubicBezTo>
                    <a:pt x="264" y="67"/>
                    <a:pt x="266" y="74"/>
                    <a:pt x="268" y="80"/>
                  </a:cubicBezTo>
                  <a:cubicBezTo>
                    <a:pt x="269" y="80"/>
                    <a:pt x="269" y="80"/>
                    <a:pt x="269" y="80"/>
                  </a:cubicBezTo>
                  <a:cubicBezTo>
                    <a:pt x="251" y="99"/>
                    <a:pt x="251" y="99"/>
                    <a:pt x="251" y="99"/>
                  </a:cubicBezTo>
                  <a:cubicBezTo>
                    <a:pt x="251" y="115"/>
                    <a:pt x="251" y="115"/>
                    <a:pt x="251" y="115"/>
                  </a:cubicBezTo>
                  <a:cubicBezTo>
                    <a:pt x="235" y="115"/>
                    <a:pt x="235" y="115"/>
                    <a:pt x="235" y="115"/>
                  </a:cubicBezTo>
                  <a:cubicBezTo>
                    <a:pt x="235" y="131"/>
                    <a:pt x="235" y="131"/>
                    <a:pt x="235" y="131"/>
                  </a:cubicBezTo>
                  <a:cubicBezTo>
                    <a:pt x="221" y="131"/>
                    <a:pt x="221" y="131"/>
                    <a:pt x="221" y="131"/>
                  </a:cubicBezTo>
                  <a:cubicBezTo>
                    <a:pt x="216" y="131"/>
                    <a:pt x="216" y="131"/>
                    <a:pt x="216" y="131"/>
                  </a:cubicBezTo>
                  <a:cubicBezTo>
                    <a:pt x="74" y="131"/>
                    <a:pt x="74" y="131"/>
                    <a:pt x="74" y="131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29" y="156"/>
                    <a:pt x="29" y="156"/>
                    <a:pt x="29" y="156"/>
                  </a:cubicBezTo>
                  <a:cubicBezTo>
                    <a:pt x="39" y="141"/>
                    <a:pt x="39" y="141"/>
                    <a:pt x="39" y="141"/>
                  </a:cubicBezTo>
                  <a:cubicBezTo>
                    <a:pt x="39" y="141"/>
                    <a:pt x="0" y="122"/>
                    <a:pt x="3" y="98"/>
                  </a:cubicBezTo>
                  <a:cubicBezTo>
                    <a:pt x="6" y="75"/>
                    <a:pt x="32" y="67"/>
                    <a:pt x="43" y="66"/>
                  </a:cubicBezTo>
                  <a:cubicBezTo>
                    <a:pt x="34" y="80"/>
                    <a:pt x="29" y="87"/>
                    <a:pt x="29" y="87"/>
                  </a:cubicBezTo>
                  <a:cubicBezTo>
                    <a:pt x="29" y="87"/>
                    <a:pt x="24" y="94"/>
                    <a:pt x="32" y="102"/>
                  </a:cubicBezTo>
                  <a:cubicBezTo>
                    <a:pt x="40" y="110"/>
                    <a:pt x="51" y="115"/>
                    <a:pt x="51" y="115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7" y="114"/>
                    <a:pt x="67" y="114"/>
                    <a:pt x="67" y="114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3" name="Freeform 13"/>
            <p:cNvSpPr>
              <a:spLocks/>
            </p:cNvSpPr>
            <p:nvPr userDrawn="1"/>
          </p:nvSpPr>
          <p:spPr bwMode="auto">
            <a:xfrm>
              <a:off x="7013575" y="3549650"/>
              <a:ext cx="277813" cy="47625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0" y="4"/>
                </a:cxn>
              </a:cxnLst>
              <a:rect l="0" t="0" r="r" b="b"/>
              <a:pathLst>
                <a:path w="41" h="7">
                  <a:moveTo>
                    <a:pt x="41" y="0"/>
                  </a:moveTo>
                  <a:cubicBezTo>
                    <a:pt x="30" y="7"/>
                    <a:pt x="0" y="4"/>
                    <a:pt x="0" y="4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4" name="Freeform 14"/>
            <p:cNvSpPr>
              <a:spLocks/>
            </p:cNvSpPr>
            <p:nvPr userDrawn="1"/>
          </p:nvSpPr>
          <p:spPr bwMode="auto">
            <a:xfrm>
              <a:off x="6796088" y="2449513"/>
              <a:ext cx="2687638" cy="990600"/>
            </a:xfrm>
            <a:custGeom>
              <a:avLst/>
              <a:gdLst/>
              <a:ahLst/>
              <a:cxnLst>
                <a:cxn ang="0">
                  <a:pos x="8" y="106"/>
                </a:cxn>
                <a:cxn ang="0">
                  <a:pos x="25" y="94"/>
                </a:cxn>
                <a:cxn ang="0">
                  <a:pos x="37" y="46"/>
                </a:cxn>
                <a:cxn ang="0">
                  <a:pos x="46" y="93"/>
                </a:cxn>
                <a:cxn ang="0">
                  <a:pos x="76" y="144"/>
                </a:cxn>
                <a:cxn ang="0">
                  <a:pos x="104" y="144"/>
                </a:cxn>
                <a:cxn ang="0">
                  <a:pos x="184" y="144"/>
                </a:cxn>
                <a:cxn ang="0">
                  <a:pos x="236" y="90"/>
                </a:cxn>
                <a:cxn ang="0">
                  <a:pos x="270" y="123"/>
                </a:cxn>
                <a:cxn ang="0">
                  <a:pos x="395" y="0"/>
                </a:cxn>
              </a:cxnLst>
              <a:rect l="0" t="0" r="r" b="b"/>
              <a:pathLst>
                <a:path w="395" h="144">
                  <a:moveTo>
                    <a:pt x="8" y="106"/>
                  </a:moveTo>
                  <a:cubicBezTo>
                    <a:pt x="16" y="95"/>
                    <a:pt x="25" y="94"/>
                    <a:pt x="25" y="94"/>
                  </a:cubicBezTo>
                  <a:cubicBezTo>
                    <a:pt x="25" y="94"/>
                    <a:pt x="0" y="52"/>
                    <a:pt x="37" y="46"/>
                  </a:cubicBezTo>
                  <a:cubicBezTo>
                    <a:pt x="68" y="51"/>
                    <a:pt x="54" y="84"/>
                    <a:pt x="46" y="93"/>
                  </a:cubicBezTo>
                  <a:cubicBezTo>
                    <a:pt x="70" y="102"/>
                    <a:pt x="75" y="125"/>
                    <a:pt x="76" y="144"/>
                  </a:cubicBezTo>
                  <a:cubicBezTo>
                    <a:pt x="104" y="144"/>
                    <a:pt x="104" y="144"/>
                    <a:pt x="104" y="144"/>
                  </a:cubicBezTo>
                  <a:cubicBezTo>
                    <a:pt x="184" y="144"/>
                    <a:pt x="184" y="144"/>
                    <a:pt x="184" y="144"/>
                  </a:cubicBezTo>
                  <a:cubicBezTo>
                    <a:pt x="236" y="90"/>
                    <a:pt x="236" y="90"/>
                    <a:pt x="236" y="90"/>
                  </a:cubicBezTo>
                  <a:cubicBezTo>
                    <a:pt x="270" y="123"/>
                    <a:pt x="270" y="123"/>
                    <a:pt x="270" y="123"/>
                  </a:cubicBezTo>
                  <a:cubicBezTo>
                    <a:pt x="395" y="0"/>
                    <a:pt x="395" y="0"/>
                    <a:pt x="395" y="0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6386513" y="3033713"/>
              <a:ext cx="571500" cy="796925"/>
            </a:xfrm>
            <a:custGeom>
              <a:avLst/>
              <a:gdLst/>
              <a:ahLst/>
              <a:cxnLst>
                <a:cxn ang="0">
                  <a:pos x="0" y="108"/>
                </a:cxn>
                <a:cxn ang="0">
                  <a:pos x="33" y="47"/>
                </a:cxn>
                <a:cxn ang="0">
                  <a:pos x="44" y="0"/>
                </a:cxn>
                <a:cxn ang="0">
                  <a:pos x="53" y="46"/>
                </a:cxn>
                <a:cxn ang="0">
                  <a:pos x="84" y="110"/>
                </a:cxn>
                <a:cxn ang="0">
                  <a:pos x="23" y="114"/>
                </a:cxn>
              </a:cxnLst>
              <a:rect l="0" t="0" r="r" b="b"/>
              <a:pathLst>
                <a:path w="84" h="116">
                  <a:moveTo>
                    <a:pt x="0" y="108"/>
                  </a:moveTo>
                  <a:cubicBezTo>
                    <a:pt x="0" y="54"/>
                    <a:pt x="33" y="47"/>
                    <a:pt x="33" y="47"/>
                  </a:cubicBezTo>
                  <a:cubicBezTo>
                    <a:pt x="33" y="47"/>
                    <a:pt x="8" y="5"/>
                    <a:pt x="44" y="0"/>
                  </a:cubicBezTo>
                  <a:cubicBezTo>
                    <a:pt x="76" y="5"/>
                    <a:pt x="62" y="37"/>
                    <a:pt x="53" y="46"/>
                  </a:cubicBezTo>
                  <a:cubicBezTo>
                    <a:pt x="82" y="57"/>
                    <a:pt x="84" y="91"/>
                    <a:pt x="84" y="110"/>
                  </a:cubicBezTo>
                  <a:cubicBezTo>
                    <a:pt x="73" y="116"/>
                    <a:pt x="23" y="114"/>
                    <a:pt x="23" y="114"/>
                  </a:cubicBezTo>
                </a:path>
              </a:pathLst>
            </a:cu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  <p:sp>
          <p:nvSpPr>
            <p:cNvPr id="56" name="Line 16"/>
            <p:cNvSpPr>
              <a:spLocks noChangeShapeType="1"/>
            </p:cNvSpPr>
            <p:nvPr userDrawn="1"/>
          </p:nvSpPr>
          <p:spPr bwMode="auto">
            <a:xfrm flipV="1">
              <a:off x="6299200" y="3302000"/>
              <a:ext cx="265113" cy="6350"/>
            </a:xfrm>
            <a:prstGeom prst="line">
              <a:avLst/>
            </a:prstGeom>
            <a:noFill/>
            <a:ln w="28575" cap="flat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8313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2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indent="0" algn="just" defTabSz="95775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3 global revenues of EUR 10.1 billion.</a:t>
            </a:r>
          </a:p>
          <a:p>
            <a:pPr marL="0" marR="0" indent="0" algn="just" defTabSz="95775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www.capgemini.com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pic>
        <p:nvPicPr>
          <p:cNvPr id="6" name="Picture 3" descr="D:\Aparna\New Brand\New VI_Aparna\PPT Temp\Locations_Map_2014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513290" y="3398205"/>
            <a:ext cx="4092671" cy="196702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54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9"/>
          <p:cNvGrpSpPr/>
          <p:nvPr userDrawn="1"/>
        </p:nvGrpSpPr>
        <p:grpSpPr>
          <a:xfrm>
            <a:off x="5035865" y="2767254"/>
            <a:ext cx="4510078" cy="2525522"/>
            <a:chOff x="867725" y="3468294"/>
            <a:chExt cx="4510078" cy="2525522"/>
          </a:xfrm>
        </p:grpSpPr>
        <p:sp>
          <p:nvSpPr>
            <p:cNvPr id="14" name="Rectangle 9"/>
            <p:cNvSpPr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gray">
            <a:xfrm>
              <a:off x="1117963" y="3617149"/>
              <a:ext cx="4259840" cy="2376667"/>
            </a:xfrm>
            <a:custGeom>
              <a:avLst/>
              <a:gdLst>
                <a:gd name="connsiteX0" fmla="*/ 0 w 4423977"/>
                <a:gd name="connsiteY0" fmla="*/ 164137 h 2296914"/>
                <a:gd name="connsiteX1" fmla="*/ 48075 w 4423977"/>
                <a:gd name="connsiteY1" fmla="*/ 48075 h 2296914"/>
                <a:gd name="connsiteX2" fmla="*/ 164138 w 4423977"/>
                <a:gd name="connsiteY2" fmla="*/ 1 h 2296914"/>
                <a:gd name="connsiteX3" fmla="*/ 4259840 w 4423977"/>
                <a:gd name="connsiteY3" fmla="*/ 0 h 2296914"/>
                <a:gd name="connsiteX4" fmla="*/ 4375902 w 4423977"/>
                <a:gd name="connsiteY4" fmla="*/ 48075 h 2296914"/>
                <a:gd name="connsiteX5" fmla="*/ 4423976 w 4423977"/>
                <a:gd name="connsiteY5" fmla="*/ 164138 h 2296914"/>
                <a:gd name="connsiteX6" fmla="*/ 4423977 w 4423977"/>
                <a:gd name="connsiteY6" fmla="*/ 2132777 h 2296914"/>
                <a:gd name="connsiteX7" fmla="*/ 4375902 w 4423977"/>
                <a:gd name="connsiteY7" fmla="*/ 2248839 h 2296914"/>
                <a:gd name="connsiteX8" fmla="*/ 4259840 w 4423977"/>
                <a:gd name="connsiteY8" fmla="*/ 2296914 h 2296914"/>
                <a:gd name="connsiteX9" fmla="*/ 164137 w 4423977"/>
                <a:gd name="connsiteY9" fmla="*/ 2296914 h 2296914"/>
                <a:gd name="connsiteX10" fmla="*/ 48075 w 4423977"/>
                <a:gd name="connsiteY10" fmla="*/ 2248839 h 2296914"/>
                <a:gd name="connsiteX11" fmla="*/ 0 w 4423977"/>
                <a:gd name="connsiteY11" fmla="*/ 2132777 h 2296914"/>
                <a:gd name="connsiteX12" fmla="*/ 0 w 4423977"/>
                <a:gd name="connsiteY12" fmla="*/ 164137 h 2296914"/>
                <a:gd name="connsiteX0" fmla="*/ 0 w 4969813"/>
                <a:gd name="connsiteY0" fmla="*/ 164137 h 2488240"/>
                <a:gd name="connsiteX1" fmla="*/ 48075 w 4969813"/>
                <a:gd name="connsiteY1" fmla="*/ 48075 h 2488240"/>
                <a:gd name="connsiteX2" fmla="*/ 164138 w 4969813"/>
                <a:gd name="connsiteY2" fmla="*/ 1 h 2488240"/>
                <a:gd name="connsiteX3" fmla="*/ 4259840 w 4969813"/>
                <a:gd name="connsiteY3" fmla="*/ 0 h 2488240"/>
                <a:gd name="connsiteX4" fmla="*/ 4375902 w 4969813"/>
                <a:gd name="connsiteY4" fmla="*/ 48075 h 2488240"/>
                <a:gd name="connsiteX5" fmla="*/ 4423976 w 4969813"/>
                <a:gd name="connsiteY5" fmla="*/ 164138 h 2488240"/>
                <a:gd name="connsiteX6" fmla="*/ 4423977 w 4969813"/>
                <a:gd name="connsiteY6" fmla="*/ 2132777 h 2488240"/>
                <a:gd name="connsiteX7" fmla="*/ 4259840 w 4969813"/>
                <a:gd name="connsiteY7" fmla="*/ 2296914 h 2488240"/>
                <a:gd name="connsiteX8" fmla="*/ 164137 w 4969813"/>
                <a:gd name="connsiteY8" fmla="*/ 2296914 h 2488240"/>
                <a:gd name="connsiteX9" fmla="*/ 48075 w 4969813"/>
                <a:gd name="connsiteY9" fmla="*/ 2248839 h 2488240"/>
                <a:gd name="connsiteX10" fmla="*/ 0 w 4969813"/>
                <a:gd name="connsiteY10" fmla="*/ 2132777 h 2488240"/>
                <a:gd name="connsiteX11" fmla="*/ 0 w 4969813"/>
                <a:gd name="connsiteY11" fmla="*/ 164137 h 2488240"/>
                <a:gd name="connsiteX0" fmla="*/ 0 w 4969813"/>
                <a:gd name="connsiteY0" fmla="*/ 164137 h 2296914"/>
                <a:gd name="connsiteX1" fmla="*/ 48075 w 4969813"/>
                <a:gd name="connsiteY1" fmla="*/ 48075 h 2296914"/>
                <a:gd name="connsiteX2" fmla="*/ 164138 w 4969813"/>
                <a:gd name="connsiteY2" fmla="*/ 1 h 2296914"/>
                <a:gd name="connsiteX3" fmla="*/ 4259840 w 4969813"/>
                <a:gd name="connsiteY3" fmla="*/ 0 h 2296914"/>
                <a:gd name="connsiteX4" fmla="*/ 4375902 w 4969813"/>
                <a:gd name="connsiteY4" fmla="*/ 48075 h 2296914"/>
                <a:gd name="connsiteX5" fmla="*/ 4423976 w 4969813"/>
                <a:gd name="connsiteY5" fmla="*/ 164138 h 2296914"/>
                <a:gd name="connsiteX6" fmla="*/ 4259840 w 4969813"/>
                <a:gd name="connsiteY6" fmla="*/ 2296914 h 2296914"/>
                <a:gd name="connsiteX7" fmla="*/ 164137 w 4969813"/>
                <a:gd name="connsiteY7" fmla="*/ 2296914 h 2296914"/>
                <a:gd name="connsiteX8" fmla="*/ 48075 w 4969813"/>
                <a:gd name="connsiteY8" fmla="*/ 2248839 h 2296914"/>
                <a:gd name="connsiteX9" fmla="*/ 0 w 4969813"/>
                <a:gd name="connsiteY9" fmla="*/ 2132777 h 2296914"/>
                <a:gd name="connsiteX10" fmla="*/ 0 w 4969813"/>
                <a:gd name="connsiteY10" fmla="*/ 164137 h 2296914"/>
                <a:gd name="connsiteX0" fmla="*/ 0 w 4961801"/>
                <a:gd name="connsiteY0" fmla="*/ 498881 h 2631658"/>
                <a:gd name="connsiteX1" fmla="*/ 48075 w 4961801"/>
                <a:gd name="connsiteY1" fmla="*/ 382819 h 2631658"/>
                <a:gd name="connsiteX2" fmla="*/ 164138 w 4961801"/>
                <a:gd name="connsiteY2" fmla="*/ 334745 h 2631658"/>
                <a:gd name="connsiteX3" fmla="*/ 4259840 w 4961801"/>
                <a:gd name="connsiteY3" fmla="*/ 334744 h 2631658"/>
                <a:gd name="connsiteX4" fmla="*/ 4375902 w 4961801"/>
                <a:gd name="connsiteY4" fmla="*/ 382819 h 2631658"/>
                <a:gd name="connsiteX5" fmla="*/ 4259840 w 4961801"/>
                <a:gd name="connsiteY5" fmla="*/ 2631658 h 2631658"/>
                <a:gd name="connsiteX6" fmla="*/ 164137 w 4961801"/>
                <a:gd name="connsiteY6" fmla="*/ 2631658 h 2631658"/>
                <a:gd name="connsiteX7" fmla="*/ 48075 w 4961801"/>
                <a:gd name="connsiteY7" fmla="*/ 2583583 h 2631658"/>
                <a:gd name="connsiteX8" fmla="*/ 0 w 4961801"/>
                <a:gd name="connsiteY8" fmla="*/ 2467521 h 2631658"/>
                <a:gd name="connsiteX9" fmla="*/ 0 w 4961801"/>
                <a:gd name="connsiteY9" fmla="*/ 498881 h 2631658"/>
                <a:gd name="connsiteX0" fmla="*/ 0 w 4942457"/>
                <a:gd name="connsiteY0" fmla="*/ 164137 h 2296914"/>
                <a:gd name="connsiteX1" fmla="*/ 48075 w 4942457"/>
                <a:gd name="connsiteY1" fmla="*/ 48075 h 2296914"/>
                <a:gd name="connsiteX2" fmla="*/ 164138 w 4942457"/>
                <a:gd name="connsiteY2" fmla="*/ 1 h 2296914"/>
                <a:gd name="connsiteX3" fmla="*/ 4259840 w 4942457"/>
                <a:gd name="connsiteY3" fmla="*/ 0 h 2296914"/>
                <a:gd name="connsiteX4" fmla="*/ 4259840 w 4942457"/>
                <a:gd name="connsiteY4" fmla="*/ 2296914 h 2296914"/>
                <a:gd name="connsiteX5" fmla="*/ 164137 w 4942457"/>
                <a:gd name="connsiteY5" fmla="*/ 2296914 h 2296914"/>
                <a:gd name="connsiteX6" fmla="*/ 48075 w 4942457"/>
                <a:gd name="connsiteY6" fmla="*/ 2248839 h 2296914"/>
                <a:gd name="connsiteX7" fmla="*/ 0 w 4942457"/>
                <a:gd name="connsiteY7" fmla="*/ 2132777 h 2296914"/>
                <a:gd name="connsiteX8" fmla="*/ 0 w 4942457"/>
                <a:gd name="connsiteY8" fmla="*/ 164137 h 2296914"/>
                <a:gd name="connsiteX0" fmla="*/ 4259840 w 4942457"/>
                <a:gd name="connsiteY0" fmla="*/ 0 h 2296914"/>
                <a:gd name="connsiteX1" fmla="*/ 4259840 w 4942457"/>
                <a:gd name="connsiteY1" fmla="*/ 2296914 h 2296914"/>
                <a:gd name="connsiteX2" fmla="*/ 164137 w 4942457"/>
                <a:gd name="connsiteY2" fmla="*/ 2296914 h 2296914"/>
                <a:gd name="connsiteX3" fmla="*/ 48075 w 4942457"/>
                <a:gd name="connsiteY3" fmla="*/ 2248839 h 2296914"/>
                <a:gd name="connsiteX4" fmla="*/ 0 w 4942457"/>
                <a:gd name="connsiteY4" fmla="*/ 2132777 h 2296914"/>
                <a:gd name="connsiteX5" fmla="*/ 0 w 4942457"/>
                <a:gd name="connsiteY5" fmla="*/ 164137 h 2296914"/>
                <a:gd name="connsiteX6" fmla="*/ 48075 w 4942457"/>
                <a:gd name="connsiteY6" fmla="*/ 48075 h 2296914"/>
                <a:gd name="connsiteX7" fmla="*/ 164138 w 4942457"/>
                <a:gd name="connsiteY7" fmla="*/ 1 h 2296914"/>
                <a:gd name="connsiteX8" fmla="*/ 4351280 w 4942457"/>
                <a:gd name="connsiteY8" fmla="*/ 91440 h 2296914"/>
                <a:gd name="connsiteX0" fmla="*/ 4259840 w 4351280"/>
                <a:gd name="connsiteY0" fmla="*/ 2296914 h 2296914"/>
                <a:gd name="connsiteX1" fmla="*/ 164137 w 4351280"/>
                <a:gd name="connsiteY1" fmla="*/ 2296914 h 2296914"/>
                <a:gd name="connsiteX2" fmla="*/ 48075 w 4351280"/>
                <a:gd name="connsiteY2" fmla="*/ 2248839 h 2296914"/>
                <a:gd name="connsiteX3" fmla="*/ 0 w 4351280"/>
                <a:gd name="connsiteY3" fmla="*/ 2132777 h 2296914"/>
                <a:gd name="connsiteX4" fmla="*/ 0 w 4351280"/>
                <a:gd name="connsiteY4" fmla="*/ 164137 h 2296914"/>
                <a:gd name="connsiteX5" fmla="*/ 48075 w 4351280"/>
                <a:gd name="connsiteY5" fmla="*/ 48075 h 2296914"/>
                <a:gd name="connsiteX6" fmla="*/ 164138 w 4351280"/>
                <a:gd name="connsiteY6" fmla="*/ 1 h 2296914"/>
                <a:gd name="connsiteX7" fmla="*/ 4351280 w 4351280"/>
                <a:gd name="connsiteY7" fmla="*/ 91440 h 2296914"/>
                <a:gd name="connsiteX0" fmla="*/ 4259840 w 4330731"/>
                <a:gd name="connsiteY0" fmla="*/ 2297942 h 2297942"/>
                <a:gd name="connsiteX1" fmla="*/ 164137 w 4330731"/>
                <a:gd name="connsiteY1" fmla="*/ 2297942 h 2297942"/>
                <a:gd name="connsiteX2" fmla="*/ 48075 w 4330731"/>
                <a:gd name="connsiteY2" fmla="*/ 2249867 h 2297942"/>
                <a:gd name="connsiteX3" fmla="*/ 0 w 4330731"/>
                <a:gd name="connsiteY3" fmla="*/ 2133805 h 2297942"/>
                <a:gd name="connsiteX4" fmla="*/ 0 w 4330731"/>
                <a:gd name="connsiteY4" fmla="*/ 165165 h 2297942"/>
                <a:gd name="connsiteX5" fmla="*/ 48075 w 4330731"/>
                <a:gd name="connsiteY5" fmla="*/ 49103 h 2297942"/>
                <a:gd name="connsiteX6" fmla="*/ 164138 w 4330731"/>
                <a:gd name="connsiteY6" fmla="*/ 1029 h 2297942"/>
                <a:gd name="connsiteX7" fmla="*/ 4330731 w 4330731"/>
                <a:gd name="connsiteY7" fmla="*/ 0 h 2297942"/>
                <a:gd name="connsiteX0" fmla="*/ 4259840 w 4259840"/>
                <a:gd name="connsiteY0" fmla="*/ 2296914 h 2296914"/>
                <a:gd name="connsiteX1" fmla="*/ 164137 w 4259840"/>
                <a:gd name="connsiteY1" fmla="*/ 2296914 h 2296914"/>
                <a:gd name="connsiteX2" fmla="*/ 48075 w 4259840"/>
                <a:gd name="connsiteY2" fmla="*/ 2248839 h 2296914"/>
                <a:gd name="connsiteX3" fmla="*/ 0 w 4259840"/>
                <a:gd name="connsiteY3" fmla="*/ 2132777 h 2296914"/>
                <a:gd name="connsiteX4" fmla="*/ 0 w 4259840"/>
                <a:gd name="connsiteY4" fmla="*/ 164137 h 2296914"/>
                <a:gd name="connsiteX5" fmla="*/ 48075 w 4259840"/>
                <a:gd name="connsiteY5" fmla="*/ 48075 h 2296914"/>
                <a:gd name="connsiteX6" fmla="*/ 164138 w 4259840"/>
                <a:gd name="connsiteY6" fmla="*/ 1 h 2296914"/>
                <a:gd name="connsiteX0" fmla="*/ 4259840 w 4259840"/>
                <a:gd name="connsiteY0" fmla="*/ 2248839 h 2248839"/>
                <a:gd name="connsiteX1" fmla="*/ 164137 w 4259840"/>
                <a:gd name="connsiteY1" fmla="*/ 2248839 h 2248839"/>
                <a:gd name="connsiteX2" fmla="*/ 48075 w 4259840"/>
                <a:gd name="connsiteY2" fmla="*/ 2200764 h 2248839"/>
                <a:gd name="connsiteX3" fmla="*/ 0 w 4259840"/>
                <a:gd name="connsiteY3" fmla="*/ 2084702 h 2248839"/>
                <a:gd name="connsiteX4" fmla="*/ 0 w 4259840"/>
                <a:gd name="connsiteY4" fmla="*/ 116062 h 2248839"/>
                <a:gd name="connsiteX5" fmla="*/ 48075 w 4259840"/>
                <a:gd name="connsiteY5" fmla="*/ 0 h 2248839"/>
                <a:gd name="connsiteX0" fmla="*/ 4259840 w 4259840"/>
                <a:gd name="connsiteY0" fmla="*/ 2132777 h 2132777"/>
                <a:gd name="connsiteX1" fmla="*/ 164137 w 4259840"/>
                <a:gd name="connsiteY1" fmla="*/ 2132777 h 2132777"/>
                <a:gd name="connsiteX2" fmla="*/ 48075 w 4259840"/>
                <a:gd name="connsiteY2" fmla="*/ 2084702 h 2132777"/>
                <a:gd name="connsiteX3" fmla="*/ 0 w 4259840"/>
                <a:gd name="connsiteY3" fmla="*/ 1968640 h 2132777"/>
                <a:gd name="connsiteX4" fmla="*/ 0 w 4259840"/>
                <a:gd name="connsiteY4" fmla="*/ 0 h 2132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9840" h="2132777">
                  <a:moveTo>
                    <a:pt x="4259840" y="2132777"/>
                  </a:moveTo>
                  <a:lnTo>
                    <a:pt x="164137" y="2132777"/>
                  </a:lnTo>
                  <a:cubicBezTo>
                    <a:pt x="120605" y="2132777"/>
                    <a:pt x="78856" y="2115484"/>
                    <a:pt x="48075" y="2084702"/>
                  </a:cubicBezTo>
                  <a:cubicBezTo>
                    <a:pt x="17293" y="2053920"/>
                    <a:pt x="0" y="2012171"/>
                    <a:pt x="0" y="1968640"/>
                  </a:cubicBezTo>
                  <a:lnTo>
                    <a:pt x="0" y="0"/>
                  </a:lnTo>
                </a:path>
              </a:pathLst>
            </a:custGeom>
            <a:noFill/>
            <a:ln w="19050" cap="flat" cmpd="sng" algn="ctr">
              <a:gradFill flip="none" rotWithShape="1">
                <a:gsLst>
                  <a:gs pos="0">
                    <a:schemeClr val="accent5"/>
                  </a:gs>
                  <a:gs pos="100000">
                    <a:schemeClr val="accent5">
                      <a:lumMod val="20000"/>
                      <a:lumOff val="80000"/>
                    </a:schemeClr>
                  </a:gs>
                </a:gsLst>
                <a:lin ang="240000" scaled="0"/>
                <a:tileRect/>
              </a:gradFill>
              <a:prstDash val="solid"/>
              <a:round/>
            </a:ln>
            <a:effectLst/>
          </p:spPr>
          <p:txBody>
            <a:bodyPr wrap="square" lIns="360000" tIns="50951" rIns="216000" bIns="144000" rtlCol="0" anchor="b"/>
            <a:lstStyle/>
            <a:p>
              <a:pPr marL="0" marR="0" indent="0" algn="just" defTabSz="10429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800" b="1" dirty="0" smtClean="0">
                  <a:solidFill>
                    <a:schemeClr val="bg1"/>
                  </a:solidFill>
                  <a:latin typeface="Arial"/>
                  <a:cs typeface="Arial"/>
                </a:rPr>
                <a:t>About Capgemini</a:t>
              </a:r>
              <a:endPara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marL="0" marR="0" indent="0" algn="just" defTabSz="957756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With more than 130,000 people in over 40 countries, </a:t>
              </a:r>
              <a:r>
                <a:rPr lang="en-US" sz="1000" dirty="0" err="1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apgemini</a:t>
              </a:r>
              <a:r>
                <a:rPr lang="en-US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is one of the world's foremost providers of consulting, technology and outsourcing services. The Group reported 2013 global revenues of EUR 10.1 billion.</a:t>
              </a:r>
            </a:p>
            <a:p>
              <a:pPr marL="0" marR="0" indent="0" algn="just" defTabSz="957756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ogether with its clients, </a:t>
              </a:r>
              <a:r>
                <a:rPr lang="en-US" sz="1000" dirty="0" err="1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apgemini</a:t>
              </a:r>
              <a:r>
                <a:rPr lang="en-US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creates and delivers business and technology solutions that fit their needs and drive the results they want. A deeply multicultural organization, </a:t>
              </a:r>
              <a:r>
                <a:rPr lang="en-US" sz="1000" dirty="0" err="1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apgemini</a:t>
              </a:r>
              <a:r>
                <a:rPr lang="en-US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has developed its own way of working, the Collaborative Business </a:t>
              </a:r>
              <a:r>
                <a:rPr lang="en-US" sz="1000" dirty="0" err="1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Experience</a:t>
              </a:r>
              <a:r>
                <a:rPr lang="en-US" sz="1000" baseline="30000" dirty="0" err="1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M</a:t>
              </a:r>
              <a:r>
                <a:rPr lang="en-US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, and draws on </a:t>
              </a:r>
              <a:r>
                <a:rPr lang="en-US" sz="1000" dirty="0" err="1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ightshore</a:t>
              </a:r>
              <a:r>
                <a:rPr lang="en-US" sz="1000" baseline="30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®</a:t>
              </a:r>
              <a:r>
                <a:rPr lang="en-US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, its worldwide delivery model.</a:t>
              </a:r>
            </a:p>
            <a:p>
              <a:pPr marL="0" indent="0" algn="just">
                <a:spcBef>
                  <a:spcPts val="600"/>
                </a:spcBef>
              </a:pPr>
              <a:r>
                <a:rPr lang="en-US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Learn more about us at www.capgemini.com</a:t>
              </a:r>
              <a:endPara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5" name="Image 337" descr="CBE_Label_ppt.png"/>
            <p:cNvPicPr>
              <a:picLocks noChangeAspect="1"/>
            </p:cNvPicPr>
            <p:nvPr userDrawn="1"/>
          </p:nvPicPr>
          <p:blipFill>
            <a:blip r:embed="rId7" cstate="screen"/>
            <a:stretch>
              <a:fillRect/>
            </a:stretch>
          </p:blipFill>
          <p:spPr>
            <a:xfrm>
              <a:off x="867725" y="3468294"/>
              <a:ext cx="519572" cy="522508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5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buClr>
                <a:schemeClr val="accent5"/>
              </a:buClr>
              <a:buFont typeface="Webdings" pitchFamily="18" charset="2"/>
              <a:buChar char="&lt;"/>
              <a:defRPr b="0">
                <a:solidFill>
                  <a:schemeClr val="tx1"/>
                </a:solidFill>
              </a:defRPr>
            </a:lvl1pPr>
            <a:lvl2pPr>
              <a:buClr>
                <a:schemeClr val="accent3"/>
              </a:buClr>
              <a:buFont typeface="Webdings" pitchFamily="18" charset="2"/>
              <a:buChar char=""/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buFont typeface="Wingdings 3" pitchFamily="18" charset="2"/>
              <a:buChar char=""/>
              <a:defRPr>
                <a:solidFill>
                  <a:schemeClr val="tx1"/>
                </a:solidFill>
              </a:defRPr>
            </a:lvl3pPr>
            <a:lvl4pPr>
              <a:buClr>
                <a:schemeClr val="accent4"/>
              </a:buClr>
              <a:buFont typeface="Wingdings" pitchFamily="2" charset="2"/>
              <a:buChar char=""/>
              <a:defRPr>
                <a:solidFill>
                  <a:schemeClr val="tx1"/>
                </a:solidFill>
              </a:defRPr>
            </a:lvl4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4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3"/>
          <p:cNvSpPr>
            <a:spLocks noGrp="1"/>
          </p:cNvSpPr>
          <p:nvPr>
            <p:ph sz="quarter" idx="12" hasCustomPrompt="1"/>
            <p:custDataLst>
              <p:tags r:id="rId2"/>
            </p:custDataLst>
          </p:nvPr>
        </p:nvSpPr>
        <p:spPr>
          <a:xfrm>
            <a:off x="314709" y="1882953"/>
            <a:ext cx="4502138" cy="325441"/>
          </a:xfrm>
          <a:solidFill>
            <a:schemeClr val="accent5"/>
          </a:solidFill>
          <a:effectLst/>
        </p:spPr>
        <p:txBody>
          <a:bodyPr lIns="36000" tIns="36000" rIns="36000" bIns="36000" anchor="ctr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  <a:lvl2pPr>
              <a:buNone/>
              <a:defRPr sz="1400" b="1">
                <a:solidFill>
                  <a:schemeClr val="bg1"/>
                </a:solidFill>
              </a:defRPr>
            </a:lvl2pPr>
            <a:lvl3pPr>
              <a:buNone/>
              <a:defRPr sz="1400" b="1">
                <a:solidFill>
                  <a:schemeClr val="bg1"/>
                </a:solidFill>
              </a:defRPr>
            </a:lvl3pPr>
            <a:lvl4pPr>
              <a:buNone/>
              <a:defRPr sz="1400" b="1"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9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000">
                <a:srgbClr val="EAE8E6">
                  <a:alpha val="98824"/>
                </a:srgbClr>
              </a:gs>
              <a:gs pos="100000">
                <a:schemeClr val="bg1">
                  <a:alpha val="57000"/>
                </a:schemeClr>
              </a:gs>
            </a:gsLst>
            <a:lin ang="16200000" scaled="1"/>
            <a:tileRect/>
          </a:gradFill>
        </p:spPr>
        <p:txBody>
          <a:bodyPr vert="horz" lIns="108000" tIns="72000" rIns="72000" bIns="72000" rtlCol="0">
            <a:noAutofit/>
          </a:bodyPr>
          <a:lstStyle>
            <a:lvl1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16" name="Espace réservé du contenu 3"/>
          <p:cNvSpPr>
            <a:spLocks noGrp="1"/>
          </p:cNvSpPr>
          <p:nvPr>
            <p:ph sz="quarter" idx="13" hasCustomPrompt="1"/>
            <p:custDataLst>
              <p:tags r:id="rId5"/>
            </p:custDataLst>
          </p:nvPr>
        </p:nvSpPr>
        <p:spPr>
          <a:xfrm>
            <a:off x="5022838" y="1882953"/>
            <a:ext cx="4502138" cy="325441"/>
          </a:xfrm>
          <a:solidFill>
            <a:schemeClr val="accent3"/>
          </a:solidFill>
          <a:effectLst/>
        </p:spPr>
        <p:txBody>
          <a:bodyPr lIns="36000" tIns="36000" rIns="36000" bIns="36000" anchor="ctr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  <a:lvl2pPr>
              <a:buNone/>
              <a:defRPr sz="1400" b="1">
                <a:solidFill>
                  <a:schemeClr val="bg1"/>
                </a:solidFill>
              </a:defRPr>
            </a:lvl2pPr>
            <a:lvl3pPr>
              <a:buNone/>
              <a:defRPr sz="1400" b="1">
                <a:solidFill>
                  <a:schemeClr val="bg1"/>
                </a:solidFill>
              </a:defRPr>
            </a:lvl3pPr>
            <a:lvl4pPr>
              <a:buNone/>
              <a:defRPr sz="1400" b="1"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7" name="Espace réservé du contenu 3"/>
          <p:cNvSpPr>
            <a:spLocks noGrp="1"/>
          </p:cNvSpPr>
          <p:nvPr>
            <p:ph sz="quarter" idx="14" hasCustomPrompt="1"/>
            <p:custDataLst>
              <p:tags r:id="rId6"/>
            </p:custDataLst>
          </p:nvPr>
        </p:nvSpPr>
        <p:spPr>
          <a:xfrm>
            <a:off x="5022838" y="2206953"/>
            <a:ext cx="4502138" cy="4041990"/>
          </a:xfr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000">
                <a:srgbClr val="EAE8E6">
                  <a:alpha val="98824"/>
                </a:srgbClr>
              </a:gs>
              <a:gs pos="100000">
                <a:schemeClr val="bg1">
                  <a:alpha val="57000"/>
                </a:schemeClr>
              </a:gs>
            </a:gsLst>
            <a:lin ang="16200000" scaled="1"/>
            <a:tileRect/>
          </a:gradFill>
        </p:spPr>
        <p:txBody>
          <a:bodyPr vert="horz" lIns="108000" tIns="72000" rIns="72000" bIns="72000" rtlCol="0">
            <a:noAutofit/>
          </a:bodyPr>
          <a:lstStyle>
            <a:lvl1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3"/>
          <p:cNvSpPr>
            <a:spLocks noGrp="1"/>
          </p:cNvSpPr>
          <p:nvPr>
            <p:ph sz="quarter" idx="12" hasCustomPrompt="1"/>
            <p:custDataLst>
              <p:tags r:id="rId2"/>
            </p:custDataLst>
          </p:nvPr>
        </p:nvSpPr>
        <p:spPr>
          <a:xfrm>
            <a:off x="314709" y="1882953"/>
            <a:ext cx="2988000" cy="325441"/>
          </a:xfrm>
          <a:solidFill>
            <a:schemeClr val="accent5"/>
          </a:solidFill>
          <a:effectLst/>
        </p:spPr>
        <p:txBody>
          <a:bodyPr lIns="36000" tIns="36000" rIns="36000" bIns="36000" anchor="ctr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  <a:lvl2pPr>
              <a:buNone/>
              <a:defRPr sz="1400" b="1">
                <a:solidFill>
                  <a:schemeClr val="bg1"/>
                </a:solidFill>
              </a:defRPr>
            </a:lvl2pPr>
            <a:lvl3pPr>
              <a:buNone/>
              <a:defRPr sz="1400" b="1">
                <a:solidFill>
                  <a:schemeClr val="bg1"/>
                </a:solidFill>
              </a:defRPr>
            </a:lvl3pPr>
            <a:lvl4pPr>
              <a:buNone/>
              <a:defRPr sz="1400" b="1"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1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2988000" cy="4041990"/>
          </a:xfr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000">
                <a:srgbClr val="EAE8E6">
                  <a:alpha val="98824"/>
                </a:srgbClr>
              </a:gs>
              <a:gs pos="100000">
                <a:schemeClr val="bg1">
                  <a:alpha val="57000"/>
                </a:schemeClr>
              </a:gs>
            </a:gsLst>
            <a:lin ang="16200000" scaled="1"/>
            <a:tileRect/>
          </a:gradFill>
        </p:spPr>
        <p:txBody>
          <a:bodyPr vert="horz" lIns="108000" tIns="72000" rIns="72000" bIns="72000" rtlCol="0">
            <a:noAutofit/>
          </a:bodyPr>
          <a:lstStyle>
            <a:lvl1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16" name="Espace réservé du contenu 3"/>
          <p:cNvSpPr>
            <a:spLocks noGrp="1"/>
          </p:cNvSpPr>
          <p:nvPr>
            <p:ph sz="quarter" idx="13" hasCustomPrompt="1"/>
            <p:custDataLst>
              <p:tags r:id="rId5"/>
            </p:custDataLst>
          </p:nvPr>
        </p:nvSpPr>
        <p:spPr>
          <a:xfrm>
            <a:off x="3439644" y="1882953"/>
            <a:ext cx="2988000" cy="325441"/>
          </a:xfrm>
          <a:solidFill>
            <a:schemeClr val="accent3"/>
          </a:solidFill>
          <a:effectLst/>
        </p:spPr>
        <p:txBody>
          <a:bodyPr lIns="36000" tIns="36000" rIns="36000" bIns="36000" anchor="ctr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  <a:lvl2pPr>
              <a:buNone/>
              <a:defRPr sz="1400" b="1">
                <a:solidFill>
                  <a:schemeClr val="bg1"/>
                </a:solidFill>
              </a:defRPr>
            </a:lvl2pPr>
            <a:lvl3pPr>
              <a:buNone/>
              <a:defRPr sz="1400" b="1">
                <a:solidFill>
                  <a:schemeClr val="bg1"/>
                </a:solidFill>
              </a:defRPr>
            </a:lvl3pPr>
            <a:lvl4pPr>
              <a:buNone/>
              <a:defRPr sz="1400" b="1"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7" name="Espace réservé du contenu 3"/>
          <p:cNvSpPr>
            <a:spLocks noGrp="1"/>
          </p:cNvSpPr>
          <p:nvPr>
            <p:ph sz="quarter" idx="14" hasCustomPrompt="1"/>
            <p:custDataLst>
              <p:tags r:id="rId6"/>
            </p:custDataLst>
          </p:nvPr>
        </p:nvSpPr>
        <p:spPr>
          <a:xfrm>
            <a:off x="3439644" y="2206953"/>
            <a:ext cx="2988000" cy="4041990"/>
          </a:xfr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000">
                <a:srgbClr val="EAE8E6">
                  <a:alpha val="98824"/>
                </a:srgbClr>
              </a:gs>
              <a:gs pos="100000">
                <a:schemeClr val="bg1">
                  <a:alpha val="57000"/>
                </a:schemeClr>
              </a:gs>
            </a:gsLst>
            <a:lin ang="16200000" scaled="1"/>
            <a:tileRect/>
          </a:gradFill>
        </p:spPr>
        <p:txBody>
          <a:bodyPr vert="horz" lIns="108000" tIns="72000" rIns="72000" bIns="72000" rtlCol="0">
            <a:noAutofit/>
          </a:bodyPr>
          <a:lstStyle>
            <a:lvl1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Espace réservé du contenu 3"/>
          <p:cNvSpPr>
            <a:spLocks noGrp="1"/>
          </p:cNvSpPr>
          <p:nvPr>
            <p:ph sz="quarter" idx="15" hasCustomPrompt="1"/>
            <p:custDataLst>
              <p:tags r:id="rId7"/>
            </p:custDataLst>
          </p:nvPr>
        </p:nvSpPr>
        <p:spPr>
          <a:xfrm>
            <a:off x="6564580" y="1882953"/>
            <a:ext cx="2988000" cy="325441"/>
          </a:xfrm>
          <a:solidFill>
            <a:schemeClr val="accent2"/>
          </a:solidFill>
          <a:effectLst/>
        </p:spPr>
        <p:txBody>
          <a:bodyPr lIns="36000" tIns="36000" rIns="36000" bIns="36000" anchor="ctr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  <a:lvl2pPr>
              <a:buNone/>
              <a:defRPr sz="1400" b="1">
                <a:solidFill>
                  <a:schemeClr val="bg1"/>
                </a:solidFill>
              </a:defRPr>
            </a:lvl2pPr>
            <a:lvl3pPr>
              <a:buNone/>
              <a:defRPr sz="1400" b="1">
                <a:solidFill>
                  <a:schemeClr val="bg1"/>
                </a:solidFill>
              </a:defRPr>
            </a:lvl3pPr>
            <a:lvl4pPr>
              <a:buNone/>
              <a:defRPr sz="1400" b="1"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Espace réservé du contenu 3"/>
          <p:cNvSpPr>
            <a:spLocks noGrp="1"/>
          </p:cNvSpPr>
          <p:nvPr>
            <p:ph sz="quarter" idx="16" hasCustomPrompt="1"/>
            <p:custDataLst>
              <p:tags r:id="rId8"/>
            </p:custDataLst>
          </p:nvPr>
        </p:nvSpPr>
        <p:spPr>
          <a:xfrm>
            <a:off x="6564580" y="2206953"/>
            <a:ext cx="2988000" cy="4041990"/>
          </a:xfr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000">
                <a:srgbClr val="EAE8E6">
                  <a:alpha val="98824"/>
                </a:srgbClr>
              </a:gs>
              <a:gs pos="100000">
                <a:schemeClr val="bg1">
                  <a:alpha val="57000"/>
                </a:schemeClr>
              </a:gs>
            </a:gsLst>
            <a:lin ang="16200000" scaled="1"/>
            <a:tileRect/>
          </a:gradFill>
        </p:spPr>
        <p:txBody>
          <a:bodyPr vert="horz" lIns="108000" tIns="72000" rIns="72000" bIns="72000" rtlCol="0">
            <a:noAutofit/>
          </a:bodyPr>
          <a:lstStyle>
            <a:lvl1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89"/>
          <p:cNvGrpSpPr/>
          <p:nvPr userDrawn="1"/>
        </p:nvGrpSpPr>
        <p:grpSpPr>
          <a:xfrm>
            <a:off x="8062199" y="1476077"/>
            <a:ext cx="1724400" cy="4813615"/>
            <a:chOff x="8062199" y="1476077"/>
            <a:chExt cx="1724400" cy="4813615"/>
          </a:xfrm>
        </p:grpSpPr>
        <p:pic>
          <p:nvPicPr>
            <p:cNvPr id="89" name="Image 88" descr="slide_3a.jpg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>
            <a:xfrm>
              <a:off x="8062199" y="1476077"/>
              <a:ext cx="1724400" cy="4813615"/>
            </a:xfrm>
            <a:prstGeom prst="rect">
              <a:avLst/>
            </a:prstGeom>
          </p:spPr>
        </p:pic>
        <p:sp>
          <p:nvSpPr>
            <p:cNvPr id="87" name="Freeform 6"/>
            <p:cNvSpPr>
              <a:spLocks/>
            </p:cNvSpPr>
            <p:nvPr userDrawn="1"/>
          </p:nvSpPr>
          <p:spPr bwMode="auto">
            <a:xfrm>
              <a:off x="8062199" y="1476077"/>
              <a:ext cx="1723349" cy="398725"/>
            </a:xfrm>
            <a:custGeom>
              <a:avLst/>
              <a:gdLst/>
              <a:ahLst/>
              <a:cxnLst>
                <a:cxn ang="0">
                  <a:pos x="542" y="0"/>
                </a:cxn>
                <a:cxn ang="0">
                  <a:pos x="466" y="62"/>
                </a:cxn>
                <a:cxn ang="0">
                  <a:pos x="419" y="62"/>
                </a:cxn>
                <a:cxn ang="0">
                  <a:pos x="236" y="62"/>
                </a:cxn>
                <a:cxn ang="0">
                  <a:pos x="193" y="62"/>
                </a:cxn>
                <a:cxn ang="0">
                  <a:pos x="117" y="123"/>
                </a:cxn>
                <a:cxn ang="0">
                  <a:pos x="41" y="62"/>
                </a:cxn>
                <a:cxn ang="0">
                  <a:pos x="0" y="62"/>
                </a:cxn>
                <a:cxn ang="0">
                  <a:pos x="0" y="0"/>
                </a:cxn>
                <a:cxn ang="0">
                  <a:pos x="542" y="0"/>
                </a:cxn>
              </a:cxnLst>
              <a:rect l="0" t="0" r="r" b="b"/>
              <a:pathLst>
                <a:path w="542" h="123">
                  <a:moveTo>
                    <a:pt x="542" y="0"/>
                  </a:moveTo>
                  <a:cubicBezTo>
                    <a:pt x="523" y="65"/>
                    <a:pt x="466" y="62"/>
                    <a:pt x="466" y="62"/>
                  </a:cubicBezTo>
                  <a:cubicBezTo>
                    <a:pt x="419" y="62"/>
                    <a:pt x="419" y="62"/>
                    <a:pt x="419" y="62"/>
                  </a:cubicBezTo>
                  <a:cubicBezTo>
                    <a:pt x="236" y="62"/>
                    <a:pt x="236" y="62"/>
                    <a:pt x="236" y="62"/>
                  </a:cubicBezTo>
                  <a:cubicBezTo>
                    <a:pt x="193" y="62"/>
                    <a:pt x="193" y="62"/>
                    <a:pt x="193" y="62"/>
                  </a:cubicBezTo>
                  <a:cubicBezTo>
                    <a:pt x="193" y="62"/>
                    <a:pt x="136" y="58"/>
                    <a:pt x="117" y="123"/>
                  </a:cubicBezTo>
                  <a:cubicBezTo>
                    <a:pt x="98" y="58"/>
                    <a:pt x="41" y="62"/>
                    <a:pt x="41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42" y="0"/>
                  </a:lnTo>
                  <a:close/>
                </a:path>
              </a:pathLst>
            </a:cu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263147"/>
                </a:solidFill>
              </a:endParaRPr>
            </a:p>
          </p:txBody>
        </p:sp>
      </p:grpSp>
      <p:grpSp>
        <p:nvGrpSpPr>
          <p:cNvPr id="7" name="Groupe 122"/>
          <p:cNvGrpSpPr/>
          <p:nvPr userDrawn="1"/>
        </p:nvGrpSpPr>
        <p:grpSpPr>
          <a:xfrm>
            <a:off x="4225882" y="3924307"/>
            <a:ext cx="3708000" cy="2376000"/>
            <a:chOff x="389906" y="2058304"/>
            <a:chExt cx="4171483" cy="2656190"/>
          </a:xfrm>
        </p:grpSpPr>
        <p:sp>
          <p:nvSpPr>
            <p:cNvPr id="6" name="Rectangle 5"/>
            <p:cNvSpPr/>
            <p:nvPr/>
          </p:nvSpPr>
          <p:spPr>
            <a:xfrm>
              <a:off x="389906" y="2058304"/>
              <a:ext cx="4167353" cy="264432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83969" tIns="41985" rIns="83969" bIns="41985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700" b="1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10" name="Groupe 12"/>
            <p:cNvGrpSpPr/>
            <p:nvPr/>
          </p:nvGrpSpPr>
          <p:grpSpPr>
            <a:xfrm>
              <a:off x="4212602" y="4375255"/>
              <a:ext cx="348787" cy="339239"/>
              <a:chOff x="6922762" y="3144938"/>
              <a:chExt cx="193792" cy="188487"/>
            </a:xfrm>
          </p:grpSpPr>
          <p:sp>
            <p:nvSpPr>
              <p:cNvPr id="8" name="Freeform 6"/>
              <p:cNvSpPr>
                <a:spLocks/>
              </p:cNvSpPr>
              <p:nvPr/>
            </p:nvSpPr>
            <p:spPr bwMode="auto">
              <a:xfrm>
                <a:off x="6922762" y="3144938"/>
                <a:ext cx="193791" cy="188487"/>
              </a:xfrm>
              <a:custGeom>
                <a:avLst/>
                <a:gdLst/>
                <a:ahLst/>
                <a:cxnLst>
                  <a:cxn ang="0">
                    <a:pos x="0" y="151"/>
                  </a:cxn>
                  <a:cxn ang="0">
                    <a:pos x="152" y="151"/>
                  </a:cxn>
                  <a:cxn ang="0">
                    <a:pos x="152" y="0"/>
                  </a:cxn>
                  <a:cxn ang="0">
                    <a:pos x="0" y="151"/>
                  </a:cxn>
                </a:cxnLst>
                <a:rect l="0" t="0" r="r" b="b"/>
                <a:pathLst>
                  <a:path w="152" h="151">
                    <a:moveTo>
                      <a:pt x="0" y="151"/>
                    </a:moveTo>
                    <a:lnTo>
                      <a:pt x="152" y="151"/>
                    </a:lnTo>
                    <a:lnTo>
                      <a:pt x="152" y="0"/>
                    </a:lnTo>
                    <a:lnTo>
                      <a:pt x="0" y="15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9" name="Freeform 7"/>
              <p:cNvSpPr>
                <a:spLocks/>
              </p:cNvSpPr>
              <p:nvPr/>
            </p:nvSpPr>
            <p:spPr bwMode="auto">
              <a:xfrm>
                <a:off x="6922763" y="3144938"/>
                <a:ext cx="193791" cy="188487"/>
              </a:xfrm>
              <a:custGeom>
                <a:avLst/>
                <a:gdLst/>
                <a:ahLst/>
                <a:cxnLst>
                  <a:cxn ang="0">
                    <a:pos x="61" y="0"/>
                  </a:cxn>
                  <a:cxn ang="0">
                    <a:pos x="10" y="11"/>
                  </a:cxn>
                  <a:cxn ang="0">
                    <a:pos x="0" y="61"/>
                  </a:cxn>
                  <a:cxn ang="0">
                    <a:pos x="61" y="0"/>
                  </a:cxn>
                </a:cxnLst>
                <a:rect l="0" t="0" r="r" b="b"/>
                <a:pathLst>
                  <a:path w="61" h="61">
                    <a:moveTo>
                      <a:pt x="61" y="0"/>
                    </a:moveTo>
                    <a:cubicBezTo>
                      <a:pt x="42" y="11"/>
                      <a:pt x="22" y="10"/>
                      <a:pt x="10" y="11"/>
                    </a:cubicBezTo>
                    <a:cubicBezTo>
                      <a:pt x="10" y="29"/>
                      <a:pt x="9" y="47"/>
                      <a:pt x="0" y="61"/>
                    </a:cubicBezTo>
                    <a:cubicBezTo>
                      <a:pt x="22" y="39"/>
                      <a:pt x="61" y="0"/>
                      <a:pt x="61" y="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42000">
                    <a:schemeClr val="bg1">
                      <a:lumMod val="95000"/>
                    </a:schemeClr>
                  </a:gs>
                  <a:gs pos="72000">
                    <a:schemeClr val="bg1">
                      <a:lumMod val="65000"/>
                    </a:schemeClr>
                  </a:gs>
                </a:gsLst>
                <a:lin ang="27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</p:grpSp>
      </p:grpSp>
      <p:grpSp>
        <p:nvGrpSpPr>
          <p:cNvPr id="12" name="Groupe 114"/>
          <p:cNvGrpSpPr/>
          <p:nvPr userDrawn="1"/>
        </p:nvGrpSpPr>
        <p:grpSpPr>
          <a:xfrm>
            <a:off x="4225882" y="1476077"/>
            <a:ext cx="3708000" cy="2376000"/>
            <a:chOff x="389906" y="2058304"/>
            <a:chExt cx="4171483" cy="2656190"/>
          </a:xfrm>
        </p:grpSpPr>
        <p:sp>
          <p:nvSpPr>
            <p:cNvPr id="11" name="Rectangle 10"/>
            <p:cNvSpPr/>
            <p:nvPr/>
          </p:nvSpPr>
          <p:spPr>
            <a:xfrm>
              <a:off x="389906" y="2058304"/>
              <a:ext cx="4167353" cy="2644323"/>
            </a:xfrm>
            <a:prstGeom prst="rect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3969" tIns="41985" rIns="83969" bIns="41985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700" b="1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15" name="Groupe 12"/>
            <p:cNvGrpSpPr/>
            <p:nvPr/>
          </p:nvGrpSpPr>
          <p:grpSpPr>
            <a:xfrm>
              <a:off x="4212602" y="4375255"/>
              <a:ext cx="348787" cy="339239"/>
              <a:chOff x="6922762" y="3144938"/>
              <a:chExt cx="193792" cy="188487"/>
            </a:xfrm>
          </p:grpSpPr>
          <p:sp>
            <p:nvSpPr>
              <p:cNvPr id="13" name="Freeform 6"/>
              <p:cNvSpPr>
                <a:spLocks/>
              </p:cNvSpPr>
              <p:nvPr/>
            </p:nvSpPr>
            <p:spPr bwMode="auto">
              <a:xfrm>
                <a:off x="6922762" y="3144938"/>
                <a:ext cx="193791" cy="188487"/>
              </a:xfrm>
              <a:custGeom>
                <a:avLst/>
                <a:gdLst/>
                <a:ahLst/>
                <a:cxnLst>
                  <a:cxn ang="0">
                    <a:pos x="0" y="151"/>
                  </a:cxn>
                  <a:cxn ang="0">
                    <a:pos x="152" y="151"/>
                  </a:cxn>
                  <a:cxn ang="0">
                    <a:pos x="152" y="0"/>
                  </a:cxn>
                  <a:cxn ang="0">
                    <a:pos x="0" y="151"/>
                  </a:cxn>
                </a:cxnLst>
                <a:rect l="0" t="0" r="r" b="b"/>
                <a:pathLst>
                  <a:path w="152" h="151">
                    <a:moveTo>
                      <a:pt x="0" y="151"/>
                    </a:moveTo>
                    <a:lnTo>
                      <a:pt x="152" y="151"/>
                    </a:lnTo>
                    <a:lnTo>
                      <a:pt x="152" y="0"/>
                    </a:lnTo>
                    <a:lnTo>
                      <a:pt x="0" y="15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14" name="Freeform 7"/>
              <p:cNvSpPr>
                <a:spLocks/>
              </p:cNvSpPr>
              <p:nvPr/>
            </p:nvSpPr>
            <p:spPr bwMode="auto">
              <a:xfrm>
                <a:off x="6922763" y="3144938"/>
                <a:ext cx="193791" cy="188487"/>
              </a:xfrm>
              <a:custGeom>
                <a:avLst/>
                <a:gdLst/>
                <a:ahLst/>
                <a:cxnLst>
                  <a:cxn ang="0">
                    <a:pos x="61" y="0"/>
                  </a:cxn>
                  <a:cxn ang="0">
                    <a:pos x="10" y="11"/>
                  </a:cxn>
                  <a:cxn ang="0">
                    <a:pos x="0" y="61"/>
                  </a:cxn>
                  <a:cxn ang="0">
                    <a:pos x="61" y="0"/>
                  </a:cxn>
                </a:cxnLst>
                <a:rect l="0" t="0" r="r" b="b"/>
                <a:pathLst>
                  <a:path w="61" h="61">
                    <a:moveTo>
                      <a:pt x="61" y="0"/>
                    </a:moveTo>
                    <a:cubicBezTo>
                      <a:pt x="42" y="11"/>
                      <a:pt x="22" y="10"/>
                      <a:pt x="10" y="11"/>
                    </a:cubicBezTo>
                    <a:cubicBezTo>
                      <a:pt x="10" y="29"/>
                      <a:pt x="9" y="47"/>
                      <a:pt x="0" y="61"/>
                    </a:cubicBezTo>
                    <a:cubicBezTo>
                      <a:pt x="22" y="39"/>
                      <a:pt x="61" y="0"/>
                      <a:pt x="61" y="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42000">
                    <a:schemeClr val="bg1">
                      <a:lumMod val="95000"/>
                    </a:schemeClr>
                  </a:gs>
                  <a:gs pos="72000">
                    <a:schemeClr val="bg1">
                      <a:lumMod val="65000"/>
                    </a:schemeClr>
                  </a:gs>
                </a:gsLst>
                <a:lin ang="27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</p:grpSp>
      </p:grpSp>
      <p:grpSp>
        <p:nvGrpSpPr>
          <p:cNvPr id="17" name="Groupe 60"/>
          <p:cNvGrpSpPr/>
          <p:nvPr userDrawn="1"/>
        </p:nvGrpSpPr>
        <p:grpSpPr>
          <a:xfrm>
            <a:off x="130176" y="1476077"/>
            <a:ext cx="3707764" cy="2376000"/>
            <a:chOff x="389906" y="2058304"/>
            <a:chExt cx="4171483" cy="2656190"/>
          </a:xfrm>
        </p:grpSpPr>
        <p:sp>
          <p:nvSpPr>
            <p:cNvPr id="16" name="Rectangle 15"/>
            <p:cNvSpPr/>
            <p:nvPr/>
          </p:nvSpPr>
          <p:spPr>
            <a:xfrm>
              <a:off x="389906" y="2058304"/>
              <a:ext cx="4167353" cy="264432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83969" tIns="41985" rIns="83969" bIns="41985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700" b="1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25" name="Groupe 12"/>
            <p:cNvGrpSpPr/>
            <p:nvPr/>
          </p:nvGrpSpPr>
          <p:grpSpPr>
            <a:xfrm>
              <a:off x="4212602" y="4375255"/>
              <a:ext cx="348787" cy="339239"/>
              <a:chOff x="6922762" y="3144938"/>
              <a:chExt cx="193792" cy="188487"/>
            </a:xfrm>
          </p:grpSpPr>
          <p:sp>
            <p:nvSpPr>
              <p:cNvPr id="18" name="Freeform 6"/>
              <p:cNvSpPr>
                <a:spLocks/>
              </p:cNvSpPr>
              <p:nvPr/>
            </p:nvSpPr>
            <p:spPr bwMode="auto">
              <a:xfrm>
                <a:off x="6922762" y="3144938"/>
                <a:ext cx="193791" cy="188487"/>
              </a:xfrm>
              <a:custGeom>
                <a:avLst/>
                <a:gdLst/>
                <a:ahLst/>
                <a:cxnLst>
                  <a:cxn ang="0">
                    <a:pos x="0" y="151"/>
                  </a:cxn>
                  <a:cxn ang="0">
                    <a:pos x="152" y="151"/>
                  </a:cxn>
                  <a:cxn ang="0">
                    <a:pos x="152" y="0"/>
                  </a:cxn>
                  <a:cxn ang="0">
                    <a:pos x="0" y="151"/>
                  </a:cxn>
                </a:cxnLst>
                <a:rect l="0" t="0" r="r" b="b"/>
                <a:pathLst>
                  <a:path w="152" h="151">
                    <a:moveTo>
                      <a:pt x="0" y="151"/>
                    </a:moveTo>
                    <a:lnTo>
                      <a:pt x="152" y="151"/>
                    </a:lnTo>
                    <a:lnTo>
                      <a:pt x="152" y="0"/>
                    </a:lnTo>
                    <a:lnTo>
                      <a:pt x="0" y="15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19" name="Freeform 7"/>
              <p:cNvSpPr>
                <a:spLocks/>
              </p:cNvSpPr>
              <p:nvPr/>
            </p:nvSpPr>
            <p:spPr bwMode="auto">
              <a:xfrm>
                <a:off x="6922763" y="3144938"/>
                <a:ext cx="193791" cy="188487"/>
              </a:xfrm>
              <a:custGeom>
                <a:avLst/>
                <a:gdLst/>
                <a:ahLst/>
                <a:cxnLst>
                  <a:cxn ang="0">
                    <a:pos x="61" y="0"/>
                  </a:cxn>
                  <a:cxn ang="0">
                    <a:pos x="10" y="11"/>
                  </a:cxn>
                  <a:cxn ang="0">
                    <a:pos x="0" y="61"/>
                  </a:cxn>
                  <a:cxn ang="0">
                    <a:pos x="61" y="0"/>
                  </a:cxn>
                </a:cxnLst>
                <a:rect l="0" t="0" r="r" b="b"/>
                <a:pathLst>
                  <a:path w="61" h="61">
                    <a:moveTo>
                      <a:pt x="61" y="0"/>
                    </a:moveTo>
                    <a:cubicBezTo>
                      <a:pt x="42" y="11"/>
                      <a:pt x="22" y="10"/>
                      <a:pt x="10" y="11"/>
                    </a:cubicBezTo>
                    <a:cubicBezTo>
                      <a:pt x="10" y="29"/>
                      <a:pt x="9" y="47"/>
                      <a:pt x="0" y="61"/>
                    </a:cubicBezTo>
                    <a:cubicBezTo>
                      <a:pt x="22" y="39"/>
                      <a:pt x="61" y="0"/>
                      <a:pt x="61" y="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42000">
                    <a:schemeClr val="bg1">
                      <a:lumMod val="95000"/>
                    </a:schemeClr>
                  </a:gs>
                  <a:gs pos="72000">
                    <a:schemeClr val="bg1">
                      <a:lumMod val="65000"/>
                    </a:schemeClr>
                  </a:gs>
                </a:gsLst>
                <a:lin ang="27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</p:grpSp>
      </p:grpSp>
      <p:sp>
        <p:nvSpPr>
          <p:cNvPr id="20" name="Freeform 11"/>
          <p:cNvSpPr>
            <a:spLocks/>
          </p:cNvSpPr>
          <p:nvPr userDrawn="1"/>
        </p:nvSpPr>
        <p:spPr bwMode="auto">
          <a:xfrm rot="5400000" flipH="1" flipV="1">
            <a:off x="3308523" y="2196277"/>
            <a:ext cx="1334381" cy="29462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5705 h 10000"/>
              <a:gd name="connsiteX3" fmla="*/ 9705 w 10000"/>
              <a:gd name="connsiteY3" fmla="*/ 8750 h 10000"/>
              <a:gd name="connsiteX4" fmla="*/ 814 w 10000"/>
              <a:gd name="connsiteY4" fmla="*/ 8750 h 10000"/>
              <a:gd name="connsiteX5" fmla="*/ 519 w 10000"/>
              <a:gd name="connsiteY5" fmla="*/ 10000 h 10000"/>
              <a:gd name="connsiteX6" fmla="*/ 228 w 10000"/>
              <a:gd name="connsiteY6" fmla="*/ 8750 h 10000"/>
              <a:gd name="connsiteX7" fmla="*/ 0 w 10000"/>
              <a:gd name="connsiteY7" fmla="*/ 8750 h 10000"/>
              <a:gd name="connsiteX8" fmla="*/ 92 w 10000"/>
              <a:gd name="connsiteY8" fmla="*/ 65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5705 h 10000"/>
              <a:gd name="connsiteX3" fmla="*/ 9705 w 10000"/>
              <a:gd name="connsiteY3" fmla="*/ 8750 h 10000"/>
              <a:gd name="connsiteX4" fmla="*/ 814 w 10000"/>
              <a:gd name="connsiteY4" fmla="*/ 8750 h 10000"/>
              <a:gd name="connsiteX5" fmla="*/ 519 w 10000"/>
              <a:gd name="connsiteY5" fmla="*/ 10000 h 10000"/>
              <a:gd name="connsiteX6" fmla="*/ 228 w 10000"/>
              <a:gd name="connsiteY6" fmla="*/ 8750 h 10000"/>
              <a:gd name="connsiteX7" fmla="*/ 0 w 10000"/>
              <a:gd name="connsiteY7" fmla="*/ 8750 h 10000"/>
              <a:gd name="connsiteX0" fmla="*/ 10000 w 10000"/>
              <a:gd name="connsiteY0" fmla="*/ 0 h 10000"/>
              <a:gd name="connsiteX1" fmla="*/ 10000 w 10000"/>
              <a:gd name="connsiteY1" fmla="*/ 5705 h 10000"/>
              <a:gd name="connsiteX2" fmla="*/ 9705 w 10000"/>
              <a:gd name="connsiteY2" fmla="*/ 8750 h 10000"/>
              <a:gd name="connsiteX3" fmla="*/ 814 w 10000"/>
              <a:gd name="connsiteY3" fmla="*/ 8750 h 10000"/>
              <a:gd name="connsiteX4" fmla="*/ 519 w 10000"/>
              <a:gd name="connsiteY4" fmla="*/ 10000 h 10000"/>
              <a:gd name="connsiteX5" fmla="*/ 228 w 10000"/>
              <a:gd name="connsiteY5" fmla="*/ 8750 h 10000"/>
              <a:gd name="connsiteX6" fmla="*/ 0 w 10000"/>
              <a:gd name="connsiteY6" fmla="*/ 8750 h 10000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10000 w 10000"/>
              <a:gd name="connsiteY2" fmla="*/ 22421 h 26716"/>
              <a:gd name="connsiteX3" fmla="*/ 9705 w 10000"/>
              <a:gd name="connsiteY3" fmla="*/ 25466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10000 w 10000"/>
              <a:gd name="connsiteY2" fmla="*/ 22421 h 26716"/>
              <a:gd name="connsiteX3" fmla="*/ 4062 w 10000"/>
              <a:gd name="connsiteY3" fmla="*/ 25384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10000 w 10000"/>
              <a:gd name="connsiteY2" fmla="*/ 22421 h 26716"/>
              <a:gd name="connsiteX3" fmla="*/ 3373 w 10000"/>
              <a:gd name="connsiteY3" fmla="*/ 25384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4123 w 10000"/>
              <a:gd name="connsiteY2" fmla="*/ 23350 h 26716"/>
              <a:gd name="connsiteX3" fmla="*/ 3373 w 10000"/>
              <a:gd name="connsiteY3" fmla="*/ 25384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10000 w 10000"/>
              <a:gd name="connsiteY0" fmla="*/ 16716 h 26716"/>
              <a:gd name="connsiteX1" fmla="*/ 9924 w 10000"/>
              <a:gd name="connsiteY1" fmla="*/ 16671 h 26716"/>
              <a:gd name="connsiteX2" fmla="*/ 4223 w 10000"/>
              <a:gd name="connsiteY2" fmla="*/ 0 h 26716"/>
              <a:gd name="connsiteX3" fmla="*/ 4123 w 10000"/>
              <a:gd name="connsiteY3" fmla="*/ 23350 h 26716"/>
              <a:gd name="connsiteX4" fmla="*/ 3373 w 10000"/>
              <a:gd name="connsiteY4" fmla="*/ 25384 h 26716"/>
              <a:gd name="connsiteX5" fmla="*/ 814 w 10000"/>
              <a:gd name="connsiteY5" fmla="*/ 25466 h 26716"/>
              <a:gd name="connsiteX6" fmla="*/ 519 w 10000"/>
              <a:gd name="connsiteY6" fmla="*/ 26716 h 26716"/>
              <a:gd name="connsiteX7" fmla="*/ 228 w 10000"/>
              <a:gd name="connsiteY7" fmla="*/ 25466 h 26716"/>
              <a:gd name="connsiteX8" fmla="*/ 0 w 10000"/>
              <a:gd name="connsiteY8" fmla="*/ 25466 h 26716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4123 w 10000"/>
              <a:gd name="connsiteY2" fmla="*/ 23350 h 26716"/>
              <a:gd name="connsiteX3" fmla="*/ 3373 w 10000"/>
              <a:gd name="connsiteY3" fmla="*/ 25384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4223 w 4224"/>
              <a:gd name="connsiteY0" fmla="*/ 0 h 26716"/>
              <a:gd name="connsiteX1" fmla="*/ 4123 w 4224"/>
              <a:gd name="connsiteY1" fmla="*/ 23350 h 26716"/>
              <a:gd name="connsiteX2" fmla="*/ 3373 w 4224"/>
              <a:gd name="connsiteY2" fmla="*/ 25384 h 26716"/>
              <a:gd name="connsiteX3" fmla="*/ 814 w 4224"/>
              <a:gd name="connsiteY3" fmla="*/ 25466 h 26716"/>
              <a:gd name="connsiteX4" fmla="*/ 519 w 4224"/>
              <a:gd name="connsiteY4" fmla="*/ 26716 h 26716"/>
              <a:gd name="connsiteX5" fmla="*/ 228 w 4224"/>
              <a:gd name="connsiteY5" fmla="*/ 25466 h 26716"/>
              <a:gd name="connsiteX6" fmla="*/ 0 w 4224"/>
              <a:gd name="connsiteY6" fmla="*/ 25466 h 26716"/>
              <a:gd name="connsiteX0" fmla="*/ 9998 w 10000"/>
              <a:gd name="connsiteY0" fmla="*/ 0 h 10000"/>
              <a:gd name="connsiteX1" fmla="*/ 9761 w 10000"/>
              <a:gd name="connsiteY1" fmla="*/ 8740 h 10000"/>
              <a:gd name="connsiteX2" fmla="*/ 7985 w 10000"/>
              <a:gd name="connsiteY2" fmla="*/ 9501 h 10000"/>
              <a:gd name="connsiteX3" fmla="*/ 1927 w 10000"/>
              <a:gd name="connsiteY3" fmla="*/ 9532 h 10000"/>
              <a:gd name="connsiteX4" fmla="*/ 1229 w 10000"/>
              <a:gd name="connsiteY4" fmla="*/ 10000 h 10000"/>
              <a:gd name="connsiteX5" fmla="*/ 540 w 10000"/>
              <a:gd name="connsiteY5" fmla="*/ 9532 h 10000"/>
              <a:gd name="connsiteX6" fmla="*/ 0 w 10000"/>
              <a:gd name="connsiteY6" fmla="*/ 9532 h 10000"/>
              <a:gd name="connsiteX0" fmla="*/ 9998 w 10000"/>
              <a:gd name="connsiteY0" fmla="*/ 0 h 10000"/>
              <a:gd name="connsiteX1" fmla="*/ 9761 w 10000"/>
              <a:gd name="connsiteY1" fmla="*/ 8740 h 10000"/>
              <a:gd name="connsiteX2" fmla="*/ 7985 w 10000"/>
              <a:gd name="connsiteY2" fmla="*/ 9501 h 10000"/>
              <a:gd name="connsiteX3" fmla="*/ 1927 w 10000"/>
              <a:gd name="connsiteY3" fmla="*/ 9532 h 10000"/>
              <a:gd name="connsiteX4" fmla="*/ 1229 w 10000"/>
              <a:gd name="connsiteY4" fmla="*/ 10000 h 10000"/>
              <a:gd name="connsiteX5" fmla="*/ 540 w 10000"/>
              <a:gd name="connsiteY5" fmla="*/ 9532 h 10000"/>
              <a:gd name="connsiteX6" fmla="*/ 0 w 10000"/>
              <a:gd name="connsiteY6" fmla="*/ 9532 h 10000"/>
              <a:gd name="connsiteX0" fmla="*/ 9998 w 10042"/>
              <a:gd name="connsiteY0" fmla="*/ 0 h 10000"/>
              <a:gd name="connsiteX1" fmla="*/ 10042 w 10042"/>
              <a:gd name="connsiteY1" fmla="*/ 8740 h 10000"/>
              <a:gd name="connsiteX2" fmla="*/ 7985 w 10042"/>
              <a:gd name="connsiteY2" fmla="*/ 9501 h 10000"/>
              <a:gd name="connsiteX3" fmla="*/ 1927 w 10042"/>
              <a:gd name="connsiteY3" fmla="*/ 9532 h 10000"/>
              <a:gd name="connsiteX4" fmla="*/ 1229 w 10042"/>
              <a:gd name="connsiteY4" fmla="*/ 10000 h 10000"/>
              <a:gd name="connsiteX5" fmla="*/ 540 w 10042"/>
              <a:gd name="connsiteY5" fmla="*/ 9532 h 10000"/>
              <a:gd name="connsiteX6" fmla="*/ 0 w 10042"/>
              <a:gd name="connsiteY6" fmla="*/ 9532 h 10000"/>
              <a:gd name="connsiteX0" fmla="*/ 9998 w 10042"/>
              <a:gd name="connsiteY0" fmla="*/ 0 h 10000"/>
              <a:gd name="connsiteX1" fmla="*/ 10042 w 10042"/>
              <a:gd name="connsiteY1" fmla="*/ 8723 h 10000"/>
              <a:gd name="connsiteX2" fmla="*/ 7985 w 10042"/>
              <a:gd name="connsiteY2" fmla="*/ 9501 h 10000"/>
              <a:gd name="connsiteX3" fmla="*/ 1927 w 10042"/>
              <a:gd name="connsiteY3" fmla="*/ 9532 h 10000"/>
              <a:gd name="connsiteX4" fmla="*/ 1229 w 10042"/>
              <a:gd name="connsiteY4" fmla="*/ 10000 h 10000"/>
              <a:gd name="connsiteX5" fmla="*/ 540 w 10042"/>
              <a:gd name="connsiteY5" fmla="*/ 9532 h 10000"/>
              <a:gd name="connsiteX6" fmla="*/ 0 w 10042"/>
              <a:gd name="connsiteY6" fmla="*/ 9532 h 10000"/>
              <a:gd name="connsiteX0" fmla="*/ 9998 w 10042"/>
              <a:gd name="connsiteY0" fmla="*/ 0 h 10250"/>
              <a:gd name="connsiteX1" fmla="*/ 10042 w 10042"/>
              <a:gd name="connsiteY1" fmla="*/ 8723 h 10250"/>
              <a:gd name="connsiteX2" fmla="*/ 9006 w 10042"/>
              <a:gd name="connsiteY2" fmla="*/ 9164 h 10250"/>
              <a:gd name="connsiteX3" fmla="*/ 7985 w 10042"/>
              <a:gd name="connsiteY3" fmla="*/ 9501 h 10250"/>
              <a:gd name="connsiteX4" fmla="*/ 1927 w 10042"/>
              <a:gd name="connsiteY4" fmla="*/ 9532 h 10250"/>
              <a:gd name="connsiteX5" fmla="*/ 1229 w 10042"/>
              <a:gd name="connsiteY5" fmla="*/ 10000 h 10250"/>
              <a:gd name="connsiteX6" fmla="*/ 540 w 10042"/>
              <a:gd name="connsiteY6" fmla="*/ 9532 h 10250"/>
              <a:gd name="connsiteX7" fmla="*/ 0 w 10042"/>
              <a:gd name="connsiteY7" fmla="*/ 9532 h 10250"/>
              <a:gd name="connsiteX0" fmla="*/ 9998 w 10042"/>
              <a:gd name="connsiteY0" fmla="*/ 0 h 10000"/>
              <a:gd name="connsiteX1" fmla="*/ 10042 w 10042"/>
              <a:gd name="connsiteY1" fmla="*/ 7777 h 10000"/>
              <a:gd name="connsiteX2" fmla="*/ 9006 w 10042"/>
              <a:gd name="connsiteY2" fmla="*/ 9164 h 10000"/>
              <a:gd name="connsiteX3" fmla="*/ 7985 w 10042"/>
              <a:gd name="connsiteY3" fmla="*/ 9501 h 10000"/>
              <a:gd name="connsiteX4" fmla="*/ 1927 w 10042"/>
              <a:gd name="connsiteY4" fmla="*/ 9532 h 10000"/>
              <a:gd name="connsiteX5" fmla="*/ 1229 w 10042"/>
              <a:gd name="connsiteY5" fmla="*/ 10000 h 10000"/>
              <a:gd name="connsiteX6" fmla="*/ 540 w 10042"/>
              <a:gd name="connsiteY6" fmla="*/ 9532 h 10000"/>
              <a:gd name="connsiteX7" fmla="*/ 0 w 10042"/>
              <a:gd name="connsiteY7" fmla="*/ 9532 h 10000"/>
              <a:gd name="connsiteX0" fmla="*/ 9998 w 10042"/>
              <a:gd name="connsiteY0" fmla="*/ 0 h 10000"/>
              <a:gd name="connsiteX1" fmla="*/ 10042 w 10042"/>
              <a:gd name="connsiteY1" fmla="*/ 7777 h 10000"/>
              <a:gd name="connsiteX2" fmla="*/ 9537 w 10042"/>
              <a:gd name="connsiteY2" fmla="*/ 9130 h 10000"/>
              <a:gd name="connsiteX3" fmla="*/ 7985 w 10042"/>
              <a:gd name="connsiteY3" fmla="*/ 9501 h 10000"/>
              <a:gd name="connsiteX4" fmla="*/ 1927 w 10042"/>
              <a:gd name="connsiteY4" fmla="*/ 9532 h 10000"/>
              <a:gd name="connsiteX5" fmla="*/ 1229 w 10042"/>
              <a:gd name="connsiteY5" fmla="*/ 10000 h 10000"/>
              <a:gd name="connsiteX6" fmla="*/ 540 w 10042"/>
              <a:gd name="connsiteY6" fmla="*/ 9532 h 10000"/>
              <a:gd name="connsiteX7" fmla="*/ 0 w 10042"/>
              <a:gd name="connsiteY7" fmla="*/ 9532 h 10000"/>
              <a:gd name="connsiteX0" fmla="*/ 9998 w 10042"/>
              <a:gd name="connsiteY0" fmla="*/ 0 h 10000"/>
              <a:gd name="connsiteX1" fmla="*/ 10042 w 10042"/>
              <a:gd name="connsiteY1" fmla="*/ 7777 h 10000"/>
              <a:gd name="connsiteX2" fmla="*/ 9537 w 10042"/>
              <a:gd name="connsiteY2" fmla="*/ 9130 h 10000"/>
              <a:gd name="connsiteX3" fmla="*/ 7985 w 10042"/>
              <a:gd name="connsiteY3" fmla="*/ 9501 h 10000"/>
              <a:gd name="connsiteX4" fmla="*/ 1927 w 10042"/>
              <a:gd name="connsiteY4" fmla="*/ 9532 h 10000"/>
              <a:gd name="connsiteX5" fmla="*/ 1229 w 10042"/>
              <a:gd name="connsiteY5" fmla="*/ 10000 h 10000"/>
              <a:gd name="connsiteX6" fmla="*/ 540 w 10042"/>
              <a:gd name="connsiteY6" fmla="*/ 9532 h 10000"/>
              <a:gd name="connsiteX7" fmla="*/ 0 w 10042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537 w 10059"/>
              <a:gd name="connsiteY2" fmla="*/ 9130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689 w 10059"/>
              <a:gd name="connsiteY2" fmla="*/ 9231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704 w 10059"/>
              <a:gd name="connsiteY2" fmla="*/ 9299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704 w 10059"/>
              <a:gd name="connsiteY2" fmla="*/ 9299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704 w 10059"/>
              <a:gd name="connsiteY2" fmla="*/ 9299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710 w 10059"/>
              <a:gd name="connsiteY2" fmla="*/ 9331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93"/>
              <a:gd name="connsiteY0" fmla="*/ 0 h 10000"/>
              <a:gd name="connsiteX1" fmla="*/ 10042 w 10093"/>
              <a:gd name="connsiteY1" fmla="*/ 7777 h 10000"/>
              <a:gd name="connsiteX2" fmla="*/ 9750 w 10093"/>
              <a:gd name="connsiteY2" fmla="*/ 9331 h 10000"/>
              <a:gd name="connsiteX3" fmla="*/ 7985 w 10093"/>
              <a:gd name="connsiteY3" fmla="*/ 9501 h 10000"/>
              <a:gd name="connsiteX4" fmla="*/ 1927 w 10093"/>
              <a:gd name="connsiteY4" fmla="*/ 9532 h 10000"/>
              <a:gd name="connsiteX5" fmla="*/ 1229 w 10093"/>
              <a:gd name="connsiteY5" fmla="*/ 10000 h 10000"/>
              <a:gd name="connsiteX6" fmla="*/ 540 w 10093"/>
              <a:gd name="connsiteY6" fmla="*/ 9532 h 10000"/>
              <a:gd name="connsiteX7" fmla="*/ 0 w 10093"/>
              <a:gd name="connsiteY7" fmla="*/ 9532 h 10000"/>
              <a:gd name="connsiteX0" fmla="*/ 9998 w 10068"/>
              <a:gd name="connsiteY0" fmla="*/ 0 h 10000"/>
              <a:gd name="connsiteX1" fmla="*/ 10042 w 10068"/>
              <a:gd name="connsiteY1" fmla="*/ 7777 h 10000"/>
              <a:gd name="connsiteX2" fmla="*/ 9750 w 10068"/>
              <a:gd name="connsiteY2" fmla="*/ 9331 h 10000"/>
              <a:gd name="connsiteX3" fmla="*/ 7985 w 10068"/>
              <a:gd name="connsiteY3" fmla="*/ 9501 h 10000"/>
              <a:gd name="connsiteX4" fmla="*/ 1927 w 10068"/>
              <a:gd name="connsiteY4" fmla="*/ 9532 h 10000"/>
              <a:gd name="connsiteX5" fmla="*/ 1229 w 10068"/>
              <a:gd name="connsiteY5" fmla="*/ 10000 h 10000"/>
              <a:gd name="connsiteX6" fmla="*/ 540 w 10068"/>
              <a:gd name="connsiteY6" fmla="*/ 9532 h 10000"/>
              <a:gd name="connsiteX7" fmla="*/ 0 w 10068"/>
              <a:gd name="connsiteY7" fmla="*/ 9532 h 10000"/>
              <a:gd name="connsiteX0" fmla="*/ 10042 w 10068"/>
              <a:gd name="connsiteY0" fmla="*/ 0 h 6834"/>
              <a:gd name="connsiteX1" fmla="*/ 10042 w 10068"/>
              <a:gd name="connsiteY1" fmla="*/ 4611 h 6834"/>
              <a:gd name="connsiteX2" fmla="*/ 9750 w 10068"/>
              <a:gd name="connsiteY2" fmla="*/ 6165 h 6834"/>
              <a:gd name="connsiteX3" fmla="*/ 7985 w 10068"/>
              <a:gd name="connsiteY3" fmla="*/ 6335 h 6834"/>
              <a:gd name="connsiteX4" fmla="*/ 1927 w 10068"/>
              <a:gd name="connsiteY4" fmla="*/ 6366 h 6834"/>
              <a:gd name="connsiteX5" fmla="*/ 1229 w 10068"/>
              <a:gd name="connsiteY5" fmla="*/ 6834 h 6834"/>
              <a:gd name="connsiteX6" fmla="*/ 540 w 10068"/>
              <a:gd name="connsiteY6" fmla="*/ 6366 h 6834"/>
              <a:gd name="connsiteX7" fmla="*/ 0 w 10068"/>
              <a:gd name="connsiteY7" fmla="*/ 6366 h 6834"/>
              <a:gd name="connsiteX0" fmla="*/ 9974 w 10000"/>
              <a:gd name="connsiteY0" fmla="*/ 0 h 3253"/>
              <a:gd name="connsiteX1" fmla="*/ 9684 w 10000"/>
              <a:gd name="connsiteY1" fmla="*/ 2274 h 3253"/>
              <a:gd name="connsiteX2" fmla="*/ 7931 w 10000"/>
              <a:gd name="connsiteY2" fmla="*/ 2523 h 3253"/>
              <a:gd name="connsiteX3" fmla="*/ 1914 w 10000"/>
              <a:gd name="connsiteY3" fmla="*/ 2568 h 3253"/>
              <a:gd name="connsiteX4" fmla="*/ 1221 w 10000"/>
              <a:gd name="connsiteY4" fmla="*/ 3253 h 3253"/>
              <a:gd name="connsiteX5" fmla="*/ 536 w 10000"/>
              <a:gd name="connsiteY5" fmla="*/ 2568 h 3253"/>
              <a:gd name="connsiteX6" fmla="*/ 0 w 10000"/>
              <a:gd name="connsiteY6" fmla="*/ 2568 h 3253"/>
              <a:gd name="connsiteX0" fmla="*/ 9684 w 9684"/>
              <a:gd name="connsiteY0" fmla="*/ 0 h 3010"/>
              <a:gd name="connsiteX1" fmla="*/ 7931 w 9684"/>
              <a:gd name="connsiteY1" fmla="*/ 766 h 3010"/>
              <a:gd name="connsiteX2" fmla="*/ 1914 w 9684"/>
              <a:gd name="connsiteY2" fmla="*/ 904 h 3010"/>
              <a:gd name="connsiteX3" fmla="*/ 1221 w 9684"/>
              <a:gd name="connsiteY3" fmla="*/ 3010 h 3010"/>
              <a:gd name="connsiteX4" fmla="*/ 536 w 9684"/>
              <a:gd name="connsiteY4" fmla="*/ 904 h 3010"/>
              <a:gd name="connsiteX5" fmla="*/ 0 w 9684"/>
              <a:gd name="connsiteY5" fmla="*/ 904 h 3010"/>
              <a:gd name="connsiteX0" fmla="*/ 8190 w 8190"/>
              <a:gd name="connsiteY0" fmla="*/ 0 h 7455"/>
              <a:gd name="connsiteX1" fmla="*/ 1976 w 8190"/>
              <a:gd name="connsiteY1" fmla="*/ 458 h 7455"/>
              <a:gd name="connsiteX2" fmla="*/ 1261 w 8190"/>
              <a:gd name="connsiteY2" fmla="*/ 7455 h 7455"/>
              <a:gd name="connsiteX3" fmla="*/ 553 w 8190"/>
              <a:gd name="connsiteY3" fmla="*/ 458 h 7455"/>
              <a:gd name="connsiteX4" fmla="*/ 0 w 8190"/>
              <a:gd name="connsiteY4" fmla="*/ 458 h 7455"/>
              <a:gd name="connsiteX0" fmla="*/ 2413 w 2413"/>
              <a:gd name="connsiteY0" fmla="*/ 0 h 9386"/>
              <a:gd name="connsiteX1" fmla="*/ 1540 w 2413"/>
              <a:gd name="connsiteY1" fmla="*/ 9386 h 9386"/>
              <a:gd name="connsiteX2" fmla="*/ 675 w 2413"/>
              <a:gd name="connsiteY2" fmla="*/ 0 h 9386"/>
              <a:gd name="connsiteX3" fmla="*/ 0 w 2413"/>
              <a:gd name="connsiteY3" fmla="*/ 0 h 9386"/>
              <a:gd name="connsiteX0" fmla="*/ 7203 w 7203"/>
              <a:gd name="connsiteY0" fmla="*/ 0 h 10000"/>
              <a:gd name="connsiteX1" fmla="*/ 3585 w 7203"/>
              <a:gd name="connsiteY1" fmla="*/ 10000 h 10000"/>
              <a:gd name="connsiteX2" fmla="*/ 0 w 7203"/>
              <a:gd name="connsiteY2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03" h="10000">
                <a:moveTo>
                  <a:pt x="7203" y="0"/>
                </a:moveTo>
                <a:cubicBezTo>
                  <a:pt x="4385" y="0"/>
                  <a:pt x="3585" y="10000"/>
                  <a:pt x="3585" y="10000"/>
                </a:cubicBezTo>
                <a:cubicBezTo>
                  <a:pt x="3585" y="10000"/>
                  <a:pt x="2831" y="0"/>
                  <a:pt x="0" y="0"/>
                </a:cubicBezTo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38100">
            <a:noFill/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83969" tIns="41985" rIns="83969" bIns="41985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B7BE16"/>
              </a:solidFill>
            </a:endParaRPr>
          </a:p>
        </p:txBody>
      </p:sp>
      <p:sp>
        <p:nvSpPr>
          <p:cNvPr id="21" name="Freeform 11"/>
          <p:cNvSpPr>
            <a:spLocks/>
          </p:cNvSpPr>
          <p:nvPr userDrawn="1"/>
        </p:nvSpPr>
        <p:spPr bwMode="auto">
          <a:xfrm rot="16200000" flipV="1">
            <a:off x="3311218" y="4652290"/>
            <a:ext cx="1534704" cy="29462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5705 h 10000"/>
              <a:gd name="connsiteX3" fmla="*/ 9705 w 10000"/>
              <a:gd name="connsiteY3" fmla="*/ 8750 h 10000"/>
              <a:gd name="connsiteX4" fmla="*/ 814 w 10000"/>
              <a:gd name="connsiteY4" fmla="*/ 8750 h 10000"/>
              <a:gd name="connsiteX5" fmla="*/ 519 w 10000"/>
              <a:gd name="connsiteY5" fmla="*/ 10000 h 10000"/>
              <a:gd name="connsiteX6" fmla="*/ 228 w 10000"/>
              <a:gd name="connsiteY6" fmla="*/ 8750 h 10000"/>
              <a:gd name="connsiteX7" fmla="*/ 0 w 10000"/>
              <a:gd name="connsiteY7" fmla="*/ 8750 h 10000"/>
              <a:gd name="connsiteX8" fmla="*/ 92 w 10000"/>
              <a:gd name="connsiteY8" fmla="*/ 65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5705 h 10000"/>
              <a:gd name="connsiteX3" fmla="*/ 9705 w 10000"/>
              <a:gd name="connsiteY3" fmla="*/ 8750 h 10000"/>
              <a:gd name="connsiteX4" fmla="*/ 814 w 10000"/>
              <a:gd name="connsiteY4" fmla="*/ 8750 h 10000"/>
              <a:gd name="connsiteX5" fmla="*/ 519 w 10000"/>
              <a:gd name="connsiteY5" fmla="*/ 10000 h 10000"/>
              <a:gd name="connsiteX6" fmla="*/ 228 w 10000"/>
              <a:gd name="connsiteY6" fmla="*/ 8750 h 10000"/>
              <a:gd name="connsiteX7" fmla="*/ 0 w 10000"/>
              <a:gd name="connsiteY7" fmla="*/ 8750 h 10000"/>
              <a:gd name="connsiteX0" fmla="*/ 10000 w 10000"/>
              <a:gd name="connsiteY0" fmla="*/ 0 h 10000"/>
              <a:gd name="connsiteX1" fmla="*/ 10000 w 10000"/>
              <a:gd name="connsiteY1" fmla="*/ 5705 h 10000"/>
              <a:gd name="connsiteX2" fmla="*/ 9705 w 10000"/>
              <a:gd name="connsiteY2" fmla="*/ 8750 h 10000"/>
              <a:gd name="connsiteX3" fmla="*/ 814 w 10000"/>
              <a:gd name="connsiteY3" fmla="*/ 8750 h 10000"/>
              <a:gd name="connsiteX4" fmla="*/ 519 w 10000"/>
              <a:gd name="connsiteY4" fmla="*/ 10000 h 10000"/>
              <a:gd name="connsiteX5" fmla="*/ 228 w 10000"/>
              <a:gd name="connsiteY5" fmla="*/ 8750 h 10000"/>
              <a:gd name="connsiteX6" fmla="*/ 0 w 10000"/>
              <a:gd name="connsiteY6" fmla="*/ 8750 h 10000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10000 w 10000"/>
              <a:gd name="connsiteY2" fmla="*/ 22421 h 26716"/>
              <a:gd name="connsiteX3" fmla="*/ 9705 w 10000"/>
              <a:gd name="connsiteY3" fmla="*/ 25466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10000 w 10000"/>
              <a:gd name="connsiteY2" fmla="*/ 22421 h 26716"/>
              <a:gd name="connsiteX3" fmla="*/ 4062 w 10000"/>
              <a:gd name="connsiteY3" fmla="*/ 25384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10000 w 10000"/>
              <a:gd name="connsiteY2" fmla="*/ 22421 h 26716"/>
              <a:gd name="connsiteX3" fmla="*/ 3373 w 10000"/>
              <a:gd name="connsiteY3" fmla="*/ 25384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4123 w 10000"/>
              <a:gd name="connsiteY2" fmla="*/ 23350 h 26716"/>
              <a:gd name="connsiteX3" fmla="*/ 3373 w 10000"/>
              <a:gd name="connsiteY3" fmla="*/ 25384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10000 w 10000"/>
              <a:gd name="connsiteY0" fmla="*/ 16716 h 26716"/>
              <a:gd name="connsiteX1" fmla="*/ 9924 w 10000"/>
              <a:gd name="connsiteY1" fmla="*/ 16671 h 26716"/>
              <a:gd name="connsiteX2" fmla="*/ 4223 w 10000"/>
              <a:gd name="connsiteY2" fmla="*/ 0 h 26716"/>
              <a:gd name="connsiteX3" fmla="*/ 4123 w 10000"/>
              <a:gd name="connsiteY3" fmla="*/ 23350 h 26716"/>
              <a:gd name="connsiteX4" fmla="*/ 3373 w 10000"/>
              <a:gd name="connsiteY4" fmla="*/ 25384 h 26716"/>
              <a:gd name="connsiteX5" fmla="*/ 814 w 10000"/>
              <a:gd name="connsiteY5" fmla="*/ 25466 h 26716"/>
              <a:gd name="connsiteX6" fmla="*/ 519 w 10000"/>
              <a:gd name="connsiteY6" fmla="*/ 26716 h 26716"/>
              <a:gd name="connsiteX7" fmla="*/ 228 w 10000"/>
              <a:gd name="connsiteY7" fmla="*/ 25466 h 26716"/>
              <a:gd name="connsiteX8" fmla="*/ 0 w 10000"/>
              <a:gd name="connsiteY8" fmla="*/ 25466 h 26716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4123 w 10000"/>
              <a:gd name="connsiteY2" fmla="*/ 23350 h 26716"/>
              <a:gd name="connsiteX3" fmla="*/ 3373 w 10000"/>
              <a:gd name="connsiteY3" fmla="*/ 25384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4223 w 4224"/>
              <a:gd name="connsiteY0" fmla="*/ 0 h 26716"/>
              <a:gd name="connsiteX1" fmla="*/ 4123 w 4224"/>
              <a:gd name="connsiteY1" fmla="*/ 23350 h 26716"/>
              <a:gd name="connsiteX2" fmla="*/ 3373 w 4224"/>
              <a:gd name="connsiteY2" fmla="*/ 25384 h 26716"/>
              <a:gd name="connsiteX3" fmla="*/ 814 w 4224"/>
              <a:gd name="connsiteY3" fmla="*/ 25466 h 26716"/>
              <a:gd name="connsiteX4" fmla="*/ 519 w 4224"/>
              <a:gd name="connsiteY4" fmla="*/ 26716 h 26716"/>
              <a:gd name="connsiteX5" fmla="*/ 228 w 4224"/>
              <a:gd name="connsiteY5" fmla="*/ 25466 h 26716"/>
              <a:gd name="connsiteX6" fmla="*/ 0 w 4224"/>
              <a:gd name="connsiteY6" fmla="*/ 25466 h 26716"/>
              <a:gd name="connsiteX0" fmla="*/ 9998 w 10000"/>
              <a:gd name="connsiteY0" fmla="*/ 0 h 10000"/>
              <a:gd name="connsiteX1" fmla="*/ 9761 w 10000"/>
              <a:gd name="connsiteY1" fmla="*/ 8740 h 10000"/>
              <a:gd name="connsiteX2" fmla="*/ 7985 w 10000"/>
              <a:gd name="connsiteY2" fmla="*/ 9501 h 10000"/>
              <a:gd name="connsiteX3" fmla="*/ 1927 w 10000"/>
              <a:gd name="connsiteY3" fmla="*/ 9532 h 10000"/>
              <a:gd name="connsiteX4" fmla="*/ 1229 w 10000"/>
              <a:gd name="connsiteY4" fmla="*/ 10000 h 10000"/>
              <a:gd name="connsiteX5" fmla="*/ 540 w 10000"/>
              <a:gd name="connsiteY5" fmla="*/ 9532 h 10000"/>
              <a:gd name="connsiteX6" fmla="*/ 0 w 10000"/>
              <a:gd name="connsiteY6" fmla="*/ 9532 h 10000"/>
              <a:gd name="connsiteX0" fmla="*/ 9998 w 10000"/>
              <a:gd name="connsiteY0" fmla="*/ 0 h 10000"/>
              <a:gd name="connsiteX1" fmla="*/ 9761 w 10000"/>
              <a:gd name="connsiteY1" fmla="*/ 8740 h 10000"/>
              <a:gd name="connsiteX2" fmla="*/ 7985 w 10000"/>
              <a:gd name="connsiteY2" fmla="*/ 9501 h 10000"/>
              <a:gd name="connsiteX3" fmla="*/ 1927 w 10000"/>
              <a:gd name="connsiteY3" fmla="*/ 9532 h 10000"/>
              <a:gd name="connsiteX4" fmla="*/ 1229 w 10000"/>
              <a:gd name="connsiteY4" fmla="*/ 10000 h 10000"/>
              <a:gd name="connsiteX5" fmla="*/ 540 w 10000"/>
              <a:gd name="connsiteY5" fmla="*/ 9532 h 10000"/>
              <a:gd name="connsiteX6" fmla="*/ 0 w 10000"/>
              <a:gd name="connsiteY6" fmla="*/ 9532 h 10000"/>
              <a:gd name="connsiteX0" fmla="*/ 9998 w 10042"/>
              <a:gd name="connsiteY0" fmla="*/ 0 h 10000"/>
              <a:gd name="connsiteX1" fmla="*/ 10042 w 10042"/>
              <a:gd name="connsiteY1" fmla="*/ 8740 h 10000"/>
              <a:gd name="connsiteX2" fmla="*/ 7985 w 10042"/>
              <a:gd name="connsiteY2" fmla="*/ 9501 h 10000"/>
              <a:gd name="connsiteX3" fmla="*/ 1927 w 10042"/>
              <a:gd name="connsiteY3" fmla="*/ 9532 h 10000"/>
              <a:gd name="connsiteX4" fmla="*/ 1229 w 10042"/>
              <a:gd name="connsiteY4" fmla="*/ 10000 h 10000"/>
              <a:gd name="connsiteX5" fmla="*/ 540 w 10042"/>
              <a:gd name="connsiteY5" fmla="*/ 9532 h 10000"/>
              <a:gd name="connsiteX6" fmla="*/ 0 w 10042"/>
              <a:gd name="connsiteY6" fmla="*/ 9532 h 10000"/>
              <a:gd name="connsiteX0" fmla="*/ 9998 w 10042"/>
              <a:gd name="connsiteY0" fmla="*/ 0 h 10000"/>
              <a:gd name="connsiteX1" fmla="*/ 10042 w 10042"/>
              <a:gd name="connsiteY1" fmla="*/ 8723 h 10000"/>
              <a:gd name="connsiteX2" fmla="*/ 7985 w 10042"/>
              <a:gd name="connsiteY2" fmla="*/ 9501 h 10000"/>
              <a:gd name="connsiteX3" fmla="*/ 1927 w 10042"/>
              <a:gd name="connsiteY3" fmla="*/ 9532 h 10000"/>
              <a:gd name="connsiteX4" fmla="*/ 1229 w 10042"/>
              <a:gd name="connsiteY4" fmla="*/ 10000 h 10000"/>
              <a:gd name="connsiteX5" fmla="*/ 540 w 10042"/>
              <a:gd name="connsiteY5" fmla="*/ 9532 h 10000"/>
              <a:gd name="connsiteX6" fmla="*/ 0 w 10042"/>
              <a:gd name="connsiteY6" fmla="*/ 9532 h 10000"/>
              <a:gd name="connsiteX0" fmla="*/ 9998 w 10042"/>
              <a:gd name="connsiteY0" fmla="*/ 0 h 10250"/>
              <a:gd name="connsiteX1" fmla="*/ 10042 w 10042"/>
              <a:gd name="connsiteY1" fmla="*/ 8723 h 10250"/>
              <a:gd name="connsiteX2" fmla="*/ 9006 w 10042"/>
              <a:gd name="connsiteY2" fmla="*/ 9164 h 10250"/>
              <a:gd name="connsiteX3" fmla="*/ 7985 w 10042"/>
              <a:gd name="connsiteY3" fmla="*/ 9501 h 10250"/>
              <a:gd name="connsiteX4" fmla="*/ 1927 w 10042"/>
              <a:gd name="connsiteY4" fmla="*/ 9532 h 10250"/>
              <a:gd name="connsiteX5" fmla="*/ 1229 w 10042"/>
              <a:gd name="connsiteY5" fmla="*/ 10000 h 10250"/>
              <a:gd name="connsiteX6" fmla="*/ 540 w 10042"/>
              <a:gd name="connsiteY6" fmla="*/ 9532 h 10250"/>
              <a:gd name="connsiteX7" fmla="*/ 0 w 10042"/>
              <a:gd name="connsiteY7" fmla="*/ 9532 h 10250"/>
              <a:gd name="connsiteX0" fmla="*/ 9998 w 10042"/>
              <a:gd name="connsiteY0" fmla="*/ 0 h 10000"/>
              <a:gd name="connsiteX1" fmla="*/ 10042 w 10042"/>
              <a:gd name="connsiteY1" fmla="*/ 7777 h 10000"/>
              <a:gd name="connsiteX2" fmla="*/ 9006 w 10042"/>
              <a:gd name="connsiteY2" fmla="*/ 9164 h 10000"/>
              <a:gd name="connsiteX3" fmla="*/ 7985 w 10042"/>
              <a:gd name="connsiteY3" fmla="*/ 9501 h 10000"/>
              <a:gd name="connsiteX4" fmla="*/ 1927 w 10042"/>
              <a:gd name="connsiteY4" fmla="*/ 9532 h 10000"/>
              <a:gd name="connsiteX5" fmla="*/ 1229 w 10042"/>
              <a:gd name="connsiteY5" fmla="*/ 10000 h 10000"/>
              <a:gd name="connsiteX6" fmla="*/ 540 w 10042"/>
              <a:gd name="connsiteY6" fmla="*/ 9532 h 10000"/>
              <a:gd name="connsiteX7" fmla="*/ 0 w 10042"/>
              <a:gd name="connsiteY7" fmla="*/ 9532 h 10000"/>
              <a:gd name="connsiteX0" fmla="*/ 9998 w 10042"/>
              <a:gd name="connsiteY0" fmla="*/ 0 h 10000"/>
              <a:gd name="connsiteX1" fmla="*/ 10042 w 10042"/>
              <a:gd name="connsiteY1" fmla="*/ 7777 h 10000"/>
              <a:gd name="connsiteX2" fmla="*/ 9537 w 10042"/>
              <a:gd name="connsiteY2" fmla="*/ 9130 h 10000"/>
              <a:gd name="connsiteX3" fmla="*/ 7985 w 10042"/>
              <a:gd name="connsiteY3" fmla="*/ 9501 h 10000"/>
              <a:gd name="connsiteX4" fmla="*/ 1927 w 10042"/>
              <a:gd name="connsiteY4" fmla="*/ 9532 h 10000"/>
              <a:gd name="connsiteX5" fmla="*/ 1229 w 10042"/>
              <a:gd name="connsiteY5" fmla="*/ 10000 h 10000"/>
              <a:gd name="connsiteX6" fmla="*/ 540 w 10042"/>
              <a:gd name="connsiteY6" fmla="*/ 9532 h 10000"/>
              <a:gd name="connsiteX7" fmla="*/ 0 w 10042"/>
              <a:gd name="connsiteY7" fmla="*/ 9532 h 10000"/>
              <a:gd name="connsiteX0" fmla="*/ 9998 w 10042"/>
              <a:gd name="connsiteY0" fmla="*/ 0 h 10000"/>
              <a:gd name="connsiteX1" fmla="*/ 10042 w 10042"/>
              <a:gd name="connsiteY1" fmla="*/ 7777 h 10000"/>
              <a:gd name="connsiteX2" fmla="*/ 9537 w 10042"/>
              <a:gd name="connsiteY2" fmla="*/ 9130 h 10000"/>
              <a:gd name="connsiteX3" fmla="*/ 7985 w 10042"/>
              <a:gd name="connsiteY3" fmla="*/ 9501 h 10000"/>
              <a:gd name="connsiteX4" fmla="*/ 1927 w 10042"/>
              <a:gd name="connsiteY4" fmla="*/ 9532 h 10000"/>
              <a:gd name="connsiteX5" fmla="*/ 1229 w 10042"/>
              <a:gd name="connsiteY5" fmla="*/ 10000 h 10000"/>
              <a:gd name="connsiteX6" fmla="*/ 540 w 10042"/>
              <a:gd name="connsiteY6" fmla="*/ 9532 h 10000"/>
              <a:gd name="connsiteX7" fmla="*/ 0 w 10042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537 w 10059"/>
              <a:gd name="connsiteY2" fmla="*/ 9130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689 w 10059"/>
              <a:gd name="connsiteY2" fmla="*/ 9231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704 w 10059"/>
              <a:gd name="connsiteY2" fmla="*/ 9299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704 w 10059"/>
              <a:gd name="connsiteY2" fmla="*/ 9299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704 w 10059"/>
              <a:gd name="connsiteY2" fmla="*/ 9299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710 w 10059"/>
              <a:gd name="connsiteY2" fmla="*/ 9331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93"/>
              <a:gd name="connsiteY0" fmla="*/ 0 h 10000"/>
              <a:gd name="connsiteX1" fmla="*/ 10042 w 10093"/>
              <a:gd name="connsiteY1" fmla="*/ 7777 h 10000"/>
              <a:gd name="connsiteX2" fmla="*/ 9750 w 10093"/>
              <a:gd name="connsiteY2" fmla="*/ 9331 h 10000"/>
              <a:gd name="connsiteX3" fmla="*/ 7985 w 10093"/>
              <a:gd name="connsiteY3" fmla="*/ 9501 h 10000"/>
              <a:gd name="connsiteX4" fmla="*/ 1927 w 10093"/>
              <a:gd name="connsiteY4" fmla="*/ 9532 h 10000"/>
              <a:gd name="connsiteX5" fmla="*/ 1229 w 10093"/>
              <a:gd name="connsiteY5" fmla="*/ 10000 h 10000"/>
              <a:gd name="connsiteX6" fmla="*/ 540 w 10093"/>
              <a:gd name="connsiteY6" fmla="*/ 9532 h 10000"/>
              <a:gd name="connsiteX7" fmla="*/ 0 w 10093"/>
              <a:gd name="connsiteY7" fmla="*/ 9532 h 10000"/>
              <a:gd name="connsiteX0" fmla="*/ 9998 w 10068"/>
              <a:gd name="connsiteY0" fmla="*/ 0 h 10000"/>
              <a:gd name="connsiteX1" fmla="*/ 10042 w 10068"/>
              <a:gd name="connsiteY1" fmla="*/ 7777 h 10000"/>
              <a:gd name="connsiteX2" fmla="*/ 9750 w 10068"/>
              <a:gd name="connsiteY2" fmla="*/ 9331 h 10000"/>
              <a:gd name="connsiteX3" fmla="*/ 7985 w 10068"/>
              <a:gd name="connsiteY3" fmla="*/ 9501 h 10000"/>
              <a:gd name="connsiteX4" fmla="*/ 1927 w 10068"/>
              <a:gd name="connsiteY4" fmla="*/ 9532 h 10000"/>
              <a:gd name="connsiteX5" fmla="*/ 1229 w 10068"/>
              <a:gd name="connsiteY5" fmla="*/ 10000 h 10000"/>
              <a:gd name="connsiteX6" fmla="*/ 540 w 10068"/>
              <a:gd name="connsiteY6" fmla="*/ 9532 h 10000"/>
              <a:gd name="connsiteX7" fmla="*/ 0 w 10068"/>
              <a:gd name="connsiteY7" fmla="*/ 9532 h 10000"/>
              <a:gd name="connsiteX0" fmla="*/ 10042 w 10068"/>
              <a:gd name="connsiteY0" fmla="*/ 0 h 6834"/>
              <a:gd name="connsiteX1" fmla="*/ 10042 w 10068"/>
              <a:gd name="connsiteY1" fmla="*/ 4611 h 6834"/>
              <a:gd name="connsiteX2" fmla="*/ 9750 w 10068"/>
              <a:gd name="connsiteY2" fmla="*/ 6165 h 6834"/>
              <a:gd name="connsiteX3" fmla="*/ 7985 w 10068"/>
              <a:gd name="connsiteY3" fmla="*/ 6335 h 6834"/>
              <a:gd name="connsiteX4" fmla="*/ 1927 w 10068"/>
              <a:gd name="connsiteY4" fmla="*/ 6366 h 6834"/>
              <a:gd name="connsiteX5" fmla="*/ 1229 w 10068"/>
              <a:gd name="connsiteY5" fmla="*/ 6834 h 6834"/>
              <a:gd name="connsiteX6" fmla="*/ 540 w 10068"/>
              <a:gd name="connsiteY6" fmla="*/ 6366 h 6834"/>
              <a:gd name="connsiteX7" fmla="*/ 0 w 10068"/>
              <a:gd name="connsiteY7" fmla="*/ 6366 h 6834"/>
              <a:gd name="connsiteX0" fmla="*/ 9974 w 10000"/>
              <a:gd name="connsiteY0" fmla="*/ 0 h 3253"/>
              <a:gd name="connsiteX1" fmla="*/ 9684 w 10000"/>
              <a:gd name="connsiteY1" fmla="*/ 2274 h 3253"/>
              <a:gd name="connsiteX2" fmla="*/ 7931 w 10000"/>
              <a:gd name="connsiteY2" fmla="*/ 2523 h 3253"/>
              <a:gd name="connsiteX3" fmla="*/ 1914 w 10000"/>
              <a:gd name="connsiteY3" fmla="*/ 2568 h 3253"/>
              <a:gd name="connsiteX4" fmla="*/ 1221 w 10000"/>
              <a:gd name="connsiteY4" fmla="*/ 3253 h 3253"/>
              <a:gd name="connsiteX5" fmla="*/ 536 w 10000"/>
              <a:gd name="connsiteY5" fmla="*/ 2568 h 3253"/>
              <a:gd name="connsiteX6" fmla="*/ 0 w 10000"/>
              <a:gd name="connsiteY6" fmla="*/ 2568 h 3253"/>
              <a:gd name="connsiteX0" fmla="*/ 9684 w 9684"/>
              <a:gd name="connsiteY0" fmla="*/ 0 h 3010"/>
              <a:gd name="connsiteX1" fmla="*/ 7931 w 9684"/>
              <a:gd name="connsiteY1" fmla="*/ 766 h 3010"/>
              <a:gd name="connsiteX2" fmla="*/ 1914 w 9684"/>
              <a:gd name="connsiteY2" fmla="*/ 904 h 3010"/>
              <a:gd name="connsiteX3" fmla="*/ 1221 w 9684"/>
              <a:gd name="connsiteY3" fmla="*/ 3010 h 3010"/>
              <a:gd name="connsiteX4" fmla="*/ 536 w 9684"/>
              <a:gd name="connsiteY4" fmla="*/ 904 h 3010"/>
              <a:gd name="connsiteX5" fmla="*/ 0 w 9684"/>
              <a:gd name="connsiteY5" fmla="*/ 904 h 3010"/>
              <a:gd name="connsiteX0" fmla="*/ 8190 w 8190"/>
              <a:gd name="connsiteY0" fmla="*/ 0 h 7455"/>
              <a:gd name="connsiteX1" fmla="*/ 1976 w 8190"/>
              <a:gd name="connsiteY1" fmla="*/ 458 h 7455"/>
              <a:gd name="connsiteX2" fmla="*/ 1261 w 8190"/>
              <a:gd name="connsiteY2" fmla="*/ 7455 h 7455"/>
              <a:gd name="connsiteX3" fmla="*/ 553 w 8190"/>
              <a:gd name="connsiteY3" fmla="*/ 458 h 7455"/>
              <a:gd name="connsiteX4" fmla="*/ 0 w 8190"/>
              <a:gd name="connsiteY4" fmla="*/ 458 h 7455"/>
              <a:gd name="connsiteX0" fmla="*/ 2413 w 2413"/>
              <a:gd name="connsiteY0" fmla="*/ 0 h 9386"/>
              <a:gd name="connsiteX1" fmla="*/ 1540 w 2413"/>
              <a:gd name="connsiteY1" fmla="*/ 9386 h 9386"/>
              <a:gd name="connsiteX2" fmla="*/ 675 w 2413"/>
              <a:gd name="connsiteY2" fmla="*/ 0 h 9386"/>
              <a:gd name="connsiteX3" fmla="*/ 0 w 2413"/>
              <a:gd name="connsiteY3" fmla="*/ 0 h 9386"/>
              <a:gd name="connsiteX0" fmla="*/ 7203 w 7203"/>
              <a:gd name="connsiteY0" fmla="*/ 0 h 10000"/>
              <a:gd name="connsiteX1" fmla="*/ 3585 w 7203"/>
              <a:gd name="connsiteY1" fmla="*/ 10000 h 10000"/>
              <a:gd name="connsiteX2" fmla="*/ 0 w 7203"/>
              <a:gd name="connsiteY2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03" h="10000">
                <a:moveTo>
                  <a:pt x="7203" y="0"/>
                </a:moveTo>
                <a:cubicBezTo>
                  <a:pt x="4385" y="0"/>
                  <a:pt x="3585" y="10000"/>
                  <a:pt x="3585" y="10000"/>
                </a:cubicBezTo>
                <a:cubicBezTo>
                  <a:pt x="3585" y="10000"/>
                  <a:pt x="2831" y="0"/>
                  <a:pt x="0" y="0"/>
                </a:cubicBezTo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38100">
            <a:noFill/>
            <a:round/>
            <a:headEnd/>
            <a:tailEnd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vert="horz" wrap="square" lIns="83969" tIns="41985" rIns="83969" bIns="41985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B7BE16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130176" y="1476077"/>
            <a:ext cx="3704271" cy="2526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 eaLnBrk="0" hangingPunct="0">
              <a:spcAft>
                <a:spcPct val="0"/>
              </a:spcAft>
            </a:pPr>
            <a:endParaRPr lang="en-US" sz="1200" b="1" dirty="0" smtClean="0">
              <a:solidFill>
                <a:prstClr val="white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4225883" y="1476077"/>
            <a:ext cx="3704400" cy="2526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 eaLnBrk="0" hangingPunct="0">
              <a:spcAft>
                <a:spcPct val="0"/>
              </a:spcAft>
            </a:pPr>
            <a:endParaRPr lang="en-US" sz="1200" b="1" dirty="0" smtClean="0">
              <a:solidFill>
                <a:prstClr val="white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4229361" y="3924300"/>
            <a:ext cx="3700850" cy="2526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 eaLnBrk="0" hangingPunct="0">
              <a:spcAft>
                <a:spcPct val="0"/>
              </a:spcAft>
            </a:pPr>
            <a:endParaRPr lang="en-US" sz="1200" b="1" dirty="0" smtClean="0">
              <a:solidFill>
                <a:prstClr val="white"/>
              </a:solidFill>
            </a:endParaRPr>
          </a:p>
        </p:txBody>
      </p:sp>
      <p:grpSp>
        <p:nvGrpSpPr>
          <p:cNvPr id="27" name="Groupe 127"/>
          <p:cNvGrpSpPr/>
          <p:nvPr userDrawn="1"/>
        </p:nvGrpSpPr>
        <p:grpSpPr>
          <a:xfrm>
            <a:off x="130176" y="3934340"/>
            <a:ext cx="3700793" cy="2376000"/>
            <a:chOff x="389906" y="2058304"/>
            <a:chExt cx="4171483" cy="2656190"/>
          </a:xfrm>
        </p:grpSpPr>
        <p:sp>
          <p:nvSpPr>
            <p:cNvPr id="26" name="Rectangle 25"/>
            <p:cNvSpPr/>
            <p:nvPr/>
          </p:nvSpPr>
          <p:spPr>
            <a:xfrm>
              <a:off x="389906" y="2058304"/>
              <a:ext cx="4167353" cy="2644323"/>
            </a:xfrm>
            <a:prstGeom prst="rect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3969" tIns="41985" rIns="83969" bIns="41985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700" b="1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31" name="Groupe 12"/>
            <p:cNvGrpSpPr/>
            <p:nvPr/>
          </p:nvGrpSpPr>
          <p:grpSpPr>
            <a:xfrm>
              <a:off x="4212602" y="4375255"/>
              <a:ext cx="348787" cy="339239"/>
              <a:chOff x="6922762" y="3144938"/>
              <a:chExt cx="193792" cy="188487"/>
            </a:xfrm>
          </p:grpSpPr>
          <p:sp>
            <p:nvSpPr>
              <p:cNvPr id="28" name="Freeform 6"/>
              <p:cNvSpPr>
                <a:spLocks/>
              </p:cNvSpPr>
              <p:nvPr/>
            </p:nvSpPr>
            <p:spPr bwMode="auto">
              <a:xfrm>
                <a:off x="6922762" y="3144938"/>
                <a:ext cx="193791" cy="188487"/>
              </a:xfrm>
              <a:custGeom>
                <a:avLst/>
                <a:gdLst/>
                <a:ahLst/>
                <a:cxnLst>
                  <a:cxn ang="0">
                    <a:pos x="0" y="151"/>
                  </a:cxn>
                  <a:cxn ang="0">
                    <a:pos x="152" y="151"/>
                  </a:cxn>
                  <a:cxn ang="0">
                    <a:pos x="152" y="0"/>
                  </a:cxn>
                  <a:cxn ang="0">
                    <a:pos x="0" y="151"/>
                  </a:cxn>
                </a:cxnLst>
                <a:rect l="0" t="0" r="r" b="b"/>
                <a:pathLst>
                  <a:path w="152" h="151">
                    <a:moveTo>
                      <a:pt x="0" y="151"/>
                    </a:moveTo>
                    <a:lnTo>
                      <a:pt x="152" y="151"/>
                    </a:lnTo>
                    <a:lnTo>
                      <a:pt x="152" y="0"/>
                    </a:lnTo>
                    <a:lnTo>
                      <a:pt x="0" y="15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29" name="Freeform 7"/>
              <p:cNvSpPr>
                <a:spLocks/>
              </p:cNvSpPr>
              <p:nvPr/>
            </p:nvSpPr>
            <p:spPr bwMode="auto">
              <a:xfrm>
                <a:off x="6922763" y="3144938"/>
                <a:ext cx="193791" cy="188487"/>
              </a:xfrm>
              <a:custGeom>
                <a:avLst/>
                <a:gdLst/>
                <a:ahLst/>
                <a:cxnLst>
                  <a:cxn ang="0">
                    <a:pos x="61" y="0"/>
                  </a:cxn>
                  <a:cxn ang="0">
                    <a:pos x="10" y="11"/>
                  </a:cxn>
                  <a:cxn ang="0">
                    <a:pos x="0" y="61"/>
                  </a:cxn>
                  <a:cxn ang="0">
                    <a:pos x="61" y="0"/>
                  </a:cxn>
                </a:cxnLst>
                <a:rect l="0" t="0" r="r" b="b"/>
                <a:pathLst>
                  <a:path w="61" h="61">
                    <a:moveTo>
                      <a:pt x="61" y="0"/>
                    </a:moveTo>
                    <a:cubicBezTo>
                      <a:pt x="42" y="11"/>
                      <a:pt x="22" y="10"/>
                      <a:pt x="10" y="11"/>
                    </a:cubicBezTo>
                    <a:cubicBezTo>
                      <a:pt x="10" y="29"/>
                      <a:pt x="9" y="47"/>
                      <a:pt x="0" y="61"/>
                    </a:cubicBezTo>
                    <a:cubicBezTo>
                      <a:pt x="22" y="39"/>
                      <a:pt x="61" y="0"/>
                      <a:pt x="61" y="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42000">
                    <a:schemeClr val="bg1">
                      <a:lumMod val="95000"/>
                    </a:schemeClr>
                  </a:gs>
                  <a:gs pos="72000">
                    <a:schemeClr val="bg1">
                      <a:lumMod val="65000"/>
                    </a:schemeClr>
                  </a:gs>
                </a:gsLst>
                <a:lin ang="27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</p:grpSp>
      </p:grpSp>
      <p:sp>
        <p:nvSpPr>
          <p:cNvPr id="30" name="Rectangle 29"/>
          <p:cNvSpPr/>
          <p:nvPr userDrawn="1"/>
        </p:nvSpPr>
        <p:spPr>
          <a:xfrm>
            <a:off x="130176" y="3934340"/>
            <a:ext cx="3697301" cy="2526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 eaLnBrk="0" hangingPunct="0">
              <a:spcAft>
                <a:spcPct val="0"/>
              </a:spcAft>
            </a:pPr>
            <a:endParaRPr lang="en-US" sz="1200" b="1" dirty="0" smtClean="0">
              <a:solidFill>
                <a:prstClr val="white"/>
              </a:solidFill>
            </a:endParaRPr>
          </a:p>
        </p:txBody>
      </p:sp>
      <p:grpSp>
        <p:nvGrpSpPr>
          <p:cNvPr id="34" name="Group 29"/>
          <p:cNvGrpSpPr/>
          <p:nvPr userDrawn="1"/>
        </p:nvGrpSpPr>
        <p:grpSpPr>
          <a:xfrm>
            <a:off x="7235020" y="3079331"/>
            <a:ext cx="604372" cy="602642"/>
            <a:chOff x="4138610" y="5727703"/>
            <a:chExt cx="430213" cy="438150"/>
          </a:xfrm>
        </p:grpSpPr>
        <p:sp>
          <p:nvSpPr>
            <p:cNvPr id="32" name="Freeform 1008"/>
            <p:cNvSpPr>
              <a:spLocks/>
            </p:cNvSpPr>
            <p:nvPr/>
          </p:nvSpPr>
          <p:spPr bwMode="auto">
            <a:xfrm>
              <a:off x="4138610" y="5727703"/>
              <a:ext cx="430213" cy="438150"/>
            </a:xfrm>
            <a:custGeom>
              <a:avLst/>
              <a:gdLst>
                <a:gd name="connsiteX0" fmla="*/ 963 w 10000"/>
                <a:gd name="connsiteY0" fmla="*/ 10000 h 10557"/>
                <a:gd name="connsiteX1" fmla="*/ 3037 w 10000"/>
                <a:gd name="connsiteY1" fmla="*/ 7899 h 10557"/>
                <a:gd name="connsiteX2" fmla="*/ 3778 w 10000"/>
                <a:gd name="connsiteY2" fmla="*/ 7899 h 10557"/>
                <a:gd name="connsiteX3" fmla="*/ 5185 w 10000"/>
                <a:gd name="connsiteY3" fmla="*/ 6522 h 10557"/>
                <a:gd name="connsiteX4" fmla="*/ 8667 w 10000"/>
                <a:gd name="connsiteY4" fmla="*/ 5797 h 10557"/>
                <a:gd name="connsiteX5" fmla="*/ 8667 w 10000"/>
                <a:gd name="connsiteY5" fmla="*/ 1232 h 10557"/>
                <a:gd name="connsiteX6" fmla="*/ 4000 w 10000"/>
                <a:gd name="connsiteY6" fmla="*/ 1232 h 10557"/>
                <a:gd name="connsiteX7" fmla="*/ 3407 w 10000"/>
                <a:gd name="connsiteY7" fmla="*/ 4928 h 10557"/>
                <a:gd name="connsiteX8" fmla="*/ 2074 w 10000"/>
                <a:gd name="connsiteY8" fmla="*/ 6159 h 10557"/>
                <a:gd name="connsiteX9" fmla="*/ 2074 w 10000"/>
                <a:gd name="connsiteY9" fmla="*/ 7464 h 10557"/>
                <a:gd name="connsiteX10" fmla="*/ 963 w 10000"/>
                <a:gd name="connsiteY10" fmla="*/ 7464 h 10557"/>
                <a:gd name="connsiteX11" fmla="*/ 963 w 10000"/>
                <a:gd name="connsiteY11" fmla="*/ 8696 h 10557"/>
                <a:gd name="connsiteX12" fmla="*/ 0 w 10000"/>
                <a:gd name="connsiteY12" fmla="*/ 8696 h 10557"/>
                <a:gd name="connsiteX13" fmla="*/ 0 w 10000"/>
                <a:gd name="connsiteY13" fmla="*/ 10000 h 10557"/>
                <a:gd name="connsiteX14" fmla="*/ 1519 w 10000"/>
                <a:gd name="connsiteY14" fmla="*/ 10557 h 10557"/>
                <a:gd name="connsiteX0" fmla="*/ 963 w 10000"/>
                <a:gd name="connsiteY0" fmla="*/ 10000 h 10000"/>
                <a:gd name="connsiteX1" fmla="*/ 3037 w 10000"/>
                <a:gd name="connsiteY1" fmla="*/ 7899 h 10000"/>
                <a:gd name="connsiteX2" fmla="*/ 3778 w 10000"/>
                <a:gd name="connsiteY2" fmla="*/ 7899 h 10000"/>
                <a:gd name="connsiteX3" fmla="*/ 5185 w 10000"/>
                <a:gd name="connsiteY3" fmla="*/ 6522 h 10000"/>
                <a:gd name="connsiteX4" fmla="*/ 8667 w 10000"/>
                <a:gd name="connsiteY4" fmla="*/ 5797 h 10000"/>
                <a:gd name="connsiteX5" fmla="*/ 8667 w 10000"/>
                <a:gd name="connsiteY5" fmla="*/ 1232 h 10000"/>
                <a:gd name="connsiteX6" fmla="*/ 4000 w 10000"/>
                <a:gd name="connsiteY6" fmla="*/ 1232 h 10000"/>
                <a:gd name="connsiteX7" fmla="*/ 3407 w 10000"/>
                <a:gd name="connsiteY7" fmla="*/ 4928 h 10000"/>
                <a:gd name="connsiteX8" fmla="*/ 2074 w 10000"/>
                <a:gd name="connsiteY8" fmla="*/ 6159 h 10000"/>
                <a:gd name="connsiteX9" fmla="*/ 2074 w 10000"/>
                <a:gd name="connsiteY9" fmla="*/ 7464 h 10000"/>
                <a:gd name="connsiteX10" fmla="*/ 963 w 10000"/>
                <a:gd name="connsiteY10" fmla="*/ 7464 h 10000"/>
                <a:gd name="connsiteX11" fmla="*/ 963 w 10000"/>
                <a:gd name="connsiteY11" fmla="*/ 8696 h 10000"/>
                <a:gd name="connsiteX12" fmla="*/ 0 w 10000"/>
                <a:gd name="connsiteY12" fmla="*/ 8696 h 10000"/>
                <a:gd name="connsiteX13" fmla="*/ 0 w 10000"/>
                <a:gd name="connsiteY13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00" h="10000">
                  <a:moveTo>
                    <a:pt x="963" y="10000"/>
                  </a:moveTo>
                  <a:lnTo>
                    <a:pt x="3037" y="7899"/>
                  </a:lnTo>
                  <a:lnTo>
                    <a:pt x="3778" y="7899"/>
                  </a:lnTo>
                  <a:lnTo>
                    <a:pt x="5185" y="6522"/>
                  </a:lnTo>
                  <a:cubicBezTo>
                    <a:pt x="6370" y="6957"/>
                    <a:pt x="7778" y="6739"/>
                    <a:pt x="8667" y="5797"/>
                  </a:cubicBezTo>
                  <a:cubicBezTo>
                    <a:pt x="10000" y="4565"/>
                    <a:pt x="10000" y="2536"/>
                    <a:pt x="8667" y="1232"/>
                  </a:cubicBezTo>
                  <a:cubicBezTo>
                    <a:pt x="7407" y="0"/>
                    <a:pt x="5333" y="0"/>
                    <a:pt x="4000" y="1232"/>
                  </a:cubicBezTo>
                  <a:cubicBezTo>
                    <a:pt x="3037" y="2246"/>
                    <a:pt x="2815" y="3696"/>
                    <a:pt x="3407" y="4928"/>
                  </a:cubicBezTo>
                  <a:lnTo>
                    <a:pt x="2074" y="6159"/>
                  </a:lnTo>
                  <a:lnTo>
                    <a:pt x="2074" y="7464"/>
                  </a:lnTo>
                  <a:lnTo>
                    <a:pt x="963" y="7464"/>
                  </a:lnTo>
                  <a:lnTo>
                    <a:pt x="963" y="8696"/>
                  </a:lnTo>
                  <a:lnTo>
                    <a:pt x="0" y="8696"/>
                  </a:lnTo>
                  <a:lnTo>
                    <a:pt x="0" y="10000"/>
                  </a:lnTo>
                </a:path>
              </a:pathLst>
            </a:custGeom>
            <a:noFill/>
            <a:ln w="28575" cap="rnd">
              <a:solidFill>
                <a:srgbClr val="A99F9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  <p:sp>
          <p:nvSpPr>
            <p:cNvPr id="33" name="Freeform 1009"/>
            <p:cNvSpPr>
              <a:spLocks/>
            </p:cNvSpPr>
            <p:nvPr/>
          </p:nvSpPr>
          <p:spPr bwMode="auto">
            <a:xfrm>
              <a:off x="4370387" y="5797550"/>
              <a:ext cx="123825" cy="123825"/>
            </a:xfrm>
            <a:custGeom>
              <a:avLst/>
              <a:gdLst/>
              <a:ahLst/>
              <a:cxnLst>
                <a:cxn ang="0">
                  <a:pos x="32" y="32"/>
                </a:cxn>
                <a:cxn ang="0">
                  <a:pos x="7" y="32"/>
                </a:cxn>
                <a:cxn ang="0">
                  <a:pos x="7" y="7"/>
                </a:cxn>
                <a:cxn ang="0">
                  <a:pos x="32" y="7"/>
                </a:cxn>
                <a:cxn ang="0">
                  <a:pos x="32" y="32"/>
                </a:cxn>
              </a:cxnLst>
              <a:rect l="0" t="0" r="r" b="b"/>
              <a:pathLst>
                <a:path w="39" h="39">
                  <a:moveTo>
                    <a:pt x="32" y="32"/>
                  </a:moveTo>
                  <a:cubicBezTo>
                    <a:pt x="25" y="39"/>
                    <a:pt x="14" y="39"/>
                    <a:pt x="7" y="32"/>
                  </a:cubicBezTo>
                  <a:cubicBezTo>
                    <a:pt x="0" y="25"/>
                    <a:pt x="0" y="14"/>
                    <a:pt x="7" y="7"/>
                  </a:cubicBezTo>
                  <a:cubicBezTo>
                    <a:pt x="14" y="0"/>
                    <a:pt x="25" y="0"/>
                    <a:pt x="32" y="7"/>
                  </a:cubicBezTo>
                  <a:cubicBezTo>
                    <a:pt x="39" y="14"/>
                    <a:pt x="39" y="25"/>
                    <a:pt x="32" y="32"/>
                  </a:cubicBezTo>
                  <a:close/>
                </a:path>
              </a:pathLst>
            </a:custGeom>
            <a:noFill/>
            <a:ln w="28575" cap="rnd">
              <a:solidFill>
                <a:srgbClr val="A99F9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</p:grpSp>
      <p:grpSp>
        <p:nvGrpSpPr>
          <p:cNvPr id="37" name="Groupe 383"/>
          <p:cNvGrpSpPr/>
          <p:nvPr userDrawn="1"/>
        </p:nvGrpSpPr>
        <p:grpSpPr>
          <a:xfrm rot="1808702">
            <a:off x="3239107" y="2937213"/>
            <a:ext cx="429576" cy="654247"/>
            <a:chOff x="2328839" y="560189"/>
            <a:chExt cx="214313" cy="333374"/>
          </a:xfrm>
        </p:grpSpPr>
        <p:sp>
          <p:nvSpPr>
            <p:cNvPr id="35" name="Freeform 87"/>
            <p:cNvSpPr>
              <a:spLocks/>
            </p:cNvSpPr>
            <p:nvPr/>
          </p:nvSpPr>
          <p:spPr bwMode="auto">
            <a:xfrm>
              <a:off x="2328839" y="560189"/>
              <a:ext cx="214313" cy="180975"/>
            </a:xfrm>
            <a:custGeom>
              <a:avLst/>
              <a:gdLst/>
              <a:ahLst/>
              <a:cxnLst>
                <a:cxn ang="0">
                  <a:pos x="64" y="90"/>
                </a:cxn>
                <a:cxn ang="0">
                  <a:pos x="0" y="45"/>
                </a:cxn>
                <a:cxn ang="0">
                  <a:pos x="64" y="0"/>
                </a:cxn>
                <a:cxn ang="0">
                  <a:pos x="64" y="26"/>
                </a:cxn>
                <a:cxn ang="0">
                  <a:pos x="64" y="26"/>
                </a:cxn>
                <a:cxn ang="0">
                  <a:pos x="88" y="26"/>
                </a:cxn>
                <a:cxn ang="0">
                  <a:pos x="88" y="26"/>
                </a:cxn>
                <a:cxn ang="0">
                  <a:pos x="96" y="26"/>
                </a:cxn>
                <a:cxn ang="0">
                  <a:pos x="104" y="29"/>
                </a:cxn>
                <a:cxn ang="0">
                  <a:pos x="111" y="31"/>
                </a:cxn>
                <a:cxn ang="0">
                  <a:pos x="119" y="36"/>
                </a:cxn>
                <a:cxn ang="0">
                  <a:pos x="125" y="41"/>
                </a:cxn>
                <a:cxn ang="0">
                  <a:pos x="130" y="49"/>
                </a:cxn>
                <a:cxn ang="0">
                  <a:pos x="134" y="58"/>
                </a:cxn>
                <a:cxn ang="0">
                  <a:pos x="135" y="68"/>
                </a:cxn>
                <a:cxn ang="0">
                  <a:pos x="135" y="68"/>
                </a:cxn>
                <a:cxn ang="0">
                  <a:pos x="134" y="76"/>
                </a:cxn>
                <a:cxn ang="0">
                  <a:pos x="131" y="83"/>
                </a:cxn>
                <a:cxn ang="0">
                  <a:pos x="129" y="91"/>
                </a:cxn>
                <a:cxn ang="0">
                  <a:pos x="125" y="97"/>
                </a:cxn>
                <a:cxn ang="0">
                  <a:pos x="120" y="104"/>
                </a:cxn>
                <a:cxn ang="0">
                  <a:pos x="116" y="109"/>
                </a:cxn>
                <a:cxn ang="0">
                  <a:pos x="112" y="111"/>
                </a:cxn>
                <a:cxn ang="0">
                  <a:pos x="109" y="114"/>
                </a:cxn>
                <a:cxn ang="0">
                  <a:pos x="109" y="114"/>
                </a:cxn>
                <a:cxn ang="0">
                  <a:pos x="109" y="100"/>
                </a:cxn>
                <a:cxn ang="0">
                  <a:pos x="109" y="90"/>
                </a:cxn>
                <a:cxn ang="0">
                  <a:pos x="109" y="82"/>
                </a:cxn>
                <a:cxn ang="0">
                  <a:pos x="109" y="82"/>
                </a:cxn>
                <a:cxn ang="0">
                  <a:pos x="107" y="78"/>
                </a:cxn>
                <a:cxn ang="0">
                  <a:pos x="105" y="73"/>
                </a:cxn>
                <a:cxn ang="0">
                  <a:pos x="102" y="69"/>
                </a:cxn>
                <a:cxn ang="0">
                  <a:pos x="99" y="67"/>
                </a:cxn>
                <a:cxn ang="0">
                  <a:pos x="92" y="66"/>
                </a:cxn>
                <a:cxn ang="0">
                  <a:pos x="86" y="64"/>
                </a:cxn>
                <a:cxn ang="0">
                  <a:pos x="64" y="64"/>
                </a:cxn>
              </a:cxnLst>
              <a:rect l="0" t="0" r="r" b="b"/>
              <a:pathLst>
                <a:path w="135" h="114">
                  <a:moveTo>
                    <a:pt x="64" y="90"/>
                  </a:moveTo>
                  <a:lnTo>
                    <a:pt x="0" y="45"/>
                  </a:lnTo>
                  <a:lnTo>
                    <a:pt x="64" y="0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96" y="26"/>
                  </a:lnTo>
                  <a:lnTo>
                    <a:pt x="104" y="29"/>
                  </a:lnTo>
                  <a:lnTo>
                    <a:pt x="111" y="31"/>
                  </a:lnTo>
                  <a:lnTo>
                    <a:pt x="119" y="36"/>
                  </a:lnTo>
                  <a:lnTo>
                    <a:pt x="125" y="41"/>
                  </a:lnTo>
                  <a:lnTo>
                    <a:pt x="130" y="49"/>
                  </a:lnTo>
                  <a:lnTo>
                    <a:pt x="134" y="58"/>
                  </a:lnTo>
                  <a:lnTo>
                    <a:pt x="135" y="68"/>
                  </a:lnTo>
                  <a:lnTo>
                    <a:pt x="135" y="68"/>
                  </a:lnTo>
                  <a:lnTo>
                    <a:pt x="134" y="76"/>
                  </a:lnTo>
                  <a:lnTo>
                    <a:pt x="131" y="83"/>
                  </a:lnTo>
                  <a:lnTo>
                    <a:pt x="129" y="91"/>
                  </a:lnTo>
                  <a:lnTo>
                    <a:pt x="125" y="97"/>
                  </a:lnTo>
                  <a:lnTo>
                    <a:pt x="120" y="104"/>
                  </a:lnTo>
                  <a:lnTo>
                    <a:pt x="116" y="109"/>
                  </a:lnTo>
                  <a:lnTo>
                    <a:pt x="112" y="111"/>
                  </a:lnTo>
                  <a:lnTo>
                    <a:pt x="109" y="114"/>
                  </a:lnTo>
                  <a:lnTo>
                    <a:pt x="109" y="114"/>
                  </a:lnTo>
                  <a:lnTo>
                    <a:pt x="109" y="100"/>
                  </a:lnTo>
                  <a:lnTo>
                    <a:pt x="109" y="90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7" y="78"/>
                  </a:lnTo>
                  <a:lnTo>
                    <a:pt x="105" y="73"/>
                  </a:lnTo>
                  <a:lnTo>
                    <a:pt x="102" y="69"/>
                  </a:lnTo>
                  <a:lnTo>
                    <a:pt x="99" y="67"/>
                  </a:lnTo>
                  <a:lnTo>
                    <a:pt x="92" y="66"/>
                  </a:lnTo>
                  <a:lnTo>
                    <a:pt x="86" y="64"/>
                  </a:lnTo>
                  <a:lnTo>
                    <a:pt x="64" y="64"/>
                  </a:lnTo>
                </a:path>
              </a:pathLst>
            </a:custGeom>
            <a:noFill/>
            <a:ln w="28575">
              <a:solidFill>
                <a:srgbClr val="E3DED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  <p:sp>
          <p:nvSpPr>
            <p:cNvPr id="36" name="Freeform 88"/>
            <p:cNvSpPr>
              <a:spLocks/>
            </p:cNvSpPr>
            <p:nvPr/>
          </p:nvSpPr>
          <p:spPr bwMode="auto">
            <a:xfrm>
              <a:off x="2328839" y="714176"/>
              <a:ext cx="214313" cy="179387"/>
            </a:xfrm>
            <a:custGeom>
              <a:avLst/>
              <a:gdLst/>
              <a:ahLst/>
              <a:cxnLst>
                <a:cxn ang="0">
                  <a:pos x="71" y="23"/>
                </a:cxn>
                <a:cxn ang="0">
                  <a:pos x="135" y="69"/>
                </a:cxn>
                <a:cxn ang="0">
                  <a:pos x="71" y="113"/>
                </a:cxn>
                <a:cxn ang="0">
                  <a:pos x="71" y="88"/>
                </a:cxn>
                <a:cxn ang="0">
                  <a:pos x="71" y="88"/>
                </a:cxn>
                <a:cxn ang="0">
                  <a:pos x="47" y="88"/>
                </a:cxn>
                <a:cxn ang="0">
                  <a:pos x="47" y="88"/>
                </a:cxn>
                <a:cxn ang="0">
                  <a:pos x="39" y="88"/>
                </a:cxn>
                <a:cxn ang="0">
                  <a:pos x="31" y="85"/>
                </a:cxn>
                <a:cxn ang="0">
                  <a:pos x="24" y="81"/>
                </a:cxn>
                <a:cxn ang="0">
                  <a:pos x="17" y="78"/>
                </a:cxn>
                <a:cxn ang="0">
                  <a:pos x="10" y="71"/>
                </a:cxn>
                <a:cxn ang="0">
                  <a:pos x="5" y="64"/>
                </a:cxn>
                <a:cxn ang="0">
                  <a:pos x="1" y="56"/>
                </a:cxn>
                <a:cxn ang="0">
                  <a:pos x="0" y="46"/>
                </a:cxn>
                <a:cxn ang="0">
                  <a:pos x="0" y="46"/>
                </a:cxn>
                <a:cxn ang="0">
                  <a:pos x="1" y="38"/>
                </a:cxn>
                <a:cxn ang="0">
                  <a:pos x="4" y="29"/>
                </a:cxn>
                <a:cxn ang="0">
                  <a:pos x="6" y="22"/>
                </a:cxn>
                <a:cxn ang="0">
                  <a:pos x="10" y="15"/>
                </a:cxn>
                <a:cxn ang="0">
                  <a:pos x="15" y="10"/>
                </a:cxn>
                <a:cxn ang="0">
                  <a:pos x="19" y="5"/>
                </a:cxn>
                <a:cxn ang="0">
                  <a:pos x="24" y="2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26" y="14"/>
                </a:cxn>
                <a:cxn ang="0">
                  <a:pos x="26" y="24"/>
                </a:cxn>
                <a:cxn ang="0">
                  <a:pos x="26" y="31"/>
                </a:cxn>
                <a:cxn ang="0">
                  <a:pos x="26" y="31"/>
                </a:cxn>
                <a:cxn ang="0">
                  <a:pos x="28" y="34"/>
                </a:cxn>
                <a:cxn ang="0">
                  <a:pos x="30" y="41"/>
                </a:cxn>
                <a:cxn ang="0">
                  <a:pos x="33" y="43"/>
                </a:cxn>
                <a:cxn ang="0">
                  <a:pos x="36" y="46"/>
                </a:cxn>
                <a:cxn ang="0">
                  <a:pos x="43" y="48"/>
                </a:cxn>
                <a:cxn ang="0">
                  <a:pos x="49" y="50"/>
                </a:cxn>
                <a:cxn ang="0">
                  <a:pos x="71" y="50"/>
                </a:cxn>
              </a:cxnLst>
              <a:rect l="0" t="0" r="r" b="b"/>
              <a:pathLst>
                <a:path w="135" h="113">
                  <a:moveTo>
                    <a:pt x="71" y="23"/>
                  </a:moveTo>
                  <a:lnTo>
                    <a:pt x="135" y="69"/>
                  </a:lnTo>
                  <a:lnTo>
                    <a:pt x="71" y="113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39" y="88"/>
                  </a:lnTo>
                  <a:lnTo>
                    <a:pt x="31" y="85"/>
                  </a:lnTo>
                  <a:lnTo>
                    <a:pt x="24" y="81"/>
                  </a:lnTo>
                  <a:lnTo>
                    <a:pt x="17" y="78"/>
                  </a:lnTo>
                  <a:lnTo>
                    <a:pt x="10" y="71"/>
                  </a:lnTo>
                  <a:lnTo>
                    <a:pt x="5" y="64"/>
                  </a:lnTo>
                  <a:lnTo>
                    <a:pt x="1" y="5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1" y="38"/>
                  </a:lnTo>
                  <a:lnTo>
                    <a:pt x="4" y="29"/>
                  </a:lnTo>
                  <a:lnTo>
                    <a:pt x="6" y="22"/>
                  </a:lnTo>
                  <a:lnTo>
                    <a:pt x="10" y="15"/>
                  </a:lnTo>
                  <a:lnTo>
                    <a:pt x="15" y="10"/>
                  </a:lnTo>
                  <a:lnTo>
                    <a:pt x="19" y="5"/>
                  </a:lnTo>
                  <a:lnTo>
                    <a:pt x="24" y="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14"/>
                  </a:lnTo>
                  <a:lnTo>
                    <a:pt x="26" y="24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8" y="34"/>
                  </a:lnTo>
                  <a:lnTo>
                    <a:pt x="30" y="41"/>
                  </a:lnTo>
                  <a:lnTo>
                    <a:pt x="33" y="43"/>
                  </a:lnTo>
                  <a:lnTo>
                    <a:pt x="36" y="46"/>
                  </a:lnTo>
                  <a:lnTo>
                    <a:pt x="43" y="48"/>
                  </a:lnTo>
                  <a:lnTo>
                    <a:pt x="49" y="50"/>
                  </a:lnTo>
                  <a:lnTo>
                    <a:pt x="71" y="50"/>
                  </a:lnTo>
                </a:path>
              </a:pathLst>
            </a:custGeom>
            <a:noFill/>
            <a:ln w="28575">
              <a:solidFill>
                <a:srgbClr val="E3DED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</p:grpSp>
      <p:grpSp>
        <p:nvGrpSpPr>
          <p:cNvPr id="42" name="Groupe 281"/>
          <p:cNvGrpSpPr/>
          <p:nvPr userDrawn="1"/>
        </p:nvGrpSpPr>
        <p:grpSpPr>
          <a:xfrm>
            <a:off x="2894062" y="5487571"/>
            <a:ext cx="812822" cy="563706"/>
            <a:chOff x="3909988" y="7116564"/>
            <a:chExt cx="228600" cy="161925"/>
          </a:xfrm>
        </p:grpSpPr>
        <p:sp>
          <p:nvSpPr>
            <p:cNvPr id="38" name="Line 326"/>
            <p:cNvSpPr>
              <a:spLocks noChangeShapeType="1"/>
            </p:cNvSpPr>
            <p:nvPr/>
          </p:nvSpPr>
          <p:spPr bwMode="auto">
            <a:xfrm>
              <a:off x="3909988" y="7121327"/>
              <a:ext cx="1588" cy="157162"/>
            </a:xfrm>
            <a:prstGeom prst="line">
              <a:avLst/>
            </a:prstGeom>
            <a:noFill/>
            <a:ln w="28575">
              <a:solidFill>
                <a:srgbClr val="A99F9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  <p:sp>
          <p:nvSpPr>
            <p:cNvPr id="39" name="Line 327"/>
            <p:cNvSpPr>
              <a:spLocks noChangeShapeType="1"/>
            </p:cNvSpPr>
            <p:nvPr/>
          </p:nvSpPr>
          <p:spPr bwMode="auto">
            <a:xfrm>
              <a:off x="3911576" y="7278489"/>
              <a:ext cx="164863" cy="0"/>
            </a:xfrm>
            <a:prstGeom prst="line">
              <a:avLst/>
            </a:prstGeom>
            <a:noFill/>
            <a:ln w="28575">
              <a:solidFill>
                <a:srgbClr val="A99F9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  <p:sp>
          <p:nvSpPr>
            <p:cNvPr id="40" name="Freeform 328"/>
            <p:cNvSpPr>
              <a:spLocks/>
            </p:cNvSpPr>
            <p:nvPr/>
          </p:nvSpPr>
          <p:spPr bwMode="auto">
            <a:xfrm>
              <a:off x="3935388" y="7143552"/>
              <a:ext cx="180975" cy="115887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34" y="39"/>
                </a:cxn>
                <a:cxn ang="0">
                  <a:pos x="55" y="59"/>
                </a:cxn>
                <a:cxn ang="0">
                  <a:pos x="114" y="0"/>
                </a:cxn>
              </a:cxnLst>
              <a:rect l="0" t="0" r="r" b="b"/>
              <a:pathLst>
                <a:path w="114" h="73">
                  <a:moveTo>
                    <a:pt x="0" y="73"/>
                  </a:moveTo>
                  <a:lnTo>
                    <a:pt x="34" y="39"/>
                  </a:lnTo>
                  <a:lnTo>
                    <a:pt x="55" y="59"/>
                  </a:lnTo>
                  <a:lnTo>
                    <a:pt x="114" y="0"/>
                  </a:lnTo>
                </a:path>
              </a:pathLst>
            </a:custGeom>
            <a:noFill/>
            <a:ln w="28575">
              <a:solidFill>
                <a:srgbClr val="A99F9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  <p:sp>
          <p:nvSpPr>
            <p:cNvPr id="41" name="Freeform 329"/>
            <p:cNvSpPr>
              <a:spLocks/>
            </p:cNvSpPr>
            <p:nvPr/>
          </p:nvSpPr>
          <p:spPr bwMode="auto">
            <a:xfrm>
              <a:off x="4087788" y="7116564"/>
              <a:ext cx="50800" cy="555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" y="0"/>
                </a:cxn>
                <a:cxn ang="0">
                  <a:pos x="32" y="35"/>
                </a:cxn>
              </a:cxnLst>
              <a:rect l="0" t="0" r="r" b="b"/>
              <a:pathLst>
                <a:path w="32" h="35">
                  <a:moveTo>
                    <a:pt x="0" y="0"/>
                  </a:moveTo>
                  <a:lnTo>
                    <a:pt x="32" y="0"/>
                  </a:lnTo>
                  <a:lnTo>
                    <a:pt x="32" y="35"/>
                  </a:lnTo>
                </a:path>
              </a:pathLst>
            </a:custGeom>
            <a:noFill/>
            <a:ln w="28575">
              <a:solidFill>
                <a:srgbClr val="A99F9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</p:grpSp>
      <p:grpSp>
        <p:nvGrpSpPr>
          <p:cNvPr id="43" name="Groupe 94"/>
          <p:cNvGrpSpPr/>
          <p:nvPr userDrawn="1"/>
        </p:nvGrpSpPr>
        <p:grpSpPr>
          <a:xfrm>
            <a:off x="7184891" y="5176442"/>
            <a:ext cx="610180" cy="931073"/>
            <a:chOff x="7076941" y="5195492"/>
            <a:chExt cx="610180" cy="931073"/>
          </a:xfrm>
        </p:grpSpPr>
        <p:grpSp>
          <p:nvGrpSpPr>
            <p:cNvPr id="47" name="Groupe 320"/>
            <p:cNvGrpSpPr/>
            <p:nvPr/>
          </p:nvGrpSpPr>
          <p:grpSpPr>
            <a:xfrm>
              <a:off x="7076930" y="5461886"/>
              <a:ext cx="610179" cy="664679"/>
              <a:chOff x="4430703" y="4715239"/>
              <a:chExt cx="374626" cy="416805"/>
            </a:xfrm>
          </p:grpSpPr>
          <p:sp>
            <p:nvSpPr>
              <p:cNvPr id="45" name="Freeform 897"/>
              <p:cNvSpPr>
                <a:spLocks/>
              </p:cNvSpPr>
              <p:nvPr/>
            </p:nvSpPr>
            <p:spPr bwMode="auto">
              <a:xfrm>
                <a:off x="4649755" y="4789936"/>
                <a:ext cx="155574" cy="255586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28575">
                <a:solidFill>
                  <a:srgbClr val="E3DED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46" name="Freeform 897"/>
              <p:cNvSpPr>
                <a:spLocks/>
              </p:cNvSpPr>
              <p:nvPr/>
            </p:nvSpPr>
            <p:spPr bwMode="auto">
              <a:xfrm>
                <a:off x="4509785" y="4876458"/>
                <a:ext cx="180974" cy="255586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28575">
                <a:solidFill>
                  <a:srgbClr val="E3DED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grpSp>
            <p:nvGrpSpPr>
              <p:cNvPr id="50" name="Groupe 78"/>
              <p:cNvGrpSpPr/>
              <p:nvPr/>
            </p:nvGrpSpPr>
            <p:grpSpPr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48" name="Freeform 897"/>
                <p:cNvSpPr>
                  <a:spLocks/>
                </p:cNvSpPr>
                <p:nvPr/>
              </p:nvSpPr>
              <p:spPr bwMode="auto">
                <a:xfrm>
                  <a:off x="4430703" y="4715239"/>
                  <a:ext cx="166698" cy="247657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28575">
                  <a:solidFill>
                    <a:srgbClr val="E3DEDD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263147"/>
                    </a:solidFill>
                  </a:endParaRPr>
                </a:p>
              </p:txBody>
            </p:sp>
            <p:cxnSp>
              <p:nvCxnSpPr>
                <p:cNvPr id="49" name="Connecteur droit 48"/>
                <p:cNvCxnSpPr/>
                <p:nvPr/>
              </p:nvCxnSpPr>
              <p:spPr>
                <a:xfrm flipV="1">
                  <a:off x="4476208" y="4958080"/>
                  <a:ext cx="87086" cy="2903"/>
                </a:xfrm>
                <a:prstGeom prst="line">
                  <a:avLst/>
                </a:prstGeom>
                <a:ln w="28575">
                  <a:solidFill>
                    <a:srgbClr val="E3DEDD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44" name="ZoneTexte 43"/>
            <p:cNvSpPr txBox="1"/>
            <p:nvPr/>
          </p:nvSpPr>
          <p:spPr>
            <a:xfrm>
              <a:off x="7319148" y="5195492"/>
              <a:ext cx="12984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fr-FR" sz="3200" i="1" dirty="0" smtClean="0">
                  <a:solidFill>
                    <a:srgbClr val="E3DEDD"/>
                  </a:solidFill>
                </a:rPr>
                <a:t>?</a:t>
              </a:r>
              <a:endParaRPr lang="fr-FR" sz="3200" i="1" dirty="0" err="1" smtClean="0">
                <a:solidFill>
                  <a:srgbClr val="E3DEDD"/>
                </a:solidFill>
              </a:endParaRPr>
            </a:p>
          </p:txBody>
        </p:sp>
      </p:grpSp>
      <p:grpSp>
        <p:nvGrpSpPr>
          <p:cNvPr id="53" name="Groupe 383"/>
          <p:cNvGrpSpPr/>
          <p:nvPr userDrawn="1"/>
        </p:nvGrpSpPr>
        <p:grpSpPr>
          <a:xfrm rot="2688096">
            <a:off x="1357547" y="1485853"/>
            <a:ext cx="154424" cy="235188"/>
            <a:chOff x="2328839" y="560189"/>
            <a:chExt cx="214313" cy="333374"/>
          </a:xfrm>
        </p:grpSpPr>
        <p:sp>
          <p:nvSpPr>
            <p:cNvPr id="51" name="Freeform 87"/>
            <p:cNvSpPr>
              <a:spLocks/>
            </p:cNvSpPr>
            <p:nvPr/>
          </p:nvSpPr>
          <p:spPr bwMode="auto">
            <a:xfrm>
              <a:off x="2328839" y="560189"/>
              <a:ext cx="214313" cy="180975"/>
            </a:xfrm>
            <a:custGeom>
              <a:avLst/>
              <a:gdLst/>
              <a:ahLst/>
              <a:cxnLst>
                <a:cxn ang="0">
                  <a:pos x="64" y="90"/>
                </a:cxn>
                <a:cxn ang="0">
                  <a:pos x="0" y="45"/>
                </a:cxn>
                <a:cxn ang="0">
                  <a:pos x="64" y="0"/>
                </a:cxn>
                <a:cxn ang="0">
                  <a:pos x="64" y="26"/>
                </a:cxn>
                <a:cxn ang="0">
                  <a:pos x="64" y="26"/>
                </a:cxn>
                <a:cxn ang="0">
                  <a:pos x="88" y="26"/>
                </a:cxn>
                <a:cxn ang="0">
                  <a:pos x="88" y="26"/>
                </a:cxn>
                <a:cxn ang="0">
                  <a:pos x="96" y="26"/>
                </a:cxn>
                <a:cxn ang="0">
                  <a:pos x="104" y="29"/>
                </a:cxn>
                <a:cxn ang="0">
                  <a:pos x="111" y="31"/>
                </a:cxn>
                <a:cxn ang="0">
                  <a:pos x="119" y="36"/>
                </a:cxn>
                <a:cxn ang="0">
                  <a:pos x="125" y="41"/>
                </a:cxn>
                <a:cxn ang="0">
                  <a:pos x="130" y="49"/>
                </a:cxn>
                <a:cxn ang="0">
                  <a:pos x="134" y="58"/>
                </a:cxn>
                <a:cxn ang="0">
                  <a:pos x="135" y="68"/>
                </a:cxn>
                <a:cxn ang="0">
                  <a:pos x="135" y="68"/>
                </a:cxn>
                <a:cxn ang="0">
                  <a:pos x="134" y="76"/>
                </a:cxn>
                <a:cxn ang="0">
                  <a:pos x="131" y="83"/>
                </a:cxn>
                <a:cxn ang="0">
                  <a:pos x="129" y="91"/>
                </a:cxn>
                <a:cxn ang="0">
                  <a:pos x="125" y="97"/>
                </a:cxn>
                <a:cxn ang="0">
                  <a:pos x="120" y="104"/>
                </a:cxn>
                <a:cxn ang="0">
                  <a:pos x="116" y="109"/>
                </a:cxn>
                <a:cxn ang="0">
                  <a:pos x="112" y="111"/>
                </a:cxn>
                <a:cxn ang="0">
                  <a:pos x="109" y="114"/>
                </a:cxn>
                <a:cxn ang="0">
                  <a:pos x="109" y="114"/>
                </a:cxn>
                <a:cxn ang="0">
                  <a:pos x="109" y="100"/>
                </a:cxn>
                <a:cxn ang="0">
                  <a:pos x="109" y="90"/>
                </a:cxn>
                <a:cxn ang="0">
                  <a:pos x="109" y="82"/>
                </a:cxn>
                <a:cxn ang="0">
                  <a:pos x="109" y="82"/>
                </a:cxn>
                <a:cxn ang="0">
                  <a:pos x="107" y="78"/>
                </a:cxn>
                <a:cxn ang="0">
                  <a:pos x="105" y="73"/>
                </a:cxn>
                <a:cxn ang="0">
                  <a:pos x="102" y="69"/>
                </a:cxn>
                <a:cxn ang="0">
                  <a:pos x="99" y="67"/>
                </a:cxn>
                <a:cxn ang="0">
                  <a:pos x="92" y="66"/>
                </a:cxn>
                <a:cxn ang="0">
                  <a:pos x="86" y="64"/>
                </a:cxn>
                <a:cxn ang="0">
                  <a:pos x="64" y="64"/>
                </a:cxn>
              </a:cxnLst>
              <a:rect l="0" t="0" r="r" b="b"/>
              <a:pathLst>
                <a:path w="135" h="114">
                  <a:moveTo>
                    <a:pt x="64" y="90"/>
                  </a:moveTo>
                  <a:lnTo>
                    <a:pt x="0" y="45"/>
                  </a:lnTo>
                  <a:lnTo>
                    <a:pt x="64" y="0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96" y="26"/>
                  </a:lnTo>
                  <a:lnTo>
                    <a:pt x="104" y="29"/>
                  </a:lnTo>
                  <a:lnTo>
                    <a:pt x="111" y="31"/>
                  </a:lnTo>
                  <a:lnTo>
                    <a:pt x="119" y="36"/>
                  </a:lnTo>
                  <a:lnTo>
                    <a:pt x="125" y="41"/>
                  </a:lnTo>
                  <a:lnTo>
                    <a:pt x="130" y="49"/>
                  </a:lnTo>
                  <a:lnTo>
                    <a:pt x="134" y="58"/>
                  </a:lnTo>
                  <a:lnTo>
                    <a:pt x="135" y="68"/>
                  </a:lnTo>
                  <a:lnTo>
                    <a:pt x="135" y="68"/>
                  </a:lnTo>
                  <a:lnTo>
                    <a:pt x="134" y="76"/>
                  </a:lnTo>
                  <a:lnTo>
                    <a:pt x="131" y="83"/>
                  </a:lnTo>
                  <a:lnTo>
                    <a:pt x="129" y="91"/>
                  </a:lnTo>
                  <a:lnTo>
                    <a:pt x="125" y="97"/>
                  </a:lnTo>
                  <a:lnTo>
                    <a:pt x="120" y="104"/>
                  </a:lnTo>
                  <a:lnTo>
                    <a:pt x="116" y="109"/>
                  </a:lnTo>
                  <a:lnTo>
                    <a:pt x="112" y="111"/>
                  </a:lnTo>
                  <a:lnTo>
                    <a:pt x="109" y="114"/>
                  </a:lnTo>
                  <a:lnTo>
                    <a:pt x="109" y="114"/>
                  </a:lnTo>
                  <a:lnTo>
                    <a:pt x="109" y="100"/>
                  </a:lnTo>
                  <a:lnTo>
                    <a:pt x="109" y="90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7" y="78"/>
                  </a:lnTo>
                  <a:lnTo>
                    <a:pt x="105" y="73"/>
                  </a:lnTo>
                  <a:lnTo>
                    <a:pt x="102" y="69"/>
                  </a:lnTo>
                  <a:lnTo>
                    <a:pt x="99" y="67"/>
                  </a:lnTo>
                  <a:lnTo>
                    <a:pt x="92" y="66"/>
                  </a:lnTo>
                  <a:lnTo>
                    <a:pt x="86" y="64"/>
                  </a:lnTo>
                  <a:lnTo>
                    <a:pt x="64" y="64"/>
                  </a:lnTo>
                </a:path>
              </a:pathLst>
            </a:custGeom>
            <a:noFill/>
            <a:ln w="12700">
              <a:solidFill>
                <a:schemeClr val="accent5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  <p:sp>
          <p:nvSpPr>
            <p:cNvPr id="52" name="Freeform 88"/>
            <p:cNvSpPr>
              <a:spLocks/>
            </p:cNvSpPr>
            <p:nvPr/>
          </p:nvSpPr>
          <p:spPr bwMode="auto">
            <a:xfrm>
              <a:off x="2328839" y="714176"/>
              <a:ext cx="214313" cy="179387"/>
            </a:xfrm>
            <a:custGeom>
              <a:avLst/>
              <a:gdLst/>
              <a:ahLst/>
              <a:cxnLst>
                <a:cxn ang="0">
                  <a:pos x="71" y="23"/>
                </a:cxn>
                <a:cxn ang="0">
                  <a:pos x="135" y="69"/>
                </a:cxn>
                <a:cxn ang="0">
                  <a:pos x="71" y="113"/>
                </a:cxn>
                <a:cxn ang="0">
                  <a:pos x="71" y="88"/>
                </a:cxn>
                <a:cxn ang="0">
                  <a:pos x="71" y="88"/>
                </a:cxn>
                <a:cxn ang="0">
                  <a:pos x="47" y="88"/>
                </a:cxn>
                <a:cxn ang="0">
                  <a:pos x="47" y="88"/>
                </a:cxn>
                <a:cxn ang="0">
                  <a:pos x="39" y="88"/>
                </a:cxn>
                <a:cxn ang="0">
                  <a:pos x="31" y="85"/>
                </a:cxn>
                <a:cxn ang="0">
                  <a:pos x="24" y="81"/>
                </a:cxn>
                <a:cxn ang="0">
                  <a:pos x="17" y="78"/>
                </a:cxn>
                <a:cxn ang="0">
                  <a:pos x="10" y="71"/>
                </a:cxn>
                <a:cxn ang="0">
                  <a:pos x="5" y="64"/>
                </a:cxn>
                <a:cxn ang="0">
                  <a:pos x="1" y="56"/>
                </a:cxn>
                <a:cxn ang="0">
                  <a:pos x="0" y="46"/>
                </a:cxn>
                <a:cxn ang="0">
                  <a:pos x="0" y="46"/>
                </a:cxn>
                <a:cxn ang="0">
                  <a:pos x="1" y="38"/>
                </a:cxn>
                <a:cxn ang="0">
                  <a:pos x="4" y="29"/>
                </a:cxn>
                <a:cxn ang="0">
                  <a:pos x="6" y="22"/>
                </a:cxn>
                <a:cxn ang="0">
                  <a:pos x="10" y="15"/>
                </a:cxn>
                <a:cxn ang="0">
                  <a:pos x="15" y="10"/>
                </a:cxn>
                <a:cxn ang="0">
                  <a:pos x="19" y="5"/>
                </a:cxn>
                <a:cxn ang="0">
                  <a:pos x="24" y="2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26" y="14"/>
                </a:cxn>
                <a:cxn ang="0">
                  <a:pos x="26" y="24"/>
                </a:cxn>
                <a:cxn ang="0">
                  <a:pos x="26" y="31"/>
                </a:cxn>
                <a:cxn ang="0">
                  <a:pos x="26" y="31"/>
                </a:cxn>
                <a:cxn ang="0">
                  <a:pos x="28" y="34"/>
                </a:cxn>
                <a:cxn ang="0">
                  <a:pos x="30" y="41"/>
                </a:cxn>
                <a:cxn ang="0">
                  <a:pos x="33" y="43"/>
                </a:cxn>
                <a:cxn ang="0">
                  <a:pos x="36" y="46"/>
                </a:cxn>
                <a:cxn ang="0">
                  <a:pos x="43" y="48"/>
                </a:cxn>
                <a:cxn ang="0">
                  <a:pos x="49" y="50"/>
                </a:cxn>
                <a:cxn ang="0">
                  <a:pos x="71" y="50"/>
                </a:cxn>
              </a:cxnLst>
              <a:rect l="0" t="0" r="r" b="b"/>
              <a:pathLst>
                <a:path w="135" h="113">
                  <a:moveTo>
                    <a:pt x="71" y="23"/>
                  </a:moveTo>
                  <a:lnTo>
                    <a:pt x="135" y="69"/>
                  </a:lnTo>
                  <a:lnTo>
                    <a:pt x="71" y="113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39" y="88"/>
                  </a:lnTo>
                  <a:lnTo>
                    <a:pt x="31" y="85"/>
                  </a:lnTo>
                  <a:lnTo>
                    <a:pt x="24" y="81"/>
                  </a:lnTo>
                  <a:lnTo>
                    <a:pt x="17" y="78"/>
                  </a:lnTo>
                  <a:lnTo>
                    <a:pt x="10" y="71"/>
                  </a:lnTo>
                  <a:lnTo>
                    <a:pt x="5" y="64"/>
                  </a:lnTo>
                  <a:lnTo>
                    <a:pt x="1" y="5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1" y="38"/>
                  </a:lnTo>
                  <a:lnTo>
                    <a:pt x="4" y="29"/>
                  </a:lnTo>
                  <a:lnTo>
                    <a:pt x="6" y="22"/>
                  </a:lnTo>
                  <a:lnTo>
                    <a:pt x="10" y="15"/>
                  </a:lnTo>
                  <a:lnTo>
                    <a:pt x="15" y="10"/>
                  </a:lnTo>
                  <a:lnTo>
                    <a:pt x="19" y="5"/>
                  </a:lnTo>
                  <a:lnTo>
                    <a:pt x="24" y="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14"/>
                  </a:lnTo>
                  <a:lnTo>
                    <a:pt x="26" y="24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8" y="34"/>
                  </a:lnTo>
                  <a:lnTo>
                    <a:pt x="30" y="41"/>
                  </a:lnTo>
                  <a:lnTo>
                    <a:pt x="33" y="43"/>
                  </a:lnTo>
                  <a:lnTo>
                    <a:pt x="36" y="46"/>
                  </a:lnTo>
                  <a:lnTo>
                    <a:pt x="43" y="48"/>
                  </a:lnTo>
                  <a:lnTo>
                    <a:pt x="49" y="50"/>
                  </a:lnTo>
                  <a:lnTo>
                    <a:pt x="71" y="50"/>
                  </a:lnTo>
                </a:path>
              </a:pathLst>
            </a:custGeom>
            <a:noFill/>
            <a:ln w="12700">
              <a:solidFill>
                <a:schemeClr val="accent5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</p:grpSp>
      <p:grpSp>
        <p:nvGrpSpPr>
          <p:cNvPr id="56" name="Group 29"/>
          <p:cNvGrpSpPr/>
          <p:nvPr userDrawn="1"/>
        </p:nvGrpSpPr>
        <p:grpSpPr>
          <a:xfrm flipH="1">
            <a:off x="5422905" y="1486398"/>
            <a:ext cx="220167" cy="219537"/>
            <a:chOff x="4138610" y="5727703"/>
            <a:chExt cx="430213" cy="438150"/>
          </a:xfrm>
        </p:grpSpPr>
        <p:sp>
          <p:nvSpPr>
            <p:cNvPr id="54" name="Freeform 1008"/>
            <p:cNvSpPr>
              <a:spLocks/>
            </p:cNvSpPr>
            <p:nvPr/>
          </p:nvSpPr>
          <p:spPr bwMode="auto">
            <a:xfrm>
              <a:off x="4138610" y="5727703"/>
              <a:ext cx="430213" cy="438150"/>
            </a:xfrm>
            <a:custGeom>
              <a:avLst/>
              <a:gdLst>
                <a:gd name="connsiteX0" fmla="*/ 963 w 10000"/>
                <a:gd name="connsiteY0" fmla="*/ 10000 h 10557"/>
                <a:gd name="connsiteX1" fmla="*/ 3037 w 10000"/>
                <a:gd name="connsiteY1" fmla="*/ 7899 h 10557"/>
                <a:gd name="connsiteX2" fmla="*/ 3778 w 10000"/>
                <a:gd name="connsiteY2" fmla="*/ 7899 h 10557"/>
                <a:gd name="connsiteX3" fmla="*/ 5185 w 10000"/>
                <a:gd name="connsiteY3" fmla="*/ 6522 h 10557"/>
                <a:gd name="connsiteX4" fmla="*/ 8667 w 10000"/>
                <a:gd name="connsiteY4" fmla="*/ 5797 h 10557"/>
                <a:gd name="connsiteX5" fmla="*/ 8667 w 10000"/>
                <a:gd name="connsiteY5" fmla="*/ 1232 h 10557"/>
                <a:gd name="connsiteX6" fmla="*/ 4000 w 10000"/>
                <a:gd name="connsiteY6" fmla="*/ 1232 h 10557"/>
                <a:gd name="connsiteX7" fmla="*/ 3407 w 10000"/>
                <a:gd name="connsiteY7" fmla="*/ 4928 h 10557"/>
                <a:gd name="connsiteX8" fmla="*/ 2074 w 10000"/>
                <a:gd name="connsiteY8" fmla="*/ 6159 h 10557"/>
                <a:gd name="connsiteX9" fmla="*/ 2074 w 10000"/>
                <a:gd name="connsiteY9" fmla="*/ 7464 h 10557"/>
                <a:gd name="connsiteX10" fmla="*/ 963 w 10000"/>
                <a:gd name="connsiteY10" fmla="*/ 7464 h 10557"/>
                <a:gd name="connsiteX11" fmla="*/ 963 w 10000"/>
                <a:gd name="connsiteY11" fmla="*/ 8696 h 10557"/>
                <a:gd name="connsiteX12" fmla="*/ 0 w 10000"/>
                <a:gd name="connsiteY12" fmla="*/ 8696 h 10557"/>
                <a:gd name="connsiteX13" fmla="*/ 0 w 10000"/>
                <a:gd name="connsiteY13" fmla="*/ 10000 h 10557"/>
                <a:gd name="connsiteX14" fmla="*/ 1519 w 10000"/>
                <a:gd name="connsiteY14" fmla="*/ 10557 h 10557"/>
                <a:gd name="connsiteX0" fmla="*/ 963 w 10000"/>
                <a:gd name="connsiteY0" fmla="*/ 10000 h 10000"/>
                <a:gd name="connsiteX1" fmla="*/ 3037 w 10000"/>
                <a:gd name="connsiteY1" fmla="*/ 7899 h 10000"/>
                <a:gd name="connsiteX2" fmla="*/ 3778 w 10000"/>
                <a:gd name="connsiteY2" fmla="*/ 7899 h 10000"/>
                <a:gd name="connsiteX3" fmla="*/ 5185 w 10000"/>
                <a:gd name="connsiteY3" fmla="*/ 6522 h 10000"/>
                <a:gd name="connsiteX4" fmla="*/ 8667 w 10000"/>
                <a:gd name="connsiteY4" fmla="*/ 5797 h 10000"/>
                <a:gd name="connsiteX5" fmla="*/ 8667 w 10000"/>
                <a:gd name="connsiteY5" fmla="*/ 1232 h 10000"/>
                <a:gd name="connsiteX6" fmla="*/ 4000 w 10000"/>
                <a:gd name="connsiteY6" fmla="*/ 1232 h 10000"/>
                <a:gd name="connsiteX7" fmla="*/ 3407 w 10000"/>
                <a:gd name="connsiteY7" fmla="*/ 4928 h 10000"/>
                <a:gd name="connsiteX8" fmla="*/ 2074 w 10000"/>
                <a:gd name="connsiteY8" fmla="*/ 6159 h 10000"/>
                <a:gd name="connsiteX9" fmla="*/ 2074 w 10000"/>
                <a:gd name="connsiteY9" fmla="*/ 7464 h 10000"/>
                <a:gd name="connsiteX10" fmla="*/ 963 w 10000"/>
                <a:gd name="connsiteY10" fmla="*/ 7464 h 10000"/>
                <a:gd name="connsiteX11" fmla="*/ 963 w 10000"/>
                <a:gd name="connsiteY11" fmla="*/ 8696 h 10000"/>
                <a:gd name="connsiteX12" fmla="*/ 0 w 10000"/>
                <a:gd name="connsiteY12" fmla="*/ 8696 h 10000"/>
                <a:gd name="connsiteX13" fmla="*/ 0 w 10000"/>
                <a:gd name="connsiteY13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00" h="10000">
                  <a:moveTo>
                    <a:pt x="963" y="10000"/>
                  </a:moveTo>
                  <a:lnTo>
                    <a:pt x="3037" y="7899"/>
                  </a:lnTo>
                  <a:lnTo>
                    <a:pt x="3778" y="7899"/>
                  </a:lnTo>
                  <a:lnTo>
                    <a:pt x="5185" y="6522"/>
                  </a:lnTo>
                  <a:cubicBezTo>
                    <a:pt x="6370" y="6957"/>
                    <a:pt x="7778" y="6739"/>
                    <a:pt x="8667" y="5797"/>
                  </a:cubicBezTo>
                  <a:cubicBezTo>
                    <a:pt x="10000" y="4565"/>
                    <a:pt x="10000" y="2536"/>
                    <a:pt x="8667" y="1232"/>
                  </a:cubicBezTo>
                  <a:cubicBezTo>
                    <a:pt x="7407" y="0"/>
                    <a:pt x="5333" y="0"/>
                    <a:pt x="4000" y="1232"/>
                  </a:cubicBezTo>
                  <a:cubicBezTo>
                    <a:pt x="3037" y="2246"/>
                    <a:pt x="2815" y="3696"/>
                    <a:pt x="3407" y="4928"/>
                  </a:cubicBezTo>
                  <a:lnTo>
                    <a:pt x="2074" y="6159"/>
                  </a:lnTo>
                  <a:lnTo>
                    <a:pt x="2074" y="7464"/>
                  </a:lnTo>
                  <a:lnTo>
                    <a:pt x="963" y="7464"/>
                  </a:lnTo>
                  <a:lnTo>
                    <a:pt x="963" y="8696"/>
                  </a:lnTo>
                  <a:lnTo>
                    <a:pt x="0" y="8696"/>
                  </a:lnTo>
                  <a:lnTo>
                    <a:pt x="0" y="10000"/>
                  </a:lnTo>
                </a:path>
              </a:pathLst>
            </a:custGeom>
            <a:noFill/>
            <a:ln w="12700" cap="rnd">
              <a:solidFill>
                <a:schemeClr val="accent3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  <p:sp>
          <p:nvSpPr>
            <p:cNvPr id="55" name="Freeform 1009"/>
            <p:cNvSpPr>
              <a:spLocks/>
            </p:cNvSpPr>
            <p:nvPr/>
          </p:nvSpPr>
          <p:spPr bwMode="auto">
            <a:xfrm>
              <a:off x="4370387" y="5797550"/>
              <a:ext cx="123825" cy="123825"/>
            </a:xfrm>
            <a:custGeom>
              <a:avLst/>
              <a:gdLst/>
              <a:ahLst/>
              <a:cxnLst>
                <a:cxn ang="0">
                  <a:pos x="32" y="32"/>
                </a:cxn>
                <a:cxn ang="0">
                  <a:pos x="7" y="32"/>
                </a:cxn>
                <a:cxn ang="0">
                  <a:pos x="7" y="7"/>
                </a:cxn>
                <a:cxn ang="0">
                  <a:pos x="32" y="7"/>
                </a:cxn>
                <a:cxn ang="0">
                  <a:pos x="32" y="32"/>
                </a:cxn>
              </a:cxnLst>
              <a:rect l="0" t="0" r="r" b="b"/>
              <a:pathLst>
                <a:path w="39" h="39">
                  <a:moveTo>
                    <a:pt x="32" y="32"/>
                  </a:moveTo>
                  <a:cubicBezTo>
                    <a:pt x="25" y="39"/>
                    <a:pt x="14" y="39"/>
                    <a:pt x="7" y="32"/>
                  </a:cubicBezTo>
                  <a:cubicBezTo>
                    <a:pt x="0" y="25"/>
                    <a:pt x="0" y="14"/>
                    <a:pt x="7" y="7"/>
                  </a:cubicBezTo>
                  <a:cubicBezTo>
                    <a:pt x="14" y="0"/>
                    <a:pt x="25" y="0"/>
                    <a:pt x="32" y="7"/>
                  </a:cubicBezTo>
                  <a:cubicBezTo>
                    <a:pt x="39" y="14"/>
                    <a:pt x="39" y="25"/>
                    <a:pt x="32" y="32"/>
                  </a:cubicBezTo>
                  <a:close/>
                </a:path>
              </a:pathLst>
            </a:custGeom>
            <a:noFill/>
            <a:ln w="12700" cap="rnd">
              <a:solidFill>
                <a:schemeClr val="accent3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</p:grpSp>
      <p:grpSp>
        <p:nvGrpSpPr>
          <p:cNvPr id="61" name="Groupe 281"/>
          <p:cNvGrpSpPr/>
          <p:nvPr userDrawn="1"/>
        </p:nvGrpSpPr>
        <p:grpSpPr>
          <a:xfrm>
            <a:off x="1205359" y="3962721"/>
            <a:ext cx="278959" cy="189835"/>
            <a:chOff x="3905620" y="7116564"/>
            <a:chExt cx="232968" cy="161925"/>
          </a:xfrm>
        </p:grpSpPr>
        <p:sp>
          <p:nvSpPr>
            <p:cNvPr id="57" name="Line 326"/>
            <p:cNvSpPr>
              <a:spLocks noChangeShapeType="1"/>
            </p:cNvSpPr>
            <p:nvPr/>
          </p:nvSpPr>
          <p:spPr bwMode="auto">
            <a:xfrm>
              <a:off x="3909988" y="7121327"/>
              <a:ext cx="1588" cy="157162"/>
            </a:xfrm>
            <a:prstGeom prst="line">
              <a:avLst/>
            </a:prstGeom>
            <a:noFill/>
            <a:ln w="12700">
              <a:solidFill>
                <a:schemeClr val="accent3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  <p:sp>
          <p:nvSpPr>
            <p:cNvPr id="58" name="Line 327"/>
            <p:cNvSpPr>
              <a:spLocks noChangeShapeType="1"/>
            </p:cNvSpPr>
            <p:nvPr/>
          </p:nvSpPr>
          <p:spPr bwMode="auto">
            <a:xfrm>
              <a:off x="3905620" y="7278489"/>
              <a:ext cx="182178" cy="0"/>
            </a:xfrm>
            <a:prstGeom prst="line">
              <a:avLst/>
            </a:prstGeom>
            <a:noFill/>
            <a:ln w="12700">
              <a:solidFill>
                <a:schemeClr val="accent3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  <p:sp>
          <p:nvSpPr>
            <p:cNvPr id="59" name="Freeform 328"/>
            <p:cNvSpPr>
              <a:spLocks/>
            </p:cNvSpPr>
            <p:nvPr/>
          </p:nvSpPr>
          <p:spPr bwMode="auto">
            <a:xfrm>
              <a:off x="3935388" y="7143552"/>
              <a:ext cx="180975" cy="115887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34" y="39"/>
                </a:cxn>
                <a:cxn ang="0">
                  <a:pos x="55" y="59"/>
                </a:cxn>
                <a:cxn ang="0">
                  <a:pos x="114" y="0"/>
                </a:cxn>
              </a:cxnLst>
              <a:rect l="0" t="0" r="r" b="b"/>
              <a:pathLst>
                <a:path w="114" h="73">
                  <a:moveTo>
                    <a:pt x="0" y="73"/>
                  </a:moveTo>
                  <a:lnTo>
                    <a:pt x="34" y="39"/>
                  </a:lnTo>
                  <a:lnTo>
                    <a:pt x="55" y="59"/>
                  </a:lnTo>
                  <a:lnTo>
                    <a:pt x="114" y="0"/>
                  </a:lnTo>
                </a:path>
              </a:pathLst>
            </a:custGeom>
            <a:noFill/>
            <a:ln w="12700">
              <a:solidFill>
                <a:schemeClr val="accent3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  <p:sp>
          <p:nvSpPr>
            <p:cNvPr id="60" name="Freeform 329"/>
            <p:cNvSpPr>
              <a:spLocks/>
            </p:cNvSpPr>
            <p:nvPr/>
          </p:nvSpPr>
          <p:spPr bwMode="auto">
            <a:xfrm>
              <a:off x="4087788" y="7116564"/>
              <a:ext cx="50800" cy="555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" y="0"/>
                </a:cxn>
                <a:cxn ang="0">
                  <a:pos x="32" y="35"/>
                </a:cxn>
              </a:cxnLst>
              <a:rect l="0" t="0" r="r" b="b"/>
              <a:pathLst>
                <a:path w="32" h="35">
                  <a:moveTo>
                    <a:pt x="0" y="0"/>
                  </a:moveTo>
                  <a:lnTo>
                    <a:pt x="32" y="0"/>
                  </a:lnTo>
                  <a:lnTo>
                    <a:pt x="32" y="35"/>
                  </a:lnTo>
                </a:path>
              </a:pathLst>
            </a:custGeom>
            <a:noFill/>
            <a:ln w="12700">
              <a:solidFill>
                <a:schemeClr val="accent3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263147"/>
                </a:solidFill>
              </a:endParaRPr>
            </a:p>
          </p:txBody>
        </p:sp>
      </p:grpSp>
      <p:grpSp>
        <p:nvGrpSpPr>
          <p:cNvPr id="62" name="Groupe 89"/>
          <p:cNvGrpSpPr/>
          <p:nvPr userDrawn="1"/>
        </p:nvGrpSpPr>
        <p:grpSpPr>
          <a:xfrm>
            <a:off x="5052946" y="3893931"/>
            <a:ext cx="266313" cy="269699"/>
            <a:chOff x="4661159" y="3893931"/>
            <a:chExt cx="266313" cy="269699"/>
          </a:xfrm>
        </p:grpSpPr>
        <p:grpSp>
          <p:nvGrpSpPr>
            <p:cNvPr id="66" name="Groupe 320"/>
            <p:cNvGrpSpPr/>
            <p:nvPr/>
          </p:nvGrpSpPr>
          <p:grpSpPr>
            <a:xfrm>
              <a:off x="4661147" y="3940177"/>
              <a:ext cx="205130" cy="223451"/>
              <a:chOff x="4430703" y="4715239"/>
              <a:chExt cx="374626" cy="416805"/>
            </a:xfrm>
          </p:grpSpPr>
          <p:sp>
            <p:nvSpPr>
              <p:cNvPr id="64" name="Freeform 897"/>
              <p:cNvSpPr>
                <a:spLocks/>
              </p:cNvSpPr>
              <p:nvPr/>
            </p:nvSpPr>
            <p:spPr bwMode="auto">
              <a:xfrm>
                <a:off x="4649755" y="4789936"/>
                <a:ext cx="155574" cy="255586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4912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0" fmla="*/ 4737 w 9825"/>
                  <a:gd name="connsiteY0" fmla="*/ 10000 h 10000"/>
                  <a:gd name="connsiteX1" fmla="*/ 4737 w 9825"/>
                  <a:gd name="connsiteY1" fmla="*/ 10000 h 10000"/>
                  <a:gd name="connsiteX2" fmla="*/ 6579 w 9825"/>
                  <a:gd name="connsiteY2" fmla="*/ 10000 h 10000"/>
                  <a:gd name="connsiteX3" fmla="*/ 8246 w 9825"/>
                  <a:gd name="connsiteY3" fmla="*/ 9938 h 10000"/>
                  <a:gd name="connsiteX4" fmla="*/ 9386 w 9825"/>
                  <a:gd name="connsiteY4" fmla="*/ 9814 h 10000"/>
                  <a:gd name="connsiteX5" fmla="*/ 9737 w 9825"/>
                  <a:gd name="connsiteY5" fmla="*/ 9752 h 10000"/>
                  <a:gd name="connsiteX6" fmla="*/ 9825 w 9825"/>
                  <a:gd name="connsiteY6" fmla="*/ 9689 h 10000"/>
                  <a:gd name="connsiteX7" fmla="*/ 9825 w 9825"/>
                  <a:gd name="connsiteY7" fmla="*/ 9689 h 10000"/>
                  <a:gd name="connsiteX8" fmla="*/ 9825 w 9825"/>
                  <a:gd name="connsiteY8" fmla="*/ 8634 h 10000"/>
                  <a:gd name="connsiteX9" fmla="*/ 9737 w 9825"/>
                  <a:gd name="connsiteY9" fmla="*/ 7702 h 10000"/>
                  <a:gd name="connsiteX10" fmla="*/ 9386 w 9825"/>
                  <a:gd name="connsiteY10" fmla="*/ 6832 h 10000"/>
                  <a:gd name="connsiteX11" fmla="*/ 9036 w 9825"/>
                  <a:gd name="connsiteY11" fmla="*/ 6087 h 10000"/>
                  <a:gd name="connsiteX12" fmla="*/ 8509 w 9825"/>
                  <a:gd name="connsiteY12" fmla="*/ 5342 h 10000"/>
                  <a:gd name="connsiteX13" fmla="*/ 7807 w 9825"/>
                  <a:gd name="connsiteY13" fmla="*/ 4783 h 10000"/>
                  <a:gd name="connsiteX14" fmla="*/ 6930 w 9825"/>
                  <a:gd name="connsiteY14" fmla="*/ 4410 h 10000"/>
                  <a:gd name="connsiteX15" fmla="*/ 5965 w 9825"/>
                  <a:gd name="connsiteY15" fmla="*/ 4099 h 10000"/>
                  <a:gd name="connsiteX16" fmla="*/ 5965 w 9825"/>
                  <a:gd name="connsiteY16" fmla="*/ 4099 h 10000"/>
                  <a:gd name="connsiteX17" fmla="*/ 6492 w 9825"/>
                  <a:gd name="connsiteY17" fmla="*/ 3727 h 10000"/>
                  <a:gd name="connsiteX18" fmla="*/ 6843 w 9825"/>
                  <a:gd name="connsiteY18" fmla="*/ 3230 h 10000"/>
                  <a:gd name="connsiteX19" fmla="*/ 7106 w 9825"/>
                  <a:gd name="connsiteY19" fmla="*/ 2671 h 10000"/>
                  <a:gd name="connsiteX20" fmla="*/ 7369 w 9825"/>
                  <a:gd name="connsiteY20" fmla="*/ 2112 h 10000"/>
                  <a:gd name="connsiteX21" fmla="*/ 7369 w 9825"/>
                  <a:gd name="connsiteY21" fmla="*/ 2112 h 10000"/>
                  <a:gd name="connsiteX22" fmla="*/ 7281 w 9825"/>
                  <a:gd name="connsiteY22" fmla="*/ 1677 h 10000"/>
                  <a:gd name="connsiteX23" fmla="*/ 7106 w 9825"/>
                  <a:gd name="connsiteY23" fmla="*/ 1242 h 10000"/>
                  <a:gd name="connsiteX24" fmla="*/ 6930 w 9825"/>
                  <a:gd name="connsiteY24" fmla="*/ 870 h 10000"/>
                  <a:gd name="connsiteX25" fmla="*/ 6579 w 9825"/>
                  <a:gd name="connsiteY25" fmla="*/ 559 h 10000"/>
                  <a:gd name="connsiteX26" fmla="*/ 6229 w 9825"/>
                  <a:gd name="connsiteY26" fmla="*/ 311 h 10000"/>
                  <a:gd name="connsiteX27" fmla="*/ 5790 w 9825"/>
                  <a:gd name="connsiteY27" fmla="*/ 186 h 10000"/>
                  <a:gd name="connsiteX28" fmla="*/ 5351 w 9825"/>
                  <a:gd name="connsiteY28" fmla="*/ 0 h 10000"/>
                  <a:gd name="connsiteX29" fmla="*/ 4825 w 9825"/>
                  <a:gd name="connsiteY29" fmla="*/ 0 h 10000"/>
                  <a:gd name="connsiteX30" fmla="*/ 4825 w 9825"/>
                  <a:gd name="connsiteY30" fmla="*/ 0 h 10000"/>
                  <a:gd name="connsiteX31" fmla="*/ 4386 w 9825"/>
                  <a:gd name="connsiteY31" fmla="*/ 0 h 10000"/>
                  <a:gd name="connsiteX32" fmla="*/ 3948 w 9825"/>
                  <a:gd name="connsiteY32" fmla="*/ 186 h 10000"/>
                  <a:gd name="connsiteX33" fmla="*/ 3509 w 9825"/>
                  <a:gd name="connsiteY33" fmla="*/ 311 h 10000"/>
                  <a:gd name="connsiteX34" fmla="*/ 3071 w 9825"/>
                  <a:gd name="connsiteY34" fmla="*/ 559 h 10000"/>
                  <a:gd name="connsiteX35" fmla="*/ 2807 w 9825"/>
                  <a:gd name="connsiteY35" fmla="*/ 870 h 10000"/>
                  <a:gd name="connsiteX36" fmla="*/ 2544 w 9825"/>
                  <a:gd name="connsiteY36" fmla="*/ 1242 h 10000"/>
                  <a:gd name="connsiteX37" fmla="*/ 2369 w 9825"/>
                  <a:gd name="connsiteY37" fmla="*/ 1677 h 10000"/>
                  <a:gd name="connsiteX38" fmla="*/ 2369 w 9825"/>
                  <a:gd name="connsiteY38" fmla="*/ 2112 h 10000"/>
                  <a:gd name="connsiteX39" fmla="*/ 2369 w 9825"/>
                  <a:gd name="connsiteY39" fmla="*/ 2112 h 10000"/>
                  <a:gd name="connsiteX40" fmla="*/ 2457 w 9825"/>
                  <a:gd name="connsiteY40" fmla="*/ 2671 h 10000"/>
                  <a:gd name="connsiteX41" fmla="*/ 2807 w 9825"/>
                  <a:gd name="connsiteY41" fmla="*/ 3230 h 10000"/>
                  <a:gd name="connsiteX42" fmla="*/ 3246 w 9825"/>
                  <a:gd name="connsiteY42" fmla="*/ 3727 h 10000"/>
                  <a:gd name="connsiteX43" fmla="*/ 3685 w 9825"/>
                  <a:gd name="connsiteY43" fmla="*/ 4099 h 10000"/>
                  <a:gd name="connsiteX44" fmla="*/ 3685 w 9825"/>
                  <a:gd name="connsiteY44" fmla="*/ 4099 h 10000"/>
                  <a:gd name="connsiteX45" fmla="*/ 2720 w 9825"/>
                  <a:gd name="connsiteY45" fmla="*/ 4410 h 10000"/>
                  <a:gd name="connsiteX46" fmla="*/ 1930 w 9825"/>
                  <a:gd name="connsiteY46" fmla="*/ 4783 h 10000"/>
                  <a:gd name="connsiteX47" fmla="*/ 1229 w 9825"/>
                  <a:gd name="connsiteY47" fmla="*/ 5342 h 10000"/>
                  <a:gd name="connsiteX48" fmla="*/ 702 w 9825"/>
                  <a:gd name="connsiteY48" fmla="*/ 6087 h 10000"/>
                  <a:gd name="connsiteX49" fmla="*/ 264 w 9825"/>
                  <a:gd name="connsiteY49" fmla="*/ 6832 h 10000"/>
                  <a:gd name="connsiteX50" fmla="*/ 0 w 9825"/>
                  <a:gd name="connsiteY50" fmla="*/ 7702 h 10000"/>
                  <a:gd name="connsiteX0" fmla="*/ 4552 w 9731"/>
                  <a:gd name="connsiteY0" fmla="*/ 10000 h 10000"/>
                  <a:gd name="connsiteX1" fmla="*/ 4552 w 9731"/>
                  <a:gd name="connsiteY1" fmla="*/ 10000 h 10000"/>
                  <a:gd name="connsiteX2" fmla="*/ 6427 w 9731"/>
                  <a:gd name="connsiteY2" fmla="*/ 10000 h 10000"/>
                  <a:gd name="connsiteX3" fmla="*/ 8124 w 9731"/>
                  <a:gd name="connsiteY3" fmla="*/ 9938 h 10000"/>
                  <a:gd name="connsiteX4" fmla="*/ 9284 w 9731"/>
                  <a:gd name="connsiteY4" fmla="*/ 9814 h 10000"/>
                  <a:gd name="connsiteX5" fmla="*/ 9641 w 9731"/>
                  <a:gd name="connsiteY5" fmla="*/ 9752 h 10000"/>
                  <a:gd name="connsiteX6" fmla="*/ 9731 w 9731"/>
                  <a:gd name="connsiteY6" fmla="*/ 9689 h 10000"/>
                  <a:gd name="connsiteX7" fmla="*/ 9731 w 9731"/>
                  <a:gd name="connsiteY7" fmla="*/ 9689 h 10000"/>
                  <a:gd name="connsiteX8" fmla="*/ 9731 w 9731"/>
                  <a:gd name="connsiteY8" fmla="*/ 8634 h 10000"/>
                  <a:gd name="connsiteX9" fmla="*/ 9641 w 9731"/>
                  <a:gd name="connsiteY9" fmla="*/ 7702 h 10000"/>
                  <a:gd name="connsiteX10" fmla="*/ 9284 w 9731"/>
                  <a:gd name="connsiteY10" fmla="*/ 6832 h 10000"/>
                  <a:gd name="connsiteX11" fmla="*/ 8928 w 9731"/>
                  <a:gd name="connsiteY11" fmla="*/ 6087 h 10000"/>
                  <a:gd name="connsiteX12" fmla="*/ 8392 w 9731"/>
                  <a:gd name="connsiteY12" fmla="*/ 5342 h 10000"/>
                  <a:gd name="connsiteX13" fmla="*/ 7677 w 9731"/>
                  <a:gd name="connsiteY13" fmla="*/ 4783 h 10000"/>
                  <a:gd name="connsiteX14" fmla="*/ 6784 w 9731"/>
                  <a:gd name="connsiteY14" fmla="*/ 4410 h 10000"/>
                  <a:gd name="connsiteX15" fmla="*/ 5802 w 9731"/>
                  <a:gd name="connsiteY15" fmla="*/ 4099 h 10000"/>
                  <a:gd name="connsiteX16" fmla="*/ 5802 w 9731"/>
                  <a:gd name="connsiteY16" fmla="*/ 4099 h 10000"/>
                  <a:gd name="connsiteX17" fmla="*/ 6339 w 9731"/>
                  <a:gd name="connsiteY17" fmla="*/ 3727 h 10000"/>
                  <a:gd name="connsiteX18" fmla="*/ 6696 w 9731"/>
                  <a:gd name="connsiteY18" fmla="*/ 3230 h 10000"/>
                  <a:gd name="connsiteX19" fmla="*/ 6964 w 9731"/>
                  <a:gd name="connsiteY19" fmla="*/ 2671 h 10000"/>
                  <a:gd name="connsiteX20" fmla="*/ 7231 w 9731"/>
                  <a:gd name="connsiteY20" fmla="*/ 2112 h 10000"/>
                  <a:gd name="connsiteX21" fmla="*/ 7231 w 9731"/>
                  <a:gd name="connsiteY21" fmla="*/ 2112 h 10000"/>
                  <a:gd name="connsiteX22" fmla="*/ 7142 w 9731"/>
                  <a:gd name="connsiteY22" fmla="*/ 1677 h 10000"/>
                  <a:gd name="connsiteX23" fmla="*/ 6964 w 9731"/>
                  <a:gd name="connsiteY23" fmla="*/ 1242 h 10000"/>
                  <a:gd name="connsiteX24" fmla="*/ 6784 w 9731"/>
                  <a:gd name="connsiteY24" fmla="*/ 870 h 10000"/>
                  <a:gd name="connsiteX25" fmla="*/ 6427 w 9731"/>
                  <a:gd name="connsiteY25" fmla="*/ 559 h 10000"/>
                  <a:gd name="connsiteX26" fmla="*/ 6071 w 9731"/>
                  <a:gd name="connsiteY26" fmla="*/ 311 h 10000"/>
                  <a:gd name="connsiteX27" fmla="*/ 5624 w 9731"/>
                  <a:gd name="connsiteY27" fmla="*/ 186 h 10000"/>
                  <a:gd name="connsiteX28" fmla="*/ 5177 w 9731"/>
                  <a:gd name="connsiteY28" fmla="*/ 0 h 10000"/>
                  <a:gd name="connsiteX29" fmla="*/ 4642 w 9731"/>
                  <a:gd name="connsiteY29" fmla="*/ 0 h 10000"/>
                  <a:gd name="connsiteX30" fmla="*/ 4642 w 9731"/>
                  <a:gd name="connsiteY30" fmla="*/ 0 h 10000"/>
                  <a:gd name="connsiteX31" fmla="*/ 4195 w 9731"/>
                  <a:gd name="connsiteY31" fmla="*/ 0 h 10000"/>
                  <a:gd name="connsiteX32" fmla="*/ 3749 w 9731"/>
                  <a:gd name="connsiteY32" fmla="*/ 186 h 10000"/>
                  <a:gd name="connsiteX33" fmla="*/ 3303 w 9731"/>
                  <a:gd name="connsiteY33" fmla="*/ 311 h 10000"/>
                  <a:gd name="connsiteX34" fmla="*/ 2857 w 9731"/>
                  <a:gd name="connsiteY34" fmla="*/ 559 h 10000"/>
                  <a:gd name="connsiteX35" fmla="*/ 2588 w 9731"/>
                  <a:gd name="connsiteY35" fmla="*/ 870 h 10000"/>
                  <a:gd name="connsiteX36" fmla="*/ 2320 w 9731"/>
                  <a:gd name="connsiteY36" fmla="*/ 1242 h 10000"/>
                  <a:gd name="connsiteX37" fmla="*/ 2142 w 9731"/>
                  <a:gd name="connsiteY37" fmla="*/ 1677 h 10000"/>
                  <a:gd name="connsiteX38" fmla="*/ 2142 w 9731"/>
                  <a:gd name="connsiteY38" fmla="*/ 2112 h 10000"/>
                  <a:gd name="connsiteX39" fmla="*/ 2142 w 9731"/>
                  <a:gd name="connsiteY39" fmla="*/ 2112 h 10000"/>
                  <a:gd name="connsiteX40" fmla="*/ 2232 w 9731"/>
                  <a:gd name="connsiteY40" fmla="*/ 2671 h 10000"/>
                  <a:gd name="connsiteX41" fmla="*/ 2588 w 9731"/>
                  <a:gd name="connsiteY41" fmla="*/ 3230 h 10000"/>
                  <a:gd name="connsiteX42" fmla="*/ 3035 w 9731"/>
                  <a:gd name="connsiteY42" fmla="*/ 3727 h 10000"/>
                  <a:gd name="connsiteX43" fmla="*/ 3482 w 9731"/>
                  <a:gd name="connsiteY43" fmla="*/ 4099 h 10000"/>
                  <a:gd name="connsiteX44" fmla="*/ 3482 w 9731"/>
                  <a:gd name="connsiteY44" fmla="*/ 4099 h 10000"/>
                  <a:gd name="connsiteX45" fmla="*/ 2499 w 9731"/>
                  <a:gd name="connsiteY45" fmla="*/ 4410 h 10000"/>
                  <a:gd name="connsiteX46" fmla="*/ 1695 w 9731"/>
                  <a:gd name="connsiteY46" fmla="*/ 4783 h 10000"/>
                  <a:gd name="connsiteX47" fmla="*/ 982 w 9731"/>
                  <a:gd name="connsiteY47" fmla="*/ 5342 h 10000"/>
                  <a:gd name="connsiteX48" fmla="*/ 446 w 9731"/>
                  <a:gd name="connsiteY48" fmla="*/ 6087 h 10000"/>
                  <a:gd name="connsiteX49" fmla="*/ 0 w 9731"/>
                  <a:gd name="connsiteY49" fmla="*/ 6832 h 10000"/>
                  <a:gd name="connsiteX0" fmla="*/ 4220 w 9542"/>
                  <a:gd name="connsiteY0" fmla="*/ 10000 h 10000"/>
                  <a:gd name="connsiteX1" fmla="*/ 4220 w 9542"/>
                  <a:gd name="connsiteY1" fmla="*/ 10000 h 10000"/>
                  <a:gd name="connsiteX2" fmla="*/ 6147 w 9542"/>
                  <a:gd name="connsiteY2" fmla="*/ 10000 h 10000"/>
                  <a:gd name="connsiteX3" fmla="*/ 7891 w 9542"/>
                  <a:gd name="connsiteY3" fmla="*/ 9938 h 10000"/>
                  <a:gd name="connsiteX4" fmla="*/ 9083 w 9542"/>
                  <a:gd name="connsiteY4" fmla="*/ 9814 h 10000"/>
                  <a:gd name="connsiteX5" fmla="*/ 9450 w 9542"/>
                  <a:gd name="connsiteY5" fmla="*/ 9752 h 10000"/>
                  <a:gd name="connsiteX6" fmla="*/ 9542 w 9542"/>
                  <a:gd name="connsiteY6" fmla="*/ 9689 h 10000"/>
                  <a:gd name="connsiteX7" fmla="*/ 9542 w 9542"/>
                  <a:gd name="connsiteY7" fmla="*/ 9689 h 10000"/>
                  <a:gd name="connsiteX8" fmla="*/ 9542 w 9542"/>
                  <a:gd name="connsiteY8" fmla="*/ 8634 h 10000"/>
                  <a:gd name="connsiteX9" fmla="*/ 9450 w 9542"/>
                  <a:gd name="connsiteY9" fmla="*/ 7702 h 10000"/>
                  <a:gd name="connsiteX10" fmla="*/ 9083 w 9542"/>
                  <a:gd name="connsiteY10" fmla="*/ 6832 h 10000"/>
                  <a:gd name="connsiteX11" fmla="*/ 8717 w 9542"/>
                  <a:gd name="connsiteY11" fmla="*/ 6087 h 10000"/>
                  <a:gd name="connsiteX12" fmla="*/ 8166 w 9542"/>
                  <a:gd name="connsiteY12" fmla="*/ 5342 h 10000"/>
                  <a:gd name="connsiteX13" fmla="*/ 7431 w 9542"/>
                  <a:gd name="connsiteY13" fmla="*/ 4783 h 10000"/>
                  <a:gd name="connsiteX14" fmla="*/ 6514 w 9542"/>
                  <a:gd name="connsiteY14" fmla="*/ 4410 h 10000"/>
                  <a:gd name="connsiteX15" fmla="*/ 5504 w 9542"/>
                  <a:gd name="connsiteY15" fmla="*/ 4099 h 10000"/>
                  <a:gd name="connsiteX16" fmla="*/ 5504 w 9542"/>
                  <a:gd name="connsiteY16" fmla="*/ 4099 h 10000"/>
                  <a:gd name="connsiteX17" fmla="*/ 6056 w 9542"/>
                  <a:gd name="connsiteY17" fmla="*/ 3727 h 10000"/>
                  <a:gd name="connsiteX18" fmla="*/ 6423 w 9542"/>
                  <a:gd name="connsiteY18" fmla="*/ 3230 h 10000"/>
                  <a:gd name="connsiteX19" fmla="*/ 6699 w 9542"/>
                  <a:gd name="connsiteY19" fmla="*/ 2671 h 10000"/>
                  <a:gd name="connsiteX20" fmla="*/ 6973 w 9542"/>
                  <a:gd name="connsiteY20" fmla="*/ 2112 h 10000"/>
                  <a:gd name="connsiteX21" fmla="*/ 6973 w 9542"/>
                  <a:gd name="connsiteY21" fmla="*/ 2112 h 10000"/>
                  <a:gd name="connsiteX22" fmla="*/ 6881 w 9542"/>
                  <a:gd name="connsiteY22" fmla="*/ 1677 h 10000"/>
                  <a:gd name="connsiteX23" fmla="*/ 6699 w 9542"/>
                  <a:gd name="connsiteY23" fmla="*/ 1242 h 10000"/>
                  <a:gd name="connsiteX24" fmla="*/ 6514 w 9542"/>
                  <a:gd name="connsiteY24" fmla="*/ 870 h 10000"/>
                  <a:gd name="connsiteX25" fmla="*/ 6147 w 9542"/>
                  <a:gd name="connsiteY25" fmla="*/ 559 h 10000"/>
                  <a:gd name="connsiteX26" fmla="*/ 5781 w 9542"/>
                  <a:gd name="connsiteY26" fmla="*/ 311 h 10000"/>
                  <a:gd name="connsiteX27" fmla="*/ 5321 w 9542"/>
                  <a:gd name="connsiteY27" fmla="*/ 186 h 10000"/>
                  <a:gd name="connsiteX28" fmla="*/ 4862 w 9542"/>
                  <a:gd name="connsiteY28" fmla="*/ 0 h 10000"/>
                  <a:gd name="connsiteX29" fmla="*/ 4312 w 9542"/>
                  <a:gd name="connsiteY29" fmla="*/ 0 h 10000"/>
                  <a:gd name="connsiteX30" fmla="*/ 4312 w 9542"/>
                  <a:gd name="connsiteY30" fmla="*/ 0 h 10000"/>
                  <a:gd name="connsiteX31" fmla="*/ 3853 w 9542"/>
                  <a:gd name="connsiteY31" fmla="*/ 0 h 10000"/>
                  <a:gd name="connsiteX32" fmla="*/ 3395 w 9542"/>
                  <a:gd name="connsiteY32" fmla="*/ 186 h 10000"/>
                  <a:gd name="connsiteX33" fmla="*/ 2936 w 9542"/>
                  <a:gd name="connsiteY33" fmla="*/ 311 h 10000"/>
                  <a:gd name="connsiteX34" fmla="*/ 2478 w 9542"/>
                  <a:gd name="connsiteY34" fmla="*/ 559 h 10000"/>
                  <a:gd name="connsiteX35" fmla="*/ 2202 w 9542"/>
                  <a:gd name="connsiteY35" fmla="*/ 870 h 10000"/>
                  <a:gd name="connsiteX36" fmla="*/ 1926 w 9542"/>
                  <a:gd name="connsiteY36" fmla="*/ 1242 h 10000"/>
                  <a:gd name="connsiteX37" fmla="*/ 1743 w 9542"/>
                  <a:gd name="connsiteY37" fmla="*/ 1677 h 10000"/>
                  <a:gd name="connsiteX38" fmla="*/ 1743 w 9542"/>
                  <a:gd name="connsiteY38" fmla="*/ 2112 h 10000"/>
                  <a:gd name="connsiteX39" fmla="*/ 1743 w 9542"/>
                  <a:gd name="connsiteY39" fmla="*/ 2112 h 10000"/>
                  <a:gd name="connsiteX40" fmla="*/ 1836 w 9542"/>
                  <a:gd name="connsiteY40" fmla="*/ 2671 h 10000"/>
                  <a:gd name="connsiteX41" fmla="*/ 2202 w 9542"/>
                  <a:gd name="connsiteY41" fmla="*/ 3230 h 10000"/>
                  <a:gd name="connsiteX42" fmla="*/ 2661 w 9542"/>
                  <a:gd name="connsiteY42" fmla="*/ 3727 h 10000"/>
                  <a:gd name="connsiteX43" fmla="*/ 3120 w 9542"/>
                  <a:gd name="connsiteY43" fmla="*/ 4099 h 10000"/>
                  <a:gd name="connsiteX44" fmla="*/ 3120 w 9542"/>
                  <a:gd name="connsiteY44" fmla="*/ 4099 h 10000"/>
                  <a:gd name="connsiteX45" fmla="*/ 2110 w 9542"/>
                  <a:gd name="connsiteY45" fmla="*/ 4410 h 10000"/>
                  <a:gd name="connsiteX46" fmla="*/ 1284 w 9542"/>
                  <a:gd name="connsiteY46" fmla="*/ 4783 h 10000"/>
                  <a:gd name="connsiteX47" fmla="*/ 551 w 9542"/>
                  <a:gd name="connsiteY47" fmla="*/ 5342 h 10000"/>
                  <a:gd name="connsiteX48" fmla="*/ 0 w 9542"/>
                  <a:gd name="connsiteY48" fmla="*/ 6087 h 10000"/>
                  <a:gd name="connsiteX0" fmla="*/ 3846 w 9423"/>
                  <a:gd name="connsiteY0" fmla="*/ 10000 h 10000"/>
                  <a:gd name="connsiteX1" fmla="*/ 3846 w 9423"/>
                  <a:gd name="connsiteY1" fmla="*/ 10000 h 10000"/>
                  <a:gd name="connsiteX2" fmla="*/ 5865 w 9423"/>
                  <a:gd name="connsiteY2" fmla="*/ 10000 h 10000"/>
                  <a:gd name="connsiteX3" fmla="*/ 7693 w 9423"/>
                  <a:gd name="connsiteY3" fmla="*/ 9938 h 10000"/>
                  <a:gd name="connsiteX4" fmla="*/ 8942 w 9423"/>
                  <a:gd name="connsiteY4" fmla="*/ 9814 h 10000"/>
                  <a:gd name="connsiteX5" fmla="*/ 9327 w 9423"/>
                  <a:gd name="connsiteY5" fmla="*/ 9752 h 10000"/>
                  <a:gd name="connsiteX6" fmla="*/ 9423 w 9423"/>
                  <a:gd name="connsiteY6" fmla="*/ 9689 h 10000"/>
                  <a:gd name="connsiteX7" fmla="*/ 9423 w 9423"/>
                  <a:gd name="connsiteY7" fmla="*/ 9689 h 10000"/>
                  <a:gd name="connsiteX8" fmla="*/ 9423 w 9423"/>
                  <a:gd name="connsiteY8" fmla="*/ 8634 h 10000"/>
                  <a:gd name="connsiteX9" fmla="*/ 9327 w 9423"/>
                  <a:gd name="connsiteY9" fmla="*/ 7702 h 10000"/>
                  <a:gd name="connsiteX10" fmla="*/ 8942 w 9423"/>
                  <a:gd name="connsiteY10" fmla="*/ 6832 h 10000"/>
                  <a:gd name="connsiteX11" fmla="*/ 8558 w 9423"/>
                  <a:gd name="connsiteY11" fmla="*/ 6087 h 10000"/>
                  <a:gd name="connsiteX12" fmla="*/ 7981 w 9423"/>
                  <a:gd name="connsiteY12" fmla="*/ 5342 h 10000"/>
                  <a:gd name="connsiteX13" fmla="*/ 7211 w 9423"/>
                  <a:gd name="connsiteY13" fmla="*/ 4783 h 10000"/>
                  <a:gd name="connsiteX14" fmla="*/ 6250 w 9423"/>
                  <a:gd name="connsiteY14" fmla="*/ 4410 h 10000"/>
                  <a:gd name="connsiteX15" fmla="*/ 5191 w 9423"/>
                  <a:gd name="connsiteY15" fmla="*/ 4099 h 10000"/>
                  <a:gd name="connsiteX16" fmla="*/ 5191 w 9423"/>
                  <a:gd name="connsiteY16" fmla="*/ 4099 h 10000"/>
                  <a:gd name="connsiteX17" fmla="*/ 5770 w 9423"/>
                  <a:gd name="connsiteY17" fmla="*/ 3727 h 10000"/>
                  <a:gd name="connsiteX18" fmla="*/ 6154 w 9423"/>
                  <a:gd name="connsiteY18" fmla="*/ 3230 h 10000"/>
                  <a:gd name="connsiteX19" fmla="*/ 6444 w 9423"/>
                  <a:gd name="connsiteY19" fmla="*/ 2671 h 10000"/>
                  <a:gd name="connsiteX20" fmla="*/ 6731 w 9423"/>
                  <a:gd name="connsiteY20" fmla="*/ 2112 h 10000"/>
                  <a:gd name="connsiteX21" fmla="*/ 6731 w 9423"/>
                  <a:gd name="connsiteY21" fmla="*/ 2112 h 10000"/>
                  <a:gd name="connsiteX22" fmla="*/ 6634 w 9423"/>
                  <a:gd name="connsiteY22" fmla="*/ 1677 h 10000"/>
                  <a:gd name="connsiteX23" fmla="*/ 6444 w 9423"/>
                  <a:gd name="connsiteY23" fmla="*/ 1242 h 10000"/>
                  <a:gd name="connsiteX24" fmla="*/ 6250 w 9423"/>
                  <a:gd name="connsiteY24" fmla="*/ 870 h 10000"/>
                  <a:gd name="connsiteX25" fmla="*/ 5865 w 9423"/>
                  <a:gd name="connsiteY25" fmla="*/ 559 h 10000"/>
                  <a:gd name="connsiteX26" fmla="*/ 5481 w 9423"/>
                  <a:gd name="connsiteY26" fmla="*/ 311 h 10000"/>
                  <a:gd name="connsiteX27" fmla="*/ 4999 w 9423"/>
                  <a:gd name="connsiteY27" fmla="*/ 186 h 10000"/>
                  <a:gd name="connsiteX28" fmla="*/ 4518 w 9423"/>
                  <a:gd name="connsiteY28" fmla="*/ 0 h 10000"/>
                  <a:gd name="connsiteX29" fmla="*/ 3942 w 9423"/>
                  <a:gd name="connsiteY29" fmla="*/ 0 h 10000"/>
                  <a:gd name="connsiteX30" fmla="*/ 3942 w 9423"/>
                  <a:gd name="connsiteY30" fmla="*/ 0 h 10000"/>
                  <a:gd name="connsiteX31" fmla="*/ 3461 w 9423"/>
                  <a:gd name="connsiteY31" fmla="*/ 0 h 10000"/>
                  <a:gd name="connsiteX32" fmla="*/ 2981 w 9423"/>
                  <a:gd name="connsiteY32" fmla="*/ 186 h 10000"/>
                  <a:gd name="connsiteX33" fmla="*/ 2500 w 9423"/>
                  <a:gd name="connsiteY33" fmla="*/ 311 h 10000"/>
                  <a:gd name="connsiteX34" fmla="*/ 2020 w 9423"/>
                  <a:gd name="connsiteY34" fmla="*/ 559 h 10000"/>
                  <a:gd name="connsiteX35" fmla="*/ 1731 w 9423"/>
                  <a:gd name="connsiteY35" fmla="*/ 870 h 10000"/>
                  <a:gd name="connsiteX36" fmla="*/ 1441 w 9423"/>
                  <a:gd name="connsiteY36" fmla="*/ 1242 h 10000"/>
                  <a:gd name="connsiteX37" fmla="*/ 1250 w 9423"/>
                  <a:gd name="connsiteY37" fmla="*/ 1677 h 10000"/>
                  <a:gd name="connsiteX38" fmla="*/ 1250 w 9423"/>
                  <a:gd name="connsiteY38" fmla="*/ 2112 h 10000"/>
                  <a:gd name="connsiteX39" fmla="*/ 1250 w 9423"/>
                  <a:gd name="connsiteY39" fmla="*/ 2112 h 10000"/>
                  <a:gd name="connsiteX40" fmla="*/ 1347 w 9423"/>
                  <a:gd name="connsiteY40" fmla="*/ 2671 h 10000"/>
                  <a:gd name="connsiteX41" fmla="*/ 1731 w 9423"/>
                  <a:gd name="connsiteY41" fmla="*/ 3230 h 10000"/>
                  <a:gd name="connsiteX42" fmla="*/ 2212 w 9423"/>
                  <a:gd name="connsiteY42" fmla="*/ 3727 h 10000"/>
                  <a:gd name="connsiteX43" fmla="*/ 2693 w 9423"/>
                  <a:gd name="connsiteY43" fmla="*/ 4099 h 10000"/>
                  <a:gd name="connsiteX44" fmla="*/ 2693 w 9423"/>
                  <a:gd name="connsiteY44" fmla="*/ 4099 h 10000"/>
                  <a:gd name="connsiteX45" fmla="*/ 1634 w 9423"/>
                  <a:gd name="connsiteY45" fmla="*/ 4410 h 10000"/>
                  <a:gd name="connsiteX46" fmla="*/ 769 w 9423"/>
                  <a:gd name="connsiteY46" fmla="*/ 4783 h 10000"/>
                  <a:gd name="connsiteX47" fmla="*/ 0 w 9423"/>
                  <a:gd name="connsiteY47" fmla="*/ 534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9423" h="10000">
                    <a:moveTo>
                      <a:pt x="3846" y="10000"/>
                    </a:moveTo>
                    <a:lnTo>
                      <a:pt x="3846" y="10000"/>
                    </a:lnTo>
                    <a:lnTo>
                      <a:pt x="5865" y="10000"/>
                    </a:lnTo>
                    <a:lnTo>
                      <a:pt x="7693" y="9938"/>
                    </a:lnTo>
                    <a:lnTo>
                      <a:pt x="8942" y="9814"/>
                    </a:lnTo>
                    <a:lnTo>
                      <a:pt x="9327" y="9752"/>
                    </a:lnTo>
                    <a:lnTo>
                      <a:pt x="9423" y="9689"/>
                    </a:lnTo>
                    <a:lnTo>
                      <a:pt x="9423" y="9689"/>
                    </a:lnTo>
                    <a:lnTo>
                      <a:pt x="9423" y="8634"/>
                    </a:lnTo>
                    <a:cubicBezTo>
                      <a:pt x="9391" y="8323"/>
                      <a:pt x="9358" y="8013"/>
                      <a:pt x="9327" y="7702"/>
                    </a:cubicBezTo>
                    <a:lnTo>
                      <a:pt x="8942" y="6832"/>
                    </a:lnTo>
                    <a:lnTo>
                      <a:pt x="8558" y="6087"/>
                    </a:lnTo>
                    <a:lnTo>
                      <a:pt x="7981" y="5342"/>
                    </a:lnTo>
                    <a:lnTo>
                      <a:pt x="7211" y="4783"/>
                    </a:lnTo>
                    <a:lnTo>
                      <a:pt x="6250" y="4410"/>
                    </a:lnTo>
                    <a:lnTo>
                      <a:pt x="5191" y="4099"/>
                    </a:lnTo>
                    <a:lnTo>
                      <a:pt x="5191" y="4099"/>
                    </a:lnTo>
                    <a:lnTo>
                      <a:pt x="5770" y="3727"/>
                    </a:lnTo>
                    <a:lnTo>
                      <a:pt x="6154" y="3230"/>
                    </a:lnTo>
                    <a:cubicBezTo>
                      <a:pt x="6251" y="3044"/>
                      <a:pt x="6347" y="2857"/>
                      <a:pt x="6444" y="2671"/>
                    </a:cubicBezTo>
                    <a:cubicBezTo>
                      <a:pt x="6540" y="2485"/>
                      <a:pt x="6635" y="2298"/>
                      <a:pt x="6731" y="2112"/>
                    </a:cubicBezTo>
                    <a:lnTo>
                      <a:pt x="6731" y="2112"/>
                    </a:lnTo>
                    <a:cubicBezTo>
                      <a:pt x="6699" y="1967"/>
                      <a:pt x="6666" y="1822"/>
                      <a:pt x="6634" y="1677"/>
                    </a:cubicBezTo>
                    <a:cubicBezTo>
                      <a:pt x="6571" y="1532"/>
                      <a:pt x="6506" y="1387"/>
                      <a:pt x="6444" y="1242"/>
                    </a:cubicBezTo>
                    <a:lnTo>
                      <a:pt x="6250" y="870"/>
                    </a:lnTo>
                    <a:lnTo>
                      <a:pt x="5865" y="559"/>
                    </a:lnTo>
                    <a:lnTo>
                      <a:pt x="5481" y="311"/>
                    </a:lnTo>
                    <a:lnTo>
                      <a:pt x="4999" y="186"/>
                    </a:lnTo>
                    <a:lnTo>
                      <a:pt x="4518" y="0"/>
                    </a:lnTo>
                    <a:lnTo>
                      <a:pt x="3942" y="0"/>
                    </a:lnTo>
                    <a:lnTo>
                      <a:pt x="3942" y="0"/>
                    </a:lnTo>
                    <a:lnTo>
                      <a:pt x="3461" y="0"/>
                    </a:lnTo>
                    <a:lnTo>
                      <a:pt x="2981" y="186"/>
                    </a:lnTo>
                    <a:lnTo>
                      <a:pt x="2500" y="311"/>
                    </a:lnTo>
                    <a:lnTo>
                      <a:pt x="2020" y="559"/>
                    </a:lnTo>
                    <a:lnTo>
                      <a:pt x="1731" y="870"/>
                    </a:lnTo>
                    <a:lnTo>
                      <a:pt x="1441" y="1242"/>
                    </a:lnTo>
                    <a:cubicBezTo>
                      <a:pt x="1379" y="1387"/>
                      <a:pt x="1314" y="1532"/>
                      <a:pt x="1250" y="1677"/>
                    </a:cubicBezTo>
                    <a:lnTo>
                      <a:pt x="1250" y="2112"/>
                    </a:lnTo>
                    <a:lnTo>
                      <a:pt x="1250" y="2112"/>
                    </a:lnTo>
                    <a:cubicBezTo>
                      <a:pt x="1282" y="2298"/>
                      <a:pt x="1315" y="2485"/>
                      <a:pt x="1347" y="2671"/>
                    </a:cubicBezTo>
                    <a:lnTo>
                      <a:pt x="1731" y="3230"/>
                    </a:lnTo>
                    <a:lnTo>
                      <a:pt x="2212" y="3727"/>
                    </a:lnTo>
                    <a:lnTo>
                      <a:pt x="2693" y="4099"/>
                    </a:lnTo>
                    <a:lnTo>
                      <a:pt x="2693" y="4099"/>
                    </a:lnTo>
                    <a:lnTo>
                      <a:pt x="1634" y="4410"/>
                    </a:lnTo>
                    <a:lnTo>
                      <a:pt x="769" y="4783"/>
                    </a:lnTo>
                    <a:lnTo>
                      <a:pt x="0" y="5342"/>
                    </a:lnTo>
                  </a:path>
                </a:pathLst>
              </a:custGeom>
              <a:noFill/>
              <a:ln w="12700">
                <a:solidFill>
                  <a:schemeClr val="accent5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sp>
            <p:nvSpPr>
              <p:cNvPr id="65" name="Freeform 897"/>
              <p:cNvSpPr>
                <a:spLocks/>
              </p:cNvSpPr>
              <p:nvPr/>
            </p:nvSpPr>
            <p:spPr bwMode="auto">
              <a:xfrm>
                <a:off x="4509785" y="4876458"/>
                <a:ext cx="180974" cy="255586"/>
              </a:xfrm>
              <a:custGeom>
                <a:avLst/>
                <a:gdLst>
                  <a:gd name="connsiteX0" fmla="*/ 4912 w 10000"/>
                  <a:gd name="connsiteY0" fmla="*/ 10000 h 10000"/>
                  <a:gd name="connsiteX1" fmla="*/ 2666 w 10000"/>
                  <a:gd name="connsiteY1" fmla="*/ 10000 h 10000"/>
                  <a:gd name="connsiteX2" fmla="*/ 6754 w 10000"/>
                  <a:gd name="connsiteY2" fmla="*/ 10000 h 10000"/>
                  <a:gd name="connsiteX3" fmla="*/ 8421 w 10000"/>
                  <a:gd name="connsiteY3" fmla="*/ 9938 h 10000"/>
                  <a:gd name="connsiteX4" fmla="*/ 9561 w 10000"/>
                  <a:gd name="connsiteY4" fmla="*/ 9814 h 10000"/>
                  <a:gd name="connsiteX5" fmla="*/ 9912 w 10000"/>
                  <a:gd name="connsiteY5" fmla="*/ 9752 h 10000"/>
                  <a:gd name="connsiteX6" fmla="*/ 10000 w 10000"/>
                  <a:gd name="connsiteY6" fmla="*/ 9689 h 10000"/>
                  <a:gd name="connsiteX7" fmla="*/ 10000 w 10000"/>
                  <a:gd name="connsiteY7" fmla="*/ 9689 h 10000"/>
                  <a:gd name="connsiteX8" fmla="*/ 10000 w 10000"/>
                  <a:gd name="connsiteY8" fmla="*/ 8634 h 10000"/>
                  <a:gd name="connsiteX9" fmla="*/ 9912 w 10000"/>
                  <a:gd name="connsiteY9" fmla="*/ 7702 h 10000"/>
                  <a:gd name="connsiteX10" fmla="*/ 9561 w 10000"/>
                  <a:gd name="connsiteY10" fmla="*/ 6832 h 10000"/>
                  <a:gd name="connsiteX11" fmla="*/ 9211 w 10000"/>
                  <a:gd name="connsiteY11" fmla="*/ 6087 h 10000"/>
                  <a:gd name="connsiteX12" fmla="*/ 8684 w 10000"/>
                  <a:gd name="connsiteY12" fmla="*/ 5342 h 10000"/>
                  <a:gd name="connsiteX13" fmla="*/ 7982 w 10000"/>
                  <a:gd name="connsiteY13" fmla="*/ 4783 h 10000"/>
                  <a:gd name="connsiteX14" fmla="*/ 7105 w 10000"/>
                  <a:gd name="connsiteY14" fmla="*/ 4410 h 10000"/>
                  <a:gd name="connsiteX15" fmla="*/ 6140 w 10000"/>
                  <a:gd name="connsiteY15" fmla="*/ 4099 h 10000"/>
                  <a:gd name="connsiteX16" fmla="*/ 6140 w 10000"/>
                  <a:gd name="connsiteY16" fmla="*/ 4099 h 10000"/>
                  <a:gd name="connsiteX17" fmla="*/ 6667 w 10000"/>
                  <a:gd name="connsiteY17" fmla="*/ 3727 h 10000"/>
                  <a:gd name="connsiteX18" fmla="*/ 7018 w 10000"/>
                  <a:gd name="connsiteY18" fmla="*/ 3230 h 10000"/>
                  <a:gd name="connsiteX19" fmla="*/ 7281 w 10000"/>
                  <a:gd name="connsiteY19" fmla="*/ 2671 h 10000"/>
                  <a:gd name="connsiteX20" fmla="*/ 7544 w 10000"/>
                  <a:gd name="connsiteY20" fmla="*/ 2112 h 10000"/>
                  <a:gd name="connsiteX21" fmla="*/ 7544 w 10000"/>
                  <a:gd name="connsiteY21" fmla="*/ 2112 h 10000"/>
                  <a:gd name="connsiteX22" fmla="*/ 7456 w 10000"/>
                  <a:gd name="connsiteY22" fmla="*/ 1677 h 10000"/>
                  <a:gd name="connsiteX23" fmla="*/ 7281 w 10000"/>
                  <a:gd name="connsiteY23" fmla="*/ 1242 h 10000"/>
                  <a:gd name="connsiteX24" fmla="*/ 7105 w 10000"/>
                  <a:gd name="connsiteY24" fmla="*/ 870 h 10000"/>
                  <a:gd name="connsiteX25" fmla="*/ 6754 w 10000"/>
                  <a:gd name="connsiteY25" fmla="*/ 559 h 10000"/>
                  <a:gd name="connsiteX26" fmla="*/ 6404 w 10000"/>
                  <a:gd name="connsiteY26" fmla="*/ 311 h 10000"/>
                  <a:gd name="connsiteX27" fmla="*/ 5965 w 10000"/>
                  <a:gd name="connsiteY27" fmla="*/ 186 h 10000"/>
                  <a:gd name="connsiteX28" fmla="*/ 5526 w 10000"/>
                  <a:gd name="connsiteY28" fmla="*/ 0 h 10000"/>
                  <a:gd name="connsiteX29" fmla="*/ 5000 w 10000"/>
                  <a:gd name="connsiteY29" fmla="*/ 0 h 10000"/>
                  <a:gd name="connsiteX30" fmla="*/ 5000 w 10000"/>
                  <a:gd name="connsiteY30" fmla="*/ 0 h 10000"/>
                  <a:gd name="connsiteX31" fmla="*/ 4561 w 10000"/>
                  <a:gd name="connsiteY31" fmla="*/ 0 h 10000"/>
                  <a:gd name="connsiteX32" fmla="*/ 4123 w 10000"/>
                  <a:gd name="connsiteY32" fmla="*/ 186 h 10000"/>
                  <a:gd name="connsiteX33" fmla="*/ 3684 w 10000"/>
                  <a:gd name="connsiteY33" fmla="*/ 311 h 10000"/>
                  <a:gd name="connsiteX34" fmla="*/ 3246 w 10000"/>
                  <a:gd name="connsiteY34" fmla="*/ 559 h 10000"/>
                  <a:gd name="connsiteX35" fmla="*/ 2982 w 10000"/>
                  <a:gd name="connsiteY35" fmla="*/ 870 h 10000"/>
                  <a:gd name="connsiteX36" fmla="*/ 2719 w 10000"/>
                  <a:gd name="connsiteY36" fmla="*/ 1242 h 10000"/>
                  <a:gd name="connsiteX37" fmla="*/ 2544 w 10000"/>
                  <a:gd name="connsiteY37" fmla="*/ 1677 h 10000"/>
                  <a:gd name="connsiteX38" fmla="*/ 2544 w 10000"/>
                  <a:gd name="connsiteY38" fmla="*/ 2112 h 10000"/>
                  <a:gd name="connsiteX39" fmla="*/ 2544 w 10000"/>
                  <a:gd name="connsiteY39" fmla="*/ 2112 h 10000"/>
                  <a:gd name="connsiteX40" fmla="*/ 2632 w 10000"/>
                  <a:gd name="connsiteY40" fmla="*/ 2671 h 10000"/>
                  <a:gd name="connsiteX41" fmla="*/ 2982 w 10000"/>
                  <a:gd name="connsiteY41" fmla="*/ 3230 h 10000"/>
                  <a:gd name="connsiteX42" fmla="*/ 3421 w 10000"/>
                  <a:gd name="connsiteY42" fmla="*/ 3727 h 10000"/>
                  <a:gd name="connsiteX43" fmla="*/ 3860 w 10000"/>
                  <a:gd name="connsiteY43" fmla="*/ 4099 h 10000"/>
                  <a:gd name="connsiteX44" fmla="*/ 3860 w 10000"/>
                  <a:gd name="connsiteY44" fmla="*/ 4099 h 10000"/>
                  <a:gd name="connsiteX45" fmla="*/ 2895 w 10000"/>
                  <a:gd name="connsiteY45" fmla="*/ 4410 h 10000"/>
                  <a:gd name="connsiteX46" fmla="*/ 2105 w 10000"/>
                  <a:gd name="connsiteY46" fmla="*/ 4783 h 10000"/>
                  <a:gd name="connsiteX47" fmla="*/ 1404 w 10000"/>
                  <a:gd name="connsiteY47" fmla="*/ 5342 h 10000"/>
                  <a:gd name="connsiteX48" fmla="*/ 877 w 10000"/>
                  <a:gd name="connsiteY48" fmla="*/ 6087 h 10000"/>
                  <a:gd name="connsiteX49" fmla="*/ 439 w 10000"/>
                  <a:gd name="connsiteY49" fmla="*/ 6832 h 10000"/>
                  <a:gd name="connsiteX50" fmla="*/ 175 w 10000"/>
                  <a:gd name="connsiteY50" fmla="*/ 7702 h 10000"/>
                  <a:gd name="connsiteX51" fmla="*/ 0 w 10000"/>
                  <a:gd name="connsiteY51" fmla="*/ 8634 h 10000"/>
                  <a:gd name="connsiteX52" fmla="*/ 0 w 10000"/>
                  <a:gd name="connsiteY52" fmla="*/ 968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0000" h="10000">
                    <a:moveTo>
                      <a:pt x="4912" y="10000"/>
                    </a:moveTo>
                    <a:lnTo>
                      <a:pt x="2666" y="10000"/>
                    </a:lnTo>
                    <a:lnTo>
                      <a:pt x="6754" y="10000"/>
                    </a:lnTo>
                    <a:lnTo>
                      <a:pt x="8421" y="9938"/>
                    </a:lnTo>
                    <a:lnTo>
                      <a:pt x="9561" y="9814"/>
                    </a:lnTo>
                    <a:lnTo>
                      <a:pt x="9912" y="9752"/>
                    </a:lnTo>
                    <a:lnTo>
                      <a:pt x="10000" y="9689"/>
                    </a:lnTo>
                    <a:lnTo>
                      <a:pt x="10000" y="9689"/>
                    </a:lnTo>
                    <a:lnTo>
                      <a:pt x="10000" y="8634"/>
                    </a:lnTo>
                    <a:cubicBezTo>
                      <a:pt x="9971" y="8323"/>
                      <a:pt x="9941" y="8013"/>
                      <a:pt x="9912" y="7702"/>
                    </a:cubicBezTo>
                    <a:lnTo>
                      <a:pt x="9561" y="6832"/>
                    </a:lnTo>
                    <a:lnTo>
                      <a:pt x="9211" y="6087"/>
                    </a:lnTo>
                    <a:lnTo>
                      <a:pt x="8684" y="5342"/>
                    </a:lnTo>
                    <a:lnTo>
                      <a:pt x="7982" y="4783"/>
                    </a:lnTo>
                    <a:lnTo>
                      <a:pt x="7105" y="4410"/>
                    </a:lnTo>
                    <a:lnTo>
                      <a:pt x="6140" y="4099"/>
                    </a:lnTo>
                    <a:lnTo>
                      <a:pt x="6140" y="4099"/>
                    </a:lnTo>
                    <a:lnTo>
                      <a:pt x="6667" y="3727"/>
                    </a:lnTo>
                    <a:lnTo>
                      <a:pt x="7018" y="3230"/>
                    </a:lnTo>
                    <a:cubicBezTo>
                      <a:pt x="7106" y="3044"/>
                      <a:pt x="7193" y="2857"/>
                      <a:pt x="7281" y="2671"/>
                    </a:cubicBezTo>
                    <a:cubicBezTo>
                      <a:pt x="7369" y="2485"/>
                      <a:pt x="7456" y="2298"/>
                      <a:pt x="7544" y="2112"/>
                    </a:cubicBezTo>
                    <a:lnTo>
                      <a:pt x="7544" y="2112"/>
                    </a:lnTo>
                    <a:cubicBezTo>
                      <a:pt x="7515" y="1967"/>
                      <a:pt x="7485" y="1822"/>
                      <a:pt x="7456" y="1677"/>
                    </a:cubicBezTo>
                    <a:cubicBezTo>
                      <a:pt x="7398" y="1532"/>
                      <a:pt x="7339" y="1387"/>
                      <a:pt x="7281" y="1242"/>
                    </a:cubicBezTo>
                    <a:cubicBezTo>
                      <a:pt x="7222" y="1118"/>
                      <a:pt x="7164" y="994"/>
                      <a:pt x="7105" y="870"/>
                    </a:cubicBezTo>
                    <a:lnTo>
                      <a:pt x="6754" y="559"/>
                    </a:lnTo>
                    <a:lnTo>
                      <a:pt x="6404" y="311"/>
                    </a:lnTo>
                    <a:lnTo>
                      <a:pt x="5965" y="186"/>
                    </a:lnTo>
                    <a:lnTo>
                      <a:pt x="5526" y="0"/>
                    </a:lnTo>
                    <a:lnTo>
                      <a:pt x="5000" y="0"/>
                    </a:lnTo>
                    <a:lnTo>
                      <a:pt x="5000" y="0"/>
                    </a:lnTo>
                    <a:lnTo>
                      <a:pt x="4561" y="0"/>
                    </a:lnTo>
                    <a:lnTo>
                      <a:pt x="4123" y="186"/>
                    </a:lnTo>
                    <a:lnTo>
                      <a:pt x="3684" y="311"/>
                    </a:lnTo>
                    <a:lnTo>
                      <a:pt x="3246" y="559"/>
                    </a:lnTo>
                    <a:lnTo>
                      <a:pt x="2982" y="870"/>
                    </a:lnTo>
                    <a:lnTo>
                      <a:pt x="2719" y="1242"/>
                    </a:lnTo>
                    <a:cubicBezTo>
                      <a:pt x="2661" y="1387"/>
                      <a:pt x="2602" y="1532"/>
                      <a:pt x="2544" y="1677"/>
                    </a:cubicBezTo>
                    <a:lnTo>
                      <a:pt x="2544" y="2112"/>
                    </a:lnTo>
                    <a:lnTo>
                      <a:pt x="2544" y="2112"/>
                    </a:lnTo>
                    <a:cubicBezTo>
                      <a:pt x="2573" y="2298"/>
                      <a:pt x="2603" y="2485"/>
                      <a:pt x="2632" y="2671"/>
                    </a:cubicBezTo>
                    <a:lnTo>
                      <a:pt x="2982" y="3230"/>
                    </a:lnTo>
                    <a:lnTo>
                      <a:pt x="3421" y="3727"/>
                    </a:lnTo>
                    <a:lnTo>
                      <a:pt x="3860" y="4099"/>
                    </a:lnTo>
                    <a:lnTo>
                      <a:pt x="3860" y="4099"/>
                    </a:lnTo>
                    <a:lnTo>
                      <a:pt x="2895" y="4410"/>
                    </a:lnTo>
                    <a:lnTo>
                      <a:pt x="2105" y="4783"/>
                    </a:lnTo>
                    <a:lnTo>
                      <a:pt x="1404" y="5342"/>
                    </a:lnTo>
                    <a:lnTo>
                      <a:pt x="877" y="6087"/>
                    </a:lnTo>
                    <a:lnTo>
                      <a:pt x="439" y="6832"/>
                    </a:lnTo>
                    <a:lnTo>
                      <a:pt x="175" y="7702"/>
                    </a:lnTo>
                    <a:cubicBezTo>
                      <a:pt x="117" y="8013"/>
                      <a:pt x="58" y="8323"/>
                      <a:pt x="0" y="8634"/>
                    </a:cubicBezTo>
                    <a:lnTo>
                      <a:pt x="0" y="9689"/>
                    </a:lnTo>
                  </a:path>
                </a:pathLst>
              </a:custGeom>
              <a:noFill/>
              <a:ln w="12700">
                <a:solidFill>
                  <a:schemeClr val="accent5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63147"/>
                  </a:solidFill>
                </a:endParaRPr>
              </a:p>
            </p:txBody>
          </p:sp>
          <p:grpSp>
            <p:nvGrpSpPr>
              <p:cNvPr id="69" name="Groupe 78"/>
              <p:cNvGrpSpPr/>
              <p:nvPr/>
            </p:nvGrpSpPr>
            <p:grpSpPr>
              <a:xfrm>
                <a:off x="4430703" y="4715239"/>
                <a:ext cx="166698" cy="247657"/>
                <a:chOff x="4430703" y="4715239"/>
                <a:chExt cx="166698" cy="247657"/>
              </a:xfrm>
            </p:grpSpPr>
            <p:sp>
              <p:nvSpPr>
                <p:cNvPr id="67" name="Freeform 897"/>
                <p:cNvSpPr>
                  <a:spLocks/>
                </p:cNvSpPr>
                <p:nvPr/>
              </p:nvSpPr>
              <p:spPr bwMode="auto">
                <a:xfrm>
                  <a:off x="4430703" y="4715239"/>
                  <a:ext cx="166698" cy="247657"/>
                </a:xfrm>
                <a:custGeom>
                  <a:avLst/>
                  <a:gdLst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6754 w 10000"/>
                    <a:gd name="connsiteY2" fmla="*/ 10000 h 10000"/>
                    <a:gd name="connsiteX3" fmla="*/ 8421 w 10000"/>
                    <a:gd name="connsiteY3" fmla="*/ 9938 h 10000"/>
                    <a:gd name="connsiteX4" fmla="*/ 9561 w 10000"/>
                    <a:gd name="connsiteY4" fmla="*/ 9814 h 10000"/>
                    <a:gd name="connsiteX5" fmla="*/ 9912 w 10000"/>
                    <a:gd name="connsiteY5" fmla="*/ 9752 h 10000"/>
                    <a:gd name="connsiteX6" fmla="*/ 10000 w 10000"/>
                    <a:gd name="connsiteY6" fmla="*/ 9689 h 10000"/>
                    <a:gd name="connsiteX7" fmla="*/ 10000 w 10000"/>
                    <a:gd name="connsiteY7" fmla="*/ 9689 h 10000"/>
                    <a:gd name="connsiteX8" fmla="*/ 10000 w 10000"/>
                    <a:gd name="connsiteY8" fmla="*/ 8634 h 10000"/>
                    <a:gd name="connsiteX9" fmla="*/ 9912 w 10000"/>
                    <a:gd name="connsiteY9" fmla="*/ 7702 h 10000"/>
                    <a:gd name="connsiteX10" fmla="*/ 9561 w 10000"/>
                    <a:gd name="connsiteY10" fmla="*/ 6832 h 10000"/>
                    <a:gd name="connsiteX11" fmla="*/ 9211 w 10000"/>
                    <a:gd name="connsiteY11" fmla="*/ 6087 h 10000"/>
                    <a:gd name="connsiteX12" fmla="*/ 8684 w 10000"/>
                    <a:gd name="connsiteY12" fmla="*/ 5342 h 10000"/>
                    <a:gd name="connsiteX13" fmla="*/ 7982 w 10000"/>
                    <a:gd name="connsiteY13" fmla="*/ 4783 h 10000"/>
                    <a:gd name="connsiteX14" fmla="*/ 7105 w 10000"/>
                    <a:gd name="connsiteY14" fmla="*/ 4410 h 10000"/>
                    <a:gd name="connsiteX15" fmla="*/ 6140 w 10000"/>
                    <a:gd name="connsiteY15" fmla="*/ 4099 h 10000"/>
                    <a:gd name="connsiteX16" fmla="*/ 6140 w 10000"/>
                    <a:gd name="connsiteY16" fmla="*/ 4099 h 10000"/>
                    <a:gd name="connsiteX17" fmla="*/ 6667 w 10000"/>
                    <a:gd name="connsiteY17" fmla="*/ 3727 h 10000"/>
                    <a:gd name="connsiteX18" fmla="*/ 7018 w 10000"/>
                    <a:gd name="connsiteY18" fmla="*/ 3230 h 10000"/>
                    <a:gd name="connsiteX19" fmla="*/ 7281 w 10000"/>
                    <a:gd name="connsiteY19" fmla="*/ 2671 h 10000"/>
                    <a:gd name="connsiteX20" fmla="*/ 7544 w 10000"/>
                    <a:gd name="connsiteY20" fmla="*/ 2112 h 10000"/>
                    <a:gd name="connsiteX21" fmla="*/ 7544 w 10000"/>
                    <a:gd name="connsiteY21" fmla="*/ 2112 h 10000"/>
                    <a:gd name="connsiteX22" fmla="*/ 7456 w 10000"/>
                    <a:gd name="connsiteY22" fmla="*/ 1677 h 10000"/>
                    <a:gd name="connsiteX23" fmla="*/ 7281 w 10000"/>
                    <a:gd name="connsiteY23" fmla="*/ 1242 h 10000"/>
                    <a:gd name="connsiteX24" fmla="*/ 7105 w 10000"/>
                    <a:gd name="connsiteY24" fmla="*/ 870 h 10000"/>
                    <a:gd name="connsiteX25" fmla="*/ 6754 w 10000"/>
                    <a:gd name="connsiteY25" fmla="*/ 559 h 10000"/>
                    <a:gd name="connsiteX26" fmla="*/ 6404 w 10000"/>
                    <a:gd name="connsiteY26" fmla="*/ 311 h 10000"/>
                    <a:gd name="connsiteX27" fmla="*/ 5965 w 10000"/>
                    <a:gd name="connsiteY27" fmla="*/ 186 h 10000"/>
                    <a:gd name="connsiteX28" fmla="*/ 5526 w 10000"/>
                    <a:gd name="connsiteY28" fmla="*/ 0 h 10000"/>
                    <a:gd name="connsiteX29" fmla="*/ 5000 w 10000"/>
                    <a:gd name="connsiteY29" fmla="*/ 0 h 10000"/>
                    <a:gd name="connsiteX30" fmla="*/ 5000 w 10000"/>
                    <a:gd name="connsiteY30" fmla="*/ 0 h 10000"/>
                    <a:gd name="connsiteX31" fmla="*/ 4561 w 10000"/>
                    <a:gd name="connsiteY31" fmla="*/ 0 h 10000"/>
                    <a:gd name="connsiteX32" fmla="*/ 4123 w 10000"/>
                    <a:gd name="connsiteY32" fmla="*/ 186 h 10000"/>
                    <a:gd name="connsiteX33" fmla="*/ 3684 w 10000"/>
                    <a:gd name="connsiteY33" fmla="*/ 311 h 10000"/>
                    <a:gd name="connsiteX34" fmla="*/ 3246 w 10000"/>
                    <a:gd name="connsiteY34" fmla="*/ 559 h 10000"/>
                    <a:gd name="connsiteX35" fmla="*/ 2982 w 10000"/>
                    <a:gd name="connsiteY35" fmla="*/ 870 h 10000"/>
                    <a:gd name="connsiteX36" fmla="*/ 2719 w 10000"/>
                    <a:gd name="connsiteY36" fmla="*/ 1242 h 10000"/>
                    <a:gd name="connsiteX37" fmla="*/ 2544 w 10000"/>
                    <a:gd name="connsiteY37" fmla="*/ 1677 h 10000"/>
                    <a:gd name="connsiteX38" fmla="*/ 2544 w 10000"/>
                    <a:gd name="connsiteY38" fmla="*/ 2112 h 10000"/>
                    <a:gd name="connsiteX39" fmla="*/ 2544 w 10000"/>
                    <a:gd name="connsiteY39" fmla="*/ 2112 h 10000"/>
                    <a:gd name="connsiteX40" fmla="*/ 2632 w 10000"/>
                    <a:gd name="connsiteY40" fmla="*/ 2671 h 10000"/>
                    <a:gd name="connsiteX41" fmla="*/ 2982 w 10000"/>
                    <a:gd name="connsiteY41" fmla="*/ 3230 h 10000"/>
                    <a:gd name="connsiteX42" fmla="*/ 3421 w 10000"/>
                    <a:gd name="connsiteY42" fmla="*/ 3727 h 10000"/>
                    <a:gd name="connsiteX43" fmla="*/ 3860 w 10000"/>
                    <a:gd name="connsiteY43" fmla="*/ 4099 h 10000"/>
                    <a:gd name="connsiteX44" fmla="*/ 3860 w 10000"/>
                    <a:gd name="connsiteY44" fmla="*/ 4099 h 10000"/>
                    <a:gd name="connsiteX45" fmla="*/ 2895 w 10000"/>
                    <a:gd name="connsiteY45" fmla="*/ 4410 h 10000"/>
                    <a:gd name="connsiteX46" fmla="*/ 2105 w 10000"/>
                    <a:gd name="connsiteY46" fmla="*/ 4783 h 10000"/>
                    <a:gd name="connsiteX47" fmla="*/ 1404 w 10000"/>
                    <a:gd name="connsiteY47" fmla="*/ 5342 h 10000"/>
                    <a:gd name="connsiteX48" fmla="*/ 877 w 10000"/>
                    <a:gd name="connsiteY48" fmla="*/ 6087 h 10000"/>
                    <a:gd name="connsiteX49" fmla="*/ 439 w 10000"/>
                    <a:gd name="connsiteY49" fmla="*/ 6832 h 10000"/>
                    <a:gd name="connsiteX50" fmla="*/ 175 w 10000"/>
                    <a:gd name="connsiteY50" fmla="*/ 7702 h 10000"/>
                    <a:gd name="connsiteX51" fmla="*/ 0 w 10000"/>
                    <a:gd name="connsiteY51" fmla="*/ 8634 h 10000"/>
                    <a:gd name="connsiteX52" fmla="*/ 0 w 10000"/>
                    <a:gd name="connsiteY52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8421 w 10000"/>
                    <a:gd name="connsiteY2" fmla="*/ 9938 h 10000"/>
                    <a:gd name="connsiteX3" fmla="*/ 9561 w 10000"/>
                    <a:gd name="connsiteY3" fmla="*/ 9814 h 10000"/>
                    <a:gd name="connsiteX4" fmla="*/ 9912 w 10000"/>
                    <a:gd name="connsiteY4" fmla="*/ 9752 h 10000"/>
                    <a:gd name="connsiteX5" fmla="*/ 10000 w 10000"/>
                    <a:gd name="connsiteY5" fmla="*/ 9689 h 10000"/>
                    <a:gd name="connsiteX6" fmla="*/ 10000 w 10000"/>
                    <a:gd name="connsiteY6" fmla="*/ 9689 h 10000"/>
                    <a:gd name="connsiteX7" fmla="*/ 10000 w 10000"/>
                    <a:gd name="connsiteY7" fmla="*/ 8634 h 10000"/>
                    <a:gd name="connsiteX8" fmla="*/ 9912 w 10000"/>
                    <a:gd name="connsiteY8" fmla="*/ 7702 h 10000"/>
                    <a:gd name="connsiteX9" fmla="*/ 9561 w 10000"/>
                    <a:gd name="connsiteY9" fmla="*/ 6832 h 10000"/>
                    <a:gd name="connsiteX10" fmla="*/ 9211 w 10000"/>
                    <a:gd name="connsiteY10" fmla="*/ 6087 h 10000"/>
                    <a:gd name="connsiteX11" fmla="*/ 8684 w 10000"/>
                    <a:gd name="connsiteY11" fmla="*/ 5342 h 10000"/>
                    <a:gd name="connsiteX12" fmla="*/ 7982 w 10000"/>
                    <a:gd name="connsiteY12" fmla="*/ 4783 h 10000"/>
                    <a:gd name="connsiteX13" fmla="*/ 7105 w 10000"/>
                    <a:gd name="connsiteY13" fmla="*/ 4410 h 10000"/>
                    <a:gd name="connsiteX14" fmla="*/ 6140 w 10000"/>
                    <a:gd name="connsiteY14" fmla="*/ 4099 h 10000"/>
                    <a:gd name="connsiteX15" fmla="*/ 6140 w 10000"/>
                    <a:gd name="connsiteY15" fmla="*/ 4099 h 10000"/>
                    <a:gd name="connsiteX16" fmla="*/ 6667 w 10000"/>
                    <a:gd name="connsiteY16" fmla="*/ 3727 h 10000"/>
                    <a:gd name="connsiteX17" fmla="*/ 7018 w 10000"/>
                    <a:gd name="connsiteY17" fmla="*/ 3230 h 10000"/>
                    <a:gd name="connsiteX18" fmla="*/ 7281 w 10000"/>
                    <a:gd name="connsiteY18" fmla="*/ 2671 h 10000"/>
                    <a:gd name="connsiteX19" fmla="*/ 7544 w 10000"/>
                    <a:gd name="connsiteY19" fmla="*/ 2112 h 10000"/>
                    <a:gd name="connsiteX20" fmla="*/ 7544 w 10000"/>
                    <a:gd name="connsiteY20" fmla="*/ 2112 h 10000"/>
                    <a:gd name="connsiteX21" fmla="*/ 7456 w 10000"/>
                    <a:gd name="connsiteY21" fmla="*/ 1677 h 10000"/>
                    <a:gd name="connsiteX22" fmla="*/ 7281 w 10000"/>
                    <a:gd name="connsiteY22" fmla="*/ 1242 h 10000"/>
                    <a:gd name="connsiteX23" fmla="*/ 7105 w 10000"/>
                    <a:gd name="connsiteY23" fmla="*/ 870 h 10000"/>
                    <a:gd name="connsiteX24" fmla="*/ 6754 w 10000"/>
                    <a:gd name="connsiteY24" fmla="*/ 559 h 10000"/>
                    <a:gd name="connsiteX25" fmla="*/ 6404 w 10000"/>
                    <a:gd name="connsiteY25" fmla="*/ 311 h 10000"/>
                    <a:gd name="connsiteX26" fmla="*/ 5965 w 10000"/>
                    <a:gd name="connsiteY26" fmla="*/ 186 h 10000"/>
                    <a:gd name="connsiteX27" fmla="*/ 5526 w 10000"/>
                    <a:gd name="connsiteY27" fmla="*/ 0 h 10000"/>
                    <a:gd name="connsiteX28" fmla="*/ 5000 w 10000"/>
                    <a:gd name="connsiteY28" fmla="*/ 0 h 10000"/>
                    <a:gd name="connsiteX29" fmla="*/ 5000 w 10000"/>
                    <a:gd name="connsiteY29" fmla="*/ 0 h 10000"/>
                    <a:gd name="connsiteX30" fmla="*/ 4561 w 10000"/>
                    <a:gd name="connsiteY30" fmla="*/ 0 h 10000"/>
                    <a:gd name="connsiteX31" fmla="*/ 4123 w 10000"/>
                    <a:gd name="connsiteY31" fmla="*/ 186 h 10000"/>
                    <a:gd name="connsiteX32" fmla="*/ 3684 w 10000"/>
                    <a:gd name="connsiteY32" fmla="*/ 311 h 10000"/>
                    <a:gd name="connsiteX33" fmla="*/ 3246 w 10000"/>
                    <a:gd name="connsiteY33" fmla="*/ 559 h 10000"/>
                    <a:gd name="connsiteX34" fmla="*/ 2982 w 10000"/>
                    <a:gd name="connsiteY34" fmla="*/ 870 h 10000"/>
                    <a:gd name="connsiteX35" fmla="*/ 2719 w 10000"/>
                    <a:gd name="connsiteY35" fmla="*/ 1242 h 10000"/>
                    <a:gd name="connsiteX36" fmla="*/ 2544 w 10000"/>
                    <a:gd name="connsiteY36" fmla="*/ 1677 h 10000"/>
                    <a:gd name="connsiteX37" fmla="*/ 2544 w 10000"/>
                    <a:gd name="connsiteY37" fmla="*/ 2112 h 10000"/>
                    <a:gd name="connsiteX38" fmla="*/ 2544 w 10000"/>
                    <a:gd name="connsiteY38" fmla="*/ 2112 h 10000"/>
                    <a:gd name="connsiteX39" fmla="*/ 2632 w 10000"/>
                    <a:gd name="connsiteY39" fmla="*/ 2671 h 10000"/>
                    <a:gd name="connsiteX40" fmla="*/ 2982 w 10000"/>
                    <a:gd name="connsiteY40" fmla="*/ 3230 h 10000"/>
                    <a:gd name="connsiteX41" fmla="*/ 3421 w 10000"/>
                    <a:gd name="connsiteY41" fmla="*/ 3727 h 10000"/>
                    <a:gd name="connsiteX42" fmla="*/ 3860 w 10000"/>
                    <a:gd name="connsiteY42" fmla="*/ 4099 h 10000"/>
                    <a:gd name="connsiteX43" fmla="*/ 3860 w 10000"/>
                    <a:gd name="connsiteY43" fmla="*/ 4099 h 10000"/>
                    <a:gd name="connsiteX44" fmla="*/ 2895 w 10000"/>
                    <a:gd name="connsiteY44" fmla="*/ 4410 h 10000"/>
                    <a:gd name="connsiteX45" fmla="*/ 2105 w 10000"/>
                    <a:gd name="connsiteY45" fmla="*/ 4783 h 10000"/>
                    <a:gd name="connsiteX46" fmla="*/ 1404 w 10000"/>
                    <a:gd name="connsiteY46" fmla="*/ 5342 h 10000"/>
                    <a:gd name="connsiteX47" fmla="*/ 877 w 10000"/>
                    <a:gd name="connsiteY47" fmla="*/ 6087 h 10000"/>
                    <a:gd name="connsiteX48" fmla="*/ 439 w 10000"/>
                    <a:gd name="connsiteY48" fmla="*/ 6832 h 10000"/>
                    <a:gd name="connsiteX49" fmla="*/ 175 w 10000"/>
                    <a:gd name="connsiteY49" fmla="*/ 7702 h 10000"/>
                    <a:gd name="connsiteX50" fmla="*/ 0 w 10000"/>
                    <a:gd name="connsiteY50" fmla="*/ 8634 h 10000"/>
                    <a:gd name="connsiteX51" fmla="*/ 0 w 10000"/>
                    <a:gd name="connsiteY51" fmla="*/ 9689 h 10000"/>
                    <a:gd name="connsiteX0" fmla="*/ 4912 w 10000"/>
                    <a:gd name="connsiteY0" fmla="*/ 10000 h 10000"/>
                    <a:gd name="connsiteX1" fmla="*/ 2025 w 10000"/>
                    <a:gd name="connsiteY1" fmla="*/ 9886 h 10000"/>
                    <a:gd name="connsiteX2" fmla="*/ 9561 w 10000"/>
                    <a:gd name="connsiteY2" fmla="*/ 9814 h 10000"/>
                    <a:gd name="connsiteX3" fmla="*/ 9912 w 10000"/>
                    <a:gd name="connsiteY3" fmla="*/ 9752 h 10000"/>
                    <a:gd name="connsiteX4" fmla="*/ 10000 w 10000"/>
                    <a:gd name="connsiteY4" fmla="*/ 9689 h 10000"/>
                    <a:gd name="connsiteX5" fmla="*/ 10000 w 10000"/>
                    <a:gd name="connsiteY5" fmla="*/ 9689 h 10000"/>
                    <a:gd name="connsiteX6" fmla="*/ 10000 w 10000"/>
                    <a:gd name="connsiteY6" fmla="*/ 8634 h 10000"/>
                    <a:gd name="connsiteX7" fmla="*/ 9912 w 10000"/>
                    <a:gd name="connsiteY7" fmla="*/ 7702 h 10000"/>
                    <a:gd name="connsiteX8" fmla="*/ 9561 w 10000"/>
                    <a:gd name="connsiteY8" fmla="*/ 6832 h 10000"/>
                    <a:gd name="connsiteX9" fmla="*/ 9211 w 10000"/>
                    <a:gd name="connsiteY9" fmla="*/ 6087 h 10000"/>
                    <a:gd name="connsiteX10" fmla="*/ 8684 w 10000"/>
                    <a:gd name="connsiteY10" fmla="*/ 5342 h 10000"/>
                    <a:gd name="connsiteX11" fmla="*/ 7982 w 10000"/>
                    <a:gd name="connsiteY11" fmla="*/ 4783 h 10000"/>
                    <a:gd name="connsiteX12" fmla="*/ 7105 w 10000"/>
                    <a:gd name="connsiteY12" fmla="*/ 4410 h 10000"/>
                    <a:gd name="connsiteX13" fmla="*/ 6140 w 10000"/>
                    <a:gd name="connsiteY13" fmla="*/ 4099 h 10000"/>
                    <a:gd name="connsiteX14" fmla="*/ 6140 w 10000"/>
                    <a:gd name="connsiteY14" fmla="*/ 4099 h 10000"/>
                    <a:gd name="connsiteX15" fmla="*/ 6667 w 10000"/>
                    <a:gd name="connsiteY15" fmla="*/ 3727 h 10000"/>
                    <a:gd name="connsiteX16" fmla="*/ 7018 w 10000"/>
                    <a:gd name="connsiteY16" fmla="*/ 3230 h 10000"/>
                    <a:gd name="connsiteX17" fmla="*/ 7281 w 10000"/>
                    <a:gd name="connsiteY17" fmla="*/ 2671 h 10000"/>
                    <a:gd name="connsiteX18" fmla="*/ 7544 w 10000"/>
                    <a:gd name="connsiteY18" fmla="*/ 2112 h 10000"/>
                    <a:gd name="connsiteX19" fmla="*/ 7544 w 10000"/>
                    <a:gd name="connsiteY19" fmla="*/ 2112 h 10000"/>
                    <a:gd name="connsiteX20" fmla="*/ 7456 w 10000"/>
                    <a:gd name="connsiteY20" fmla="*/ 1677 h 10000"/>
                    <a:gd name="connsiteX21" fmla="*/ 7281 w 10000"/>
                    <a:gd name="connsiteY21" fmla="*/ 1242 h 10000"/>
                    <a:gd name="connsiteX22" fmla="*/ 7105 w 10000"/>
                    <a:gd name="connsiteY22" fmla="*/ 870 h 10000"/>
                    <a:gd name="connsiteX23" fmla="*/ 6754 w 10000"/>
                    <a:gd name="connsiteY23" fmla="*/ 559 h 10000"/>
                    <a:gd name="connsiteX24" fmla="*/ 6404 w 10000"/>
                    <a:gd name="connsiteY24" fmla="*/ 311 h 10000"/>
                    <a:gd name="connsiteX25" fmla="*/ 5965 w 10000"/>
                    <a:gd name="connsiteY25" fmla="*/ 186 h 10000"/>
                    <a:gd name="connsiteX26" fmla="*/ 5526 w 10000"/>
                    <a:gd name="connsiteY26" fmla="*/ 0 h 10000"/>
                    <a:gd name="connsiteX27" fmla="*/ 5000 w 10000"/>
                    <a:gd name="connsiteY27" fmla="*/ 0 h 10000"/>
                    <a:gd name="connsiteX28" fmla="*/ 5000 w 10000"/>
                    <a:gd name="connsiteY28" fmla="*/ 0 h 10000"/>
                    <a:gd name="connsiteX29" fmla="*/ 4561 w 10000"/>
                    <a:gd name="connsiteY29" fmla="*/ 0 h 10000"/>
                    <a:gd name="connsiteX30" fmla="*/ 4123 w 10000"/>
                    <a:gd name="connsiteY30" fmla="*/ 186 h 10000"/>
                    <a:gd name="connsiteX31" fmla="*/ 3684 w 10000"/>
                    <a:gd name="connsiteY31" fmla="*/ 311 h 10000"/>
                    <a:gd name="connsiteX32" fmla="*/ 3246 w 10000"/>
                    <a:gd name="connsiteY32" fmla="*/ 559 h 10000"/>
                    <a:gd name="connsiteX33" fmla="*/ 2982 w 10000"/>
                    <a:gd name="connsiteY33" fmla="*/ 870 h 10000"/>
                    <a:gd name="connsiteX34" fmla="*/ 2719 w 10000"/>
                    <a:gd name="connsiteY34" fmla="*/ 1242 h 10000"/>
                    <a:gd name="connsiteX35" fmla="*/ 2544 w 10000"/>
                    <a:gd name="connsiteY35" fmla="*/ 1677 h 10000"/>
                    <a:gd name="connsiteX36" fmla="*/ 2544 w 10000"/>
                    <a:gd name="connsiteY36" fmla="*/ 2112 h 10000"/>
                    <a:gd name="connsiteX37" fmla="*/ 2544 w 10000"/>
                    <a:gd name="connsiteY37" fmla="*/ 2112 h 10000"/>
                    <a:gd name="connsiteX38" fmla="*/ 2632 w 10000"/>
                    <a:gd name="connsiteY38" fmla="*/ 2671 h 10000"/>
                    <a:gd name="connsiteX39" fmla="*/ 2982 w 10000"/>
                    <a:gd name="connsiteY39" fmla="*/ 3230 h 10000"/>
                    <a:gd name="connsiteX40" fmla="*/ 3421 w 10000"/>
                    <a:gd name="connsiteY40" fmla="*/ 3727 h 10000"/>
                    <a:gd name="connsiteX41" fmla="*/ 3860 w 10000"/>
                    <a:gd name="connsiteY41" fmla="*/ 4099 h 10000"/>
                    <a:gd name="connsiteX42" fmla="*/ 3860 w 10000"/>
                    <a:gd name="connsiteY42" fmla="*/ 4099 h 10000"/>
                    <a:gd name="connsiteX43" fmla="*/ 2895 w 10000"/>
                    <a:gd name="connsiteY43" fmla="*/ 4410 h 10000"/>
                    <a:gd name="connsiteX44" fmla="*/ 2105 w 10000"/>
                    <a:gd name="connsiteY44" fmla="*/ 4783 h 10000"/>
                    <a:gd name="connsiteX45" fmla="*/ 1404 w 10000"/>
                    <a:gd name="connsiteY45" fmla="*/ 5342 h 10000"/>
                    <a:gd name="connsiteX46" fmla="*/ 877 w 10000"/>
                    <a:gd name="connsiteY46" fmla="*/ 6087 h 10000"/>
                    <a:gd name="connsiteX47" fmla="*/ 439 w 10000"/>
                    <a:gd name="connsiteY47" fmla="*/ 6832 h 10000"/>
                    <a:gd name="connsiteX48" fmla="*/ 175 w 10000"/>
                    <a:gd name="connsiteY48" fmla="*/ 7702 h 10000"/>
                    <a:gd name="connsiteX49" fmla="*/ 0 w 10000"/>
                    <a:gd name="connsiteY49" fmla="*/ 8634 h 10000"/>
                    <a:gd name="connsiteX50" fmla="*/ 0 w 10000"/>
                    <a:gd name="connsiteY50" fmla="*/ 9689 h 10000"/>
                    <a:gd name="connsiteX0" fmla="*/ 4912 w 10000"/>
                    <a:gd name="connsiteY0" fmla="*/ 10000 h 10000"/>
                    <a:gd name="connsiteX1" fmla="*/ 9561 w 10000"/>
                    <a:gd name="connsiteY1" fmla="*/ 9814 h 10000"/>
                    <a:gd name="connsiteX2" fmla="*/ 9912 w 10000"/>
                    <a:gd name="connsiteY2" fmla="*/ 9752 h 10000"/>
                    <a:gd name="connsiteX3" fmla="*/ 10000 w 10000"/>
                    <a:gd name="connsiteY3" fmla="*/ 9689 h 10000"/>
                    <a:gd name="connsiteX4" fmla="*/ 10000 w 10000"/>
                    <a:gd name="connsiteY4" fmla="*/ 9689 h 10000"/>
                    <a:gd name="connsiteX5" fmla="*/ 10000 w 10000"/>
                    <a:gd name="connsiteY5" fmla="*/ 8634 h 10000"/>
                    <a:gd name="connsiteX6" fmla="*/ 9912 w 10000"/>
                    <a:gd name="connsiteY6" fmla="*/ 7702 h 10000"/>
                    <a:gd name="connsiteX7" fmla="*/ 9561 w 10000"/>
                    <a:gd name="connsiteY7" fmla="*/ 6832 h 10000"/>
                    <a:gd name="connsiteX8" fmla="*/ 9211 w 10000"/>
                    <a:gd name="connsiteY8" fmla="*/ 6087 h 10000"/>
                    <a:gd name="connsiteX9" fmla="*/ 8684 w 10000"/>
                    <a:gd name="connsiteY9" fmla="*/ 5342 h 10000"/>
                    <a:gd name="connsiteX10" fmla="*/ 7982 w 10000"/>
                    <a:gd name="connsiteY10" fmla="*/ 4783 h 10000"/>
                    <a:gd name="connsiteX11" fmla="*/ 7105 w 10000"/>
                    <a:gd name="connsiteY11" fmla="*/ 4410 h 10000"/>
                    <a:gd name="connsiteX12" fmla="*/ 6140 w 10000"/>
                    <a:gd name="connsiteY12" fmla="*/ 4099 h 10000"/>
                    <a:gd name="connsiteX13" fmla="*/ 6140 w 10000"/>
                    <a:gd name="connsiteY13" fmla="*/ 4099 h 10000"/>
                    <a:gd name="connsiteX14" fmla="*/ 6667 w 10000"/>
                    <a:gd name="connsiteY14" fmla="*/ 3727 h 10000"/>
                    <a:gd name="connsiteX15" fmla="*/ 7018 w 10000"/>
                    <a:gd name="connsiteY15" fmla="*/ 3230 h 10000"/>
                    <a:gd name="connsiteX16" fmla="*/ 7281 w 10000"/>
                    <a:gd name="connsiteY16" fmla="*/ 2671 h 10000"/>
                    <a:gd name="connsiteX17" fmla="*/ 7544 w 10000"/>
                    <a:gd name="connsiteY17" fmla="*/ 2112 h 10000"/>
                    <a:gd name="connsiteX18" fmla="*/ 7544 w 10000"/>
                    <a:gd name="connsiteY18" fmla="*/ 2112 h 10000"/>
                    <a:gd name="connsiteX19" fmla="*/ 7456 w 10000"/>
                    <a:gd name="connsiteY19" fmla="*/ 1677 h 10000"/>
                    <a:gd name="connsiteX20" fmla="*/ 7281 w 10000"/>
                    <a:gd name="connsiteY20" fmla="*/ 1242 h 10000"/>
                    <a:gd name="connsiteX21" fmla="*/ 7105 w 10000"/>
                    <a:gd name="connsiteY21" fmla="*/ 870 h 10000"/>
                    <a:gd name="connsiteX22" fmla="*/ 6754 w 10000"/>
                    <a:gd name="connsiteY22" fmla="*/ 559 h 10000"/>
                    <a:gd name="connsiteX23" fmla="*/ 6404 w 10000"/>
                    <a:gd name="connsiteY23" fmla="*/ 311 h 10000"/>
                    <a:gd name="connsiteX24" fmla="*/ 5965 w 10000"/>
                    <a:gd name="connsiteY24" fmla="*/ 186 h 10000"/>
                    <a:gd name="connsiteX25" fmla="*/ 5526 w 10000"/>
                    <a:gd name="connsiteY25" fmla="*/ 0 h 10000"/>
                    <a:gd name="connsiteX26" fmla="*/ 5000 w 10000"/>
                    <a:gd name="connsiteY26" fmla="*/ 0 h 10000"/>
                    <a:gd name="connsiteX27" fmla="*/ 5000 w 10000"/>
                    <a:gd name="connsiteY27" fmla="*/ 0 h 10000"/>
                    <a:gd name="connsiteX28" fmla="*/ 4561 w 10000"/>
                    <a:gd name="connsiteY28" fmla="*/ 0 h 10000"/>
                    <a:gd name="connsiteX29" fmla="*/ 4123 w 10000"/>
                    <a:gd name="connsiteY29" fmla="*/ 186 h 10000"/>
                    <a:gd name="connsiteX30" fmla="*/ 3684 w 10000"/>
                    <a:gd name="connsiteY30" fmla="*/ 311 h 10000"/>
                    <a:gd name="connsiteX31" fmla="*/ 3246 w 10000"/>
                    <a:gd name="connsiteY31" fmla="*/ 559 h 10000"/>
                    <a:gd name="connsiteX32" fmla="*/ 2982 w 10000"/>
                    <a:gd name="connsiteY32" fmla="*/ 870 h 10000"/>
                    <a:gd name="connsiteX33" fmla="*/ 2719 w 10000"/>
                    <a:gd name="connsiteY33" fmla="*/ 1242 h 10000"/>
                    <a:gd name="connsiteX34" fmla="*/ 2544 w 10000"/>
                    <a:gd name="connsiteY34" fmla="*/ 1677 h 10000"/>
                    <a:gd name="connsiteX35" fmla="*/ 2544 w 10000"/>
                    <a:gd name="connsiteY35" fmla="*/ 2112 h 10000"/>
                    <a:gd name="connsiteX36" fmla="*/ 2544 w 10000"/>
                    <a:gd name="connsiteY36" fmla="*/ 2112 h 10000"/>
                    <a:gd name="connsiteX37" fmla="*/ 2632 w 10000"/>
                    <a:gd name="connsiteY37" fmla="*/ 2671 h 10000"/>
                    <a:gd name="connsiteX38" fmla="*/ 2982 w 10000"/>
                    <a:gd name="connsiteY38" fmla="*/ 3230 h 10000"/>
                    <a:gd name="connsiteX39" fmla="*/ 3421 w 10000"/>
                    <a:gd name="connsiteY39" fmla="*/ 3727 h 10000"/>
                    <a:gd name="connsiteX40" fmla="*/ 3860 w 10000"/>
                    <a:gd name="connsiteY40" fmla="*/ 4099 h 10000"/>
                    <a:gd name="connsiteX41" fmla="*/ 3860 w 10000"/>
                    <a:gd name="connsiteY41" fmla="*/ 4099 h 10000"/>
                    <a:gd name="connsiteX42" fmla="*/ 2895 w 10000"/>
                    <a:gd name="connsiteY42" fmla="*/ 4410 h 10000"/>
                    <a:gd name="connsiteX43" fmla="*/ 2105 w 10000"/>
                    <a:gd name="connsiteY43" fmla="*/ 4783 h 10000"/>
                    <a:gd name="connsiteX44" fmla="*/ 1404 w 10000"/>
                    <a:gd name="connsiteY44" fmla="*/ 5342 h 10000"/>
                    <a:gd name="connsiteX45" fmla="*/ 877 w 10000"/>
                    <a:gd name="connsiteY45" fmla="*/ 6087 h 10000"/>
                    <a:gd name="connsiteX46" fmla="*/ 439 w 10000"/>
                    <a:gd name="connsiteY46" fmla="*/ 6832 h 10000"/>
                    <a:gd name="connsiteX47" fmla="*/ 175 w 10000"/>
                    <a:gd name="connsiteY47" fmla="*/ 7702 h 10000"/>
                    <a:gd name="connsiteX48" fmla="*/ 0 w 10000"/>
                    <a:gd name="connsiteY48" fmla="*/ 8634 h 10000"/>
                    <a:gd name="connsiteX49" fmla="*/ 0 w 10000"/>
                    <a:gd name="connsiteY49" fmla="*/ 9689 h 10000"/>
                    <a:gd name="connsiteX0" fmla="*/ 9561 w 10000"/>
                    <a:gd name="connsiteY0" fmla="*/ 9814 h 9814"/>
                    <a:gd name="connsiteX1" fmla="*/ 9912 w 10000"/>
                    <a:gd name="connsiteY1" fmla="*/ 9752 h 9814"/>
                    <a:gd name="connsiteX2" fmla="*/ 10000 w 10000"/>
                    <a:gd name="connsiteY2" fmla="*/ 9689 h 9814"/>
                    <a:gd name="connsiteX3" fmla="*/ 10000 w 10000"/>
                    <a:gd name="connsiteY3" fmla="*/ 9689 h 9814"/>
                    <a:gd name="connsiteX4" fmla="*/ 10000 w 10000"/>
                    <a:gd name="connsiteY4" fmla="*/ 8634 h 9814"/>
                    <a:gd name="connsiteX5" fmla="*/ 9912 w 10000"/>
                    <a:gd name="connsiteY5" fmla="*/ 7702 h 9814"/>
                    <a:gd name="connsiteX6" fmla="*/ 9561 w 10000"/>
                    <a:gd name="connsiteY6" fmla="*/ 6832 h 9814"/>
                    <a:gd name="connsiteX7" fmla="*/ 9211 w 10000"/>
                    <a:gd name="connsiteY7" fmla="*/ 6087 h 9814"/>
                    <a:gd name="connsiteX8" fmla="*/ 8684 w 10000"/>
                    <a:gd name="connsiteY8" fmla="*/ 5342 h 9814"/>
                    <a:gd name="connsiteX9" fmla="*/ 7982 w 10000"/>
                    <a:gd name="connsiteY9" fmla="*/ 4783 h 9814"/>
                    <a:gd name="connsiteX10" fmla="*/ 7105 w 10000"/>
                    <a:gd name="connsiteY10" fmla="*/ 4410 h 9814"/>
                    <a:gd name="connsiteX11" fmla="*/ 6140 w 10000"/>
                    <a:gd name="connsiteY11" fmla="*/ 4099 h 9814"/>
                    <a:gd name="connsiteX12" fmla="*/ 6140 w 10000"/>
                    <a:gd name="connsiteY12" fmla="*/ 4099 h 9814"/>
                    <a:gd name="connsiteX13" fmla="*/ 6667 w 10000"/>
                    <a:gd name="connsiteY13" fmla="*/ 3727 h 9814"/>
                    <a:gd name="connsiteX14" fmla="*/ 7018 w 10000"/>
                    <a:gd name="connsiteY14" fmla="*/ 3230 h 9814"/>
                    <a:gd name="connsiteX15" fmla="*/ 7281 w 10000"/>
                    <a:gd name="connsiteY15" fmla="*/ 2671 h 9814"/>
                    <a:gd name="connsiteX16" fmla="*/ 7544 w 10000"/>
                    <a:gd name="connsiteY16" fmla="*/ 2112 h 9814"/>
                    <a:gd name="connsiteX17" fmla="*/ 7544 w 10000"/>
                    <a:gd name="connsiteY17" fmla="*/ 2112 h 9814"/>
                    <a:gd name="connsiteX18" fmla="*/ 7456 w 10000"/>
                    <a:gd name="connsiteY18" fmla="*/ 1677 h 9814"/>
                    <a:gd name="connsiteX19" fmla="*/ 7281 w 10000"/>
                    <a:gd name="connsiteY19" fmla="*/ 1242 h 9814"/>
                    <a:gd name="connsiteX20" fmla="*/ 7105 w 10000"/>
                    <a:gd name="connsiteY20" fmla="*/ 870 h 9814"/>
                    <a:gd name="connsiteX21" fmla="*/ 6754 w 10000"/>
                    <a:gd name="connsiteY21" fmla="*/ 559 h 9814"/>
                    <a:gd name="connsiteX22" fmla="*/ 6404 w 10000"/>
                    <a:gd name="connsiteY22" fmla="*/ 311 h 9814"/>
                    <a:gd name="connsiteX23" fmla="*/ 5965 w 10000"/>
                    <a:gd name="connsiteY23" fmla="*/ 186 h 9814"/>
                    <a:gd name="connsiteX24" fmla="*/ 5526 w 10000"/>
                    <a:gd name="connsiteY24" fmla="*/ 0 h 9814"/>
                    <a:gd name="connsiteX25" fmla="*/ 5000 w 10000"/>
                    <a:gd name="connsiteY25" fmla="*/ 0 h 9814"/>
                    <a:gd name="connsiteX26" fmla="*/ 5000 w 10000"/>
                    <a:gd name="connsiteY26" fmla="*/ 0 h 9814"/>
                    <a:gd name="connsiteX27" fmla="*/ 4561 w 10000"/>
                    <a:gd name="connsiteY27" fmla="*/ 0 h 9814"/>
                    <a:gd name="connsiteX28" fmla="*/ 4123 w 10000"/>
                    <a:gd name="connsiteY28" fmla="*/ 186 h 9814"/>
                    <a:gd name="connsiteX29" fmla="*/ 3684 w 10000"/>
                    <a:gd name="connsiteY29" fmla="*/ 311 h 9814"/>
                    <a:gd name="connsiteX30" fmla="*/ 3246 w 10000"/>
                    <a:gd name="connsiteY30" fmla="*/ 559 h 9814"/>
                    <a:gd name="connsiteX31" fmla="*/ 2982 w 10000"/>
                    <a:gd name="connsiteY31" fmla="*/ 870 h 9814"/>
                    <a:gd name="connsiteX32" fmla="*/ 2719 w 10000"/>
                    <a:gd name="connsiteY32" fmla="*/ 1242 h 9814"/>
                    <a:gd name="connsiteX33" fmla="*/ 2544 w 10000"/>
                    <a:gd name="connsiteY33" fmla="*/ 1677 h 9814"/>
                    <a:gd name="connsiteX34" fmla="*/ 2544 w 10000"/>
                    <a:gd name="connsiteY34" fmla="*/ 2112 h 9814"/>
                    <a:gd name="connsiteX35" fmla="*/ 2544 w 10000"/>
                    <a:gd name="connsiteY35" fmla="*/ 2112 h 9814"/>
                    <a:gd name="connsiteX36" fmla="*/ 2632 w 10000"/>
                    <a:gd name="connsiteY36" fmla="*/ 2671 h 9814"/>
                    <a:gd name="connsiteX37" fmla="*/ 2982 w 10000"/>
                    <a:gd name="connsiteY37" fmla="*/ 3230 h 9814"/>
                    <a:gd name="connsiteX38" fmla="*/ 3421 w 10000"/>
                    <a:gd name="connsiteY38" fmla="*/ 3727 h 9814"/>
                    <a:gd name="connsiteX39" fmla="*/ 3860 w 10000"/>
                    <a:gd name="connsiteY39" fmla="*/ 4099 h 9814"/>
                    <a:gd name="connsiteX40" fmla="*/ 3860 w 10000"/>
                    <a:gd name="connsiteY40" fmla="*/ 4099 h 9814"/>
                    <a:gd name="connsiteX41" fmla="*/ 2895 w 10000"/>
                    <a:gd name="connsiteY41" fmla="*/ 4410 h 9814"/>
                    <a:gd name="connsiteX42" fmla="*/ 2105 w 10000"/>
                    <a:gd name="connsiteY42" fmla="*/ 4783 h 9814"/>
                    <a:gd name="connsiteX43" fmla="*/ 1404 w 10000"/>
                    <a:gd name="connsiteY43" fmla="*/ 5342 h 9814"/>
                    <a:gd name="connsiteX44" fmla="*/ 877 w 10000"/>
                    <a:gd name="connsiteY44" fmla="*/ 6087 h 9814"/>
                    <a:gd name="connsiteX45" fmla="*/ 439 w 10000"/>
                    <a:gd name="connsiteY45" fmla="*/ 6832 h 9814"/>
                    <a:gd name="connsiteX46" fmla="*/ 175 w 10000"/>
                    <a:gd name="connsiteY46" fmla="*/ 7702 h 9814"/>
                    <a:gd name="connsiteX47" fmla="*/ 0 w 10000"/>
                    <a:gd name="connsiteY47" fmla="*/ 8634 h 9814"/>
                    <a:gd name="connsiteX48" fmla="*/ 0 w 10000"/>
                    <a:gd name="connsiteY48" fmla="*/ 9689 h 9814"/>
                    <a:gd name="connsiteX0" fmla="*/ 9912 w 10000"/>
                    <a:gd name="connsiteY0" fmla="*/ 9937 h 9937"/>
                    <a:gd name="connsiteX1" fmla="*/ 10000 w 10000"/>
                    <a:gd name="connsiteY1" fmla="*/ 9873 h 9937"/>
                    <a:gd name="connsiteX2" fmla="*/ 10000 w 10000"/>
                    <a:gd name="connsiteY2" fmla="*/ 9873 h 9937"/>
                    <a:gd name="connsiteX3" fmla="*/ 10000 w 10000"/>
                    <a:gd name="connsiteY3" fmla="*/ 8798 h 9937"/>
                    <a:gd name="connsiteX4" fmla="*/ 9912 w 10000"/>
                    <a:gd name="connsiteY4" fmla="*/ 7848 h 9937"/>
                    <a:gd name="connsiteX5" fmla="*/ 9561 w 10000"/>
                    <a:gd name="connsiteY5" fmla="*/ 6961 h 9937"/>
                    <a:gd name="connsiteX6" fmla="*/ 9211 w 10000"/>
                    <a:gd name="connsiteY6" fmla="*/ 6202 h 9937"/>
                    <a:gd name="connsiteX7" fmla="*/ 8684 w 10000"/>
                    <a:gd name="connsiteY7" fmla="*/ 5443 h 9937"/>
                    <a:gd name="connsiteX8" fmla="*/ 7982 w 10000"/>
                    <a:gd name="connsiteY8" fmla="*/ 4874 h 9937"/>
                    <a:gd name="connsiteX9" fmla="*/ 7105 w 10000"/>
                    <a:gd name="connsiteY9" fmla="*/ 4494 h 9937"/>
                    <a:gd name="connsiteX10" fmla="*/ 6140 w 10000"/>
                    <a:gd name="connsiteY10" fmla="*/ 4177 h 9937"/>
                    <a:gd name="connsiteX11" fmla="*/ 6140 w 10000"/>
                    <a:gd name="connsiteY11" fmla="*/ 4177 h 9937"/>
                    <a:gd name="connsiteX12" fmla="*/ 6667 w 10000"/>
                    <a:gd name="connsiteY12" fmla="*/ 3798 h 9937"/>
                    <a:gd name="connsiteX13" fmla="*/ 7018 w 10000"/>
                    <a:gd name="connsiteY13" fmla="*/ 3291 h 9937"/>
                    <a:gd name="connsiteX14" fmla="*/ 7281 w 10000"/>
                    <a:gd name="connsiteY14" fmla="*/ 2722 h 9937"/>
                    <a:gd name="connsiteX15" fmla="*/ 7544 w 10000"/>
                    <a:gd name="connsiteY15" fmla="*/ 2152 h 9937"/>
                    <a:gd name="connsiteX16" fmla="*/ 7544 w 10000"/>
                    <a:gd name="connsiteY16" fmla="*/ 2152 h 9937"/>
                    <a:gd name="connsiteX17" fmla="*/ 7456 w 10000"/>
                    <a:gd name="connsiteY17" fmla="*/ 1709 h 9937"/>
                    <a:gd name="connsiteX18" fmla="*/ 7281 w 10000"/>
                    <a:gd name="connsiteY18" fmla="*/ 1266 h 9937"/>
                    <a:gd name="connsiteX19" fmla="*/ 7105 w 10000"/>
                    <a:gd name="connsiteY19" fmla="*/ 886 h 9937"/>
                    <a:gd name="connsiteX20" fmla="*/ 6754 w 10000"/>
                    <a:gd name="connsiteY20" fmla="*/ 570 h 9937"/>
                    <a:gd name="connsiteX21" fmla="*/ 6404 w 10000"/>
                    <a:gd name="connsiteY21" fmla="*/ 317 h 9937"/>
                    <a:gd name="connsiteX22" fmla="*/ 5965 w 10000"/>
                    <a:gd name="connsiteY22" fmla="*/ 190 h 9937"/>
                    <a:gd name="connsiteX23" fmla="*/ 5526 w 10000"/>
                    <a:gd name="connsiteY23" fmla="*/ 0 h 9937"/>
                    <a:gd name="connsiteX24" fmla="*/ 5000 w 10000"/>
                    <a:gd name="connsiteY24" fmla="*/ 0 h 9937"/>
                    <a:gd name="connsiteX25" fmla="*/ 5000 w 10000"/>
                    <a:gd name="connsiteY25" fmla="*/ 0 h 9937"/>
                    <a:gd name="connsiteX26" fmla="*/ 4561 w 10000"/>
                    <a:gd name="connsiteY26" fmla="*/ 0 h 9937"/>
                    <a:gd name="connsiteX27" fmla="*/ 4123 w 10000"/>
                    <a:gd name="connsiteY27" fmla="*/ 190 h 9937"/>
                    <a:gd name="connsiteX28" fmla="*/ 3684 w 10000"/>
                    <a:gd name="connsiteY28" fmla="*/ 317 h 9937"/>
                    <a:gd name="connsiteX29" fmla="*/ 3246 w 10000"/>
                    <a:gd name="connsiteY29" fmla="*/ 570 h 9937"/>
                    <a:gd name="connsiteX30" fmla="*/ 2982 w 10000"/>
                    <a:gd name="connsiteY30" fmla="*/ 886 h 9937"/>
                    <a:gd name="connsiteX31" fmla="*/ 2719 w 10000"/>
                    <a:gd name="connsiteY31" fmla="*/ 1266 h 9937"/>
                    <a:gd name="connsiteX32" fmla="*/ 2544 w 10000"/>
                    <a:gd name="connsiteY32" fmla="*/ 1709 h 9937"/>
                    <a:gd name="connsiteX33" fmla="*/ 2544 w 10000"/>
                    <a:gd name="connsiteY33" fmla="*/ 2152 h 9937"/>
                    <a:gd name="connsiteX34" fmla="*/ 2544 w 10000"/>
                    <a:gd name="connsiteY34" fmla="*/ 2152 h 9937"/>
                    <a:gd name="connsiteX35" fmla="*/ 2632 w 10000"/>
                    <a:gd name="connsiteY35" fmla="*/ 2722 h 9937"/>
                    <a:gd name="connsiteX36" fmla="*/ 2982 w 10000"/>
                    <a:gd name="connsiteY36" fmla="*/ 3291 h 9937"/>
                    <a:gd name="connsiteX37" fmla="*/ 3421 w 10000"/>
                    <a:gd name="connsiteY37" fmla="*/ 3798 h 9937"/>
                    <a:gd name="connsiteX38" fmla="*/ 3860 w 10000"/>
                    <a:gd name="connsiteY38" fmla="*/ 4177 h 9937"/>
                    <a:gd name="connsiteX39" fmla="*/ 3860 w 10000"/>
                    <a:gd name="connsiteY39" fmla="*/ 4177 h 9937"/>
                    <a:gd name="connsiteX40" fmla="*/ 2895 w 10000"/>
                    <a:gd name="connsiteY40" fmla="*/ 4494 h 9937"/>
                    <a:gd name="connsiteX41" fmla="*/ 2105 w 10000"/>
                    <a:gd name="connsiteY41" fmla="*/ 4874 h 9937"/>
                    <a:gd name="connsiteX42" fmla="*/ 1404 w 10000"/>
                    <a:gd name="connsiteY42" fmla="*/ 5443 h 9937"/>
                    <a:gd name="connsiteX43" fmla="*/ 877 w 10000"/>
                    <a:gd name="connsiteY43" fmla="*/ 6202 h 9937"/>
                    <a:gd name="connsiteX44" fmla="*/ 439 w 10000"/>
                    <a:gd name="connsiteY44" fmla="*/ 6961 h 9937"/>
                    <a:gd name="connsiteX45" fmla="*/ 175 w 10000"/>
                    <a:gd name="connsiteY45" fmla="*/ 7848 h 9937"/>
                    <a:gd name="connsiteX46" fmla="*/ 0 w 10000"/>
                    <a:gd name="connsiteY46" fmla="*/ 8798 h 9937"/>
                    <a:gd name="connsiteX47" fmla="*/ 0 w 10000"/>
                    <a:gd name="connsiteY47" fmla="*/ 9873 h 9937"/>
                    <a:gd name="connsiteX0" fmla="*/ 9912 w 10000"/>
                    <a:gd name="connsiteY0" fmla="*/ 10000 h 10000"/>
                    <a:gd name="connsiteX1" fmla="*/ 10000 w 10000"/>
                    <a:gd name="connsiteY1" fmla="*/ 9936 h 10000"/>
                    <a:gd name="connsiteX2" fmla="*/ 10000 w 10000"/>
                    <a:gd name="connsiteY2" fmla="*/ 8854 h 10000"/>
                    <a:gd name="connsiteX3" fmla="*/ 9912 w 10000"/>
                    <a:gd name="connsiteY3" fmla="*/ 7898 h 10000"/>
                    <a:gd name="connsiteX4" fmla="*/ 9561 w 10000"/>
                    <a:gd name="connsiteY4" fmla="*/ 7005 h 10000"/>
                    <a:gd name="connsiteX5" fmla="*/ 9211 w 10000"/>
                    <a:gd name="connsiteY5" fmla="*/ 6241 h 10000"/>
                    <a:gd name="connsiteX6" fmla="*/ 8684 w 10000"/>
                    <a:gd name="connsiteY6" fmla="*/ 5478 h 10000"/>
                    <a:gd name="connsiteX7" fmla="*/ 7982 w 10000"/>
                    <a:gd name="connsiteY7" fmla="*/ 4905 h 10000"/>
                    <a:gd name="connsiteX8" fmla="*/ 7105 w 10000"/>
                    <a:gd name="connsiteY8" fmla="*/ 4522 h 10000"/>
                    <a:gd name="connsiteX9" fmla="*/ 6140 w 10000"/>
                    <a:gd name="connsiteY9" fmla="*/ 4203 h 10000"/>
                    <a:gd name="connsiteX10" fmla="*/ 6140 w 10000"/>
                    <a:gd name="connsiteY10" fmla="*/ 4203 h 10000"/>
                    <a:gd name="connsiteX11" fmla="*/ 6667 w 10000"/>
                    <a:gd name="connsiteY11" fmla="*/ 3822 h 10000"/>
                    <a:gd name="connsiteX12" fmla="*/ 7018 w 10000"/>
                    <a:gd name="connsiteY12" fmla="*/ 3312 h 10000"/>
                    <a:gd name="connsiteX13" fmla="*/ 7281 w 10000"/>
                    <a:gd name="connsiteY13" fmla="*/ 2739 h 10000"/>
                    <a:gd name="connsiteX14" fmla="*/ 7544 w 10000"/>
                    <a:gd name="connsiteY14" fmla="*/ 2166 h 10000"/>
                    <a:gd name="connsiteX15" fmla="*/ 7544 w 10000"/>
                    <a:gd name="connsiteY15" fmla="*/ 2166 h 10000"/>
                    <a:gd name="connsiteX16" fmla="*/ 7456 w 10000"/>
                    <a:gd name="connsiteY16" fmla="*/ 1720 h 10000"/>
                    <a:gd name="connsiteX17" fmla="*/ 7281 w 10000"/>
                    <a:gd name="connsiteY17" fmla="*/ 1274 h 10000"/>
                    <a:gd name="connsiteX18" fmla="*/ 7105 w 10000"/>
                    <a:gd name="connsiteY18" fmla="*/ 892 h 10000"/>
                    <a:gd name="connsiteX19" fmla="*/ 6754 w 10000"/>
                    <a:gd name="connsiteY19" fmla="*/ 574 h 10000"/>
                    <a:gd name="connsiteX20" fmla="*/ 6404 w 10000"/>
                    <a:gd name="connsiteY20" fmla="*/ 319 h 10000"/>
                    <a:gd name="connsiteX21" fmla="*/ 5965 w 10000"/>
                    <a:gd name="connsiteY21" fmla="*/ 191 h 10000"/>
                    <a:gd name="connsiteX22" fmla="*/ 5526 w 10000"/>
                    <a:gd name="connsiteY22" fmla="*/ 0 h 10000"/>
                    <a:gd name="connsiteX23" fmla="*/ 5000 w 10000"/>
                    <a:gd name="connsiteY23" fmla="*/ 0 h 10000"/>
                    <a:gd name="connsiteX24" fmla="*/ 5000 w 10000"/>
                    <a:gd name="connsiteY24" fmla="*/ 0 h 10000"/>
                    <a:gd name="connsiteX25" fmla="*/ 4561 w 10000"/>
                    <a:gd name="connsiteY25" fmla="*/ 0 h 10000"/>
                    <a:gd name="connsiteX26" fmla="*/ 4123 w 10000"/>
                    <a:gd name="connsiteY26" fmla="*/ 191 h 10000"/>
                    <a:gd name="connsiteX27" fmla="*/ 3684 w 10000"/>
                    <a:gd name="connsiteY27" fmla="*/ 319 h 10000"/>
                    <a:gd name="connsiteX28" fmla="*/ 3246 w 10000"/>
                    <a:gd name="connsiteY28" fmla="*/ 574 h 10000"/>
                    <a:gd name="connsiteX29" fmla="*/ 2982 w 10000"/>
                    <a:gd name="connsiteY29" fmla="*/ 892 h 10000"/>
                    <a:gd name="connsiteX30" fmla="*/ 2719 w 10000"/>
                    <a:gd name="connsiteY30" fmla="*/ 1274 h 10000"/>
                    <a:gd name="connsiteX31" fmla="*/ 2544 w 10000"/>
                    <a:gd name="connsiteY31" fmla="*/ 1720 h 10000"/>
                    <a:gd name="connsiteX32" fmla="*/ 2544 w 10000"/>
                    <a:gd name="connsiteY32" fmla="*/ 2166 h 10000"/>
                    <a:gd name="connsiteX33" fmla="*/ 2544 w 10000"/>
                    <a:gd name="connsiteY33" fmla="*/ 2166 h 10000"/>
                    <a:gd name="connsiteX34" fmla="*/ 2632 w 10000"/>
                    <a:gd name="connsiteY34" fmla="*/ 2739 h 10000"/>
                    <a:gd name="connsiteX35" fmla="*/ 2982 w 10000"/>
                    <a:gd name="connsiteY35" fmla="*/ 3312 h 10000"/>
                    <a:gd name="connsiteX36" fmla="*/ 3421 w 10000"/>
                    <a:gd name="connsiteY36" fmla="*/ 3822 h 10000"/>
                    <a:gd name="connsiteX37" fmla="*/ 3860 w 10000"/>
                    <a:gd name="connsiteY37" fmla="*/ 4203 h 10000"/>
                    <a:gd name="connsiteX38" fmla="*/ 3860 w 10000"/>
                    <a:gd name="connsiteY38" fmla="*/ 4203 h 10000"/>
                    <a:gd name="connsiteX39" fmla="*/ 2895 w 10000"/>
                    <a:gd name="connsiteY39" fmla="*/ 4522 h 10000"/>
                    <a:gd name="connsiteX40" fmla="*/ 2105 w 10000"/>
                    <a:gd name="connsiteY40" fmla="*/ 4905 h 10000"/>
                    <a:gd name="connsiteX41" fmla="*/ 1404 w 10000"/>
                    <a:gd name="connsiteY41" fmla="*/ 5478 h 10000"/>
                    <a:gd name="connsiteX42" fmla="*/ 877 w 10000"/>
                    <a:gd name="connsiteY42" fmla="*/ 6241 h 10000"/>
                    <a:gd name="connsiteX43" fmla="*/ 439 w 10000"/>
                    <a:gd name="connsiteY43" fmla="*/ 7005 h 10000"/>
                    <a:gd name="connsiteX44" fmla="*/ 175 w 10000"/>
                    <a:gd name="connsiteY44" fmla="*/ 7898 h 10000"/>
                    <a:gd name="connsiteX45" fmla="*/ 0 w 10000"/>
                    <a:gd name="connsiteY45" fmla="*/ 8854 h 10000"/>
                    <a:gd name="connsiteX46" fmla="*/ 0 w 10000"/>
                    <a:gd name="connsiteY46" fmla="*/ 9936 h 10000"/>
                    <a:gd name="connsiteX0" fmla="*/ 9912 w 10000"/>
                    <a:gd name="connsiteY0" fmla="*/ 10000 h 10000"/>
                    <a:gd name="connsiteX1" fmla="*/ 10000 w 10000"/>
                    <a:gd name="connsiteY1" fmla="*/ 8854 h 10000"/>
                    <a:gd name="connsiteX2" fmla="*/ 9912 w 10000"/>
                    <a:gd name="connsiteY2" fmla="*/ 7898 h 10000"/>
                    <a:gd name="connsiteX3" fmla="*/ 9561 w 10000"/>
                    <a:gd name="connsiteY3" fmla="*/ 7005 h 10000"/>
                    <a:gd name="connsiteX4" fmla="*/ 9211 w 10000"/>
                    <a:gd name="connsiteY4" fmla="*/ 6241 h 10000"/>
                    <a:gd name="connsiteX5" fmla="*/ 8684 w 10000"/>
                    <a:gd name="connsiteY5" fmla="*/ 5478 h 10000"/>
                    <a:gd name="connsiteX6" fmla="*/ 7982 w 10000"/>
                    <a:gd name="connsiteY6" fmla="*/ 4905 h 10000"/>
                    <a:gd name="connsiteX7" fmla="*/ 7105 w 10000"/>
                    <a:gd name="connsiteY7" fmla="*/ 4522 h 10000"/>
                    <a:gd name="connsiteX8" fmla="*/ 6140 w 10000"/>
                    <a:gd name="connsiteY8" fmla="*/ 4203 h 10000"/>
                    <a:gd name="connsiteX9" fmla="*/ 6140 w 10000"/>
                    <a:gd name="connsiteY9" fmla="*/ 4203 h 10000"/>
                    <a:gd name="connsiteX10" fmla="*/ 6667 w 10000"/>
                    <a:gd name="connsiteY10" fmla="*/ 3822 h 10000"/>
                    <a:gd name="connsiteX11" fmla="*/ 7018 w 10000"/>
                    <a:gd name="connsiteY11" fmla="*/ 3312 h 10000"/>
                    <a:gd name="connsiteX12" fmla="*/ 7281 w 10000"/>
                    <a:gd name="connsiteY12" fmla="*/ 2739 h 10000"/>
                    <a:gd name="connsiteX13" fmla="*/ 7544 w 10000"/>
                    <a:gd name="connsiteY13" fmla="*/ 2166 h 10000"/>
                    <a:gd name="connsiteX14" fmla="*/ 7544 w 10000"/>
                    <a:gd name="connsiteY14" fmla="*/ 2166 h 10000"/>
                    <a:gd name="connsiteX15" fmla="*/ 7456 w 10000"/>
                    <a:gd name="connsiteY15" fmla="*/ 1720 h 10000"/>
                    <a:gd name="connsiteX16" fmla="*/ 7281 w 10000"/>
                    <a:gd name="connsiteY16" fmla="*/ 1274 h 10000"/>
                    <a:gd name="connsiteX17" fmla="*/ 7105 w 10000"/>
                    <a:gd name="connsiteY17" fmla="*/ 892 h 10000"/>
                    <a:gd name="connsiteX18" fmla="*/ 6754 w 10000"/>
                    <a:gd name="connsiteY18" fmla="*/ 574 h 10000"/>
                    <a:gd name="connsiteX19" fmla="*/ 6404 w 10000"/>
                    <a:gd name="connsiteY19" fmla="*/ 319 h 10000"/>
                    <a:gd name="connsiteX20" fmla="*/ 5965 w 10000"/>
                    <a:gd name="connsiteY20" fmla="*/ 191 h 10000"/>
                    <a:gd name="connsiteX21" fmla="*/ 5526 w 10000"/>
                    <a:gd name="connsiteY21" fmla="*/ 0 h 10000"/>
                    <a:gd name="connsiteX22" fmla="*/ 5000 w 10000"/>
                    <a:gd name="connsiteY22" fmla="*/ 0 h 10000"/>
                    <a:gd name="connsiteX23" fmla="*/ 5000 w 10000"/>
                    <a:gd name="connsiteY23" fmla="*/ 0 h 10000"/>
                    <a:gd name="connsiteX24" fmla="*/ 4561 w 10000"/>
                    <a:gd name="connsiteY24" fmla="*/ 0 h 10000"/>
                    <a:gd name="connsiteX25" fmla="*/ 4123 w 10000"/>
                    <a:gd name="connsiteY25" fmla="*/ 191 h 10000"/>
                    <a:gd name="connsiteX26" fmla="*/ 3684 w 10000"/>
                    <a:gd name="connsiteY26" fmla="*/ 319 h 10000"/>
                    <a:gd name="connsiteX27" fmla="*/ 3246 w 10000"/>
                    <a:gd name="connsiteY27" fmla="*/ 574 h 10000"/>
                    <a:gd name="connsiteX28" fmla="*/ 2982 w 10000"/>
                    <a:gd name="connsiteY28" fmla="*/ 892 h 10000"/>
                    <a:gd name="connsiteX29" fmla="*/ 2719 w 10000"/>
                    <a:gd name="connsiteY29" fmla="*/ 1274 h 10000"/>
                    <a:gd name="connsiteX30" fmla="*/ 2544 w 10000"/>
                    <a:gd name="connsiteY30" fmla="*/ 1720 h 10000"/>
                    <a:gd name="connsiteX31" fmla="*/ 2544 w 10000"/>
                    <a:gd name="connsiteY31" fmla="*/ 2166 h 10000"/>
                    <a:gd name="connsiteX32" fmla="*/ 2544 w 10000"/>
                    <a:gd name="connsiteY32" fmla="*/ 2166 h 10000"/>
                    <a:gd name="connsiteX33" fmla="*/ 2632 w 10000"/>
                    <a:gd name="connsiteY33" fmla="*/ 2739 h 10000"/>
                    <a:gd name="connsiteX34" fmla="*/ 2982 w 10000"/>
                    <a:gd name="connsiteY34" fmla="*/ 3312 h 10000"/>
                    <a:gd name="connsiteX35" fmla="*/ 3421 w 10000"/>
                    <a:gd name="connsiteY35" fmla="*/ 3822 h 10000"/>
                    <a:gd name="connsiteX36" fmla="*/ 3860 w 10000"/>
                    <a:gd name="connsiteY36" fmla="*/ 4203 h 10000"/>
                    <a:gd name="connsiteX37" fmla="*/ 3860 w 10000"/>
                    <a:gd name="connsiteY37" fmla="*/ 4203 h 10000"/>
                    <a:gd name="connsiteX38" fmla="*/ 2895 w 10000"/>
                    <a:gd name="connsiteY38" fmla="*/ 4522 h 10000"/>
                    <a:gd name="connsiteX39" fmla="*/ 2105 w 10000"/>
                    <a:gd name="connsiteY39" fmla="*/ 4905 h 10000"/>
                    <a:gd name="connsiteX40" fmla="*/ 1404 w 10000"/>
                    <a:gd name="connsiteY40" fmla="*/ 5478 h 10000"/>
                    <a:gd name="connsiteX41" fmla="*/ 877 w 10000"/>
                    <a:gd name="connsiteY41" fmla="*/ 6241 h 10000"/>
                    <a:gd name="connsiteX42" fmla="*/ 439 w 10000"/>
                    <a:gd name="connsiteY42" fmla="*/ 7005 h 10000"/>
                    <a:gd name="connsiteX43" fmla="*/ 175 w 10000"/>
                    <a:gd name="connsiteY43" fmla="*/ 7898 h 10000"/>
                    <a:gd name="connsiteX44" fmla="*/ 0 w 10000"/>
                    <a:gd name="connsiteY44" fmla="*/ 8854 h 10000"/>
                    <a:gd name="connsiteX45" fmla="*/ 0 w 10000"/>
                    <a:gd name="connsiteY45" fmla="*/ 9936 h 10000"/>
                    <a:gd name="connsiteX0" fmla="*/ 10000 w 10000"/>
                    <a:gd name="connsiteY0" fmla="*/ 8854 h 9936"/>
                    <a:gd name="connsiteX1" fmla="*/ 9912 w 10000"/>
                    <a:gd name="connsiteY1" fmla="*/ 7898 h 9936"/>
                    <a:gd name="connsiteX2" fmla="*/ 9561 w 10000"/>
                    <a:gd name="connsiteY2" fmla="*/ 7005 h 9936"/>
                    <a:gd name="connsiteX3" fmla="*/ 9211 w 10000"/>
                    <a:gd name="connsiteY3" fmla="*/ 6241 h 9936"/>
                    <a:gd name="connsiteX4" fmla="*/ 8684 w 10000"/>
                    <a:gd name="connsiteY4" fmla="*/ 5478 h 9936"/>
                    <a:gd name="connsiteX5" fmla="*/ 7982 w 10000"/>
                    <a:gd name="connsiteY5" fmla="*/ 4905 h 9936"/>
                    <a:gd name="connsiteX6" fmla="*/ 7105 w 10000"/>
                    <a:gd name="connsiteY6" fmla="*/ 4522 h 9936"/>
                    <a:gd name="connsiteX7" fmla="*/ 6140 w 10000"/>
                    <a:gd name="connsiteY7" fmla="*/ 4203 h 9936"/>
                    <a:gd name="connsiteX8" fmla="*/ 6140 w 10000"/>
                    <a:gd name="connsiteY8" fmla="*/ 4203 h 9936"/>
                    <a:gd name="connsiteX9" fmla="*/ 6667 w 10000"/>
                    <a:gd name="connsiteY9" fmla="*/ 3822 h 9936"/>
                    <a:gd name="connsiteX10" fmla="*/ 7018 w 10000"/>
                    <a:gd name="connsiteY10" fmla="*/ 3312 h 9936"/>
                    <a:gd name="connsiteX11" fmla="*/ 7281 w 10000"/>
                    <a:gd name="connsiteY11" fmla="*/ 2739 h 9936"/>
                    <a:gd name="connsiteX12" fmla="*/ 7544 w 10000"/>
                    <a:gd name="connsiteY12" fmla="*/ 2166 h 9936"/>
                    <a:gd name="connsiteX13" fmla="*/ 7544 w 10000"/>
                    <a:gd name="connsiteY13" fmla="*/ 2166 h 9936"/>
                    <a:gd name="connsiteX14" fmla="*/ 7456 w 10000"/>
                    <a:gd name="connsiteY14" fmla="*/ 1720 h 9936"/>
                    <a:gd name="connsiteX15" fmla="*/ 7281 w 10000"/>
                    <a:gd name="connsiteY15" fmla="*/ 1274 h 9936"/>
                    <a:gd name="connsiteX16" fmla="*/ 7105 w 10000"/>
                    <a:gd name="connsiteY16" fmla="*/ 892 h 9936"/>
                    <a:gd name="connsiteX17" fmla="*/ 6754 w 10000"/>
                    <a:gd name="connsiteY17" fmla="*/ 574 h 9936"/>
                    <a:gd name="connsiteX18" fmla="*/ 6404 w 10000"/>
                    <a:gd name="connsiteY18" fmla="*/ 319 h 9936"/>
                    <a:gd name="connsiteX19" fmla="*/ 5965 w 10000"/>
                    <a:gd name="connsiteY19" fmla="*/ 191 h 9936"/>
                    <a:gd name="connsiteX20" fmla="*/ 5526 w 10000"/>
                    <a:gd name="connsiteY20" fmla="*/ 0 h 9936"/>
                    <a:gd name="connsiteX21" fmla="*/ 5000 w 10000"/>
                    <a:gd name="connsiteY21" fmla="*/ 0 h 9936"/>
                    <a:gd name="connsiteX22" fmla="*/ 5000 w 10000"/>
                    <a:gd name="connsiteY22" fmla="*/ 0 h 9936"/>
                    <a:gd name="connsiteX23" fmla="*/ 4561 w 10000"/>
                    <a:gd name="connsiteY23" fmla="*/ 0 h 9936"/>
                    <a:gd name="connsiteX24" fmla="*/ 4123 w 10000"/>
                    <a:gd name="connsiteY24" fmla="*/ 191 h 9936"/>
                    <a:gd name="connsiteX25" fmla="*/ 3684 w 10000"/>
                    <a:gd name="connsiteY25" fmla="*/ 319 h 9936"/>
                    <a:gd name="connsiteX26" fmla="*/ 3246 w 10000"/>
                    <a:gd name="connsiteY26" fmla="*/ 574 h 9936"/>
                    <a:gd name="connsiteX27" fmla="*/ 2982 w 10000"/>
                    <a:gd name="connsiteY27" fmla="*/ 892 h 9936"/>
                    <a:gd name="connsiteX28" fmla="*/ 2719 w 10000"/>
                    <a:gd name="connsiteY28" fmla="*/ 1274 h 9936"/>
                    <a:gd name="connsiteX29" fmla="*/ 2544 w 10000"/>
                    <a:gd name="connsiteY29" fmla="*/ 1720 h 9936"/>
                    <a:gd name="connsiteX30" fmla="*/ 2544 w 10000"/>
                    <a:gd name="connsiteY30" fmla="*/ 2166 h 9936"/>
                    <a:gd name="connsiteX31" fmla="*/ 2544 w 10000"/>
                    <a:gd name="connsiteY31" fmla="*/ 2166 h 9936"/>
                    <a:gd name="connsiteX32" fmla="*/ 2632 w 10000"/>
                    <a:gd name="connsiteY32" fmla="*/ 2739 h 9936"/>
                    <a:gd name="connsiteX33" fmla="*/ 2982 w 10000"/>
                    <a:gd name="connsiteY33" fmla="*/ 3312 h 9936"/>
                    <a:gd name="connsiteX34" fmla="*/ 3421 w 10000"/>
                    <a:gd name="connsiteY34" fmla="*/ 3822 h 9936"/>
                    <a:gd name="connsiteX35" fmla="*/ 3860 w 10000"/>
                    <a:gd name="connsiteY35" fmla="*/ 4203 h 9936"/>
                    <a:gd name="connsiteX36" fmla="*/ 3860 w 10000"/>
                    <a:gd name="connsiteY36" fmla="*/ 4203 h 9936"/>
                    <a:gd name="connsiteX37" fmla="*/ 2895 w 10000"/>
                    <a:gd name="connsiteY37" fmla="*/ 4522 h 9936"/>
                    <a:gd name="connsiteX38" fmla="*/ 2105 w 10000"/>
                    <a:gd name="connsiteY38" fmla="*/ 4905 h 9936"/>
                    <a:gd name="connsiteX39" fmla="*/ 1404 w 10000"/>
                    <a:gd name="connsiteY39" fmla="*/ 5478 h 9936"/>
                    <a:gd name="connsiteX40" fmla="*/ 877 w 10000"/>
                    <a:gd name="connsiteY40" fmla="*/ 6241 h 9936"/>
                    <a:gd name="connsiteX41" fmla="*/ 439 w 10000"/>
                    <a:gd name="connsiteY41" fmla="*/ 7005 h 9936"/>
                    <a:gd name="connsiteX42" fmla="*/ 175 w 10000"/>
                    <a:gd name="connsiteY42" fmla="*/ 7898 h 9936"/>
                    <a:gd name="connsiteX43" fmla="*/ 0 w 10000"/>
                    <a:gd name="connsiteY43" fmla="*/ 8854 h 9936"/>
                    <a:gd name="connsiteX44" fmla="*/ 0 w 10000"/>
                    <a:gd name="connsiteY44" fmla="*/ 9936 h 9936"/>
                    <a:gd name="connsiteX0" fmla="*/ 9912 w 9912"/>
                    <a:gd name="connsiteY0" fmla="*/ 7949 h 10000"/>
                    <a:gd name="connsiteX1" fmla="*/ 9561 w 9912"/>
                    <a:gd name="connsiteY1" fmla="*/ 7050 h 10000"/>
                    <a:gd name="connsiteX2" fmla="*/ 9211 w 9912"/>
                    <a:gd name="connsiteY2" fmla="*/ 6281 h 10000"/>
                    <a:gd name="connsiteX3" fmla="*/ 8684 w 9912"/>
                    <a:gd name="connsiteY3" fmla="*/ 5513 h 10000"/>
                    <a:gd name="connsiteX4" fmla="*/ 7982 w 9912"/>
                    <a:gd name="connsiteY4" fmla="*/ 4937 h 10000"/>
                    <a:gd name="connsiteX5" fmla="*/ 7105 w 9912"/>
                    <a:gd name="connsiteY5" fmla="*/ 4551 h 10000"/>
                    <a:gd name="connsiteX6" fmla="*/ 6140 w 9912"/>
                    <a:gd name="connsiteY6" fmla="*/ 4230 h 10000"/>
                    <a:gd name="connsiteX7" fmla="*/ 6140 w 9912"/>
                    <a:gd name="connsiteY7" fmla="*/ 4230 h 10000"/>
                    <a:gd name="connsiteX8" fmla="*/ 6667 w 9912"/>
                    <a:gd name="connsiteY8" fmla="*/ 3847 h 10000"/>
                    <a:gd name="connsiteX9" fmla="*/ 7018 w 9912"/>
                    <a:gd name="connsiteY9" fmla="*/ 3333 h 10000"/>
                    <a:gd name="connsiteX10" fmla="*/ 7281 w 9912"/>
                    <a:gd name="connsiteY10" fmla="*/ 2757 h 10000"/>
                    <a:gd name="connsiteX11" fmla="*/ 7544 w 9912"/>
                    <a:gd name="connsiteY11" fmla="*/ 2180 h 10000"/>
                    <a:gd name="connsiteX12" fmla="*/ 7544 w 9912"/>
                    <a:gd name="connsiteY12" fmla="*/ 2180 h 10000"/>
                    <a:gd name="connsiteX13" fmla="*/ 7456 w 9912"/>
                    <a:gd name="connsiteY13" fmla="*/ 1731 h 10000"/>
                    <a:gd name="connsiteX14" fmla="*/ 7281 w 9912"/>
                    <a:gd name="connsiteY14" fmla="*/ 1282 h 10000"/>
                    <a:gd name="connsiteX15" fmla="*/ 7105 w 9912"/>
                    <a:gd name="connsiteY15" fmla="*/ 898 h 10000"/>
                    <a:gd name="connsiteX16" fmla="*/ 6754 w 9912"/>
                    <a:gd name="connsiteY16" fmla="*/ 578 h 10000"/>
                    <a:gd name="connsiteX17" fmla="*/ 6404 w 9912"/>
                    <a:gd name="connsiteY17" fmla="*/ 321 h 10000"/>
                    <a:gd name="connsiteX18" fmla="*/ 5965 w 9912"/>
                    <a:gd name="connsiteY18" fmla="*/ 192 h 10000"/>
                    <a:gd name="connsiteX19" fmla="*/ 5526 w 9912"/>
                    <a:gd name="connsiteY19" fmla="*/ 0 h 10000"/>
                    <a:gd name="connsiteX20" fmla="*/ 5000 w 9912"/>
                    <a:gd name="connsiteY20" fmla="*/ 0 h 10000"/>
                    <a:gd name="connsiteX21" fmla="*/ 5000 w 9912"/>
                    <a:gd name="connsiteY21" fmla="*/ 0 h 10000"/>
                    <a:gd name="connsiteX22" fmla="*/ 4561 w 9912"/>
                    <a:gd name="connsiteY22" fmla="*/ 0 h 10000"/>
                    <a:gd name="connsiteX23" fmla="*/ 4123 w 9912"/>
                    <a:gd name="connsiteY23" fmla="*/ 192 h 10000"/>
                    <a:gd name="connsiteX24" fmla="*/ 3684 w 9912"/>
                    <a:gd name="connsiteY24" fmla="*/ 321 h 10000"/>
                    <a:gd name="connsiteX25" fmla="*/ 3246 w 9912"/>
                    <a:gd name="connsiteY25" fmla="*/ 578 h 10000"/>
                    <a:gd name="connsiteX26" fmla="*/ 2982 w 9912"/>
                    <a:gd name="connsiteY26" fmla="*/ 898 h 10000"/>
                    <a:gd name="connsiteX27" fmla="*/ 2719 w 9912"/>
                    <a:gd name="connsiteY27" fmla="*/ 1282 h 10000"/>
                    <a:gd name="connsiteX28" fmla="*/ 2544 w 9912"/>
                    <a:gd name="connsiteY28" fmla="*/ 1731 h 10000"/>
                    <a:gd name="connsiteX29" fmla="*/ 2544 w 9912"/>
                    <a:gd name="connsiteY29" fmla="*/ 2180 h 10000"/>
                    <a:gd name="connsiteX30" fmla="*/ 2544 w 9912"/>
                    <a:gd name="connsiteY30" fmla="*/ 2180 h 10000"/>
                    <a:gd name="connsiteX31" fmla="*/ 2632 w 9912"/>
                    <a:gd name="connsiteY31" fmla="*/ 2757 h 10000"/>
                    <a:gd name="connsiteX32" fmla="*/ 2982 w 9912"/>
                    <a:gd name="connsiteY32" fmla="*/ 3333 h 10000"/>
                    <a:gd name="connsiteX33" fmla="*/ 3421 w 9912"/>
                    <a:gd name="connsiteY33" fmla="*/ 3847 h 10000"/>
                    <a:gd name="connsiteX34" fmla="*/ 3860 w 9912"/>
                    <a:gd name="connsiteY34" fmla="*/ 4230 h 10000"/>
                    <a:gd name="connsiteX35" fmla="*/ 3860 w 9912"/>
                    <a:gd name="connsiteY35" fmla="*/ 4230 h 10000"/>
                    <a:gd name="connsiteX36" fmla="*/ 2895 w 9912"/>
                    <a:gd name="connsiteY36" fmla="*/ 4551 h 10000"/>
                    <a:gd name="connsiteX37" fmla="*/ 2105 w 9912"/>
                    <a:gd name="connsiteY37" fmla="*/ 4937 h 10000"/>
                    <a:gd name="connsiteX38" fmla="*/ 1404 w 9912"/>
                    <a:gd name="connsiteY38" fmla="*/ 5513 h 10000"/>
                    <a:gd name="connsiteX39" fmla="*/ 877 w 9912"/>
                    <a:gd name="connsiteY39" fmla="*/ 6281 h 10000"/>
                    <a:gd name="connsiteX40" fmla="*/ 439 w 9912"/>
                    <a:gd name="connsiteY40" fmla="*/ 7050 h 10000"/>
                    <a:gd name="connsiteX41" fmla="*/ 175 w 9912"/>
                    <a:gd name="connsiteY41" fmla="*/ 7949 h 10000"/>
                    <a:gd name="connsiteX42" fmla="*/ 0 w 9912"/>
                    <a:gd name="connsiteY42" fmla="*/ 8911 h 10000"/>
                    <a:gd name="connsiteX43" fmla="*/ 0 w 9912"/>
                    <a:gd name="connsiteY43" fmla="*/ 10000 h 10000"/>
                    <a:gd name="connsiteX0" fmla="*/ 9646 w 9646"/>
                    <a:gd name="connsiteY0" fmla="*/ 7050 h 10000"/>
                    <a:gd name="connsiteX1" fmla="*/ 9293 w 9646"/>
                    <a:gd name="connsiteY1" fmla="*/ 6281 h 10000"/>
                    <a:gd name="connsiteX2" fmla="*/ 8761 w 9646"/>
                    <a:gd name="connsiteY2" fmla="*/ 5513 h 10000"/>
                    <a:gd name="connsiteX3" fmla="*/ 8053 w 9646"/>
                    <a:gd name="connsiteY3" fmla="*/ 4937 h 10000"/>
                    <a:gd name="connsiteX4" fmla="*/ 7168 w 9646"/>
                    <a:gd name="connsiteY4" fmla="*/ 4551 h 10000"/>
                    <a:gd name="connsiteX5" fmla="*/ 6195 w 9646"/>
                    <a:gd name="connsiteY5" fmla="*/ 4230 h 10000"/>
                    <a:gd name="connsiteX6" fmla="*/ 6195 w 9646"/>
                    <a:gd name="connsiteY6" fmla="*/ 4230 h 10000"/>
                    <a:gd name="connsiteX7" fmla="*/ 6726 w 9646"/>
                    <a:gd name="connsiteY7" fmla="*/ 3847 h 10000"/>
                    <a:gd name="connsiteX8" fmla="*/ 7080 w 9646"/>
                    <a:gd name="connsiteY8" fmla="*/ 3333 h 10000"/>
                    <a:gd name="connsiteX9" fmla="*/ 7346 w 9646"/>
                    <a:gd name="connsiteY9" fmla="*/ 2757 h 10000"/>
                    <a:gd name="connsiteX10" fmla="*/ 7611 w 9646"/>
                    <a:gd name="connsiteY10" fmla="*/ 2180 h 10000"/>
                    <a:gd name="connsiteX11" fmla="*/ 7611 w 9646"/>
                    <a:gd name="connsiteY11" fmla="*/ 2180 h 10000"/>
                    <a:gd name="connsiteX12" fmla="*/ 7522 w 9646"/>
                    <a:gd name="connsiteY12" fmla="*/ 1731 h 10000"/>
                    <a:gd name="connsiteX13" fmla="*/ 7346 w 9646"/>
                    <a:gd name="connsiteY13" fmla="*/ 1282 h 10000"/>
                    <a:gd name="connsiteX14" fmla="*/ 7168 w 9646"/>
                    <a:gd name="connsiteY14" fmla="*/ 898 h 10000"/>
                    <a:gd name="connsiteX15" fmla="*/ 6814 w 9646"/>
                    <a:gd name="connsiteY15" fmla="*/ 578 h 10000"/>
                    <a:gd name="connsiteX16" fmla="*/ 6461 w 9646"/>
                    <a:gd name="connsiteY16" fmla="*/ 321 h 10000"/>
                    <a:gd name="connsiteX17" fmla="*/ 6018 w 9646"/>
                    <a:gd name="connsiteY17" fmla="*/ 192 h 10000"/>
                    <a:gd name="connsiteX18" fmla="*/ 5575 w 9646"/>
                    <a:gd name="connsiteY18" fmla="*/ 0 h 10000"/>
                    <a:gd name="connsiteX19" fmla="*/ 5044 w 9646"/>
                    <a:gd name="connsiteY19" fmla="*/ 0 h 10000"/>
                    <a:gd name="connsiteX20" fmla="*/ 5044 w 9646"/>
                    <a:gd name="connsiteY20" fmla="*/ 0 h 10000"/>
                    <a:gd name="connsiteX21" fmla="*/ 4601 w 9646"/>
                    <a:gd name="connsiteY21" fmla="*/ 0 h 10000"/>
                    <a:gd name="connsiteX22" fmla="*/ 4160 w 9646"/>
                    <a:gd name="connsiteY22" fmla="*/ 192 h 10000"/>
                    <a:gd name="connsiteX23" fmla="*/ 3717 w 9646"/>
                    <a:gd name="connsiteY23" fmla="*/ 321 h 10000"/>
                    <a:gd name="connsiteX24" fmla="*/ 3275 w 9646"/>
                    <a:gd name="connsiteY24" fmla="*/ 578 h 10000"/>
                    <a:gd name="connsiteX25" fmla="*/ 3008 w 9646"/>
                    <a:gd name="connsiteY25" fmla="*/ 898 h 10000"/>
                    <a:gd name="connsiteX26" fmla="*/ 2743 w 9646"/>
                    <a:gd name="connsiteY26" fmla="*/ 1282 h 10000"/>
                    <a:gd name="connsiteX27" fmla="*/ 2567 w 9646"/>
                    <a:gd name="connsiteY27" fmla="*/ 1731 h 10000"/>
                    <a:gd name="connsiteX28" fmla="*/ 2567 w 9646"/>
                    <a:gd name="connsiteY28" fmla="*/ 2180 h 10000"/>
                    <a:gd name="connsiteX29" fmla="*/ 2567 w 9646"/>
                    <a:gd name="connsiteY29" fmla="*/ 2180 h 10000"/>
                    <a:gd name="connsiteX30" fmla="*/ 2655 w 9646"/>
                    <a:gd name="connsiteY30" fmla="*/ 2757 h 10000"/>
                    <a:gd name="connsiteX31" fmla="*/ 3008 w 9646"/>
                    <a:gd name="connsiteY31" fmla="*/ 3333 h 10000"/>
                    <a:gd name="connsiteX32" fmla="*/ 3451 w 9646"/>
                    <a:gd name="connsiteY32" fmla="*/ 3847 h 10000"/>
                    <a:gd name="connsiteX33" fmla="*/ 3894 w 9646"/>
                    <a:gd name="connsiteY33" fmla="*/ 4230 h 10000"/>
                    <a:gd name="connsiteX34" fmla="*/ 3894 w 9646"/>
                    <a:gd name="connsiteY34" fmla="*/ 4230 h 10000"/>
                    <a:gd name="connsiteX35" fmla="*/ 2921 w 9646"/>
                    <a:gd name="connsiteY35" fmla="*/ 4551 h 10000"/>
                    <a:gd name="connsiteX36" fmla="*/ 2124 w 9646"/>
                    <a:gd name="connsiteY36" fmla="*/ 4937 h 10000"/>
                    <a:gd name="connsiteX37" fmla="*/ 1416 w 9646"/>
                    <a:gd name="connsiteY37" fmla="*/ 5513 h 10000"/>
                    <a:gd name="connsiteX38" fmla="*/ 885 w 9646"/>
                    <a:gd name="connsiteY38" fmla="*/ 6281 h 10000"/>
                    <a:gd name="connsiteX39" fmla="*/ 443 w 9646"/>
                    <a:gd name="connsiteY39" fmla="*/ 7050 h 10000"/>
                    <a:gd name="connsiteX40" fmla="*/ 177 w 9646"/>
                    <a:gd name="connsiteY40" fmla="*/ 7949 h 10000"/>
                    <a:gd name="connsiteX41" fmla="*/ 0 w 9646"/>
                    <a:gd name="connsiteY41" fmla="*/ 8911 h 10000"/>
                    <a:gd name="connsiteX42" fmla="*/ 0 w 9646"/>
                    <a:gd name="connsiteY42" fmla="*/ 10000 h 10000"/>
                    <a:gd name="connsiteX0" fmla="*/ 9634 w 9634"/>
                    <a:gd name="connsiteY0" fmla="*/ 6281 h 10000"/>
                    <a:gd name="connsiteX1" fmla="*/ 9083 w 9634"/>
                    <a:gd name="connsiteY1" fmla="*/ 5513 h 10000"/>
                    <a:gd name="connsiteX2" fmla="*/ 8349 w 9634"/>
                    <a:gd name="connsiteY2" fmla="*/ 4937 h 10000"/>
                    <a:gd name="connsiteX3" fmla="*/ 7431 w 9634"/>
                    <a:gd name="connsiteY3" fmla="*/ 4551 h 10000"/>
                    <a:gd name="connsiteX4" fmla="*/ 6422 w 9634"/>
                    <a:gd name="connsiteY4" fmla="*/ 4230 h 10000"/>
                    <a:gd name="connsiteX5" fmla="*/ 6422 w 9634"/>
                    <a:gd name="connsiteY5" fmla="*/ 4230 h 10000"/>
                    <a:gd name="connsiteX6" fmla="*/ 6973 w 9634"/>
                    <a:gd name="connsiteY6" fmla="*/ 3847 h 10000"/>
                    <a:gd name="connsiteX7" fmla="*/ 7340 w 9634"/>
                    <a:gd name="connsiteY7" fmla="*/ 3333 h 10000"/>
                    <a:gd name="connsiteX8" fmla="*/ 7616 w 9634"/>
                    <a:gd name="connsiteY8" fmla="*/ 2757 h 10000"/>
                    <a:gd name="connsiteX9" fmla="*/ 7890 w 9634"/>
                    <a:gd name="connsiteY9" fmla="*/ 2180 h 10000"/>
                    <a:gd name="connsiteX10" fmla="*/ 7890 w 9634"/>
                    <a:gd name="connsiteY10" fmla="*/ 2180 h 10000"/>
                    <a:gd name="connsiteX11" fmla="*/ 7798 w 9634"/>
                    <a:gd name="connsiteY11" fmla="*/ 1731 h 10000"/>
                    <a:gd name="connsiteX12" fmla="*/ 7616 w 9634"/>
                    <a:gd name="connsiteY12" fmla="*/ 1282 h 10000"/>
                    <a:gd name="connsiteX13" fmla="*/ 7431 w 9634"/>
                    <a:gd name="connsiteY13" fmla="*/ 898 h 10000"/>
                    <a:gd name="connsiteX14" fmla="*/ 7064 w 9634"/>
                    <a:gd name="connsiteY14" fmla="*/ 578 h 10000"/>
                    <a:gd name="connsiteX15" fmla="*/ 6698 w 9634"/>
                    <a:gd name="connsiteY15" fmla="*/ 321 h 10000"/>
                    <a:gd name="connsiteX16" fmla="*/ 6239 w 9634"/>
                    <a:gd name="connsiteY16" fmla="*/ 192 h 10000"/>
                    <a:gd name="connsiteX17" fmla="*/ 5780 w 9634"/>
                    <a:gd name="connsiteY17" fmla="*/ 0 h 10000"/>
                    <a:gd name="connsiteX18" fmla="*/ 5229 w 9634"/>
                    <a:gd name="connsiteY18" fmla="*/ 0 h 10000"/>
                    <a:gd name="connsiteX19" fmla="*/ 5229 w 9634"/>
                    <a:gd name="connsiteY19" fmla="*/ 0 h 10000"/>
                    <a:gd name="connsiteX20" fmla="*/ 4770 w 9634"/>
                    <a:gd name="connsiteY20" fmla="*/ 0 h 10000"/>
                    <a:gd name="connsiteX21" fmla="*/ 4313 w 9634"/>
                    <a:gd name="connsiteY21" fmla="*/ 192 h 10000"/>
                    <a:gd name="connsiteX22" fmla="*/ 3853 w 9634"/>
                    <a:gd name="connsiteY22" fmla="*/ 321 h 10000"/>
                    <a:gd name="connsiteX23" fmla="*/ 3395 w 9634"/>
                    <a:gd name="connsiteY23" fmla="*/ 578 h 10000"/>
                    <a:gd name="connsiteX24" fmla="*/ 3118 w 9634"/>
                    <a:gd name="connsiteY24" fmla="*/ 898 h 10000"/>
                    <a:gd name="connsiteX25" fmla="*/ 2844 w 9634"/>
                    <a:gd name="connsiteY25" fmla="*/ 1282 h 10000"/>
                    <a:gd name="connsiteX26" fmla="*/ 2661 w 9634"/>
                    <a:gd name="connsiteY26" fmla="*/ 1731 h 10000"/>
                    <a:gd name="connsiteX27" fmla="*/ 2661 w 9634"/>
                    <a:gd name="connsiteY27" fmla="*/ 2180 h 10000"/>
                    <a:gd name="connsiteX28" fmla="*/ 2661 w 9634"/>
                    <a:gd name="connsiteY28" fmla="*/ 2180 h 10000"/>
                    <a:gd name="connsiteX29" fmla="*/ 2752 w 9634"/>
                    <a:gd name="connsiteY29" fmla="*/ 2757 h 10000"/>
                    <a:gd name="connsiteX30" fmla="*/ 3118 w 9634"/>
                    <a:gd name="connsiteY30" fmla="*/ 3333 h 10000"/>
                    <a:gd name="connsiteX31" fmla="*/ 3578 w 9634"/>
                    <a:gd name="connsiteY31" fmla="*/ 3847 h 10000"/>
                    <a:gd name="connsiteX32" fmla="*/ 4037 w 9634"/>
                    <a:gd name="connsiteY32" fmla="*/ 4230 h 10000"/>
                    <a:gd name="connsiteX33" fmla="*/ 4037 w 9634"/>
                    <a:gd name="connsiteY33" fmla="*/ 4230 h 10000"/>
                    <a:gd name="connsiteX34" fmla="*/ 3028 w 9634"/>
                    <a:gd name="connsiteY34" fmla="*/ 4551 h 10000"/>
                    <a:gd name="connsiteX35" fmla="*/ 2202 w 9634"/>
                    <a:gd name="connsiteY35" fmla="*/ 4937 h 10000"/>
                    <a:gd name="connsiteX36" fmla="*/ 1468 w 9634"/>
                    <a:gd name="connsiteY36" fmla="*/ 5513 h 10000"/>
                    <a:gd name="connsiteX37" fmla="*/ 917 w 9634"/>
                    <a:gd name="connsiteY37" fmla="*/ 6281 h 10000"/>
                    <a:gd name="connsiteX38" fmla="*/ 459 w 9634"/>
                    <a:gd name="connsiteY38" fmla="*/ 7050 h 10000"/>
                    <a:gd name="connsiteX39" fmla="*/ 183 w 9634"/>
                    <a:gd name="connsiteY39" fmla="*/ 7949 h 10000"/>
                    <a:gd name="connsiteX40" fmla="*/ 0 w 9634"/>
                    <a:gd name="connsiteY40" fmla="*/ 8911 h 10000"/>
                    <a:gd name="connsiteX41" fmla="*/ 0 w 9634"/>
                    <a:gd name="connsiteY41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634" h="10000">
                      <a:moveTo>
                        <a:pt x="9634" y="6281"/>
                      </a:moveTo>
                      <a:lnTo>
                        <a:pt x="9083" y="5513"/>
                      </a:lnTo>
                      <a:lnTo>
                        <a:pt x="8349" y="4937"/>
                      </a:lnTo>
                      <a:lnTo>
                        <a:pt x="7431" y="4551"/>
                      </a:lnTo>
                      <a:lnTo>
                        <a:pt x="6422" y="4230"/>
                      </a:lnTo>
                      <a:lnTo>
                        <a:pt x="6422" y="4230"/>
                      </a:lnTo>
                      <a:lnTo>
                        <a:pt x="6973" y="3847"/>
                      </a:lnTo>
                      <a:lnTo>
                        <a:pt x="7340" y="3333"/>
                      </a:lnTo>
                      <a:cubicBezTo>
                        <a:pt x="7432" y="3142"/>
                        <a:pt x="7523" y="2948"/>
                        <a:pt x="7616" y="2757"/>
                      </a:cubicBezTo>
                      <a:lnTo>
                        <a:pt x="7890" y="2180"/>
                      </a:lnTo>
                      <a:lnTo>
                        <a:pt x="7890" y="2180"/>
                      </a:lnTo>
                      <a:cubicBezTo>
                        <a:pt x="7860" y="2030"/>
                        <a:pt x="7828" y="1881"/>
                        <a:pt x="7798" y="1731"/>
                      </a:cubicBezTo>
                      <a:cubicBezTo>
                        <a:pt x="7738" y="1581"/>
                        <a:pt x="7676" y="1431"/>
                        <a:pt x="7616" y="1282"/>
                      </a:cubicBezTo>
                      <a:cubicBezTo>
                        <a:pt x="7553" y="1154"/>
                        <a:pt x="7493" y="1026"/>
                        <a:pt x="7431" y="898"/>
                      </a:cubicBezTo>
                      <a:lnTo>
                        <a:pt x="7064" y="578"/>
                      </a:lnTo>
                      <a:lnTo>
                        <a:pt x="6698" y="321"/>
                      </a:lnTo>
                      <a:lnTo>
                        <a:pt x="6239" y="192"/>
                      </a:lnTo>
                      <a:lnTo>
                        <a:pt x="5780" y="0"/>
                      </a:lnTo>
                      <a:lnTo>
                        <a:pt x="5229" y="0"/>
                      </a:lnTo>
                      <a:lnTo>
                        <a:pt x="5229" y="0"/>
                      </a:lnTo>
                      <a:lnTo>
                        <a:pt x="4770" y="0"/>
                      </a:lnTo>
                      <a:lnTo>
                        <a:pt x="4313" y="192"/>
                      </a:lnTo>
                      <a:lnTo>
                        <a:pt x="3853" y="321"/>
                      </a:lnTo>
                      <a:lnTo>
                        <a:pt x="3395" y="578"/>
                      </a:lnTo>
                      <a:lnTo>
                        <a:pt x="3118" y="898"/>
                      </a:lnTo>
                      <a:lnTo>
                        <a:pt x="2844" y="1282"/>
                      </a:lnTo>
                      <a:cubicBezTo>
                        <a:pt x="2784" y="1431"/>
                        <a:pt x="2721" y="1581"/>
                        <a:pt x="2661" y="1731"/>
                      </a:cubicBezTo>
                      <a:lnTo>
                        <a:pt x="2661" y="2180"/>
                      </a:lnTo>
                      <a:lnTo>
                        <a:pt x="2661" y="2180"/>
                      </a:lnTo>
                      <a:cubicBezTo>
                        <a:pt x="2691" y="2372"/>
                        <a:pt x="2722" y="2564"/>
                        <a:pt x="2752" y="2757"/>
                      </a:cubicBezTo>
                      <a:lnTo>
                        <a:pt x="3118" y="3333"/>
                      </a:lnTo>
                      <a:lnTo>
                        <a:pt x="3578" y="3847"/>
                      </a:lnTo>
                      <a:lnTo>
                        <a:pt x="4037" y="4230"/>
                      </a:lnTo>
                      <a:lnTo>
                        <a:pt x="4037" y="4230"/>
                      </a:lnTo>
                      <a:lnTo>
                        <a:pt x="3028" y="4551"/>
                      </a:lnTo>
                      <a:lnTo>
                        <a:pt x="2202" y="4937"/>
                      </a:lnTo>
                      <a:lnTo>
                        <a:pt x="1468" y="5513"/>
                      </a:lnTo>
                      <a:lnTo>
                        <a:pt x="917" y="6281"/>
                      </a:lnTo>
                      <a:lnTo>
                        <a:pt x="459" y="7050"/>
                      </a:lnTo>
                      <a:lnTo>
                        <a:pt x="183" y="7949"/>
                      </a:lnTo>
                      <a:lnTo>
                        <a:pt x="0" y="8911"/>
                      </a:lnTo>
                      <a:lnTo>
                        <a:pt x="0" y="10000"/>
                      </a:lnTo>
                    </a:path>
                  </a:pathLst>
                </a:custGeom>
                <a:noFill/>
                <a:ln w="12700">
                  <a:solidFill>
                    <a:schemeClr val="accent5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263147"/>
                    </a:solidFill>
                  </a:endParaRPr>
                </a:p>
              </p:txBody>
            </p:sp>
            <p:cxnSp>
              <p:nvCxnSpPr>
                <p:cNvPr id="68" name="Connecteur droit 67"/>
                <p:cNvCxnSpPr/>
                <p:nvPr/>
              </p:nvCxnSpPr>
              <p:spPr>
                <a:xfrm flipV="1">
                  <a:off x="4476208" y="4958080"/>
                  <a:ext cx="87086" cy="2903"/>
                </a:xfrm>
                <a:prstGeom prst="line">
                  <a:avLst/>
                </a:prstGeom>
                <a:ln w="12700">
                  <a:solidFill>
                    <a:schemeClr val="accent5">
                      <a:lumMod val="40000"/>
                      <a:lumOff val="60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3" name="ZoneTexte 62"/>
            <p:cNvSpPr txBox="1"/>
            <p:nvPr/>
          </p:nvSpPr>
          <p:spPr>
            <a:xfrm>
              <a:off x="4833870" y="3893931"/>
              <a:ext cx="9360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fr-FR" sz="1200" i="1" dirty="0" smtClean="0">
                  <a:solidFill>
                    <a:srgbClr val="0098C7">
                      <a:lumMod val="40000"/>
                      <a:lumOff val="60000"/>
                    </a:srgbClr>
                  </a:solidFill>
                </a:rPr>
                <a:t>?</a:t>
              </a:r>
              <a:endParaRPr lang="fr-FR" sz="1200" i="1" dirty="0" err="1" smtClean="0">
                <a:solidFill>
                  <a:srgbClr val="0098C7">
                    <a:lumMod val="40000"/>
                    <a:lumOff val="60000"/>
                  </a:srgbClr>
                </a:solidFill>
              </a:endParaRPr>
            </a:p>
          </p:txBody>
        </p:sp>
      </p:grpSp>
      <p:pic>
        <p:nvPicPr>
          <p:cNvPr id="70" name="Image 69" descr="contexte2.png"/>
          <p:cNvPicPr>
            <a:picLocks noChangeAspect="1"/>
          </p:cNvPicPr>
          <p:nvPr userDrawn="1"/>
        </p:nvPicPr>
        <p:blipFill>
          <a:blip r:embed="rId6" cstate="print"/>
          <a:srcRect r="16349"/>
          <a:stretch>
            <a:fillRect/>
          </a:stretch>
        </p:blipFill>
        <p:spPr>
          <a:xfrm>
            <a:off x="1578124" y="1465601"/>
            <a:ext cx="672157" cy="309467"/>
          </a:xfrm>
          <a:prstGeom prst="rect">
            <a:avLst/>
          </a:prstGeom>
        </p:spPr>
      </p:pic>
      <p:pic>
        <p:nvPicPr>
          <p:cNvPr id="72" name="Image 71" descr="Solution2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726061" y="1470892"/>
            <a:ext cx="662369" cy="309467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4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 userDrawn="1"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 userDrawn="1">
            <p:ph sz="half" idx="2" hasCustomPrompt="1"/>
          </p:nvPr>
        </p:nvSpPr>
        <p:spPr>
          <a:xfrm>
            <a:off x="130176" y="1728777"/>
            <a:ext cx="3697129" cy="2112685"/>
          </a:xfr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 marL="114300" indent="-114300">
              <a:spcAft>
                <a:spcPts val="200"/>
              </a:spcAft>
              <a:defRPr sz="1000"/>
            </a:lvl1pPr>
            <a:lvl2pPr marL="282575" indent="-122238">
              <a:spcAft>
                <a:spcPts val="200"/>
              </a:spcAft>
              <a:defRPr sz="900"/>
            </a:lvl2pPr>
            <a:lvl3pPr marL="457200" indent="-114300">
              <a:spcAft>
                <a:spcPts val="200"/>
              </a:spcAft>
              <a:defRPr sz="900"/>
            </a:lvl3pPr>
            <a:lvl4pPr marL="631825" indent="-120650">
              <a:spcAft>
                <a:spcPts val="200"/>
              </a:spcAft>
              <a:defRPr sz="9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3" name="Content Placeholder 3"/>
          <p:cNvSpPr>
            <a:spLocks noGrp="1"/>
          </p:cNvSpPr>
          <p:nvPr userDrawn="1">
            <p:ph sz="half" idx="10" hasCustomPrompt="1"/>
          </p:nvPr>
        </p:nvSpPr>
        <p:spPr>
          <a:xfrm>
            <a:off x="4238620" y="1728777"/>
            <a:ext cx="3673737" cy="2112685"/>
          </a:xfr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 marL="114300" indent="-114300">
              <a:spcAft>
                <a:spcPts val="200"/>
              </a:spcAft>
              <a:buClr>
                <a:schemeClr val="accent3"/>
              </a:buClr>
              <a:defRPr sz="1000">
                <a:solidFill>
                  <a:schemeClr val="bg1"/>
                </a:solidFill>
              </a:defRPr>
            </a:lvl1pPr>
            <a:lvl2pPr marL="282575" indent="-122238">
              <a:spcAft>
                <a:spcPts val="200"/>
              </a:spcAft>
              <a:buClr>
                <a:schemeClr val="accent5"/>
              </a:buClr>
              <a:defRPr sz="900">
                <a:solidFill>
                  <a:schemeClr val="bg1"/>
                </a:solidFill>
              </a:defRPr>
            </a:lvl2pPr>
            <a:lvl3pPr marL="457200" indent="-114300">
              <a:spcAft>
                <a:spcPts val="200"/>
              </a:spcAft>
              <a:defRPr sz="900">
                <a:solidFill>
                  <a:schemeClr val="bg1"/>
                </a:solidFill>
              </a:defRPr>
            </a:lvl3pPr>
            <a:lvl4pPr marL="631825" indent="-120650">
              <a:spcAft>
                <a:spcPts val="200"/>
              </a:spcAft>
              <a:defRPr sz="900" baseline="0">
                <a:solidFill>
                  <a:schemeClr val="bg1"/>
                </a:solidFill>
              </a:defRPr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4" name="Content Placeholder 3"/>
          <p:cNvSpPr>
            <a:spLocks noGrp="1"/>
          </p:cNvSpPr>
          <p:nvPr userDrawn="1">
            <p:ph sz="half" idx="11" hasCustomPrompt="1"/>
          </p:nvPr>
        </p:nvSpPr>
        <p:spPr>
          <a:xfrm>
            <a:off x="4238620" y="4187039"/>
            <a:ext cx="3673737" cy="2112685"/>
          </a:xfr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 marL="114300" indent="-114300">
              <a:spcAft>
                <a:spcPts val="200"/>
              </a:spcAft>
              <a:defRPr sz="1000"/>
            </a:lvl1pPr>
            <a:lvl2pPr marL="282575" indent="-122238">
              <a:spcAft>
                <a:spcPts val="200"/>
              </a:spcAft>
              <a:defRPr sz="900"/>
            </a:lvl2pPr>
            <a:lvl3pPr marL="457200" indent="-114300">
              <a:spcAft>
                <a:spcPts val="200"/>
              </a:spcAft>
              <a:defRPr sz="900"/>
            </a:lvl3pPr>
            <a:lvl4pPr marL="631825" indent="-120650">
              <a:spcAft>
                <a:spcPts val="200"/>
              </a:spcAft>
              <a:defRPr sz="9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5" name="Content Placeholder 3"/>
          <p:cNvSpPr>
            <a:spLocks noGrp="1"/>
          </p:cNvSpPr>
          <p:nvPr userDrawn="1">
            <p:ph sz="half" idx="12" hasCustomPrompt="1"/>
          </p:nvPr>
        </p:nvSpPr>
        <p:spPr>
          <a:xfrm>
            <a:off x="130176" y="4187039"/>
            <a:ext cx="3673737" cy="2112685"/>
          </a:xfr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 marL="114300" indent="-114300">
              <a:spcAft>
                <a:spcPts val="200"/>
              </a:spcAft>
              <a:buClr>
                <a:schemeClr val="accent3"/>
              </a:buClr>
              <a:defRPr sz="1000">
                <a:solidFill>
                  <a:schemeClr val="bg1"/>
                </a:solidFill>
              </a:defRPr>
            </a:lvl1pPr>
            <a:lvl2pPr marL="282575" indent="-122238">
              <a:spcAft>
                <a:spcPts val="200"/>
              </a:spcAft>
              <a:buClr>
                <a:schemeClr val="accent5"/>
              </a:buClr>
              <a:defRPr sz="900">
                <a:solidFill>
                  <a:schemeClr val="bg1"/>
                </a:solidFill>
              </a:defRPr>
            </a:lvl2pPr>
            <a:lvl3pPr marL="457200" indent="-114300">
              <a:spcAft>
                <a:spcPts val="200"/>
              </a:spcAft>
              <a:defRPr sz="900">
                <a:solidFill>
                  <a:schemeClr val="bg1"/>
                </a:solidFill>
              </a:defRPr>
            </a:lvl3pPr>
            <a:lvl4pPr marL="631825" indent="-120650">
              <a:spcAft>
                <a:spcPts val="200"/>
              </a:spcAft>
              <a:defRPr sz="900" baseline="0">
                <a:solidFill>
                  <a:schemeClr val="bg1"/>
                </a:solidFill>
              </a:defRPr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1" name="Content Placeholder 3"/>
          <p:cNvSpPr>
            <a:spLocks noGrp="1"/>
          </p:cNvSpPr>
          <p:nvPr userDrawn="1">
            <p:ph sz="half" idx="13" hasCustomPrompt="1"/>
          </p:nvPr>
        </p:nvSpPr>
        <p:spPr>
          <a:xfrm>
            <a:off x="8060236" y="2228550"/>
            <a:ext cx="1726363" cy="1232927"/>
          </a:xfr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44000" rIns="144000"/>
          <a:lstStyle>
            <a:lvl1pPr marL="0" marR="0" indent="0" algn="ctr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SzTx/>
              <a:buFont typeface="Wingdings" pitchFamily="2" charset="2"/>
              <a:buNone/>
              <a:tabLst/>
              <a:defRPr sz="1600" b="1" i="1">
                <a:solidFill>
                  <a:schemeClr val="bg1"/>
                </a:solidFill>
              </a:defRPr>
            </a:lvl1pPr>
            <a:lvl2pPr marL="282575" indent="-122238" algn="ctr">
              <a:spcAft>
                <a:spcPts val="200"/>
              </a:spcAft>
              <a:buNone/>
              <a:defRPr sz="1600" b="1" i="1">
                <a:solidFill>
                  <a:schemeClr val="bg1"/>
                </a:solidFill>
              </a:defRPr>
            </a:lvl2pPr>
            <a:lvl3pPr marL="457200" indent="-114300" algn="ctr">
              <a:spcAft>
                <a:spcPts val="200"/>
              </a:spcAft>
              <a:buNone/>
              <a:defRPr sz="1600" b="1" i="1">
                <a:solidFill>
                  <a:schemeClr val="bg1"/>
                </a:solidFill>
              </a:defRPr>
            </a:lvl3pPr>
            <a:lvl4pPr marL="631825" indent="-120650" algn="ctr">
              <a:spcAft>
                <a:spcPts val="200"/>
              </a:spcAft>
              <a:buNone/>
              <a:defRPr sz="1600" b="1" i="1" baseline="0">
                <a:solidFill>
                  <a:schemeClr val="bg1"/>
                </a:solidFill>
              </a:defRPr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algn="ctr"/>
            <a:r>
              <a:rPr lang="en-US" sz="1600" b="1" i="1" dirty="0" smtClean="0">
                <a:solidFill>
                  <a:schemeClr val="bg1"/>
                </a:solidFill>
              </a:rPr>
              <a:t>Place holder for a customer quote or a picture to illustrate the deal</a:t>
            </a:r>
            <a:endParaRPr lang="en-US" sz="1600" i="1" dirty="0" smtClean="0">
              <a:solidFill>
                <a:schemeClr val="bg1"/>
              </a:solidFill>
            </a:endParaRPr>
          </a:p>
        </p:txBody>
      </p:sp>
      <p:sp>
        <p:nvSpPr>
          <p:cNvPr id="85" name="Espace réservé pour une image  84"/>
          <p:cNvSpPr>
            <a:spLocks noGrp="1"/>
          </p:cNvSpPr>
          <p:nvPr userDrawn="1">
            <p:ph type="pic" sz="quarter" idx="15" hasCustomPrompt="1"/>
          </p:nvPr>
        </p:nvSpPr>
        <p:spPr>
          <a:xfrm>
            <a:off x="8062199" y="3681973"/>
            <a:ext cx="1723349" cy="551357"/>
          </a:xfrm>
        </p:spPr>
        <p:txBody>
          <a:bodyPr/>
          <a:lstStyle>
            <a:lvl1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SzTx/>
              <a:buFont typeface="Wingdings" pitchFamily="2" charset="2"/>
              <a:buNone/>
              <a:tabLst/>
              <a:defRPr sz="12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algn="ctr"/>
            <a:r>
              <a:rPr lang="fr-FR" sz="1600" b="1" i="1" dirty="0" smtClean="0">
                <a:solidFill>
                  <a:schemeClr val="bg1"/>
                </a:solidFill>
              </a:rPr>
              <a:t>insert a image</a:t>
            </a:r>
            <a:endParaRPr lang="fr-FR" dirty="0"/>
          </a:p>
        </p:txBody>
      </p:sp>
      <p:pic>
        <p:nvPicPr>
          <p:cNvPr id="82" name="Image 81" descr="benefits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1431925" y="3925887"/>
            <a:ext cx="922972" cy="309467"/>
          </a:xfrm>
          <a:prstGeom prst="rect">
            <a:avLst/>
          </a:prstGeom>
        </p:spPr>
      </p:pic>
      <p:pic>
        <p:nvPicPr>
          <p:cNvPr id="83" name="Image 82" descr="why-Cap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5278437" y="3919537"/>
            <a:ext cx="1721072" cy="3094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4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image" Target="../media/image1.emf"/><Relationship Id="rId26" Type="http://schemas.openxmlformats.org/officeDocument/2006/relationships/image" Target="../media/image14.png"/><Relationship Id="rId3" Type="http://schemas.openxmlformats.org/officeDocument/2006/relationships/slideLayout" Target="../slideLayouts/slideLayout18.xml"/><Relationship Id="rId21" Type="http://schemas.openxmlformats.org/officeDocument/2006/relationships/hyperlink" Target="http://www.facebook.com/Capgemini" TargetMode="Externa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oleObject" Target="../embeddings/oleObject16.bin"/><Relationship Id="rId25" Type="http://schemas.openxmlformats.org/officeDocument/2006/relationships/hyperlink" Target="http://www.twitter.com/capgemini" TargetMode="Externa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69.xml"/><Relationship Id="rId20" Type="http://schemas.openxmlformats.org/officeDocument/2006/relationships/image" Target="../media/image5.emf"/><Relationship Id="rId29" Type="http://schemas.openxmlformats.org/officeDocument/2006/relationships/hyperlink" Target="http://www.slideshare.net/capgemini" TargetMode="Externa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24" Type="http://schemas.openxmlformats.org/officeDocument/2006/relationships/image" Target="../media/image13.png"/><Relationship Id="rId5" Type="http://schemas.openxmlformats.org/officeDocument/2006/relationships/vmlDrawing" Target="../drawings/vmlDrawing16.vml"/><Relationship Id="rId15" Type="http://schemas.openxmlformats.org/officeDocument/2006/relationships/tags" Target="../tags/tag68.xml"/><Relationship Id="rId23" Type="http://schemas.openxmlformats.org/officeDocument/2006/relationships/hyperlink" Target="http://www.linkedin.com/company/capgemini" TargetMode="External"/><Relationship Id="rId28" Type="http://schemas.openxmlformats.org/officeDocument/2006/relationships/image" Target="../media/image15.png"/><Relationship Id="rId10" Type="http://schemas.openxmlformats.org/officeDocument/2006/relationships/tags" Target="../tags/tag63.xml"/><Relationship Id="rId19" Type="http://schemas.openxmlformats.org/officeDocument/2006/relationships/image" Target="../media/image11.tiff"/><Relationship Id="rId4" Type="http://schemas.openxmlformats.org/officeDocument/2006/relationships/theme" Target="../theme/theme2.xml"/><Relationship Id="rId9" Type="http://schemas.openxmlformats.org/officeDocument/2006/relationships/tags" Target="../tags/tag62.xml"/><Relationship Id="rId14" Type="http://schemas.openxmlformats.org/officeDocument/2006/relationships/tags" Target="../tags/tag67.xml"/><Relationship Id="rId22" Type="http://schemas.openxmlformats.org/officeDocument/2006/relationships/image" Target="../media/image12.png"/><Relationship Id="rId27" Type="http://schemas.openxmlformats.org/officeDocument/2006/relationships/hyperlink" Target="http://www.youtube.com/capgemini" TargetMode="External"/><Relationship Id="rId30" Type="http://schemas.openxmlformats.org/officeDocument/2006/relationships/image" Target="../media/image16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75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8381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fr-FR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fr-FR" noProof="0" smtClean="0"/>
              <a:t>Click to edit Master text style</a:t>
            </a:r>
          </a:p>
          <a:p>
            <a:pPr lvl="1"/>
            <a:r>
              <a:rPr lang="fr-FR" noProof="0" smtClean="0"/>
              <a:t>Text style level 2</a:t>
            </a:r>
          </a:p>
          <a:p>
            <a:pPr lvl="2"/>
            <a:r>
              <a:rPr lang="fr-FR" noProof="0" smtClean="0"/>
              <a:t>Text style level 3</a:t>
            </a:r>
          </a:p>
          <a:p>
            <a:pPr lvl="3"/>
            <a:r>
              <a:rPr lang="fr-FR" noProof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9542643" y="6661691"/>
            <a:ext cx="160301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fr-FR" sz="700" noProof="0" smtClean="0">
                <a:solidFill>
                  <a:srgbClr val="998C85"/>
                </a:solidFill>
              </a:rPr>
              <a:pPr algn="ctr"/>
              <a:t>‹N°›</a:t>
            </a:fld>
            <a:endParaRPr lang="fr-FR" sz="700" noProof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sz="2000" noProof="0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fr-FR" altLang="en-US" sz="700" noProof="0" smtClean="0">
                <a:solidFill>
                  <a:srgbClr val="998C85"/>
                </a:solidFill>
                <a:cs typeface="Helvetica Light"/>
              </a:rPr>
              <a:t>Copyright © Capgemini 2014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24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fr-FR" sz="700" noProof="0" dirty="0" smtClean="0">
                <a:solidFill>
                  <a:srgbClr val="998C85"/>
                </a:solidFill>
              </a:rPr>
              <a:t>ADM Center – Présentation synthétique | Décembre 2014 – V3.1</a:t>
            </a:r>
            <a:endParaRPr lang="fr-FR" sz="700" noProof="0" dirty="0">
              <a:solidFill>
                <a:srgbClr val="998C85"/>
              </a:solidFill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2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26"/>
            </p:custDataLst>
          </p:nvPr>
        </p:nvPicPr>
        <p:blipFill>
          <a:blip r:embed="rId29" cstate="email"/>
          <a:srcRect/>
          <a:stretch>
            <a:fillRect/>
          </a:stretch>
        </p:blipFill>
        <p:spPr bwMode="auto">
          <a:xfrm>
            <a:off x="312473" y="6460064"/>
            <a:ext cx="1332003" cy="308339"/>
          </a:xfrm>
          <a:prstGeom prst="rect">
            <a:avLst/>
          </a:prstGeom>
          <a:noFill/>
        </p:spPr>
      </p:pic>
      <p:pic>
        <p:nvPicPr>
          <p:cNvPr id="18" name="Picture 3" descr="C:\Users\jfenyo\AppData\Local\Microsoft\Windows\Temporary Internet Files\Content.Outlook\5VEB9492\pictogramme adm (2).png"/>
          <p:cNvPicPr>
            <a:picLocks noChangeAspect="1" noChangeArrowheads="1"/>
          </p:cNvPicPr>
          <p:nvPr userDrawn="1"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3809506" y="6462679"/>
            <a:ext cx="914894" cy="30449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7" r:id="rId6"/>
    <p:sldLayoutId id="2147483988" r:id="rId7"/>
    <p:sldLayoutId id="2147483989" r:id="rId8"/>
    <p:sldLayoutId id="2147483990" r:id="rId9"/>
    <p:sldLayoutId id="2147483991" r:id="rId10"/>
    <p:sldLayoutId id="2147483992" r:id="rId11"/>
    <p:sldLayoutId id="2147483994" r:id="rId12"/>
    <p:sldLayoutId id="2147483997" r:id="rId13"/>
    <p:sldLayoutId id="2147483998" r:id="rId14"/>
    <p:sldLayoutId id="2147483999" r:id="rId15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100000"/>
        </a:lnSpc>
        <a:spcBef>
          <a:spcPct val="0"/>
        </a:spcBef>
        <a:buNone/>
        <a:defRPr sz="2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ebdings" pitchFamily="18" charset="2"/>
        <a:buChar char="&lt;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ebdings" pitchFamily="18" charset="2"/>
        <a:buChar char="4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Wingdings 3" pitchFamily="18" charset="2"/>
        <a:buChar char="¬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4"/>
        </a:buClr>
        <a:buFont typeface="Wingdings" pitchFamily="2" charset="2"/>
        <a:buChar char="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499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8" name="Image 10" descr="Capgemini_logo_lr.tif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9" cstate="email"/>
          <a:stretch>
            <a:fillRect/>
          </a:stretch>
        </p:blipFill>
        <p:spPr>
          <a:xfrm>
            <a:off x="690569" y="930776"/>
            <a:ext cx="3154765" cy="776000"/>
          </a:xfrm>
          <a:prstGeom prst="rect">
            <a:avLst/>
          </a:prstGeom>
        </p:spPr>
      </p:pic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5491631" y="1173628"/>
            <a:ext cx="3645293" cy="290298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2014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</a:p>
          <a:p>
            <a:pPr algn="r"/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Capgemini.</a:t>
            </a:r>
            <a:endParaRPr lang="en-US"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>
            <p:custDataLst>
              <p:tags r:id="rId11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21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23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5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6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7"/>
          </p:cNvPr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8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9"/>
          </p:cNvPr>
          <p:cNvPicPr preferRelativeResize="0">
            <a:picLocks/>
          </p:cNvPicPr>
          <p:nvPr>
            <p:custDataLst>
              <p:tags r:id="rId16"/>
            </p:custDataLst>
          </p:nvPr>
        </p:nvPicPr>
        <p:blipFill>
          <a:blip r:embed="rId30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18" Type="http://schemas.openxmlformats.org/officeDocument/2006/relationships/image" Target="../media/image21.emf"/><Relationship Id="rId26" Type="http://schemas.openxmlformats.org/officeDocument/2006/relationships/image" Target="../media/image28.png"/><Relationship Id="rId3" Type="http://schemas.openxmlformats.org/officeDocument/2006/relationships/tags" Target="../tags/tag77.xml"/><Relationship Id="rId21" Type="http://schemas.openxmlformats.org/officeDocument/2006/relationships/image" Target="../media/image24.png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image" Target="../media/image20.emf"/><Relationship Id="rId25" Type="http://schemas.openxmlformats.org/officeDocument/2006/relationships/image" Target="../media/image19.png"/><Relationship Id="rId2" Type="http://schemas.openxmlformats.org/officeDocument/2006/relationships/tags" Target="../tags/tag76.xml"/><Relationship Id="rId16" Type="http://schemas.openxmlformats.org/officeDocument/2006/relationships/notesSlide" Target="../notesSlides/notesSlide3.xml"/><Relationship Id="rId20" Type="http://schemas.openxmlformats.org/officeDocument/2006/relationships/image" Target="../media/image23.emf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24" Type="http://schemas.openxmlformats.org/officeDocument/2006/relationships/image" Target="../media/image27.emf"/><Relationship Id="rId5" Type="http://schemas.openxmlformats.org/officeDocument/2006/relationships/tags" Target="../tags/tag79.xml"/><Relationship Id="rId15" Type="http://schemas.openxmlformats.org/officeDocument/2006/relationships/slideLayout" Target="../slideLayouts/slideLayout8.xml"/><Relationship Id="rId23" Type="http://schemas.openxmlformats.org/officeDocument/2006/relationships/image" Target="../media/image26.emf"/><Relationship Id="rId10" Type="http://schemas.openxmlformats.org/officeDocument/2006/relationships/tags" Target="../tags/tag84.xml"/><Relationship Id="rId19" Type="http://schemas.openxmlformats.org/officeDocument/2006/relationships/image" Target="../media/image22.emf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Relationship Id="rId22" Type="http://schemas.openxmlformats.org/officeDocument/2006/relationships/image" Target="../media/image2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7.png"/><Relationship Id="rId18" Type="http://schemas.openxmlformats.org/officeDocument/2006/relationships/image" Target="../media/image42.gif"/><Relationship Id="rId26" Type="http://schemas.openxmlformats.org/officeDocument/2006/relationships/image" Target="../media/image48.png"/><Relationship Id="rId3" Type="http://schemas.openxmlformats.org/officeDocument/2006/relationships/image" Target="../media/image29.jpeg"/><Relationship Id="rId21" Type="http://schemas.openxmlformats.org/officeDocument/2006/relationships/hyperlink" Target="http://images.google.com/url?q=http://googleenterprisefrance.blogspot.com/2012/05/essilor-une-seule-messagerie.html&amp;sa=U&amp;ei=yyiWUv_YIez3yAOX_4CoDQ&amp;ved=0CCoQ9QEwAA&amp;usg=AFQjCNESfWPaAr1d6AwIRovNQx1RjX5pxA" TargetMode="External"/><Relationship Id="rId34" Type="http://schemas.openxmlformats.org/officeDocument/2006/relationships/image" Target="../media/image54.jpeg"/><Relationship Id="rId7" Type="http://schemas.openxmlformats.org/officeDocument/2006/relationships/image" Target="../media/image33.png"/><Relationship Id="rId12" Type="http://schemas.openxmlformats.org/officeDocument/2006/relationships/hyperlink" Target="http://en.wikipedia.org/wiki/File:Adecco_Logo.svg" TargetMode="External"/><Relationship Id="rId17" Type="http://schemas.openxmlformats.org/officeDocument/2006/relationships/image" Target="../media/image41.jpeg"/><Relationship Id="rId25" Type="http://schemas.openxmlformats.org/officeDocument/2006/relationships/image" Target="../media/image47.png"/><Relationship Id="rId33" Type="http://schemas.openxmlformats.org/officeDocument/2006/relationships/hyperlink" Target="http://img.clubic.com/00474747-photo-logo-cnes-centre-national-d-etudes-spatiales.jpg" TargetMode="External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40.png"/><Relationship Id="rId20" Type="http://schemas.openxmlformats.org/officeDocument/2006/relationships/image" Target="../media/image43.gif"/><Relationship Id="rId29" Type="http://schemas.openxmlformats.org/officeDocument/2006/relationships/image" Target="../media/image5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2.jpeg"/><Relationship Id="rId11" Type="http://schemas.openxmlformats.org/officeDocument/2006/relationships/image" Target="../media/image36.gif"/><Relationship Id="rId24" Type="http://schemas.openxmlformats.org/officeDocument/2006/relationships/image" Target="../media/image46.png"/><Relationship Id="rId32" Type="http://schemas.openxmlformats.org/officeDocument/2006/relationships/image" Target="../media/image53.jpeg"/><Relationship Id="rId5" Type="http://schemas.openxmlformats.org/officeDocument/2006/relationships/image" Target="../media/image31.gif"/><Relationship Id="rId15" Type="http://schemas.openxmlformats.org/officeDocument/2006/relationships/image" Target="../media/image39.png"/><Relationship Id="rId23" Type="http://schemas.openxmlformats.org/officeDocument/2006/relationships/image" Target="../media/image45.jpeg"/><Relationship Id="rId28" Type="http://schemas.openxmlformats.org/officeDocument/2006/relationships/image" Target="../media/image50.png"/><Relationship Id="rId36" Type="http://schemas.openxmlformats.org/officeDocument/2006/relationships/image" Target="../media/image56.jpeg"/><Relationship Id="rId10" Type="http://schemas.openxmlformats.org/officeDocument/2006/relationships/image" Target="../media/image35.jpeg"/><Relationship Id="rId19" Type="http://schemas.openxmlformats.org/officeDocument/2006/relationships/hyperlink" Target="http://www.schneider-electric.com/site/home/index.cfm/ww/" TargetMode="External"/><Relationship Id="rId31" Type="http://schemas.openxmlformats.org/officeDocument/2006/relationships/image" Target="../media/image52.jpeg"/><Relationship Id="rId4" Type="http://schemas.openxmlformats.org/officeDocument/2006/relationships/image" Target="../media/image30.png"/><Relationship Id="rId9" Type="http://schemas.openxmlformats.org/officeDocument/2006/relationships/hyperlink" Target="https://www.google.com/url?q=http://www.ardechedromenumerique.fr/Bouygues-Telecom-deuxieme.html&amp;sa=U&amp;ei=KrNaU5OhDqPR0QXeq4CoCg&amp;ved=0CDoQ9QEwBg&amp;usg=AFQjCNGrfGnrkUnaRSAj3pSSgzdruF9WlQ" TargetMode="External"/><Relationship Id="rId14" Type="http://schemas.openxmlformats.org/officeDocument/2006/relationships/image" Target="../media/image38.png"/><Relationship Id="rId22" Type="http://schemas.openxmlformats.org/officeDocument/2006/relationships/image" Target="../media/image44.jpeg"/><Relationship Id="rId27" Type="http://schemas.openxmlformats.org/officeDocument/2006/relationships/image" Target="../media/image49.jpeg"/><Relationship Id="rId30" Type="http://schemas.openxmlformats.org/officeDocument/2006/relationships/hyperlink" Target="https://www.google.fr/url?q=http://www.miramas.org/ma-ville/economie-et-emploi/emploi-et-insertion/pole-emploi&amp;sa=U&amp;ei=PbZaU8TdO9Gr0gXSs4CYAQ&amp;ved=0CDAQ9QEwAQ&amp;sig2=DudLcSU0w3vCdoPgoyZQPw&amp;usg=AFQjCNFVogUArt744tgqoPXB45PnmKlcLw" TargetMode="External"/><Relationship Id="rId35" Type="http://schemas.openxmlformats.org/officeDocument/2006/relationships/image" Target="../media/image5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jpeg"/><Relationship Id="rId3" Type="http://schemas.openxmlformats.org/officeDocument/2006/relationships/image" Target="../media/image57.png"/><Relationship Id="rId7" Type="http://schemas.openxmlformats.org/officeDocument/2006/relationships/image" Target="../media/image61.jpeg"/><Relationship Id="rId12" Type="http://schemas.openxmlformats.org/officeDocument/2006/relationships/image" Target="../media/image66.jpe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70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0.emf"/><Relationship Id="rId11" Type="http://schemas.openxmlformats.org/officeDocument/2006/relationships/image" Target="../media/image65.jpeg"/><Relationship Id="rId5" Type="http://schemas.openxmlformats.org/officeDocument/2006/relationships/image" Target="../media/image59.jpeg"/><Relationship Id="rId15" Type="http://schemas.openxmlformats.org/officeDocument/2006/relationships/image" Target="../media/image69.png"/><Relationship Id="rId10" Type="http://schemas.openxmlformats.org/officeDocument/2006/relationships/image" Target="../media/image64.png"/><Relationship Id="rId4" Type="http://schemas.openxmlformats.org/officeDocument/2006/relationships/image" Target="../media/image58.jpeg"/><Relationship Id="rId9" Type="http://schemas.openxmlformats.org/officeDocument/2006/relationships/image" Target="../media/image63.png"/><Relationship Id="rId14" Type="http://schemas.openxmlformats.org/officeDocument/2006/relationships/image" Target="../media/image68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13" Type="http://schemas.openxmlformats.org/officeDocument/2006/relationships/image" Target="../media/image80.jpeg"/><Relationship Id="rId3" Type="http://schemas.openxmlformats.org/officeDocument/2006/relationships/image" Target="../media/image71.jpeg"/><Relationship Id="rId7" Type="http://schemas.openxmlformats.org/officeDocument/2006/relationships/image" Target="../media/image74.jpeg"/><Relationship Id="rId12" Type="http://schemas.openxmlformats.org/officeDocument/2006/relationships/image" Target="../media/image7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3.png"/><Relationship Id="rId11" Type="http://schemas.openxmlformats.org/officeDocument/2006/relationships/image" Target="../media/image78.png"/><Relationship Id="rId5" Type="http://schemas.openxmlformats.org/officeDocument/2006/relationships/image" Target="../media/image72.png"/><Relationship Id="rId10" Type="http://schemas.openxmlformats.org/officeDocument/2006/relationships/image" Target="../media/image77.jpeg"/><Relationship Id="rId4" Type="http://schemas.openxmlformats.org/officeDocument/2006/relationships/image" Target="../media/image59.jpeg"/><Relationship Id="rId9" Type="http://schemas.openxmlformats.org/officeDocument/2006/relationships/image" Target="../media/image76.png"/><Relationship Id="rId14" Type="http://schemas.openxmlformats.org/officeDocument/2006/relationships/image" Target="../media/image8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b="1" dirty="0" smtClean="0"/>
              <a:t>ADM Cent</a:t>
            </a:r>
            <a:r>
              <a:rPr lang="fr-FR" dirty="0" smtClean="0"/>
              <a:t>er</a:t>
            </a:r>
            <a:br>
              <a:rPr lang="fr-FR" dirty="0" smtClean="0"/>
            </a:br>
            <a:r>
              <a:rPr lang="fr-FR" sz="2000" dirty="0" smtClean="0"/>
              <a:t>Application </a:t>
            </a:r>
            <a:r>
              <a:rPr lang="fr-FR" sz="2000" dirty="0" err="1" smtClean="0"/>
              <a:t>Development</a:t>
            </a:r>
            <a:r>
              <a:rPr lang="fr-FR" sz="2000" dirty="0" smtClean="0"/>
              <a:t> &amp; Maintenance</a:t>
            </a:r>
            <a:r>
              <a:rPr lang="fr-FR" b="1" dirty="0" smtClean="0"/>
              <a:t/>
            </a:r>
            <a:br>
              <a:rPr lang="fr-FR" b="1" dirty="0" smtClean="0"/>
            </a:br>
            <a:r>
              <a:rPr lang="fr-FR" sz="2800" b="1" dirty="0" smtClean="0"/>
              <a:t>Présentation synthétique</a:t>
            </a:r>
            <a:endParaRPr lang="fr-FR" b="1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smtClean="0"/>
              <a:t>Décembre 2014 – V3.1</a:t>
            </a:r>
            <a:endParaRPr lang="fr-FR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/>
              <a:t>ADM Center France </a:t>
            </a:r>
            <a:r>
              <a:rPr lang="fr-FR" dirty="0" smtClean="0"/>
              <a:t>&gt; Une organisation unique pour répondre aux enjeux de </a:t>
            </a:r>
            <a:r>
              <a:rPr lang="fr-FR" b="1" dirty="0" smtClean="0"/>
              <a:t>performance</a:t>
            </a:r>
            <a:r>
              <a:rPr lang="fr-FR" dirty="0" smtClean="0"/>
              <a:t> et de </a:t>
            </a:r>
            <a:r>
              <a:rPr lang="fr-FR" b="1" dirty="0" smtClean="0"/>
              <a:t>transformation</a:t>
            </a:r>
            <a:endParaRPr lang="fr-FR" b="1" dirty="0"/>
          </a:p>
        </p:txBody>
      </p:sp>
      <p:sp>
        <p:nvSpPr>
          <p:cNvPr id="554" name="Arrondir un rectangle à un seul coin 553"/>
          <p:cNvSpPr/>
          <p:nvPr/>
        </p:nvSpPr>
        <p:spPr>
          <a:xfrm>
            <a:off x="200472" y="3742515"/>
            <a:ext cx="9577064" cy="2422789"/>
          </a:xfrm>
          <a:prstGeom prst="round1Rect">
            <a:avLst/>
          </a:prstGeom>
          <a:solidFill>
            <a:srgbClr val="0098C7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wrap="none" lIns="0" tIns="144000" rIns="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smtClean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Arial Black" pitchFamily="34" charset="0"/>
              <a:ea typeface="+mn-ea"/>
              <a:cs typeface="+mn-cs"/>
            </a:endParaRPr>
          </a:p>
        </p:txBody>
      </p:sp>
      <p:sp>
        <p:nvSpPr>
          <p:cNvPr id="555" name="Freeform 684"/>
          <p:cNvSpPr>
            <a:spLocks/>
          </p:cNvSpPr>
          <p:nvPr/>
        </p:nvSpPr>
        <p:spPr bwMode="auto">
          <a:xfrm>
            <a:off x="607510" y="4165211"/>
            <a:ext cx="2116168" cy="1928085"/>
          </a:xfrm>
          <a:custGeom>
            <a:avLst/>
            <a:gdLst/>
            <a:ahLst/>
            <a:cxnLst>
              <a:cxn ang="0">
                <a:pos x="100" y="20"/>
              </a:cxn>
              <a:cxn ang="0">
                <a:pos x="85" y="33"/>
              </a:cxn>
              <a:cxn ang="0">
                <a:pos x="82" y="41"/>
              </a:cxn>
              <a:cxn ang="0">
                <a:pos x="75" y="45"/>
              </a:cxn>
              <a:cxn ang="0">
                <a:pos x="55" y="40"/>
              </a:cxn>
              <a:cxn ang="0">
                <a:pos x="46" y="36"/>
              </a:cxn>
              <a:cxn ang="0">
                <a:pos x="54" y="61"/>
              </a:cxn>
              <a:cxn ang="0">
                <a:pos x="46" y="61"/>
              </a:cxn>
              <a:cxn ang="0">
                <a:pos x="28" y="58"/>
              </a:cxn>
              <a:cxn ang="0">
                <a:pos x="18" y="59"/>
              </a:cxn>
              <a:cxn ang="0">
                <a:pos x="5" y="69"/>
              </a:cxn>
              <a:cxn ang="0">
                <a:pos x="3" y="74"/>
              </a:cxn>
              <a:cxn ang="0">
                <a:pos x="3" y="77"/>
              </a:cxn>
              <a:cxn ang="0">
                <a:pos x="10" y="81"/>
              </a:cxn>
              <a:cxn ang="0">
                <a:pos x="26" y="87"/>
              </a:cxn>
              <a:cxn ang="0">
                <a:pos x="34" y="90"/>
              </a:cxn>
              <a:cxn ang="0">
                <a:pos x="41" y="95"/>
              </a:cxn>
              <a:cxn ang="0">
                <a:pos x="42" y="99"/>
              </a:cxn>
              <a:cxn ang="0">
                <a:pos x="41" y="103"/>
              </a:cxn>
              <a:cxn ang="0">
                <a:pos x="59" y="118"/>
              </a:cxn>
              <a:cxn ang="0">
                <a:pos x="57" y="130"/>
              </a:cxn>
              <a:cxn ang="0">
                <a:pos x="65" y="141"/>
              </a:cxn>
              <a:cxn ang="0">
                <a:pos x="59" y="153"/>
              </a:cxn>
              <a:cxn ang="0">
                <a:pos x="49" y="184"/>
              </a:cxn>
              <a:cxn ang="0">
                <a:pos x="59" y="192"/>
              </a:cxn>
              <a:cxn ang="0">
                <a:pos x="87" y="197"/>
              </a:cxn>
              <a:cxn ang="0">
                <a:pos x="105" y="205"/>
              </a:cxn>
              <a:cxn ang="0">
                <a:pos x="124" y="195"/>
              </a:cxn>
              <a:cxn ang="0">
                <a:pos x="137" y="180"/>
              </a:cxn>
              <a:cxn ang="0">
                <a:pos x="147" y="182"/>
              </a:cxn>
              <a:cxn ang="0">
                <a:pos x="154" y="182"/>
              </a:cxn>
              <a:cxn ang="0">
                <a:pos x="160" y="184"/>
              </a:cxn>
              <a:cxn ang="0">
                <a:pos x="168" y="188"/>
              </a:cxn>
              <a:cxn ang="0">
                <a:pos x="181" y="184"/>
              </a:cxn>
              <a:cxn ang="0">
                <a:pos x="194" y="172"/>
              </a:cxn>
              <a:cxn ang="0">
                <a:pos x="194" y="166"/>
              </a:cxn>
              <a:cxn ang="0">
                <a:pos x="185" y="153"/>
              </a:cxn>
              <a:cxn ang="0">
                <a:pos x="181" y="146"/>
              </a:cxn>
              <a:cxn ang="0">
                <a:pos x="183" y="128"/>
              </a:cxn>
              <a:cxn ang="0">
                <a:pos x="183" y="123"/>
              </a:cxn>
              <a:cxn ang="0">
                <a:pos x="173" y="118"/>
              </a:cxn>
              <a:cxn ang="0">
                <a:pos x="172" y="108"/>
              </a:cxn>
              <a:cxn ang="0">
                <a:pos x="176" y="102"/>
              </a:cxn>
              <a:cxn ang="0">
                <a:pos x="189" y="89"/>
              </a:cxn>
              <a:cxn ang="0">
                <a:pos x="196" y="63"/>
              </a:cxn>
              <a:cxn ang="0">
                <a:pos x="178" y="43"/>
              </a:cxn>
              <a:cxn ang="0">
                <a:pos x="163" y="38"/>
              </a:cxn>
              <a:cxn ang="0">
                <a:pos x="154" y="31"/>
              </a:cxn>
              <a:cxn ang="0">
                <a:pos x="145" y="30"/>
              </a:cxn>
              <a:cxn ang="0">
                <a:pos x="129" y="15"/>
              </a:cxn>
              <a:cxn ang="0">
                <a:pos x="119" y="0"/>
              </a:cxn>
            </a:cxnLst>
            <a:rect l="0" t="0" r="r" b="b"/>
            <a:pathLst>
              <a:path w="203" h="205">
                <a:moveTo>
                  <a:pt x="119" y="0"/>
                </a:moveTo>
                <a:lnTo>
                  <a:pt x="118" y="2"/>
                </a:lnTo>
                <a:lnTo>
                  <a:pt x="103" y="5"/>
                </a:lnTo>
                <a:lnTo>
                  <a:pt x="100" y="20"/>
                </a:lnTo>
                <a:lnTo>
                  <a:pt x="101" y="22"/>
                </a:lnTo>
                <a:lnTo>
                  <a:pt x="101" y="23"/>
                </a:lnTo>
                <a:lnTo>
                  <a:pt x="93" y="30"/>
                </a:lnTo>
                <a:lnTo>
                  <a:pt x="85" y="33"/>
                </a:lnTo>
                <a:lnTo>
                  <a:pt x="80" y="35"/>
                </a:lnTo>
                <a:lnTo>
                  <a:pt x="78" y="40"/>
                </a:lnTo>
                <a:lnTo>
                  <a:pt x="78" y="41"/>
                </a:lnTo>
                <a:lnTo>
                  <a:pt x="82" y="41"/>
                </a:lnTo>
                <a:lnTo>
                  <a:pt x="85" y="41"/>
                </a:lnTo>
                <a:lnTo>
                  <a:pt x="83" y="43"/>
                </a:lnTo>
                <a:lnTo>
                  <a:pt x="78" y="43"/>
                </a:lnTo>
                <a:lnTo>
                  <a:pt x="75" y="45"/>
                </a:lnTo>
                <a:lnTo>
                  <a:pt x="69" y="46"/>
                </a:lnTo>
                <a:lnTo>
                  <a:pt x="60" y="45"/>
                </a:lnTo>
                <a:lnTo>
                  <a:pt x="59" y="45"/>
                </a:lnTo>
                <a:lnTo>
                  <a:pt x="55" y="40"/>
                </a:lnTo>
                <a:lnTo>
                  <a:pt x="55" y="36"/>
                </a:lnTo>
                <a:lnTo>
                  <a:pt x="54" y="36"/>
                </a:lnTo>
                <a:lnTo>
                  <a:pt x="49" y="36"/>
                </a:lnTo>
                <a:lnTo>
                  <a:pt x="46" y="36"/>
                </a:lnTo>
                <a:lnTo>
                  <a:pt x="47" y="45"/>
                </a:lnTo>
                <a:lnTo>
                  <a:pt x="49" y="46"/>
                </a:lnTo>
                <a:lnTo>
                  <a:pt x="51" y="59"/>
                </a:lnTo>
                <a:lnTo>
                  <a:pt x="54" y="61"/>
                </a:lnTo>
                <a:lnTo>
                  <a:pt x="52" y="63"/>
                </a:lnTo>
                <a:lnTo>
                  <a:pt x="49" y="63"/>
                </a:lnTo>
                <a:lnTo>
                  <a:pt x="47" y="61"/>
                </a:lnTo>
                <a:lnTo>
                  <a:pt x="46" y="61"/>
                </a:lnTo>
                <a:lnTo>
                  <a:pt x="42" y="63"/>
                </a:lnTo>
                <a:lnTo>
                  <a:pt x="39" y="61"/>
                </a:lnTo>
                <a:lnTo>
                  <a:pt x="34" y="64"/>
                </a:lnTo>
                <a:lnTo>
                  <a:pt x="28" y="58"/>
                </a:lnTo>
                <a:lnTo>
                  <a:pt x="21" y="58"/>
                </a:lnTo>
                <a:lnTo>
                  <a:pt x="21" y="58"/>
                </a:lnTo>
                <a:lnTo>
                  <a:pt x="20" y="58"/>
                </a:lnTo>
                <a:lnTo>
                  <a:pt x="18" y="59"/>
                </a:lnTo>
                <a:lnTo>
                  <a:pt x="0" y="64"/>
                </a:lnTo>
                <a:lnTo>
                  <a:pt x="0" y="67"/>
                </a:lnTo>
                <a:lnTo>
                  <a:pt x="0" y="69"/>
                </a:lnTo>
                <a:lnTo>
                  <a:pt x="5" y="69"/>
                </a:lnTo>
                <a:lnTo>
                  <a:pt x="5" y="69"/>
                </a:lnTo>
                <a:lnTo>
                  <a:pt x="3" y="71"/>
                </a:lnTo>
                <a:lnTo>
                  <a:pt x="2" y="72"/>
                </a:lnTo>
                <a:lnTo>
                  <a:pt x="3" y="74"/>
                </a:lnTo>
                <a:lnTo>
                  <a:pt x="8" y="72"/>
                </a:lnTo>
                <a:lnTo>
                  <a:pt x="6" y="76"/>
                </a:lnTo>
                <a:lnTo>
                  <a:pt x="2" y="76"/>
                </a:lnTo>
                <a:lnTo>
                  <a:pt x="3" y="77"/>
                </a:lnTo>
                <a:lnTo>
                  <a:pt x="6" y="79"/>
                </a:lnTo>
                <a:lnTo>
                  <a:pt x="6" y="82"/>
                </a:lnTo>
                <a:lnTo>
                  <a:pt x="10" y="82"/>
                </a:lnTo>
                <a:lnTo>
                  <a:pt x="10" y="81"/>
                </a:lnTo>
                <a:lnTo>
                  <a:pt x="13" y="81"/>
                </a:lnTo>
                <a:lnTo>
                  <a:pt x="24" y="85"/>
                </a:lnTo>
                <a:lnTo>
                  <a:pt x="24" y="87"/>
                </a:lnTo>
                <a:lnTo>
                  <a:pt x="26" y="87"/>
                </a:lnTo>
                <a:lnTo>
                  <a:pt x="29" y="87"/>
                </a:lnTo>
                <a:lnTo>
                  <a:pt x="33" y="87"/>
                </a:lnTo>
                <a:lnTo>
                  <a:pt x="31" y="89"/>
                </a:lnTo>
                <a:lnTo>
                  <a:pt x="34" y="90"/>
                </a:lnTo>
                <a:lnTo>
                  <a:pt x="36" y="89"/>
                </a:lnTo>
                <a:lnTo>
                  <a:pt x="38" y="89"/>
                </a:lnTo>
                <a:lnTo>
                  <a:pt x="36" y="94"/>
                </a:lnTo>
                <a:lnTo>
                  <a:pt x="41" y="95"/>
                </a:lnTo>
                <a:lnTo>
                  <a:pt x="44" y="94"/>
                </a:lnTo>
                <a:lnTo>
                  <a:pt x="47" y="95"/>
                </a:lnTo>
                <a:lnTo>
                  <a:pt x="42" y="97"/>
                </a:lnTo>
                <a:lnTo>
                  <a:pt x="42" y="99"/>
                </a:lnTo>
                <a:lnTo>
                  <a:pt x="46" y="100"/>
                </a:lnTo>
                <a:lnTo>
                  <a:pt x="44" y="103"/>
                </a:lnTo>
                <a:lnTo>
                  <a:pt x="42" y="102"/>
                </a:lnTo>
                <a:lnTo>
                  <a:pt x="41" y="103"/>
                </a:lnTo>
                <a:lnTo>
                  <a:pt x="47" y="110"/>
                </a:lnTo>
                <a:lnTo>
                  <a:pt x="47" y="112"/>
                </a:lnTo>
                <a:lnTo>
                  <a:pt x="54" y="117"/>
                </a:lnTo>
                <a:lnTo>
                  <a:pt x="59" y="118"/>
                </a:lnTo>
                <a:lnTo>
                  <a:pt x="59" y="120"/>
                </a:lnTo>
                <a:lnTo>
                  <a:pt x="59" y="123"/>
                </a:lnTo>
                <a:lnTo>
                  <a:pt x="59" y="126"/>
                </a:lnTo>
                <a:lnTo>
                  <a:pt x="57" y="130"/>
                </a:lnTo>
                <a:lnTo>
                  <a:pt x="59" y="133"/>
                </a:lnTo>
                <a:lnTo>
                  <a:pt x="62" y="135"/>
                </a:lnTo>
                <a:lnTo>
                  <a:pt x="64" y="138"/>
                </a:lnTo>
                <a:lnTo>
                  <a:pt x="65" y="141"/>
                </a:lnTo>
                <a:lnTo>
                  <a:pt x="60" y="135"/>
                </a:lnTo>
                <a:lnTo>
                  <a:pt x="59" y="138"/>
                </a:lnTo>
                <a:lnTo>
                  <a:pt x="57" y="154"/>
                </a:lnTo>
                <a:lnTo>
                  <a:pt x="59" y="153"/>
                </a:lnTo>
                <a:lnTo>
                  <a:pt x="60" y="154"/>
                </a:lnTo>
                <a:lnTo>
                  <a:pt x="57" y="157"/>
                </a:lnTo>
                <a:lnTo>
                  <a:pt x="52" y="182"/>
                </a:lnTo>
                <a:lnTo>
                  <a:pt x="49" y="184"/>
                </a:lnTo>
                <a:lnTo>
                  <a:pt x="47" y="184"/>
                </a:lnTo>
                <a:lnTo>
                  <a:pt x="47" y="184"/>
                </a:lnTo>
                <a:lnTo>
                  <a:pt x="55" y="190"/>
                </a:lnTo>
                <a:lnTo>
                  <a:pt x="59" y="192"/>
                </a:lnTo>
                <a:lnTo>
                  <a:pt x="65" y="195"/>
                </a:lnTo>
                <a:lnTo>
                  <a:pt x="82" y="200"/>
                </a:lnTo>
                <a:lnTo>
                  <a:pt x="85" y="198"/>
                </a:lnTo>
                <a:lnTo>
                  <a:pt x="87" y="197"/>
                </a:lnTo>
                <a:lnTo>
                  <a:pt x="90" y="197"/>
                </a:lnTo>
                <a:lnTo>
                  <a:pt x="96" y="200"/>
                </a:lnTo>
                <a:lnTo>
                  <a:pt x="100" y="200"/>
                </a:lnTo>
                <a:lnTo>
                  <a:pt x="105" y="205"/>
                </a:lnTo>
                <a:lnTo>
                  <a:pt x="108" y="205"/>
                </a:lnTo>
                <a:lnTo>
                  <a:pt x="126" y="205"/>
                </a:lnTo>
                <a:lnTo>
                  <a:pt x="124" y="195"/>
                </a:lnTo>
                <a:lnTo>
                  <a:pt x="124" y="195"/>
                </a:lnTo>
                <a:lnTo>
                  <a:pt x="124" y="190"/>
                </a:lnTo>
                <a:lnTo>
                  <a:pt x="126" y="187"/>
                </a:lnTo>
                <a:lnTo>
                  <a:pt x="136" y="182"/>
                </a:lnTo>
                <a:lnTo>
                  <a:pt x="137" y="180"/>
                </a:lnTo>
                <a:lnTo>
                  <a:pt x="139" y="179"/>
                </a:lnTo>
                <a:lnTo>
                  <a:pt x="140" y="179"/>
                </a:lnTo>
                <a:lnTo>
                  <a:pt x="142" y="180"/>
                </a:lnTo>
                <a:lnTo>
                  <a:pt x="147" y="182"/>
                </a:lnTo>
                <a:lnTo>
                  <a:pt x="147" y="182"/>
                </a:lnTo>
                <a:lnTo>
                  <a:pt x="149" y="184"/>
                </a:lnTo>
                <a:lnTo>
                  <a:pt x="154" y="184"/>
                </a:lnTo>
                <a:lnTo>
                  <a:pt x="154" y="182"/>
                </a:lnTo>
                <a:lnTo>
                  <a:pt x="157" y="182"/>
                </a:lnTo>
                <a:lnTo>
                  <a:pt x="157" y="184"/>
                </a:lnTo>
                <a:lnTo>
                  <a:pt x="158" y="184"/>
                </a:lnTo>
                <a:lnTo>
                  <a:pt x="160" y="184"/>
                </a:lnTo>
                <a:lnTo>
                  <a:pt x="162" y="185"/>
                </a:lnTo>
                <a:lnTo>
                  <a:pt x="162" y="185"/>
                </a:lnTo>
                <a:lnTo>
                  <a:pt x="165" y="187"/>
                </a:lnTo>
                <a:lnTo>
                  <a:pt x="168" y="188"/>
                </a:lnTo>
                <a:lnTo>
                  <a:pt x="173" y="188"/>
                </a:lnTo>
                <a:lnTo>
                  <a:pt x="180" y="185"/>
                </a:lnTo>
                <a:lnTo>
                  <a:pt x="181" y="185"/>
                </a:lnTo>
                <a:lnTo>
                  <a:pt x="181" y="184"/>
                </a:lnTo>
                <a:lnTo>
                  <a:pt x="188" y="177"/>
                </a:lnTo>
                <a:lnTo>
                  <a:pt x="189" y="175"/>
                </a:lnTo>
                <a:lnTo>
                  <a:pt x="194" y="174"/>
                </a:lnTo>
                <a:lnTo>
                  <a:pt x="194" y="172"/>
                </a:lnTo>
                <a:lnTo>
                  <a:pt x="194" y="172"/>
                </a:lnTo>
                <a:lnTo>
                  <a:pt x="194" y="169"/>
                </a:lnTo>
                <a:lnTo>
                  <a:pt x="194" y="167"/>
                </a:lnTo>
                <a:lnTo>
                  <a:pt x="194" y="166"/>
                </a:lnTo>
                <a:lnTo>
                  <a:pt x="186" y="164"/>
                </a:lnTo>
                <a:lnTo>
                  <a:pt x="185" y="161"/>
                </a:lnTo>
                <a:lnTo>
                  <a:pt x="185" y="156"/>
                </a:lnTo>
                <a:lnTo>
                  <a:pt x="185" y="153"/>
                </a:lnTo>
                <a:lnTo>
                  <a:pt x="185" y="151"/>
                </a:lnTo>
                <a:lnTo>
                  <a:pt x="181" y="149"/>
                </a:lnTo>
                <a:lnTo>
                  <a:pt x="181" y="148"/>
                </a:lnTo>
                <a:lnTo>
                  <a:pt x="181" y="146"/>
                </a:lnTo>
                <a:lnTo>
                  <a:pt x="181" y="144"/>
                </a:lnTo>
                <a:lnTo>
                  <a:pt x="183" y="143"/>
                </a:lnTo>
                <a:lnTo>
                  <a:pt x="186" y="139"/>
                </a:lnTo>
                <a:lnTo>
                  <a:pt x="183" y="128"/>
                </a:lnTo>
                <a:lnTo>
                  <a:pt x="183" y="126"/>
                </a:lnTo>
                <a:lnTo>
                  <a:pt x="186" y="126"/>
                </a:lnTo>
                <a:lnTo>
                  <a:pt x="185" y="123"/>
                </a:lnTo>
                <a:lnTo>
                  <a:pt x="183" y="123"/>
                </a:lnTo>
                <a:lnTo>
                  <a:pt x="181" y="115"/>
                </a:lnTo>
                <a:lnTo>
                  <a:pt x="181" y="113"/>
                </a:lnTo>
                <a:lnTo>
                  <a:pt x="176" y="113"/>
                </a:lnTo>
                <a:lnTo>
                  <a:pt x="173" y="118"/>
                </a:lnTo>
                <a:lnTo>
                  <a:pt x="170" y="120"/>
                </a:lnTo>
                <a:lnTo>
                  <a:pt x="170" y="120"/>
                </a:lnTo>
                <a:lnTo>
                  <a:pt x="172" y="110"/>
                </a:lnTo>
                <a:lnTo>
                  <a:pt x="172" y="108"/>
                </a:lnTo>
                <a:lnTo>
                  <a:pt x="173" y="107"/>
                </a:lnTo>
                <a:lnTo>
                  <a:pt x="175" y="105"/>
                </a:lnTo>
                <a:lnTo>
                  <a:pt x="176" y="105"/>
                </a:lnTo>
                <a:lnTo>
                  <a:pt x="176" y="102"/>
                </a:lnTo>
                <a:lnTo>
                  <a:pt x="185" y="92"/>
                </a:lnTo>
                <a:lnTo>
                  <a:pt x="185" y="90"/>
                </a:lnTo>
                <a:lnTo>
                  <a:pt x="185" y="89"/>
                </a:lnTo>
                <a:lnTo>
                  <a:pt x="189" y="89"/>
                </a:lnTo>
                <a:lnTo>
                  <a:pt x="194" y="85"/>
                </a:lnTo>
                <a:lnTo>
                  <a:pt x="194" y="85"/>
                </a:lnTo>
                <a:lnTo>
                  <a:pt x="194" y="74"/>
                </a:lnTo>
                <a:lnTo>
                  <a:pt x="196" y="63"/>
                </a:lnTo>
                <a:lnTo>
                  <a:pt x="201" y="56"/>
                </a:lnTo>
                <a:lnTo>
                  <a:pt x="203" y="53"/>
                </a:lnTo>
                <a:lnTo>
                  <a:pt x="181" y="48"/>
                </a:lnTo>
                <a:lnTo>
                  <a:pt x="178" y="43"/>
                </a:lnTo>
                <a:lnTo>
                  <a:pt x="173" y="40"/>
                </a:lnTo>
                <a:lnTo>
                  <a:pt x="170" y="40"/>
                </a:lnTo>
                <a:lnTo>
                  <a:pt x="165" y="38"/>
                </a:lnTo>
                <a:lnTo>
                  <a:pt x="163" y="38"/>
                </a:lnTo>
                <a:lnTo>
                  <a:pt x="160" y="38"/>
                </a:lnTo>
                <a:lnTo>
                  <a:pt x="154" y="33"/>
                </a:lnTo>
                <a:lnTo>
                  <a:pt x="155" y="31"/>
                </a:lnTo>
                <a:lnTo>
                  <a:pt x="154" y="31"/>
                </a:lnTo>
                <a:lnTo>
                  <a:pt x="154" y="25"/>
                </a:lnTo>
                <a:lnTo>
                  <a:pt x="152" y="25"/>
                </a:lnTo>
                <a:lnTo>
                  <a:pt x="149" y="30"/>
                </a:lnTo>
                <a:lnTo>
                  <a:pt x="145" y="30"/>
                </a:lnTo>
                <a:lnTo>
                  <a:pt x="142" y="28"/>
                </a:lnTo>
                <a:lnTo>
                  <a:pt x="140" y="22"/>
                </a:lnTo>
                <a:lnTo>
                  <a:pt x="139" y="20"/>
                </a:lnTo>
                <a:lnTo>
                  <a:pt x="129" y="15"/>
                </a:lnTo>
                <a:lnTo>
                  <a:pt x="126" y="9"/>
                </a:lnTo>
                <a:lnTo>
                  <a:pt x="122" y="10"/>
                </a:lnTo>
                <a:lnTo>
                  <a:pt x="119" y="9"/>
                </a:lnTo>
                <a:lnTo>
                  <a:pt x="119" y="0"/>
                </a:lnTo>
                <a:close/>
              </a:path>
            </a:pathLst>
          </a:custGeom>
          <a:solidFill>
            <a:srgbClr val="998C85">
              <a:lumMod val="40000"/>
              <a:lumOff val="60000"/>
            </a:srgbClr>
          </a:solidFill>
          <a:ln w="12700" cap="flat" cmpd="sng" algn="ctr">
            <a:solidFill>
              <a:sysClr val="window" lastClr="FFFFFF"/>
            </a:solidFill>
            <a:prstDash val="solid"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6" name="ZoneTexte 555"/>
          <p:cNvSpPr txBox="1"/>
          <p:nvPr/>
        </p:nvSpPr>
        <p:spPr>
          <a:xfrm>
            <a:off x="488503" y="4707919"/>
            <a:ext cx="7120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nnes</a:t>
            </a:r>
            <a:endParaRPr kumimoji="0" lang="fr-FR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7" name="ZoneTexte 556"/>
          <p:cNvSpPr txBox="1"/>
          <p:nvPr/>
        </p:nvSpPr>
        <p:spPr>
          <a:xfrm>
            <a:off x="610995" y="4968202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Nantes</a:t>
            </a:r>
            <a:endParaRPr kumimoji="0" lang="fr-FR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8" name="ZoneTexte 557"/>
          <p:cNvSpPr txBox="1"/>
          <p:nvPr/>
        </p:nvSpPr>
        <p:spPr>
          <a:xfrm>
            <a:off x="2022906" y="4174496"/>
            <a:ext cx="4555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Lille</a:t>
            </a:r>
            <a:endParaRPr kumimoji="0" lang="fr-FR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559" name="Connecteur droit 558"/>
          <p:cNvCxnSpPr>
            <a:endCxn id="568" idx="4"/>
          </p:cNvCxnSpPr>
          <p:nvPr/>
        </p:nvCxnSpPr>
        <p:spPr>
          <a:xfrm flipH="1" flipV="1">
            <a:off x="1802825" y="4765835"/>
            <a:ext cx="58452" cy="495743"/>
          </a:xfrm>
          <a:prstGeom prst="line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560" name="Connecteur droit 559"/>
          <p:cNvCxnSpPr/>
          <p:nvPr/>
        </p:nvCxnSpPr>
        <p:spPr>
          <a:xfrm flipV="1">
            <a:off x="2011197" y="4819182"/>
            <a:ext cx="533815" cy="395644"/>
          </a:xfrm>
          <a:prstGeom prst="line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561" name="Connecteur droit 560"/>
          <p:cNvCxnSpPr/>
          <p:nvPr/>
        </p:nvCxnSpPr>
        <p:spPr>
          <a:xfrm>
            <a:off x="1382331" y="4921375"/>
            <a:ext cx="487317" cy="334248"/>
          </a:xfrm>
          <a:prstGeom prst="line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562" name="Connecteur droit 561"/>
          <p:cNvCxnSpPr>
            <a:endCxn id="566" idx="6"/>
          </p:cNvCxnSpPr>
          <p:nvPr/>
        </p:nvCxnSpPr>
        <p:spPr>
          <a:xfrm flipH="1" flipV="1">
            <a:off x="1354170" y="5104609"/>
            <a:ext cx="506574" cy="152682"/>
          </a:xfrm>
          <a:prstGeom prst="line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563" name="Ellipse 562"/>
          <p:cNvSpPr/>
          <p:nvPr/>
        </p:nvSpPr>
        <p:spPr>
          <a:xfrm>
            <a:off x="1472110" y="5680098"/>
            <a:ext cx="239799" cy="236141"/>
          </a:xfrm>
          <a:prstGeom prst="ellipse">
            <a:avLst/>
          </a:prstGeom>
          <a:gradFill rotWithShape="1">
            <a:gsLst>
              <a:gs pos="0">
                <a:srgbClr val="FFBC1D">
                  <a:shade val="51000"/>
                  <a:satMod val="130000"/>
                </a:srgbClr>
              </a:gs>
              <a:gs pos="80000">
                <a:srgbClr val="FFBC1D">
                  <a:shade val="93000"/>
                  <a:satMod val="130000"/>
                </a:srgbClr>
              </a:gs>
              <a:gs pos="100000">
                <a:srgbClr val="FFBC1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 smtClean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4" name="ZoneTexte 563"/>
          <p:cNvSpPr txBox="1"/>
          <p:nvPr/>
        </p:nvSpPr>
        <p:spPr>
          <a:xfrm>
            <a:off x="751884" y="5659529"/>
            <a:ext cx="8146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oulouse</a:t>
            </a:r>
            <a:endParaRPr kumimoji="0" lang="fr-FR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65" name="Ellipse 564"/>
          <p:cNvSpPr/>
          <p:nvPr/>
        </p:nvSpPr>
        <p:spPr>
          <a:xfrm>
            <a:off x="1138260" y="4754013"/>
            <a:ext cx="239799" cy="236141"/>
          </a:xfrm>
          <a:prstGeom prst="ellipse">
            <a:avLst/>
          </a:prstGeom>
          <a:gradFill rotWithShape="1">
            <a:gsLst>
              <a:gs pos="0">
                <a:srgbClr val="FFBC1D">
                  <a:shade val="51000"/>
                  <a:satMod val="130000"/>
                </a:srgbClr>
              </a:gs>
              <a:gs pos="80000">
                <a:srgbClr val="FFBC1D">
                  <a:shade val="93000"/>
                  <a:satMod val="130000"/>
                </a:srgbClr>
              </a:gs>
              <a:gs pos="100000">
                <a:srgbClr val="FFBC1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 smtClean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6" name="Ellipse 565"/>
          <p:cNvSpPr/>
          <p:nvPr/>
        </p:nvSpPr>
        <p:spPr>
          <a:xfrm>
            <a:off x="1200557" y="5025634"/>
            <a:ext cx="153613" cy="157950"/>
          </a:xfrm>
          <a:prstGeom prst="ellipse">
            <a:avLst/>
          </a:prstGeom>
          <a:gradFill rotWithShape="1">
            <a:gsLst>
              <a:gs pos="0">
                <a:srgbClr val="FFBC1D">
                  <a:shade val="51000"/>
                  <a:satMod val="130000"/>
                </a:srgbClr>
              </a:gs>
              <a:gs pos="80000">
                <a:srgbClr val="FFBC1D">
                  <a:shade val="93000"/>
                  <a:satMod val="130000"/>
                </a:srgbClr>
              </a:gs>
              <a:gs pos="100000">
                <a:srgbClr val="FFBC1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 smtClean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7" name="Ellipse 566"/>
          <p:cNvSpPr/>
          <p:nvPr/>
        </p:nvSpPr>
        <p:spPr>
          <a:xfrm>
            <a:off x="1867368" y="4316731"/>
            <a:ext cx="239799" cy="236141"/>
          </a:xfrm>
          <a:prstGeom prst="ellipse">
            <a:avLst/>
          </a:prstGeom>
          <a:gradFill rotWithShape="1">
            <a:gsLst>
              <a:gs pos="0">
                <a:srgbClr val="FFBC1D">
                  <a:shade val="51000"/>
                  <a:satMod val="130000"/>
                </a:srgbClr>
              </a:gs>
              <a:gs pos="80000">
                <a:srgbClr val="FFBC1D">
                  <a:shade val="93000"/>
                  <a:satMod val="130000"/>
                </a:srgbClr>
              </a:gs>
              <a:gs pos="100000">
                <a:srgbClr val="FFBC1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 smtClean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8" name="Ellipse 567"/>
          <p:cNvSpPr/>
          <p:nvPr/>
        </p:nvSpPr>
        <p:spPr>
          <a:xfrm>
            <a:off x="1682925" y="4529694"/>
            <a:ext cx="239799" cy="236141"/>
          </a:xfrm>
          <a:prstGeom prst="ellipse">
            <a:avLst/>
          </a:prstGeom>
          <a:gradFill rotWithShape="1">
            <a:gsLst>
              <a:gs pos="0">
                <a:srgbClr val="FFBC1D">
                  <a:shade val="51000"/>
                  <a:satMod val="130000"/>
                </a:srgbClr>
              </a:gs>
              <a:gs pos="80000">
                <a:srgbClr val="FFBC1D">
                  <a:shade val="93000"/>
                  <a:satMod val="130000"/>
                </a:srgbClr>
              </a:gs>
              <a:gs pos="100000">
                <a:srgbClr val="FFBC1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 smtClean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9" name="Ellipse 568"/>
          <p:cNvSpPr/>
          <p:nvPr/>
        </p:nvSpPr>
        <p:spPr>
          <a:xfrm>
            <a:off x="2512298" y="4720459"/>
            <a:ext cx="122891" cy="126361"/>
          </a:xfrm>
          <a:prstGeom prst="ellipse">
            <a:avLst/>
          </a:prstGeom>
          <a:gradFill rotWithShape="1">
            <a:gsLst>
              <a:gs pos="0">
                <a:srgbClr val="FFBC1D">
                  <a:shade val="51000"/>
                  <a:satMod val="130000"/>
                </a:srgbClr>
              </a:gs>
              <a:gs pos="80000">
                <a:srgbClr val="FFBC1D">
                  <a:shade val="93000"/>
                  <a:satMod val="130000"/>
                </a:srgbClr>
              </a:gs>
              <a:gs pos="100000">
                <a:srgbClr val="FFBC1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 smtClean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0" name="Ellipse 569"/>
          <p:cNvSpPr/>
          <p:nvPr/>
        </p:nvSpPr>
        <p:spPr>
          <a:xfrm>
            <a:off x="2213411" y="5372325"/>
            <a:ext cx="239799" cy="236141"/>
          </a:xfrm>
          <a:prstGeom prst="ellipse">
            <a:avLst/>
          </a:prstGeom>
          <a:gradFill rotWithShape="1">
            <a:gsLst>
              <a:gs pos="0">
                <a:srgbClr val="FFBC1D">
                  <a:shade val="51000"/>
                  <a:satMod val="130000"/>
                </a:srgbClr>
              </a:gs>
              <a:gs pos="80000">
                <a:srgbClr val="FFBC1D">
                  <a:shade val="93000"/>
                  <a:satMod val="130000"/>
                </a:srgbClr>
              </a:gs>
              <a:gs pos="100000">
                <a:srgbClr val="FFBC1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 smtClean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1" name="ZoneTexte 570"/>
          <p:cNvSpPr txBox="1"/>
          <p:nvPr/>
        </p:nvSpPr>
        <p:spPr>
          <a:xfrm>
            <a:off x="1242695" y="4414606"/>
            <a:ext cx="5341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aris</a:t>
            </a:r>
            <a:endParaRPr kumimoji="0" lang="fr-FR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572" name="Connecteur droit 571"/>
          <p:cNvCxnSpPr>
            <a:endCxn id="567" idx="4"/>
          </p:cNvCxnSpPr>
          <p:nvPr/>
        </p:nvCxnSpPr>
        <p:spPr>
          <a:xfrm flipV="1">
            <a:off x="1916641" y="4552872"/>
            <a:ext cx="70627" cy="590882"/>
          </a:xfrm>
          <a:prstGeom prst="line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573" name="Connecteur droit 572"/>
          <p:cNvCxnSpPr>
            <a:endCxn id="570" idx="1"/>
          </p:cNvCxnSpPr>
          <p:nvPr/>
        </p:nvCxnSpPr>
        <p:spPr>
          <a:xfrm>
            <a:off x="1996294" y="5255989"/>
            <a:ext cx="252235" cy="150918"/>
          </a:xfrm>
          <a:prstGeom prst="line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574" name="Connecteur droit 573"/>
          <p:cNvCxnSpPr/>
          <p:nvPr/>
        </p:nvCxnSpPr>
        <p:spPr>
          <a:xfrm flipV="1">
            <a:off x="1878443" y="5239090"/>
            <a:ext cx="182306" cy="1"/>
          </a:xfrm>
          <a:prstGeom prst="line">
            <a:avLst/>
          </a:prstGeom>
          <a:noFill/>
          <a:ln w="19050" cap="flat" cmpd="sng" algn="ctr">
            <a:solidFill>
              <a:srgbClr val="263147"/>
            </a:solidFill>
            <a:prstDash val="sysDot"/>
          </a:ln>
          <a:effectLst/>
        </p:spPr>
      </p:cxnSp>
      <p:cxnSp>
        <p:nvCxnSpPr>
          <p:cNvPr id="575" name="Connecteur droit 574"/>
          <p:cNvCxnSpPr>
            <a:stCxn id="563" idx="7"/>
            <a:endCxn id="1056" idx="2"/>
          </p:cNvCxnSpPr>
          <p:nvPr/>
        </p:nvCxnSpPr>
        <p:spPr>
          <a:xfrm flipV="1">
            <a:off x="1676792" y="5320901"/>
            <a:ext cx="192856" cy="393780"/>
          </a:xfrm>
          <a:prstGeom prst="line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576" name="Rectangle 575"/>
          <p:cNvSpPr/>
          <p:nvPr/>
        </p:nvSpPr>
        <p:spPr>
          <a:xfrm>
            <a:off x="6825208" y="3832592"/>
            <a:ext cx="286331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…s’appuyant sur le réseau mondial de </a:t>
            </a:r>
            <a:r>
              <a:rPr kumimoji="0" lang="fr-FR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apgemini</a:t>
            </a:r>
            <a:r>
              <a:rPr kumimoji="0" lang="fr-FR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/>
            </a:r>
            <a:br>
              <a:rPr kumimoji="0" lang="fr-FR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fr-FR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AC2B37"/>
                </a:solidFill>
                <a:effectLst>
                  <a:reflection blurRad="6350" stA="55000" endA="300" endPos="15000" dir="5400000" sy="-100000" algn="bl" rotWithShape="0"/>
                </a:effectLst>
                <a:uLnTx/>
                <a:uFillTx/>
              </a:rPr>
              <a:t>130000 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llaborateurs</a:t>
            </a:r>
          </a:p>
        </p:txBody>
      </p:sp>
      <p:sp>
        <p:nvSpPr>
          <p:cNvPr id="577" name="Rectangle 576"/>
          <p:cNvSpPr/>
          <p:nvPr/>
        </p:nvSpPr>
        <p:spPr>
          <a:xfrm>
            <a:off x="200472" y="3717032"/>
            <a:ext cx="37429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AC2B37"/>
                </a:solidFill>
                <a:effectLst>
                  <a:reflection blurRad="6350" stA="55000" endA="300" endPos="15000" dir="5400000" sy="-100000" algn="bl" rotWithShape="0"/>
                </a:effectLst>
                <a:uLnTx/>
                <a:uFillTx/>
              </a:rPr>
              <a:t>3 000 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llaborateurs ADM en France…</a:t>
            </a:r>
          </a:p>
        </p:txBody>
      </p:sp>
      <p:grpSp>
        <p:nvGrpSpPr>
          <p:cNvPr id="578" name="Groupe 462"/>
          <p:cNvGrpSpPr/>
          <p:nvPr/>
        </p:nvGrpSpPr>
        <p:grpSpPr>
          <a:xfrm>
            <a:off x="3368824" y="3947029"/>
            <a:ext cx="3528392" cy="1600287"/>
            <a:chOff x="5172894" y="4326159"/>
            <a:chExt cx="3528392" cy="1600287"/>
          </a:xfrm>
          <a:solidFill>
            <a:srgbClr val="998C85">
              <a:lumMod val="40000"/>
              <a:lumOff val="60000"/>
            </a:srgbClr>
          </a:solidFill>
        </p:grpSpPr>
        <p:sp>
          <p:nvSpPr>
            <p:cNvPr id="579" name="Freeform 4"/>
            <p:cNvSpPr>
              <a:spLocks/>
            </p:cNvSpPr>
            <p:nvPr/>
          </p:nvSpPr>
          <p:spPr bwMode="auto">
            <a:xfrm>
              <a:off x="7086071" y="4763095"/>
              <a:ext cx="411052" cy="100320"/>
            </a:xfrm>
            <a:custGeom>
              <a:avLst/>
              <a:gdLst>
                <a:gd name="T0" fmla="*/ 533681 w 592"/>
                <a:gd name="T1" fmla="*/ 161958 h 192"/>
                <a:gd name="T2" fmla="*/ 681166 w 592"/>
                <a:gd name="T3" fmla="*/ 222349 h 192"/>
                <a:gd name="T4" fmla="*/ 865141 w 592"/>
                <a:gd name="T5" fmla="*/ 234702 h 192"/>
                <a:gd name="T6" fmla="*/ 827130 w 592"/>
                <a:gd name="T7" fmla="*/ 156468 h 192"/>
                <a:gd name="T8" fmla="*/ 900112 w 592"/>
                <a:gd name="T9" fmla="*/ 24705 h 192"/>
                <a:gd name="T10" fmla="*/ 249355 w 592"/>
                <a:gd name="T11" fmla="*/ 0 h 192"/>
                <a:gd name="T12" fmla="*/ 36491 w 592"/>
                <a:gd name="T13" fmla="*/ 50783 h 192"/>
                <a:gd name="T14" fmla="*/ 50175 w 592"/>
                <a:gd name="T15" fmla="*/ 75489 h 192"/>
                <a:gd name="T16" fmla="*/ 0 w 592"/>
                <a:gd name="T17" fmla="*/ 146860 h 192"/>
                <a:gd name="T18" fmla="*/ 53216 w 592"/>
                <a:gd name="T19" fmla="*/ 174311 h 192"/>
                <a:gd name="T20" fmla="*/ 118596 w 592"/>
                <a:gd name="T21" fmla="*/ 153723 h 192"/>
                <a:gd name="T22" fmla="*/ 167251 w 592"/>
                <a:gd name="T23" fmla="*/ 248427 h 192"/>
                <a:gd name="T24" fmla="*/ 200701 w 592"/>
                <a:gd name="T25" fmla="*/ 253917 h 192"/>
                <a:gd name="T26" fmla="*/ 243274 w 592"/>
                <a:gd name="T27" fmla="*/ 240192 h 192"/>
                <a:gd name="T28" fmla="*/ 264560 w 592"/>
                <a:gd name="T29" fmla="*/ 244310 h 192"/>
                <a:gd name="T30" fmla="*/ 319296 w 592"/>
                <a:gd name="T31" fmla="*/ 241565 h 192"/>
                <a:gd name="T32" fmla="*/ 497190 w 592"/>
                <a:gd name="T33" fmla="*/ 263525 h 192"/>
                <a:gd name="T34" fmla="*/ 533681 w 592"/>
                <a:gd name="T35" fmla="*/ 161958 h 1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92"/>
                <a:gd name="T55" fmla="*/ 0 h 192"/>
                <a:gd name="T56" fmla="*/ 592 w 592"/>
                <a:gd name="T57" fmla="*/ 192 h 19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92" h="192">
                  <a:moveTo>
                    <a:pt x="351" y="118"/>
                  </a:moveTo>
                  <a:lnTo>
                    <a:pt x="448" y="162"/>
                  </a:lnTo>
                  <a:lnTo>
                    <a:pt x="569" y="171"/>
                  </a:lnTo>
                  <a:lnTo>
                    <a:pt x="544" y="114"/>
                  </a:lnTo>
                  <a:lnTo>
                    <a:pt x="592" y="18"/>
                  </a:lnTo>
                  <a:lnTo>
                    <a:pt x="164" y="0"/>
                  </a:lnTo>
                  <a:lnTo>
                    <a:pt x="24" y="37"/>
                  </a:lnTo>
                  <a:lnTo>
                    <a:pt x="33" y="55"/>
                  </a:lnTo>
                  <a:lnTo>
                    <a:pt x="0" y="107"/>
                  </a:lnTo>
                  <a:lnTo>
                    <a:pt x="35" y="127"/>
                  </a:lnTo>
                  <a:lnTo>
                    <a:pt x="78" y="112"/>
                  </a:lnTo>
                  <a:lnTo>
                    <a:pt x="110" y="181"/>
                  </a:lnTo>
                  <a:lnTo>
                    <a:pt x="132" y="185"/>
                  </a:lnTo>
                  <a:lnTo>
                    <a:pt x="160" y="175"/>
                  </a:lnTo>
                  <a:lnTo>
                    <a:pt x="174" y="178"/>
                  </a:lnTo>
                  <a:lnTo>
                    <a:pt x="210" y="176"/>
                  </a:lnTo>
                  <a:lnTo>
                    <a:pt x="327" y="192"/>
                  </a:lnTo>
                  <a:lnTo>
                    <a:pt x="351" y="11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0" name="Freeform 5"/>
            <p:cNvSpPr>
              <a:spLocks/>
            </p:cNvSpPr>
            <p:nvPr/>
          </p:nvSpPr>
          <p:spPr bwMode="auto">
            <a:xfrm>
              <a:off x="5857258" y="5154102"/>
              <a:ext cx="42047" cy="41096"/>
            </a:xfrm>
            <a:custGeom>
              <a:avLst/>
              <a:gdLst>
                <a:gd name="T0" fmla="*/ 15128078 w 31"/>
                <a:gd name="T1" fmla="*/ 37200348 h 38"/>
                <a:gd name="T2" fmla="*/ 12593830 w 31"/>
                <a:gd name="T3" fmla="*/ 36383698 h 38"/>
                <a:gd name="T4" fmla="*/ 5348066 w 31"/>
                <a:gd name="T5" fmla="*/ 35106153 h 38"/>
                <a:gd name="T6" fmla="*/ 0 w 31"/>
                <a:gd name="T7" fmla="*/ 31441222 h 38"/>
                <a:gd name="T8" fmla="*/ 813185 w 31"/>
                <a:gd name="T9" fmla="*/ 29374918 h 38"/>
                <a:gd name="T10" fmla="*/ 813185 w 31"/>
                <a:gd name="T11" fmla="*/ 28478632 h 38"/>
                <a:gd name="T12" fmla="*/ 2596311 w 31"/>
                <a:gd name="T13" fmla="*/ 21466005 h 38"/>
                <a:gd name="T14" fmla="*/ 4509328 w 31"/>
                <a:gd name="T15" fmla="*/ 19416389 h 38"/>
                <a:gd name="T16" fmla="*/ 7875316 w 31"/>
                <a:gd name="T17" fmla="*/ 17849252 h 38"/>
                <a:gd name="T18" fmla="*/ 13196932 w 31"/>
                <a:gd name="T19" fmla="*/ 17849252 h 38"/>
                <a:gd name="T20" fmla="*/ 14397231 w 31"/>
                <a:gd name="T21" fmla="*/ 16599778 h 38"/>
                <a:gd name="T22" fmla="*/ 13196932 w 31"/>
                <a:gd name="T23" fmla="*/ 11496685 h 38"/>
                <a:gd name="T24" fmla="*/ 9187257 w 31"/>
                <a:gd name="T25" fmla="*/ 5759327 h 38"/>
                <a:gd name="T26" fmla="*/ 10618742 w 31"/>
                <a:gd name="T27" fmla="*/ 2959271 h 38"/>
                <a:gd name="T28" fmla="*/ 17124821 w 31"/>
                <a:gd name="T29" fmla="*/ 2049534 h 38"/>
                <a:gd name="T30" fmla="*/ 18545099 w 31"/>
                <a:gd name="T31" fmla="*/ 865359 h 38"/>
                <a:gd name="T32" fmla="*/ 23201344 w 31"/>
                <a:gd name="T33" fmla="*/ 0 h 38"/>
                <a:gd name="T34" fmla="*/ 23201344 w 31"/>
                <a:gd name="T35" fmla="*/ 0 h 38"/>
                <a:gd name="T36" fmla="*/ 23201344 w 31"/>
                <a:gd name="T37" fmla="*/ 4854159 h 38"/>
                <a:gd name="T38" fmla="*/ 23201344 w 31"/>
                <a:gd name="T39" fmla="*/ 8696832 h 38"/>
                <a:gd name="T40" fmla="*/ 23201344 w 31"/>
                <a:gd name="T41" fmla="*/ 10840510 h 38"/>
                <a:gd name="T42" fmla="*/ 22384253 w 31"/>
                <a:gd name="T43" fmla="*/ 18666092 h 38"/>
                <a:gd name="T44" fmla="*/ 25817776 w 31"/>
                <a:gd name="T45" fmla="*/ 18666092 h 38"/>
                <a:gd name="T46" fmla="*/ 26893598 w 31"/>
                <a:gd name="T47" fmla="*/ 18666092 h 38"/>
                <a:gd name="T48" fmla="*/ 27741868 w 31"/>
                <a:gd name="T49" fmla="*/ 19416389 h 38"/>
                <a:gd name="T50" fmla="*/ 27741868 w 31"/>
                <a:gd name="T51" fmla="*/ 19416389 h 38"/>
                <a:gd name="T52" fmla="*/ 27741868 w 31"/>
                <a:gd name="T53" fmla="*/ 21466005 h 38"/>
                <a:gd name="T54" fmla="*/ 25817776 w 31"/>
                <a:gd name="T55" fmla="*/ 23608573 h 38"/>
                <a:gd name="T56" fmla="*/ 21634510 w 31"/>
                <a:gd name="T57" fmla="*/ 28478632 h 38"/>
                <a:gd name="T58" fmla="*/ 20469694 w 31"/>
                <a:gd name="T59" fmla="*/ 32306434 h 38"/>
                <a:gd name="T60" fmla="*/ 15964809 w 31"/>
                <a:gd name="T61" fmla="*/ 36383698 h 38"/>
                <a:gd name="T62" fmla="*/ 15128078 w 31"/>
                <a:gd name="T63" fmla="*/ 37200348 h 3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1"/>
                <a:gd name="T97" fmla="*/ 0 h 38"/>
                <a:gd name="T98" fmla="*/ 31 w 31"/>
                <a:gd name="T99" fmla="*/ 38 h 3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1" h="38">
                  <a:moveTo>
                    <a:pt x="17" y="38"/>
                  </a:moveTo>
                  <a:cubicBezTo>
                    <a:pt x="16" y="38"/>
                    <a:pt x="15" y="38"/>
                    <a:pt x="14" y="37"/>
                  </a:cubicBezTo>
                  <a:cubicBezTo>
                    <a:pt x="11" y="36"/>
                    <a:pt x="8" y="38"/>
                    <a:pt x="6" y="36"/>
                  </a:cubicBezTo>
                  <a:cubicBezTo>
                    <a:pt x="3" y="35"/>
                    <a:pt x="2" y="34"/>
                    <a:pt x="0" y="32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30"/>
                    <a:pt x="1" y="30"/>
                    <a:pt x="1" y="29"/>
                  </a:cubicBezTo>
                  <a:cubicBezTo>
                    <a:pt x="2" y="27"/>
                    <a:pt x="2" y="24"/>
                    <a:pt x="3" y="22"/>
                  </a:cubicBezTo>
                  <a:cubicBezTo>
                    <a:pt x="4" y="22"/>
                    <a:pt x="4" y="21"/>
                    <a:pt x="5" y="20"/>
                  </a:cubicBezTo>
                  <a:cubicBezTo>
                    <a:pt x="6" y="19"/>
                    <a:pt x="7" y="19"/>
                    <a:pt x="9" y="18"/>
                  </a:cubicBezTo>
                  <a:cubicBezTo>
                    <a:pt x="11" y="18"/>
                    <a:pt x="13" y="18"/>
                    <a:pt x="15" y="18"/>
                  </a:cubicBezTo>
                  <a:cubicBezTo>
                    <a:pt x="15" y="18"/>
                    <a:pt x="15" y="18"/>
                    <a:pt x="16" y="17"/>
                  </a:cubicBezTo>
                  <a:cubicBezTo>
                    <a:pt x="16" y="16"/>
                    <a:pt x="16" y="13"/>
                    <a:pt x="15" y="12"/>
                  </a:cubicBezTo>
                  <a:cubicBezTo>
                    <a:pt x="13" y="9"/>
                    <a:pt x="11" y="8"/>
                    <a:pt x="10" y="6"/>
                  </a:cubicBezTo>
                  <a:cubicBezTo>
                    <a:pt x="9" y="5"/>
                    <a:pt x="11" y="3"/>
                    <a:pt x="12" y="3"/>
                  </a:cubicBezTo>
                  <a:cubicBezTo>
                    <a:pt x="14" y="1"/>
                    <a:pt x="17" y="3"/>
                    <a:pt x="19" y="2"/>
                  </a:cubicBezTo>
                  <a:cubicBezTo>
                    <a:pt x="20" y="2"/>
                    <a:pt x="21" y="1"/>
                    <a:pt x="21" y="1"/>
                  </a:cubicBezTo>
                  <a:cubicBezTo>
                    <a:pt x="23" y="1"/>
                    <a:pt x="24" y="1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2"/>
                    <a:pt x="26" y="3"/>
                    <a:pt x="26" y="5"/>
                  </a:cubicBezTo>
                  <a:cubicBezTo>
                    <a:pt x="27" y="6"/>
                    <a:pt x="26" y="8"/>
                    <a:pt x="26" y="9"/>
                  </a:cubicBezTo>
                  <a:cubicBezTo>
                    <a:pt x="26" y="10"/>
                    <a:pt x="26" y="10"/>
                    <a:pt x="26" y="11"/>
                  </a:cubicBezTo>
                  <a:cubicBezTo>
                    <a:pt x="25" y="13"/>
                    <a:pt x="25" y="16"/>
                    <a:pt x="25" y="19"/>
                  </a:cubicBezTo>
                  <a:cubicBezTo>
                    <a:pt x="26" y="19"/>
                    <a:pt x="28" y="19"/>
                    <a:pt x="29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1" y="19"/>
                    <a:pt x="31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1"/>
                    <a:pt x="31" y="22"/>
                    <a:pt x="31" y="22"/>
                  </a:cubicBezTo>
                  <a:cubicBezTo>
                    <a:pt x="30" y="23"/>
                    <a:pt x="30" y="24"/>
                    <a:pt x="29" y="24"/>
                  </a:cubicBezTo>
                  <a:cubicBezTo>
                    <a:pt x="27" y="25"/>
                    <a:pt x="25" y="27"/>
                    <a:pt x="24" y="29"/>
                  </a:cubicBezTo>
                  <a:cubicBezTo>
                    <a:pt x="23" y="30"/>
                    <a:pt x="23" y="32"/>
                    <a:pt x="23" y="33"/>
                  </a:cubicBezTo>
                  <a:cubicBezTo>
                    <a:pt x="22" y="34"/>
                    <a:pt x="19" y="36"/>
                    <a:pt x="18" y="37"/>
                  </a:cubicBezTo>
                  <a:lnTo>
                    <a:pt x="17" y="3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1" name="Freeform 6"/>
            <p:cNvSpPr>
              <a:spLocks/>
            </p:cNvSpPr>
            <p:nvPr/>
          </p:nvSpPr>
          <p:spPr bwMode="auto">
            <a:xfrm>
              <a:off x="5890606" y="5149871"/>
              <a:ext cx="13775" cy="24776"/>
            </a:xfrm>
            <a:custGeom>
              <a:avLst/>
              <a:gdLst>
                <a:gd name="T0" fmla="*/ 6131150 w 10"/>
                <a:gd name="T1" fmla="*/ 26432752 h 23"/>
                <a:gd name="T2" fmla="*/ 5085394 w 10"/>
                <a:gd name="T3" fmla="*/ 23980958 h 23"/>
                <a:gd name="T4" fmla="*/ 9650293 w 10"/>
                <a:gd name="T5" fmla="*/ 18220093 h 23"/>
                <a:gd name="T6" fmla="*/ 11140513 w 10"/>
                <a:gd name="T7" fmla="*/ 6610144 h 23"/>
                <a:gd name="T8" fmla="*/ 12204941 w 10"/>
                <a:gd name="T9" fmla="*/ 5778406 h 23"/>
                <a:gd name="T10" fmla="*/ 12204941 w 10"/>
                <a:gd name="T11" fmla="*/ 0 h 23"/>
                <a:gd name="T12" fmla="*/ 11140513 w 10"/>
                <a:gd name="T13" fmla="*/ 1010505 h 23"/>
                <a:gd name="T14" fmla="*/ 7196548 w 10"/>
                <a:gd name="T15" fmla="*/ 2416425 h 23"/>
                <a:gd name="T16" fmla="*/ 5085394 w 10"/>
                <a:gd name="T17" fmla="*/ 4750926 h 23"/>
                <a:gd name="T18" fmla="*/ 1064436 w 10"/>
                <a:gd name="T19" fmla="*/ 4750926 h 23"/>
                <a:gd name="T20" fmla="*/ 1064436 w 10"/>
                <a:gd name="T21" fmla="*/ 10626183 h 23"/>
                <a:gd name="T22" fmla="*/ 1064436 w 10"/>
                <a:gd name="T23" fmla="*/ 14796368 h 23"/>
                <a:gd name="T24" fmla="*/ 1064436 w 10"/>
                <a:gd name="T25" fmla="*/ 17236329 h 23"/>
                <a:gd name="T26" fmla="*/ 0 w 10"/>
                <a:gd name="T27" fmla="*/ 26432752 h 23"/>
                <a:gd name="T28" fmla="*/ 5085394 w 10"/>
                <a:gd name="T29" fmla="*/ 26432752 h 23"/>
                <a:gd name="T30" fmla="*/ 6131150 w 10"/>
                <a:gd name="T31" fmla="*/ 26432752 h 2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"/>
                <a:gd name="T49" fmla="*/ 0 h 23"/>
                <a:gd name="T50" fmla="*/ 10 w 10"/>
                <a:gd name="T51" fmla="*/ 23 h 2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" h="23">
                  <a:moveTo>
                    <a:pt x="5" y="23"/>
                  </a:moveTo>
                  <a:cubicBezTo>
                    <a:pt x="4" y="22"/>
                    <a:pt x="4" y="21"/>
                    <a:pt x="4" y="21"/>
                  </a:cubicBezTo>
                  <a:cubicBezTo>
                    <a:pt x="6" y="19"/>
                    <a:pt x="8" y="18"/>
                    <a:pt x="8" y="16"/>
                  </a:cubicBezTo>
                  <a:cubicBezTo>
                    <a:pt x="9" y="12"/>
                    <a:pt x="8" y="9"/>
                    <a:pt x="9" y="6"/>
                  </a:cubicBezTo>
                  <a:cubicBezTo>
                    <a:pt x="9" y="6"/>
                    <a:pt x="9" y="5"/>
                    <a:pt x="10" y="5"/>
                  </a:cubicBezTo>
                  <a:cubicBezTo>
                    <a:pt x="10" y="3"/>
                    <a:pt x="10" y="2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7" y="2"/>
                    <a:pt x="6" y="2"/>
                  </a:cubicBezTo>
                  <a:cubicBezTo>
                    <a:pt x="6" y="3"/>
                    <a:pt x="5" y="4"/>
                    <a:pt x="4" y="4"/>
                  </a:cubicBezTo>
                  <a:cubicBezTo>
                    <a:pt x="3" y="4"/>
                    <a:pt x="2" y="4"/>
                    <a:pt x="1" y="4"/>
                  </a:cubicBezTo>
                  <a:cubicBezTo>
                    <a:pt x="1" y="6"/>
                    <a:pt x="1" y="7"/>
                    <a:pt x="1" y="9"/>
                  </a:cubicBezTo>
                  <a:cubicBezTo>
                    <a:pt x="2" y="10"/>
                    <a:pt x="1" y="12"/>
                    <a:pt x="1" y="13"/>
                  </a:cubicBezTo>
                  <a:cubicBezTo>
                    <a:pt x="1" y="14"/>
                    <a:pt x="1" y="14"/>
                    <a:pt x="1" y="15"/>
                  </a:cubicBezTo>
                  <a:cubicBezTo>
                    <a:pt x="0" y="17"/>
                    <a:pt x="0" y="20"/>
                    <a:pt x="0" y="23"/>
                  </a:cubicBezTo>
                  <a:cubicBezTo>
                    <a:pt x="1" y="23"/>
                    <a:pt x="3" y="23"/>
                    <a:pt x="4" y="23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2" name="Freeform 7"/>
            <p:cNvSpPr>
              <a:spLocks/>
            </p:cNvSpPr>
            <p:nvPr/>
          </p:nvSpPr>
          <p:spPr bwMode="auto">
            <a:xfrm>
              <a:off x="5880458" y="5188551"/>
              <a:ext cx="26099" cy="15713"/>
            </a:xfrm>
            <a:custGeom>
              <a:avLst/>
              <a:gdLst>
                <a:gd name="T0" fmla="*/ 16597127 w 20"/>
                <a:gd name="T1" fmla="*/ 19328456 h 14"/>
                <a:gd name="T2" fmla="*/ 14725738 w 20"/>
                <a:gd name="T3" fmla="*/ 19328456 h 14"/>
                <a:gd name="T4" fmla="*/ 12190249 w 20"/>
                <a:gd name="T5" fmla="*/ 17384754 h 14"/>
                <a:gd name="T6" fmla="*/ 11455630 w 20"/>
                <a:gd name="T7" fmla="*/ 17384754 h 14"/>
                <a:gd name="T8" fmla="*/ 9534738 w 20"/>
                <a:gd name="T9" fmla="*/ 16380860 h 14"/>
                <a:gd name="T10" fmla="*/ 0 w 20"/>
                <a:gd name="T11" fmla="*/ 8872004 h 14"/>
                <a:gd name="T12" fmla="*/ 795113 w 20"/>
                <a:gd name="T13" fmla="*/ 7158428 h 14"/>
                <a:gd name="T14" fmla="*/ 5187343 w 20"/>
                <a:gd name="T15" fmla="*/ 1213713 h 14"/>
                <a:gd name="T16" fmla="*/ 8799889 w 20"/>
                <a:gd name="T17" fmla="*/ 2947589 h 14"/>
                <a:gd name="T18" fmla="*/ 10318870 w 20"/>
                <a:gd name="T19" fmla="*/ 7158428 h 14"/>
                <a:gd name="T20" fmla="*/ 12190249 w 20"/>
                <a:gd name="T21" fmla="*/ 8872004 h 14"/>
                <a:gd name="T22" fmla="*/ 15548153 w 20"/>
                <a:gd name="T23" fmla="*/ 10226328 h 14"/>
                <a:gd name="T24" fmla="*/ 16597127 w 20"/>
                <a:gd name="T25" fmla="*/ 10226328 h 14"/>
                <a:gd name="T26" fmla="*/ 16597127 w 20"/>
                <a:gd name="T27" fmla="*/ 17384754 h 14"/>
                <a:gd name="T28" fmla="*/ 16597127 w 20"/>
                <a:gd name="T29" fmla="*/ 19328456 h 1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"/>
                <a:gd name="T46" fmla="*/ 0 h 14"/>
                <a:gd name="T47" fmla="*/ 20 w 20"/>
                <a:gd name="T48" fmla="*/ 14 h 1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" h="14">
                  <a:moveTo>
                    <a:pt x="19" y="13"/>
                  </a:moveTo>
                  <a:cubicBezTo>
                    <a:pt x="19" y="12"/>
                    <a:pt x="18" y="13"/>
                    <a:pt x="17" y="13"/>
                  </a:cubicBezTo>
                  <a:cubicBezTo>
                    <a:pt x="16" y="14"/>
                    <a:pt x="15" y="13"/>
                    <a:pt x="14" y="12"/>
                  </a:cubicBezTo>
                  <a:cubicBezTo>
                    <a:pt x="14" y="12"/>
                    <a:pt x="13" y="12"/>
                    <a:pt x="13" y="12"/>
                  </a:cubicBezTo>
                  <a:cubicBezTo>
                    <a:pt x="12" y="11"/>
                    <a:pt x="12" y="11"/>
                    <a:pt x="11" y="11"/>
                  </a:cubicBezTo>
                  <a:cubicBezTo>
                    <a:pt x="7" y="10"/>
                    <a:pt x="3" y="8"/>
                    <a:pt x="0" y="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4"/>
                    <a:pt x="5" y="2"/>
                    <a:pt x="6" y="1"/>
                  </a:cubicBezTo>
                  <a:cubicBezTo>
                    <a:pt x="8" y="0"/>
                    <a:pt x="8" y="1"/>
                    <a:pt x="10" y="2"/>
                  </a:cubicBezTo>
                  <a:cubicBezTo>
                    <a:pt x="11" y="3"/>
                    <a:pt x="12" y="4"/>
                    <a:pt x="12" y="5"/>
                  </a:cubicBezTo>
                  <a:cubicBezTo>
                    <a:pt x="13" y="6"/>
                    <a:pt x="13" y="6"/>
                    <a:pt x="14" y="6"/>
                  </a:cubicBezTo>
                  <a:cubicBezTo>
                    <a:pt x="15" y="6"/>
                    <a:pt x="17" y="6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9"/>
                    <a:pt x="20" y="10"/>
                    <a:pt x="19" y="12"/>
                  </a:cubicBezTo>
                  <a:lnTo>
                    <a:pt x="19" y="1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3" name="Freeform 8"/>
            <p:cNvSpPr>
              <a:spLocks/>
            </p:cNvSpPr>
            <p:nvPr/>
          </p:nvSpPr>
          <p:spPr bwMode="auto">
            <a:xfrm>
              <a:off x="5887707" y="5173441"/>
              <a:ext cx="65973" cy="31426"/>
            </a:xfrm>
            <a:custGeom>
              <a:avLst/>
              <a:gdLst>
                <a:gd name="T0" fmla="*/ 7839602 w 49"/>
                <a:gd name="T1" fmla="*/ 2268059 h 29"/>
                <a:gd name="T2" fmla="*/ 12710902 w 49"/>
                <a:gd name="T3" fmla="*/ 953242 h 29"/>
                <a:gd name="T4" fmla="*/ 14750295 w 49"/>
                <a:gd name="T5" fmla="*/ 953242 h 29"/>
                <a:gd name="T6" fmla="*/ 18559052 w 49"/>
                <a:gd name="T7" fmla="*/ 3128358 h 29"/>
                <a:gd name="T8" fmla="*/ 24292466 w 49"/>
                <a:gd name="T9" fmla="*/ 3128358 h 29"/>
                <a:gd name="T10" fmla="*/ 26398420 w 49"/>
                <a:gd name="T11" fmla="*/ 953242 h 29"/>
                <a:gd name="T12" fmla="*/ 27078246 w 49"/>
                <a:gd name="T13" fmla="*/ 0 h 29"/>
                <a:gd name="T14" fmla="*/ 32132075 w 49"/>
                <a:gd name="T15" fmla="*/ 953242 h 29"/>
                <a:gd name="T16" fmla="*/ 39906544 w 49"/>
                <a:gd name="T17" fmla="*/ 953242 h 29"/>
                <a:gd name="T18" fmla="*/ 40651671 w 49"/>
                <a:gd name="T19" fmla="*/ 2268059 h 29"/>
                <a:gd name="T20" fmla="*/ 41896289 w 49"/>
                <a:gd name="T21" fmla="*/ 8396477 h 29"/>
                <a:gd name="T22" fmla="*/ 44799603 w 49"/>
                <a:gd name="T23" fmla="*/ 5396415 h 29"/>
                <a:gd name="T24" fmla="*/ 46882375 w 49"/>
                <a:gd name="T25" fmla="*/ 6187297 h 29"/>
                <a:gd name="T26" fmla="*/ 47744506 w 49"/>
                <a:gd name="T27" fmla="*/ 9308542 h 29"/>
                <a:gd name="T28" fmla="*/ 45705406 w 49"/>
                <a:gd name="T29" fmla="*/ 9308542 h 29"/>
                <a:gd name="T30" fmla="*/ 40651671 w 49"/>
                <a:gd name="T31" fmla="*/ 12839740 h 29"/>
                <a:gd name="T32" fmla="*/ 36960079 w 49"/>
                <a:gd name="T33" fmla="*/ 11592554 h 29"/>
                <a:gd name="T34" fmla="*/ 34919048 w 49"/>
                <a:gd name="T35" fmla="*/ 11592554 h 29"/>
                <a:gd name="T36" fmla="*/ 34919048 w 49"/>
                <a:gd name="T37" fmla="*/ 14721498 h 29"/>
                <a:gd name="T38" fmla="*/ 34017278 w 49"/>
                <a:gd name="T39" fmla="*/ 16060441 h 29"/>
                <a:gd name="T40" fmla="*/ 28323261 w 49"/>
                <a:gd name="T41" fmla="*/ 21234112 h 29"/>
                <a:gd name="T42" fmla="*/ 27078246 w 49"/>
                <a:gd name="T43" fmla="*/ 21234112 h 29"/>
                <a:gd name="T44" fmla="*/ 22208899 w 49"/>
                <a:gd name="T45" fmla="*/ 22147900 h 29"/>
                <a:gd name="T46" fmla="*/ 19306603 w 49"/>
                <a:gd name="T47" fmla="*/ 28345583 h 29"/>
                <a:gd name="T48" fmla="*/ 18559052 w 49"/>
                <a:gd name="T49" fmla="*/ 29589619 h 29"/>
                <a:gd name="T50" fmla="*/ 13573033 w 49"/>
                <a:gd name="T51" fmla="*/ 29589619 h 29"/>
                <a:gd name="T52" fmla="*/ 12710902 w 49"/>
                <a:gd name="T53" fmla="*/ 28345583 h 29"/>
                <a:gd name="T54" fmla="*/ 12710902 w 49"/>
                <a:gd name="T55" fmla="*/ 27582281 h 29"/>
                <a:gd name="T56" fmla="*/ 12710902 w 49"/>
                <a:gd name="T57" fmla="*/ 22147900 h 29"/>
                <a:gd name="T58" fmla="*/ 11438226 w 49"/>
                <a:gd name="T59" fmla="*/ 22147900 h 29"/>
                <a:gd name="T60" fmla="*/ 7839602 w 49"/>
                <a:gd name="T61" fmla="*/ 21234112 h 29"/>
                <a:gd name="T62" fmla="*/ 5733436 w 49"/>
                <a:gd name="T63" fmla="*/ 19977817 h 29"/>
                <a:gd name="T64" fmla="*/ 3647911 w 49"/>
                <a:gd name="T65" fmla="*/ 16752030 h 29"/>
                <a:gd name="T66" fmla="*/ 0 w 49"/>
                <a:gd name="T67" fmla="*/ 16060441 h 29"/>
                <a:gd name="T68" fmla="*/ 862131 w 49"/>
                <a:gd name="T69" fmla="*/ 11592554 h 29"/>
                <a:gd name="T70" fmla="*/ 5733436 w 49"/>
                <a:gd name="T71" fmla="*/ 6187297 h 29"/>
                <a:gd name="T72" fmla="*/ 7839602 w 49"/>
                <a:gd name="T73" fmla="*/ 4481981 h 29"/>
                <a:gd name="T74" fmla="*/ 7839602 w 49"/>
                <a:gd name="T75" fmla="*/ 2268059 h 2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9"/>
                <a:gd name="T115" fmla="*/ 0 h 29"/>
                <a:gd name="T116" fmla="*/ 49 w 49"/>
                <a:gd name="T117" fmla="*/ 29 h 2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9" h="29">
                  <a:moveTo>
                    <a:pt x="8" y="2"/>
                  </a:moveTo>
                  <a:cubicBezTo>
                    <a:pt x="10" y="2"/>
                    <a:pt x="12" y="2"/>
                    <a:pt x="13" y="1"/>
                  </a:cubicBezTo>
                  <a:cubicBezTo>
                    <a:pt x="14" y="1"/>
                    <a:pt x="15" y="1"/>
                    <a:pt x="15" y="1"/>
                  </a:cubicBezTo>
                  <a:cubicBezTo>
                    <a:pt x="16" y="2"/>
                    <a:pt x="18" y="3"/>
                    <a:pt x="19" y="3"/>
                  </a:cubicBezTo>
                  <a:cubicBezTo>
                    <a:pt x="21" y="3"/>
                    <a:pt x="23" y="3"/>
                    <a:pt x="25" y="3"/>
                  </a:cubicBezTo>
                  <a:cubicBezTo>
                    <a:pt x="26" y="2"/>
                    <a:pt x="26" y="2"/>
                    <a:pt x="27" y="1"/>
                  </a:cubicBezTo>
                  <a:cubicBezTo>
                    <a:pt x="28" y="1"/>
                    <a:pt x="28" y="1"/>
                    <a:pt x="28" y="0"/>
                  </a:cubicBezTo>
                  <a:cubicBezTo>
                    <a:pt x="30" y="0"/>
                    <a:pt x="31" y="0"/>
                    <a:pt x="33" y="1"/>
                  </a:cubicBezTo>
                  <a:cubicBezTo>
                    <a:pt x="35" y="2"/>
                    <a:pt x="38" y="1"/>
                    <a:pt x="41" y="1"/>
                  </a:cubicBezTo>
                  <a:cubicBezTo>
                    <a:pt x="41" y="1"/>
                    <a:pt x="41" y="2"/>
                    <a:pt x="42" y="2"/>
                  </a:cubicBezTo>
                  <a:cubicBezTo>
                    <a:pt x="42" y="4"/>
                    <a:pt x="41" y="7"/>
                    <a:pt x="43" y="8"/>
                  </a:cubicBezTo>
                  <a:cubicBezTo>
                    <a:pt x="45" y="8"/>
                    <a:pt x="45" y="6"/>
                    <a:pt x="46" y="5"/>
                  </a:cubicBezTo>
                  <a:cubicBezTo>
                    <a:pt x="47" y="4"/>
                    <a:pt x="48" y="5"/>
                    <a:pt x="48" y="6"/>
                  </a:cubicBezTo>
                  <a:cubicBezTo>
                    <a:pt x="49" y="7"/>
                    <a:pt x="49" y="8"/>
                    <a:pt x="49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5" y="10"/>
                    <a:pt x="44" y="11"/>
                    <a:pt x="42" y="12"/>
                  </a:cubicBezTo>
                  <a:cubicBezTo>
                    <a:pt x="41" y="13"/>
                    <a:pt x="40" y="12"/>
                    <a:pt x="38" y="11"/>
                  </a:cubicBezTo>
                  <a:cubicBezTo>
                    <a:pt x="38" y="11"/>
                    <a:pt x="37" y="11"/>
                    <a:pt x="36" y="11"/>
                  </a:cubicBezTo>
                  <a:cubicBezTo>
                    <a:pt x="36" y="12"/>
                    <a:pt x="36" y="13"/>
                    <a:pt x="36" y="14"/>
                  </a:cubicBezTo>
                  <a:cubicBezTo>
                    <a:pt x="35" y="14"/>
                    <a:pt x="35" y="14"/>
                    <a:pt x="35" y="15"/>
                  </a:cubicBezTo>
                  <a:cubicBezTo>
                    <a:pt x="33" y="17"/>
                    <a:pt x="31" y="19"/>
                    <a:pt x="29" y="20"/>
                  </a:cubicBezTo>
                  <a:cubicBezTo>
                    <a:pt x="29" y="21"/>
                    <a:pt x="28" y="21"/>
                    <a:pt x="28" y="20"/>
                  </a:cubicBezTo>
                  <a:cubicBezTo>
                    <a:pt x="26" y="19"/>
                    <a:pt x="24" y="19"/>
                    <a:pt x="23" y="21"/>
                  </a:cubicBezTo>
                  <a:cubicBezTo>
                    <a:pt x="21" y="23"/>
                    <a:pt x="21" y="25"/>
                    <a:pt x="20" y="27"/>
                  </a:cubicBezTo>
                  <a:cubicBezTo>
                    <a:pt x="19" y="27"/>
                    <a:pt x="19" y="28"/>
                    <a:pt x="19" y="28"/>
                  </a:cubicBezTo>
                  <a:cubicBezTo>
                    <a:pt x="17" y="29"/>
                    <a:pt x="16" y="28"/>
                    <a:pt x="14" y="28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4" y="24"/>
                    <a:pt x="13" y="23"/>
                    <a:pt x="13" y="21"/>
                  </a:cubicBezTo>
                  <a:cubicBezTo>
                    <a:pt x="13" y="21"/>
                    <a:pt x="13" y="21"/>
                    <a:pt x="12" y="21"/>
                  </a:cubicBezTo>
                  <a:cubicBezTo>
                    <a:pt x="11" y="20"/>
                    <a:pt x="9" y="20"/>
                    <a:pt x="8" y="20"/>
                  </a:cubicBezTo>
                  <a:cubicBezTo>
                    <a:pt x="7" y="20"/>
                    <a:pt x="7" y="20"/>
                    <a:pt x="6" y="19"/>
                  </a:cubicBezTo>
                  <a:cubicBezTo>
                    <a:pt x="6" y="18"/>
                    <a:pt x="5" y="17"/>
                    <a:pt x="4" y="16"/>
                  </a:cubicBezTo>
                  <a:cubicBezTo>
                    <a:pt x="2" y="15"/>
                    <a:pt x="2" y="14"/>
                    <a:pt x="0" y="15"/>
                  </a:cubicBezTo>
                  <a:cubicBezTo>
                    <a:pt x="0" y="14"/>
                    <a:pt x="0" y="12"/>
                    <a:pt x="1" y="11"/>
                  </a:cubicBezTo>
                  <a:cubicBezTo>
                    <a:pt x="2" y="9"/>
                    <a:pt x="4" y="7"/>
                    <a:pt x="6" y="6"/>
                  </a:cubicBezTo>
                  <a:cubicBezTo>
                    <a:pt x="7" y="6"/>
                    <a:pt x="7" y="5"/>
                    <a:pt x="8" y="4"/>
                  </a:cubicBezTo>
                  <a:cubicBezTo>
                    <a:pt x="8" y="4"/>
                    <a:pt x="8" y="3"/>
                    <a:pt x="8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4" name="Freeform 9"/>
            <p:cNvSpPr>
              <a:spLocks/>
            </p:cNvSpPr>
            <p:nvPr/>
          </p:nvSpPr>
          <p:spPr bwMode="auto">
            <a:xfrm>
              <a:off x="5905832" y="5183110"/>
              <a:ext cx="47848" cy="44721"/>
            </a:xfrm>
            <a:custGeom>
              <a:avLst/>
              <a:gdLst>
                <a:gd name="T0" fmla="*/ 29992152 w 36"/>
                <a:gd name="T1" fmla="*/ 37551430 h 41"/>
                <a:gd name="T2" fmla="*/ 28785776 w 36"/>
                <a:gd name="T3" fmla="*/ 35798050 h 41"/>
                <a:gd name="T4" fmla="*/ 28785776 w 36"/>
                <a:gd name="T5" fmla="*/ 24073773 h 41"/>
                <a:gd name="T6" fmla="*/ 29992152 w 36"/>
                <a:gd name="T7" fmla="*/ 18261455 h 41"/>
                <a:gd name="T8" fmla="*/ 32815247 w 36"/>
                <a:gd name="T9" fmla="*/ 7718763 h 41"/>
                <a:gd name="T10" fmla="*/ 33681736 w 36"/>
                <a:gd name="T11" fmla="*/ 0 h 41"/>
                <a:gd name="T12" fmla="*/ 31608852 w 36"/>
                <a:gd name="T13" fmla="*/ 0 h 41"/>
                <a:gd name="T14" fmla="*/ 26929207 w 36"/>
                <a:gd name="T15" fmla="*/ 2924127 h 41"/>
                <a:gd name="T16" fmla="*/ 23229971 w 36"/>
                <a:gd name="T17" fmla="*/ 2026602 h 41"/>
                <a:gd name="T18" fmla="*/ 21259350 w 36"/>
                <a:gd name="T19" fmla="*/ 2026602 h 41"/>
                <a:gd name="T20" fmla="*/ 21259350 w 36"/>
                <a:gd name="T21" fmla="*/ 4794643 h 41"/>
                <a:gd name="T22" fmla="*/ 20558989 w 36"/>
                <a:gd name="T23" fmla="*/ 5692164 h 41"/>
                <a:gd name="T24" fmla="*/ 15040843 w 36"/>
                <a:gd name="T25" fmla="*/ 10695836 h 41"/>
                <a:gd name="T26" fmla="*/ 13898226 w 36"/>
                <a:gd name="T27" fmla="*/ 10695836 h 41"/>
                <a:gd name="T28" fmla="*/ 9573822 w 36"/>
                <a:gd name="T29" fmla="*/ 11343417 h 41"/>
                <a:gd name="T30" fmla="*/ 6662007 w 36"/>
                <a:gd name="T31" fmla="*/ 17537106 h 41"/>
                <a:gd name="T32" fmla="*/ 5519055 w 36"/>
                <a:gd name="T33" fmla="*/ 18261455 h 41"/>
                <a:gd name="T34" fmla="*/ 839472 w 36"/>
                <a:gd name="T35" fmla="*/ 18261455 h 41"/>
                <a:gd name="T36" fmla="*/ 0 w 36"/>
                <a:gd name="T37" fmla="*/ 17537106 h 41"/>
                <a:gd name="T38" fmla="*/ 0 w 36"/>
                <a:gd name="T39" fmla="*/ 19134776 h 41"/>
                <a:gd name="T40" fmla="*/ 2821556 w 36"/>
                <a:gd name="T41" fmla="*/ 22042224 h 41"/>
                <a:gd name="T42" fmla="*/ 2821556 w 36"/>
                <a:gd name="T43" fmla="*/ 23212072 h 41"/>
                <a:gd name="T44" fmla="*/ 7500980 w 36"/>
                <a:gd name="T45" fmla="*/ 28074865 h 41"/>
                <a:gd name="T46" fmla="*/ 11049821 w 36"/>
                <a:gd name="T47" fmla="*/ 32535444 h 41"/>
                <a:gd name="T48" fmla="*/ 13031094 w 36"/>
                <a:gd name="T49" fmla="*/ 33766539 h 41"/>
                <a:gd name="T50" fmla="*/ 13031094 w 36"/>
                <a:gd name="T51" fmla="*/ 34628202 h 41"/>
                <a:gd name="T52" fmla="*/ 15040843 w 36"/>
                <a:gd name="T53" fmla="*/ 34628202 h 41"/>
                <a:gd name="T54" fmla="*/ 19784540 w 36"/>
                <a:gd name="T55" fmla="*/ 35798050 h 41"/>
                <a:gd name="T56" fmla="*/ 22604843 w 36"/>
                <a:gd name="T57" fmla="*/ 35798050 h 41"/>
                <a:gd name="T58" fmla="*/ 24107926 w 36"/>
                <a:gd name="T59" fmla="*/ 38722149 h 41"/>
                <a:gd name="T60" fmla="*/ 26929207 w 36"/>
                <a:gd name="T61" fmla="*/ 38722149 h 41"/>
                <a:gd name="T62" fmla="*/ 28785776 w 36"/>
                <a:gd name="T63" fmla="*/ 37551430 h 41"/>
                <a:gd name="T64" fmla="*/ 29992152 w 36"/>
                <a:gd name="T65" fmla="*/ 37551430 h 4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6"/>
                <a:gd name="T100" fmla="*/ 0 h 41"/>
                <a:gd name="T101" fmla="*/ 36 w 36"/>
                <a:gd name="T102" fmla="*/ 41 h 4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6" h="41">
                  <a:moveTo>
                    <a:pt x="32" y="39"/>
                  </a:moveTo>
                  <a:cubicBezTo>
                    <a:pt x="31" y="39"/>
                    <a:pt x="31" y="38"/>
                    <a:pt x="31" y="37"/>
                  </a:cubicBezTo>
                  <a:cubicBezTo>
                    <a:pt x="30" y="33"/>
                    <a:pt x="30" y="29"/>
                    <a:pt x="31" y="25"/>
                  </a:cubicBezTo>
                  <a:cubicBezTo>
                    <a:pt x="31" y="23"/>
                    <a:pt x="32" y="21"/>
                    <a:pt x="32" y="19"/>
                  </a:cubicBezTo>
                  <a:cubicBezTo>
                    <a:pt x="33" y="15"/>
                    <a:pt x="34" y="12"/>
                    <a:pt x="35" y="8"/>
                  </a:cubicBezTo>
                  <a:cubicBezTo>
                    <a:pt x="35" y="5"/>
                    <a:pt x="36" y="2"/>
                    <a:pt x="36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2" y="1"/>
                    <a:pt x="31" y="2"/>
                    <a:pt x="29" y="3"/>
                  </a:cubicBezTo>
                  <a:cubicBezTo>
                    <a:pt x="28" y="4"/>
                    <a:pt x="27" y="3"/>
                    <a:pt x="25" y="2"/>
                  </a:cubicBezTo>
                  <a:cubicBezTo>
                    <a:pt x="25" y="2"/>
                    <a:pt x="24" y="2"/>
                    <a:pt x="23" y="2"/>
                  </a:cubicBezTo>
                  <a:cubicBezTo>
                    <a:pt x="23" y="3"/>
                    <a:pt x="23" y="4"/>
                    <a:pt x="23" y="5"/>
                  </a:cubicBezTo>
                  <a:cubicBezTo>
                    <a:pt x="22" y="5"/>
                    <a:pt x="22" y="5"/>
                    <a:pt x="22" y="6"/>
                  </a:cubicBezTo>
                  <a:cubicBezTo>
                    <a:pt x="20" y="8"/>
                    <a:pt x="18" y="10"/>
                    <a:pt x="16" y="11"/>
                  </a:cubicBezTo>
                  <a:cubicBezTo>
                    <a:pt x="16" y="12"/>
                    <a:pt x="15" y="12"/>
                    <a:pt x="15" y="11"/>
                  </a:cubicBezTo>
                  <a:cubicBezTo>
                    <a:pt x="13" y="10"/>
                    <a:pt x="11" y="10"/>
                    <a:pt x="10" y="12"/>
                  </a:cubicBezTo>
                  <a:cubicBezTo>
                    <a:pt x="8" y="14"/>
                    <a:pt x="8" y="16"/>
                    <a:pt x="7" y="18"/>
                  </a:cubicBezTo>
                  <a:cubicBezTo>
                    <a:pt x="6" y="18"/>
                    <a:pt x="6" y="19"/>
                    <a:pt x="6" y="19"/>
                  </a:cubicBezTo>
                  <a:cubicBezTo>
                    <a:pt x="4" y="20"/>
                    <a:pt x="3" y="19"/>
                    <a:pt x="1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20"/>
                    <a:pt x="0" y="20"/>
                  </a:cubicBezTo>
                  <a:cubicBezTo>
                    <a:pt x="1" y="21"/>
                    <a:pt x="2" y="22"/>
                    <a:pt x="3" y="23"/>
                  </a:cubicBezTo>
                  <a:cubicBezTo>
                    <a:pt x="3" y="23"/>
                    <a:pt x="3" y="24"/>
                    <a:pt x="3" y="24"/>
                  </a:cubicBezTo>
                  <a:cubicBezTo>
                    <a:pt x="5" y="26"/>
                    <a:pt x="6" y="28"/>
                    <a:pt x="8" y="29"/>
                  </a:cubicBezTo>
                  <a:cubicBezTo>
                    <a:pt x="9" y="31"/>
                    <a:pt x="10" y="33"/>
                    <a:pt x="12" y="34"/>
                  </a:cubicBezTo>
                  <a:cubicBezTo>
                    <a:pt x="12" y="35"/>
                    <a:pt x="13" y="35"/>
                    <a:pt x="14" y="35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7" y="36"/>
                    <a:pt x="19" y="36"/>
                    <a:pt x="21" y="37"/>
                  </a:cubicBezTo>
                  <a:cubicBezTo>
                    <a:pt x="22" y="37"/>
                    <a:pt x="23" y="37"/>
                    <a:pt x="24" y="37"/>
                  </a:cubicBezTo>
                  <a:cubicBezTo>
                    <a:pt x="25" y="38"/>
                    <a:pt x="25" y="40"/>
                    <a:pt x="26" y="40"/>
                  </a:cubicBezTo>
                  <a:cubicBezTo>
                    <a:pt x="27" y="41"/>
                    <a:pt x="28" y="41"/>
                    <a:pt x="29" y="40"/>
                  </a:cubicBezTo>
                  <a:cubicBezTo>
                    <a:pt x="29" y="40"/>
                    <a:pt x="30" y="39"/>
                    <a:pt x="31" y="39"/>
                  </a:cubicBezTo>
                  <a:lnTo>
                    <a:pt x="32" y="39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5" name="Freeform 10"/>
            <p:cNvSpPr>
              <a:spLocks/>
            </p:cNvSpPr>
            <p:nvPr/>
          </p:nvSpPr>
          <p:spPr bwMode="auto">
            <a:xfrm>
              <a:off x="5923231" y="5222392"/>
              <a:ext cx="34799" cy="29008"/>
            </a:xfrm>
            <a:custGeom>
              <a:avLst/>
              <a:gdLst>
                <a:gd name="T0" fmla="*/ 2476837 w 26"/>
                <a:gd name="T1" fmla="*/ 0 h 27"/>
                <a:gd name="T2" fmla="*/ 6922623 w 26"/>
                <a:gd name="T3" fmla="*/ 727531 h 27"/>
                <a:gd name="T4" fmla="*/ 9343585 w 26"/>
                <a:gd name="T5" fmla="*/ 727531 h 27"/>
                <a:gd name="T6" fmla="*/ 11156751 w 26"/>
                <a:gd name="T7" fmla="*/ 2970751 h 27"/>
                <a:gd name="T8" fmla="*/ 13633585 w 26"/>
                <a:gd name="T9" fmla="*/ 2970751 h 27"/>
                <a:gd name="T10" fmla="*/ 15127963 w 26"/>
                <a:gd name="T11" fmla="*/ 2243220 h 27"/>
                <a:gd name="T12" fmla="*/ 16241531 w 26"/>
                <a:gd name="T13" fmla="*/ 2243220 h 27"/>
                <a:gd name="T14" fmla="*/ 16241531 w 26"/>
                <a:gd name="T15" fmla="*/ 4688532 h 27"/>
                <a:gd name="T16" fmla="*/ 16821088 w 26"/>
                <a:gd name="T17" fmla="*/ 6253185 h 27"/>
                <a:gd name="T18" fmla="*/ 21921488 w 26"/>
                <a:gd name="T19" fmla="*/ 10939910 h 27"/>
                <a:gd name="T20" fmla="*/ 21137273 w 26"/>
                <a:gd name="T21" fmla="*/ 10939910 h 27"/>
                <a:gd name="T22" fmla="*/ 20026566 w 26"/>
                <a:gd name="T23" fmla="*/ 13184930 h 27"/>
                <a:gd name="T24" fmla="*/ 20026566 w 26"/>
                <a:gd name="T25" fmla="*/ 16901612 h 27"/>
                <a:gd name="T26" fmla="*/ 20026566 w 26"/>
                <a:gd name="T27" fmla="*/ 19144831 h 27"/>
                <a:gd name="T28" fmla="*/ 20026566 w 26"/>
                <a:gd name="T29" fmla="*/ 20837921 h 27"/>
                <a:gd name="T30" fmla="*/ 17604740 w 26"/>
                <a:gd name="T31" fmla="*/ 19144831 h 27"/>
                <a:gd name="T32" fmla="*/ 14406455 w 26"/>
                <a:gd name="T33" fmla="*/ 18594715 h 27"/>
                <a:gd name="T34" fmla="*/ 13633585 w 26"/>
                <a:gd name="T35" fmla="*/ 16174079 h 27"/>
                <a:gd name="T36" fmla="*/ 14406455 w 26"/>
                <a:gd name="T37" fmla="*/ 16174079 h 27"/>
                <a:gd name="T38" fmla="*/ 13633585 w 26"/>
                <a:gd name="T39" fmla="*/ 13184930 h 27"/>
                <a:gd name="T40" fmla="*/ 9343585 w 26"/>
                <a:gd name="T41" fmla="*/ 11620011 h 27"/>
                <a:gd name="T42" fmla="*/ 6922623 w 26"/>
                <a:gd name="T43" fmla="*/ 8614989 h 27"/>
                <a:gd name="T44" fmla="*/ 5038211 w 26"/>
                <a:gd name="T45" fmla="*/ 8614989 h 27"/>
                <a:gd name="T46" fmla="*/ 5038211 w 26"/>
                <a:gd name="T47" fmla="*/ 10939910 h 27"/>
                <a:gd name="T48" fmla="*/ 0 w 26"/>
                <a:gd name="T49" fmla="*/ 8614989 h 27"/>
                <a:gd name="T50" fmla="*/ 784235 w 26"/>
                <a:gd name="T51" fmla="*/ 4688532 h 27"/>
                <a:gd name="T52" fmla="*/ 784235 w 26"/>
                <a:gd name="T53" fmla="*/ 2970751 h 27"/>
                <a:gd name="T54" fmla="*/ 784235 w 26"/>
                <a:gd name="T55" fmla="*/ 0 h 27"/>
                <a:gd name="T56" fmla="*/ 2476837 w 26"/>
                <a:gd name="T57" fmla="*/ 0 h 2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6"/>
                <a:gd name="T88" fmla="*/ 0 h 27"/>
                <a:gd name="T89" fmla="*/ 26 w 26"/>
                <a:gd name="T90" fmla="*/ 27 h 2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6" h="27">
                  <a:moveTo>
                    <a:pt x="3" y="0"/>
                  </a:moveTo>
                  <a:cubicBezTo>
                    <a:pt x="4" y="0"/>
                    <a:pt x="6" y="0"/>
                    <a:pt x="8" y="1"/>
                  </a:cubicBezTo>
                  <a:cubicBezTo>
                    <a:pt x="9" y="1"/>
                    <a:pt x="10" y="1"/>
                    <a:pt x="11" y="1"/>
                  </a:cubicBezTo>
                  <a:cubicBezTo>
                    <a:pt x="12" y="2"/>
                    <a:pt x="12" y="4"/>
                    <a:pt x="13" y="4"/>
                  </a:cubicBezTo>
                  <a:cubicBezTo>
                    <a:pt x="14" y="5"/>
                    <a:pt x="15" y="5"/>
                    <a:pt x="16" y="4"/>
                  </a:cubicBezTo>
                  <a:cubicBezTo>
                    <a:pt x="16" y="4"/>
                    <a:pt x="17" y="3"/>
                    <a:pt x="18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4"/>
                    <a:pt x="19" y="5"/>
                    <a:pt x="19" y="6"/>
                  </a:cubicBezTo>
                  <a:cubicBezTo>
                    <a:pt x="19" y="7"/>
                    <a:pt x="20" y="8"/>
                    <a:pt x="20" y="8"/>
                  </a:cubicBezTo>
                  <a:cubicBezTo>
                    <a:pt x="22" y="10"/>
                    <a:pt x="24" y="12"/>
                    <a:pt x="26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5"/>
                    <a:pt x="24" y="16"/>
                    <a:pt x="24" y="17"/>
                  </a:cubicBezTo>
                  <a:cubicBezTo>
                    <a:pt x="23" y="19"/>
                    <a:pt x="24" y="20"/>
                    <a:pt x="24" y="22"/>
                  </a:cubicBezTo>
                  <a:cubicBezTo>
                    <a:pt x="24" y="23"/>
                    <a:pt x="24" y="24"/>
                    <a:pt x="24" y="25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3" y="26"/>
                    <a:pt x="23" y="25"/>
                    <a:pt x="21" y="25"/>
                  </a:cubicBezTo>
                  <a:cubicBezTo>
                    <a:pt x="20" y="25"/>
                    <a:pt x="19" y="25"/>
                    <a:pt x="17" y="24"/>
                  </a:cubicBezTo>
                  <a:cubicBezTo>
                    <a:pt x="16" y="24"/>
                    <a:pt x="16" y="22"/>
                    <a:pt x="16" y="21"/>
                  </a:cubicBezTo>
                  <a:cubicBezTo>
                    <a:pt x="17" y="21"/>
                    <a:pt x="17" y="20"/>
                    <a:pt x="17" y="21"/>
                  </a:cubicBezTo>
                  <a:cubicBezTo>
                    <a:pt x="17" y="19"/>
                    <a:pt x="17" y="17"/>
                    <a:pt x="16" y="17"/>
                  </a:cubicBezTo>
                  <a:cubicBezTo>
                    <a:pt x="14" y="16"/>
                    <a:pt x="12" y="16"/>
                    <a:pt x="11" y="15"/>
                  </a:cubicBezTo>
                  <a:cubicBezTo>
                    <a:pt x="10" y="14"/>
                    <a:pt x="9" y="13"/>
                    <a:pt x="8" y="11"/>
                  </a:cubicBezTo>
                  <a:cubicBezTo>
                    <a:pt x="8" y="11"/>
                    <a:pt x="7" y="11"/>
                    <a:pt x="6" y="11"/>
                  </a:cubicBezTo>
                  <a:cubicBezTo>
                    <a:pt x="6" y="12"/>
                    <a:pt x="6" y="14"/>
                    <a:pt x="6" y="14"/>
                  </a:cubicBezTo>
                  <a:cubicBezTo>
                    <a:pt x="4" y="14"/>
                    <a:pt x="2" y="12"/>
                    <a:pt x="0" y="11"/>
                  </a:cubicBezTo>
                  <a:cubicBezTo>
                    <a:pt x="0" y="9"/>
                    <a:pt x="0" y="8"/>
                    <a:pt x="1" y="6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1" y="3"/>
                    <a:pt x="1" y="2"/>
                    <a:pt x="1" y="0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6" name="Freeform 11"/>
            <p:cNvSpPr>
              <a:spLocks/>
            </p:cNvSpPr>
            <p:nvPr/>
          </p:nvSpPr>
          <p:spPr bwMode="auto">
            <a:xfrm>
              <a:off x="5953680" y="5237500"/>
              <a:ext cx="60898" cy="24779"/>
            </a:xfrm>
            <a:custGeom>
              <a:avLst/>
              <a:gdLst>
                <a:gd name="T0" fmla="*/ 40475761 w 45"/>
                <a:gd name="T1" fmla="*/ 8361068 h 23"/>
                <a:gd name="T2" fmla="*/ 35806326 w 45"/>
                <a:gd name="T3" fmla="*/ 5078724 h 23"/>
                <a:gd name="T4" fmla="*/ 34290894 w 45"/>
                <a:gd name="T5" fmla="*/ 3227747 h 23"/>
                <a:gd name="T6" fmla="*/ 32360998 w 45"/>
                <a:gd name="T7" fmla="*/ 2499531 h 23"/>
                <a:gd name="T8" fmla="*/ 28653034 w 45"/>
                <a:gd name="T9" fmla="*/ 1852956 h 23"/>
                <a:gd name="T10" fmla="*/ 28653034 w 45"/>
                <a:gd name="T11" fmla="*/ 789222 h 23"/>
                <a:gd name="T12" fmla="*/ 24482571 w 45"/>
                <a:gd name="T13" fmla="*/ 789222 h 23"/>
                <a:gd name="T14" fmla="*/ 16019765 w 45"/>
                <a:gd name="T15" fmla="*/ 4350418 h 23"/>
                <a:gd name="T16" fmla="*/ 14557456 w 45"/>
                <a:gd name="T17" fmla="*/ 5868462 h 23"/>
                <a:gd name="T18" fmla="*/ 10655055 w 45"/>
                <a:gd name="T19" fmla="*/ 5868462 h 23"/>
                <a:gd name="T20" fmla="*/ 7904269 w 45"/>
                <a:gd name="T21" fmla="*/ 3227747 h 23"/>
                <a:gd name="T22" fmla="*/ 2623609 w 45"/>
                <a:gd name="T23" fmla="*/ 0 h 23"/>
                <a:gd name="T24" fmla="*/ 1920301 w 45"/>
                <a:gd name="T25" fmla="*/ 0 h 23"/>
                <a:gd name="T26" fmla="*/ 815222 w 45"/>
                <a:gd name="T27" fmla="*/ 2499531 h 23"/>
                <a:gd name="T28" fmla="*/ 815222 w 45"/>
                <a:gd name="T29" fmla="*/ 6988262 h 23"/>
                <a:gd name="T30" fmla="*/ 815222 w 45"/>
                <a:gd name="T31" fmla="*/ 9424793 h 23"/>
                <a:gd name="T32" fmla="*/ 815222 w 45"/>
                <a:gd name="T33" fmla="*/ 11241599 h 23"/>
                <a:gd name="T34" fmla="*/ 7294717 w 45"/>
                <a:gd name="T35" fmla="*/ 11923961 h 23"/>
                <a:gd name="T36" fmla="*/ 9218928 w 45"/>
                <a:gd name="T37" fmla="*/ 13778124 h 23"/>
                <a:gd name="T38" fmla="*/ 9897810 w 45"/>
                <a:gd name="T39" fmla="*/ 14564485 h 23"/>
                <a:gd name="T40" fmla="*/ 10655055 w 45"/>
                <a:gd name="T41" fmla="*/ 15292894 h 23"/>
                <a:gd name="T42" fmla="*/ 13280707 w 45"/>
                <a:gd name="T43" fmla="*/ 15292894 h 23"/>
                <a:gd name="T44" fmla="*/ 15200805 w 45"/>
                <a:gd name="T45" fmla="*/ 18819769 h 23"/>
                <a:gd name="T46" fmla="*/ 16019765 w 45"/>
                <a:gd name="T47" fmla="*/ 18819769 h 23"/>
                <a:gd name="T48" fmla="*/ 18618941 w 45"/>
                <a:gd name="T49" fmla="*/ 17003040 h 23"/>
                <a:gd name="T50" fmla="*/ 18618941 w 45"/>
                <a:gd name="T51" fmla="*/ 15292894 h 23"/>
                <a:gd name="T52" fmla="*/ 17951678 w 45"/>
                <a:gd name="T53" fmla="*/ 14564485 h 23"/>
                <a:gd name="T54" fmla="*/ 17951678 w 45"/>
                <a:gd name="T55" fmla="*/ 11241599 h 23"/>
                <a:gd name="T56" fmla="*/ 19722141 w 45"/>
                <a:gd name="T57" fmla="*/ 10214021 h 23"/>
                <a:gd name="T58" fmla="*/ 22472963 w 45"/>
                <a:gd name="T59" fmla="*/ 8361068 h 23"/>
                <a:gd name="T60" fmla="*/ 22472963 w 45"/>
                <a:gd name="T61" fmla="*/ 6988262 h 23"/>
                <a:gd name="T62" fmla="*/ 25917575 w 45"/>
                <a:gd name="T63" fmla="*/ 5078724 h 23"/>
                <a:gd name="T64" fmla="*/ 30461384 w 45"/>
                <a:gd name="T65" fmla="*/ 6988262 h 23"/>
                <a:gd name="T66" fmla="*/ 30461384 w 45"/>
                <a:gd name="T67" fmla="*/ 6988262 h 23"/>
                <a:gd name="T68" fmla="*/ 32360998 w 45"/>
                <a:gd name="T69" fmla="*/ 8361068 h 23"/>
                <a:gd name="T70" fmla="*/ 32360998 w 45"/>
                <a:gd name="T71" fmla="*/ 16407218 h 23"/>
                <a:gd name="T72" fmla="*/ 35132694 w 45"/>
                <a:gd name="T73" fmla="*/ 17792257 h 23"/>
                <a:gd name="T74" fmla="*/ 35132694 w 45"/>
                <a:gd name="T75" fmla="*/ 17003040 h 23"/>
                <a:gd name="T76" fmla="*/ 38550679 w 45"/>
                <a:gd name="T77" fmla="*/ 15292894 h 23"/>
                <a:gd name="T78" fmla="*/ 39655764 w 45"/>
                <a:gd name="T79" fmla="*/ 12713535 h 23"/>
                <a:gd name="T80" fmla="*/ 38550679 w 45"/>
                <a:gd name="T81" fmla="*/ 11241599 h 23"/>
                <a:gd name="T82" fmla="*/ 38550679 w 45"/>
                <a:gd name="T83" fmla="*/ 9424793 h 23"/>
                <a:gd name="T84" fmla="*/ 40475761 w 45"/>
                <a:gd name="T85" fmla="*/ 8361068 h 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5"/>
                <a:gd name="T130" fmla="*/ 0 h 23"/>
                <a:gd name="T131" fmla="*/ 45 w 45"/>
                <a:gd name="T132" fmla="*/ 23 h 2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5" h="23">
                  <a:moveTo>
                    <a:pt x="45" y="10"/>
                  </a:moveTo>
                  <a:cubicBezTo>
                    <a:pt x="43" y="8"/>
                    <a:pt x="42" y="7"/>
                    <a:pt x="40" y="6"/>
                  </a:cubicBezTo>
                  <a:cubicBezTo>
                    <a:pt x="40" y="5"/>
                    <a:pt x="39" y="5"/>
                    <a:pt x="38" y="4"/>
                  </a:cubicBezTo>
                  <a:cubicBezTo>
                    <a:pt x="38" y="3"/>
                    <a:pt x="37" y="3"/>
                    <a:pt x="36" y="3"/>
                  </a:cubicBezTo>
                  <a:cubicBezTo>
                    <a:pt x="35" y="2"/>
                    <a:pt x="34" y="2"/>
                    <a:pt x="32" y="2"/>
                  </a:cubicBezTo>
                  <a:cubicBezTo>
                    <a:pt x="32" y="2"/>
                    <a:pt x="32" y="1"/>
                    <a:pt x="32" y="1"/>
                  </a:cubicBezTo>
                  <a:cubicBezTo>
                    <a:pt x="30" y="1"/>
                    <a:pt x="28" y="0"/>
                    <a:pt x="27" y="1"/>
                  </a:cubicBezTo>
                  <a:cubicBezTo>
                    <a:pt x="24" y="2"/>
                    <a:pt x="21" y="4"/>
                    <a:pt x="18" y="5"/>
                  </a:cubicBezTo>
                  <a:cubicBezTo>
                    <a:pt x="17" y="6"/>
                    <a:pt x="17" y="7"/>
                    <a:pt x="16" y="7"/>
                  </a:cubicBezTo>
                  <a:cubicBezTo>
                    <a:pt x="14" y="8"/>
                    <a:pt x="13" y="8"/>
                    <a:pt x="12" y="7"/>
                  </a:cubicBezTo>
                  <a:cubicBezTo>
                    <a:pt x="10" y="6"/>
                    <a:pt x="10" y="5"/>
                    <a:pt x="9" y="4"/>
                  </a:cubicBezTo>
                  <a:cubicBezTo>
                    <a:pt x="7" y="2"/>
                    <a:pt x="5" y="1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1" y="2"/>
                    <a:pt x="1" y="3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0"/>
                    <a:pt x="1" y="11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3" y="14"/>
                    <a:pt x="5" y="12"/>
                    <a:pt x="8" y="14"/>
                  </a:cubicBezTo>
                  <a:cubicBezTo>
                    <a:pt x="9" y="14"/>
                    <a:pt x="9" y="15"/>
                    <a:pt x="10" y="16"/>
                  </a:cubicBezTo>
                  <a:cubicBezTo>
                    <a:pt x="10" y="16"/>
                    <a:pt x="11" y="17"/>
                    <a:pt x="11" y="17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3" y="18"/>
                    <a:pt x="14" y="18"/>
                    <a:pt x="15" y="18"/>
                  </a:cubicBezTo>
                  <a:cubicBezTo>
                    <a:pt x="15" y="20"/>
                    <a:pt x="16" y="21"/>
                    <a:pt x="17" y="22"/>
                  </a:cubicBezTo>
                  <a:cubicBezTo>
                    <a:pt x="17" y="23"/>
                    <a:pt x="18" y="23"/>
                    <a:pt x="18" y="22"/>
                  </a:cubicBezTo>
                  <a:cubicBezTo>
                    <a:pt x="19" y="21"/>
                    <a:pt x="20" y="21"/>
                    <a:pt x="21" y="20"/>
                  </a:cubicBezTo>
                  <a:cubicBezTo>
                    <a:pt x="22" y="20"/>
                    <a:pt x="22" y="19"/>
                    <a:pt x="21" y="18"/>
                  </a:cubicBezTo>
                  <a:cubicBezTo>
                    <a:pt x="21" y="18"/>
                    <a:pt x="21" y="17"/>
                    <a:pt x="20" y="17"/>
                  </a:cubicBezTo>
                  <a:cubicBezTo>
                    <a:pt x="20" y="16"/>
                    <a:pt x="20" y="14"/>
                    <a:pt x="20" y="13"/>
                  </a:cubicBezTo>
                  <a:cubicBezTo>
                    <a:pt x="20" y="13"/>
                    <a:pt x="22" y="13"/>
                    <a:pt x="22" y="12"/>
                  </a:cubicBezTo>
                  <a:cubicBezTo>
                    <a:pt x="23" y="12"/>
                    <a:pt x="24" y="11"/>
                    <a:pt x="25" y="10"/>
                  </a:cubicBezTo>
                  <a:cubicBezTo>
                    <a:pt x="25" y="10"/>
                    <a:pt x="25" y="9"/>
                    <a:pt x="25" y="8"/>
                  </a:cubicBezTo>
                  <a:cubicBezTo>
                    <a:pt x="26" y="7"/>
                    <a:pt x="28" y="7"/>
                    <a:pt x="29" y="6"/>
                  </a:cubicBezTo>
                  <a:cubicBezTo>
                    <a:pt x="31" y="6"/>
                    <a:pt x="32" y="7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5" y="9"/>
                    <a:pt x="36" y="10"/>
                    <a:pt x="36" y="10"/>
                  </a:cubicBezTo>
                  <a:cubicBezTo>
                    <a:pt x="37" y="13"/>
                    <a:pt x="36" y="16"/>
                    <a:pt x="36" y="19"/>
                  </a:cubicBezTo>
                  <a:cubicBezTo>
                    <a:pt x="37" y="19"/>
                    <a:pt x="38" y="20"/>
                    <a:pt x="39" y="21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41" y="20"/>
                    <a:pt x="43" y="19"/>
                    <a:pt x="43" y="18"/>
                  </a:cubicBezTo>
                  <a:cubicBezTo>
                    <a:pt x="44" y="15"/>
                    <a:pt x="43" y="17"/>
                    <a:pt x="44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2" y="12"/>
                    <a:pt x="43" y="11"/>
                  </a:cubicBezTo>
                  <a:lnTo>
                    <a:pt x="45" y="1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7" name="Freeform 12"/>
            <p:cNvSpPr>
              <a:spLocks/>
            </p:cNvSpPr>
            <p:nvPr/>
          </p:nvSpPr>
          <p:spPr bwMode="auto">
            <a:xfrm>
              <a:off x="6076923" y="5134763"/>
              <a:ext cx="37698" cy="23569"/>
            </a:xfrm>
            <a:custGeom>
              <a:avLst/>
              <a:gdLst>
                <a:gd name="T0" fmla="*/ 1947959 w 28"/>
                <a:gd name="T1" fmla="*/ 15293852 h 22"/>
                <a:gd name="T2" fmla="*/ 1947959 w 28"/>
                <a:gd name="T3" fmla="*/ 18819602 h 22"/>
                <a:gd name="T4" fmla="*/ 3468116 w 28"/>
                <a:gd name="T5" fmla="*/ 20915083 h 22"/>
                <a:gd name="T6" fmla="*/ 4591618 w 28"/>
                <a:gd name="T7" fmla="*/ 16168539 h 22"/>
                <a:gd name="T8" fmla="*/ 5415918 w 28"/>
                <a:gd name="T9" fmla="*/ 14073923 h 22"/>
                <a:gd name="T10" fmla="*/ 8174845 w 28"/>
                <a:gd name="T11" fmla="*/ 14073923 h 22"/>
                <a:gd name="T12" fmla="*/ 9297269 w 28"/>
                <a:gd name="T13" fmla="*/ 15293852 h 22"/>
                <a:gd name="T14" fmla="*/ 12766089 w 28"/>
                <a:gd name="T15" fmla="*/ 15293852 h 22"/>
                <a:gd name="T16" fmla="*/ 20744539 w 28"/>
                <a:gd name="T17" fmla="*/ 14073923 h 22"/>
                <a:gd name="T18" fmla="*/ 24685191 w 28"/>
                <a:gd name="T19" fmla="*/ 13226484 h 22"/>
                <a:gd name="T20" fmla="*/ 24685191 w 28"/>
                <a:gd name="T21" fmla="*/ 11216146 h 22"/>
                <a:gd name="T22" fmla="*/ 20744539 w 28"/>
                <a:gd name="T23" fmla="*/ 9698926 h 22"/>
                <a:gd name="T24" fmla="*/ 20120368 w 28"/>
                <a:gd name="T25" fmla="*/ 8480159 h 22"/>
                <a:gd name="T26" fmla="*/ 19269275 w 28"/>
                <a:gd name="T27" fmla="*/ 5595820 h 22"/>
                <a:gd name="T28" fmla="*/ 15386779 w 28"/>
                <a:gd name="T29" fmla="*/ 2894074 h 22"/>
                <a:gd name="T30" fmla="*/ 15386779 w 28"/>
                <a:gd name="T31" fmla="*/ 2894074 h 22"/>
                <a:gd name="T32" fmla="*/ 13592494 w 28"/>
                <a:gd name="T33" fmla="*/ 2007625 h 22"/>
                <a:gd name="T34" fmla="*/ 7350477 w 28"/>
                <a:gd name="T35" fmla="*/ 849380 h 22"/>
                <a:gd name="T36" fmla="*/ 3468116 w 28"/>
                <a:gd name="T37" fmla="*/ 849380 h 22"/>
                <a:gd name="T38" fmla="*/ 1947959 w 28"/>
                <a:gd name="T39" fmla="*/ 2007625 h 22"/>
                <a:gd name="T40" fmla="*/ 0 w 28"/>
                <a:gd name="T41" fmla="*/ 2007625 h 22"/>
                <a:gd name="T42" fmla="*/ 826407 w 28"/>
                <a:gd name="T43" fmla="*/ 3587761 h 22"/>
                <a:gd name="T44" fmla="*/ 1947959 w 28"/>
                <a:gd name="T45" fmla="*/ 13226484 h 22"/>
                <a:gd name="T46" fmla="*/ 1947959 w 28"/>
                <a:gd name="T47" fmla="*/ 15293852 h 2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8"/>
                <a:gd name="T73" fmla="*/ 0 h 22"/>
                <a:gd name="T74" fmla="*/ 28 w 28"/>
                <a:gd name="T75" fmla="*/ 22 h 2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8" h="22">
                  <a:moveTo>
                    <a:pt x="2" y="16"/>
                  </a:moveTo>
                  <a:cubicBezTo>
                    <a:pt x="2" y="18"/>
                    <a:pt x="2" y="19"/>
                    <a:pt x="2" y="20"/>
                  </a:cubicBezTo>
                  <a:cubicBezTo>
                    <a:pt x="3" y="21"/>
                    <a:pt x="4" y="22"/>
                    <a:pt x="4" y="22"/>
                  </a:cubicBezTo>
                  <a:cubicBezTo>
                    <a:pt x="5" y="20"/>
                    <a:pt x="5" y="19"/>
                    <a:pt x="5" y="17"/>
                  </a:cubicBezTo>
                  <a:cubicBezTo>
                    <a:pt x="5" y="16"/>
                    <a:pt x="6" y="16"/>
                    <a:pt x="6" y="15"/>
                  </a:cubicBezTo>
                  <a:cubicBezTo>
                    <a:pt x="7" y="14"/>
                    <a:pt x="8" y="14"/>
                    <a:pt x="9" y="15"/>
                  </a:cubicBezTo>
                  <a:cubicBezTo>
                    <a:pt x="9" y="15"/>
                    <a:pt x="9" y="16"/>
                    <a:pt x="10" y="16"/>
                  </a:cubicBezTo>
                  <a:cubicBezTo>
                    <a:pt x="12" y="17"/>
                    <a:pt x="13" y="16"/>
                    <a:pt x="14" y="16"/>
                  </a:cubicBezTo>
                  <a:cubicBezTo>
                    <a:pt x="17" y="14"/>
                    <a:pt x="20" y="16"/>
                    <a:pt x="23" y="15"/>
                  </a:cubicBezTo>
                  <a:cubicBezTo>
                    <a:pt x="25" y="15"/>
                    <a:pt x="26" y="15"/>
                    <a:pt x="27" y="14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1"/>
                    <a:pt x="23" y="10"/>
                  </a:cubicBezTo>
                  <a:cubicBezTo>
                    <a:pt x="23" y="9"/>
                    <a:pt x="23" y="9"/>
                    <a:pt x="22" y="9"/>
                  </a:cubicBezTo>
                  <a:cubicBezTo>
                    <a:pt x="21" y="9"/>
                    <a:pt x="21" y="7"/>
                    <a:pt x="21" y="6"/>
                  </a:cubicBezTo>
                  <a:cubicBezTo>
                    <a:pt x="20" y="4"/>
                    <a:pt x="18" y="4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2"/>
                    <a:pt x="15" y="2"/>
                  </a:cubicBezTo>
                  <a:cubicBezTo>
                    <a:pt x="13" y="1"/>
                    <a:pt x="10" y="2"/>
                    <a:pt x="8" y="1"/>
                  </a:cubicBezTo>
                  <a:cubicBezTo>
                    <a:pt x="6" y="0"/>
                    <a:pt x="5" y="0"/>
                    <a:pt x="4" y="1"/>
                  </a:cubicBezTo>
                  <a:cubicBezTo>
                    <a:pt x="3" y="1"/>
                    <a:pt x="3" y="2"/>
                    <a:pt x="2" y="2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14"/>
                    <a:pt x="2" y="14"/>
                    <a:pt x="2" y="14"/>
                  </a:cubicBezTo>
                  <a:lnTo>
                    <a:pt x="2" y="1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8" name="Freeform 13"/>
            <p:cNvSpPr>
              <a:spLocks/>
            </p:cNvSpPr>
            <p:nvPr/>
          </p:nvSpPr>
          <p:spPr bwMode="auto">
            <a:xfrm>
              <a:off x="6048647" y="5134763"/>
              <a:ext cx="31175" cy="19339"/>
            </a:xfrm>
            <a:custGeom>
              <a:avLst/>
              <a:gdLst>
                <a:gd name="T0" fmla="*/ 26432752 w 23"/>
                <a:gd name="T1" fmla="*/ 17885570 h 18"/>
                <a:gd name="T2" fmla="*/ 26432752 w 23"/>
                <a:gd name="T3" fmla="*/ 16931056 h 18"/>
                <a:gd name="T4" fmla="*/ 23001672 w 23"/>
                <a:gd name="T5" fmla="*/ 16931056 h 18"/>
                <a:gd name="T6" fmla="*/ 18220093 w 23"/>
                <a:gd name="T7" fmla="*/ 17885570 h 18"/>
                <a:gd name="T8" fmla="*/ 15806866 w 23"/>
                <a:gd name="T9" fmla="*/ 19302400 h 18"/>
                <a:gd name="T10" fmla="*/ 8187175 w 23"/>
                <a:gd name="T11" fmla="*/ 19302400 h 18"/>
                <a:gd name="T12" fmla="*/ 4750926 w 23"/>
                <a:gd name="T13" fmla="*/ 20313258 h 18"/>
                <a:gd name="T14" fmla="*/ 2416425 w 23"/>
                <a:gd name="T15" fmla="*/ 17885570 h 18"/>
                <a:gd name="T16" fmla="*/ 1010505 w 23"/>
                <a:gd name="T17" fmla="*/ 16931056 h 18"/>
                <a:gd name="T18" fmla="*/ 0 w 23"/>
                <a:gd name="T19" fmla="*/ 13605887 h 18"/>
                <a:gd name="T20" fmla="*/ 8187175 w 23"/>
                <a:gd name="T21" fmla="*/ 13605887 h 18"/>
                <a:gd name="T22" fmla="*/ 10626183 w 23"/>
                <a:gd name="T23" fmla="*/ 14605101 h 18"/>
                <a:gd name="T24" fmla="*/ 13817923 w 23"/>
                <a:gd name="T25" fmla="*/ 14605101 h 18"/>
                <a:gd name="T26" fmla="*/ 18220093 w 23"/>
                <a:gd name="T27" fmla="*/ 13605887 h 18"/>
                <a:gd name="T28" fmla="*/ 14796368 w 23"/>
                <a:gd name="T29" fmla="*/ 10471513 h 18"/>
                <a:gd name="T30" fmla="*/ 13817923 w 23"/>
                <a:gd name="T31" fmla="*/ 3382358 h 18"/>
                <a:gd name="T32" fmla="*/ 10626183 w 23"/>
                <a:gd name="T33" fmla="*/ 2384158 h 18"/>
                <a:gd name="T34" fmla="*/ 12380864 w 23"/>
                <a:gd name="T35" fmla="*/ 0 h 18"/>
                <a:gd name="T36" fmla="*/ 20557243 w 23"/>
                <a:gd name="T37" fmla="*/ 998020 h 18"/>
                <a:gd name="T38" fmla="*/ 23001672 w 23"/>
                <a:gd name="T39" fmla="*/ 2384158 h 18"/>
                <a:gd name="T40" fmla="*/ 23980958 w 23"/>
                <a:gd name="T41" fmla="*/ 2384158 h 18"/>
                <a:gd name="T42" fmla="*/ 25410422 w 23"/>
                <a:gd name="T43" fmla="*/ 4697331 h 18"/>
                <a:gd name="T44" fmla="*/ 26432752 w 23"/>
                <a:gd name="T45" fmla="*/ 15574178 h 18"/>
                <a:gd name="T46" fmla="*/ 26432752 w 23"/>
                <a:gd name="T47" fmla="*/ 17885570 h 1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3"/>
                <a:gd name="T73" fmla="*/ 0 h 18"/>
                <a:gd name="T74" fmla="*/ 23 w 23"/>
                <a:gd name="T75" fmla="*/ 18 h 1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3" h="18">
                  <a:moveTo>
                    <a:pt x="23" y="16"/>
                  </a:moveTo>
                  <a:cubicBezTo>
                    <a:pt x="23" y="16"/>
                    <a:pt x="23" y="15"/>
                    <a:pt x="23" y="15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19" y="16"/>
                    <a:pt x="17" y="15"/>
                    <a:pt x="16" y="16"/>
                  </a:cubicBezTo>
                  <a:cubicBezTo>
                    <a:pt x="15" y="16"/>
                    <a:pt x="15" y="16"/>
                    <a:pt x="14" y="17"/>
                  </a:cubicBezTo>
                  <a:cubicBezTo>
                    <a:pt x="12" y="17"/>
                    <a:pt x="9" y="16"/>
                    <a:pt x="7" y="17"/>
                  </a:cubicBezTo>
                  <a:cubicBezTo>
                    <a:pt x="6" y="17"/>
                    <a:pt x="5" y="18"/>
                    <a:pt x="4" y="18"/>
                  </a:cubicBezTo>
                  <a:cubicBezTo>
                    <a:pt x="3" y="18"/>
                    <a:pt x="2" y="17"/>
                    <a:pt x="2" y="16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3" y="12"/>
                    <a:pt x="5" y="11"/>
                    <a:pt x="7" y="12"/>
                  </a:cubicBezTo>
                  <a:cubicBezTo>
                    <a:pt x="8" y="12"/>
                    <a:pt x="9" y="13"/>
                    <a:pt x="9" y="13"/>
                  </a:cubicBezTo>
                  <a:cubicBezTo>
                    <a:pt x="10" y="13"/>
                    <a:pt x="11" y="13"/>
                    <a:pt x="12" y="13"/>
                  </a:cubicBezTo>
                  <a:cubicBezTo>
                    <a:pt x="14" y="13"/>
                    <a:pt x="15" y="13"/>
                    <a:pt x="16" y="12"/>
                  </a:cubicBezTo>
                  <a:cubicBezTo>
                    <a:pt x="17" y="11"/>
                    <a:pt x="15" y="9"/>
                    <a:pt x="13" y="9"/>
                  </a:cubicBezTo>
                  <a:cubicBezTo>
                    <a:pt x="13" y="7"/>
                    <a:pt x="14" y="5"/>
                    <a:pt x="12" y="3"/>
                  </a:cubicBezTo>
                  <a:cubicBezTo>
                    <a:pt x="12" y="3"/>
                    <a:pt x="10" y="3"/>
                    <a:pt x="9" y="2"/>
                  </a:cubicBezTo>
                  <a:cubicBezTo>
                    <a:pt x="9" y="2"/>
                    <a:pt x="10" y="1"/>
                    <a:pt x="11" y="0"/>
                  </a:cubicBezTo>
                  <a:cubicBezTo>
                    <a:pt x="13" y="0"/>
                    <a:pt x="16" y="0"/>
                    <a:pt x="18" y="1"/>
                  </a:cubicBezTo>
                  <a:cubicBezTo>
                    <a:pt x="19" y="1"/>
                    <a:pt x="19" y="1"/>
                    <a:pt x="20" y="2"/>
                  </a:cubicBezTo>
                  <a:cubicBezTo>
                    <a:pt x="20" y="2"/>
                    <a:pt x="21" y="2"/>
                    <a:pt x="21" y="2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14"/>
                    <a:pt x="23" y="14"/>
                    <a:pt x="23" y="14"/>
                  </a:cubicBezTo>
                  <a:lnTo>
                    <a:pt x="23" y="1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9" name="Freeform 14"/>
            <p:cNvSpPr>
              <a:spLocks/>
            </p:cNvSpPr>
            <p:nvPr/>
          </p:nvSpPr>
          <p:spPr bwMode="auto">
            <a:xfrm>
              <a:off x="5615846" y="5001808"/>
              <a:ext cx="307385" cy="186740"/>
            </a:xfrm>
            <a:custGeom>
              <a:avLst/>
              <a:gdLst>
                <a:gd name="T0" fmla="*/ 153408475 w 228"/>
                <a:gd name="T1" fmla="*/ 143757641 h 173"/>
                <a:gd name="T2" fmla="*/ 136927410 w 228"/>
                <a:gd name="T3" fmla="*/ 148377878 h 173"/>
                <a:gd name="T4" fmla="*/ 111511203 w 228"/>
                <a:gd name="T5" fmla="*/ 137483443 h 173"/>
                <a:gd name="T6" fmla="*/ 85795122 w 228"/>
                <a:gd name="T7" fmla="*/ 122679982 h 173"/>
                <a:gd name="T8" fmla="*/ 73245031 w 228"/>
                <a:gd name="T9" fmla="*/ 107993798 h 173"/>
                <a:gd name="T10" fmla="*/ 76144169 w 228"/>
                <a:gd name="T11" fmla="*/ 96370641 h 173"/>
                <a:gd name="T12" fmla="*/ 71167366 w 228"/>
                <a:gd name="T13" fmla="*/ 84972908 h 173"/>
                <a:gd name="T14" fmla="*/ 62793464 w 228"/>
                <a:gd name="T15" fmla="*/ 74929395 h 173"/>
                <a:gd name="T16" fmla="*/ 55172006 w 228"/>
                <a:gd name="T17" fmla="*/ 64863449 h 173"/>
                <a:gd name="T18" fmla="*/ 49540082 w 228"/>
                <a:gd name="T19" fmla="*/ 60606666 h 173"/>
                <a:gd name="T20" fmla="*/ 46683080 w 228"/>
                <a:gd name="T21" fmla="*/ 52018727 h 173"/>
                <a:gd name="T22" fmla="*/ 36963163 w 228"/>
                <a:gd name="T23" fmla="*/ 40348290 h 173"/>
                <a:gd name="T24" fmla="*/ 29461325 w 228"/>
                <a:gd name="T25" fmla="*/ 32271883 h 173"/>
                <a:gd name="T26" fmla="*/ 23698320 w 228"/>
                <a:gd name="T27" fmla="*/ 10065583 h 173"/>
                <a:gd name="T28" fmla="*/ 15351647 w 228"/>
                <a:gd name="T29" fmla="*/ 20247179 h 173"/>
                <a:gd name="T30" fmla="*/ 20955738 w 228"/>
                <a:gd name="T31" fmla="*/ 32954493 h 173"/>
                <a:gd name="T32" fmla="*/ 30687749 w 228"/>
                <a:gd name="T33" fmla="*/ 50540003 h 173"/>
                <a:gd name="T34" fmla="*/ 36291815 w 228"/>
                <a:gd name="T35" fmla="*/ 59412458 h 173"/>
                <a:gd name="T36" fmla="*/ 38973481 w 228"/>
                <a:gd name="T37" fmla="*/ 73448634 h 173"/>
                <a:gd name="T38" fmla="*/ 45456657 w 228"/>
                <a:gd name="T39" fmla="*/ 81470279 h 173"/>
                <a:gd name="T40" fmla="*/ 41074720 w 228"/>
                <a:gd name="T41" fmla="*/ 81470279 h 173"/>
                <a:gd name="T42" fmla="*/ 25711626 w 228"/>
                <a:gd name="T43" fmla="*/ 69483008 h 173"/>
                <a:gd name="T44" fmla="*/ 27721888 w 228"/>
                <a:gd name="T45" fmla="*/ 58648041 h 173"/>
                <a:gd name="T46" fmla="*/ 12462305 w 228"/>
                <a:gd name="T47" fmla="*/ 48581265 h 173"/>
                <a:gd name="T48" fmla="*/ 14113716 w 228"/>
                <a:gd name="T49" fmla="*/ 41187458 h 173"/>
                <a:gd name="T50" fmla="*/ 11235873 w 228"/>
                <a:gd name="T51" fmla="*/ 30313106 h 173"/>
                <a:gd name="T52" fmla="*/ 2901404 w 228"/>
                <a:gd name="T53" fmla="*/ 16281350 h 173"/>
                <a:gd name="T54" fmla="*/ 0 w 228"/>
                <a:gd name="T55" fmla="*/ 0 h 173"/>
                <a:gd name="T56" fmla="*/ 26561998 w 228"/>
                <a:gd name="T57" fmla="*/ 5450079 h 173"/>
                <a:gd name="T58" fmla="*/ 44579732 w 228"/>
                <a:gd name="T59" fmla="*/ 12853359 h 173"/>
                <a:gd name="T60" fmla="*/ 65535517 w 228"/>
                <a:gd name="T61" fmla="*/ 8232977 h 173"/>
                <a:gd name="T62" fmla="*/ 80011219 w 228"/>
                <a:gd name="T63" fmla="*/ 12024718 h 173"/>
                <a:gd name="T64" fmla="*/ 94148448 w 228"/>
                <a:gd name="T65" fmla="*/ 29099389 h 173"/>
                <a:gd name="T66" fmla="*/ 103868147 w 228"/>
                <a:gd name="T67" fmla="*/ 27503388 h 173"/>
                <a:gd name="T68" fmla="*/ 117976931 w 228"/>
                <a:gd name="T69" fmla="*/ 32271883 h 173"/>
                <a:gd name="T70" fmla="*/ 126355750 w 228"/>
                <a:gd name="T71" fmla="*/ 53201502 h 173"/>
                <a:gd name="T72" fmla="*/ 138932792 w 228"/>
                <a:gd name="T73" fmla="*/ 66056865 h 173"/>
                <a:gd name="T74" fmla="*/ 136071894 w 228"/>
                <a:gd name="T75" fmla="*/ 97135738 h 173"/>
                <a:gd name="T76" fmla="*/ 142841808 w 228"/>
                <a:gd name="T77" fmla="*/ 119192597 h 173"/>
                <a:gd name="T78" fmla="*/ 161051266 w 228"/>
                <a:gd name="T79" fmla="*/ 125469361 h 173"/>
                <a:gd name="T80" fmla="*/ 180007418 w 228"/>
                <a:gd name="T81" fmla="*/ 122029899 h 173"/>
                <a:gd name="T82" fmla="*/ 185615740 w 228"/>
                <a:gd name="T83" fmla="*/ 106403080 h 173"/>
                <a:gd name="T84" fmla="*/ 201611137 w 228"/>
                <a:gd name="T85" fmla="*/ 98945087 h 173"/>
                <a:gd name="T86" fmla="*/ 211327357 w 228"/>
                <a:gd name="T87" fmla="*/ 109842316 h 173"/>
                <a:gd name="T88" fmla="*/ 206574475 w 228"/>
                <a:gd name="T89" fmla="*/ 125469361 h 173"/>
                <a:gd name="T90" fmla="*/ 202822582 w 228"/>
                <a:gd name="T91" fmla="*/ 126171743 h 173"/>
                <a:gd name="T92" fmla="*/ 195331808 w 228"/>
                <a:gd name="T93" fmla="*/ 129220809 h 173"/>
                <a:gd name="T94" fmla="*/ 180007418 w 228"/>
                <a:gd name="T95" fmla="*/ 134670819 h 173"/>
                <a:gd name="T96" fmla="*/ 178785231 w 228"/>
                <a:gd name="T97" fmla="*/ 145568424 h 173"/>
                <a:gd name="T98" fmla="*/ 171503400 w 228"/>
                <a:gd name="T99" fmla="*/ 156398788 h 17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28"/>
                <a:gd name="T151" fmla="*/ 0 h 173"/>
                <a:gd name="T152" fmla="*/ 228 w 228"/>
                <a:gd name="T153" fmla="*/ 173 h 17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28" h="173">
                  <a:moveTo>
                    <a:pt x="179" y="173"/>
                  </a:moveTo>
                  <a:cubicBezTo>
                    <a:pt x="175" y="169"/>
                    <a:pt x="172" y="165"/>
                    <a:pt x="168" y="161"/>
                  </a:cubicBezTo>
                  <a:cubicBezTo>
                    <a:pt x="168" y="160"/>
                    <a:pt x="167" y="159"/>
                    <a:pt x="166" y="159"/>
                  </a:cubicBezTo>
                  <a:cubicBezTo>
                    <a:pt x="165" y="158"/>
                    <a:pt x="163" y="158"/>
                    <a:pt x="161" y="157"/>
                  </a:cubicBezTo>
                  <a:cubicBezTo>
                    <a:pt x="161" y="157"/>
                    <a:pt x="159" y="157"/>
                    <a:pt x="158" y="158"/>
                  </a:cubicBezTo>
                  <a:cubicBezTo>
                    <a:pt x="156" y="159"/>
                    <a:pt x="154" y="159"/>
                    <a:pt x="152" y="160"/>
                  </a:cubicBezTo>
                  <a:cubicBezTo>
                    <a:pt x="151" y="160"/>
                    <a:pt x="150" y="161"/>
                    <a:pt x="149" y="162"/>
                  </a:cubicBezTo>
                  <a:cubicBezTo>
                    <a:pt x="147" y="162"/>
                    <a:pt x="146" y="162"/>
                    <a:pt x="144" y="162"/>
                  </a:cubicBezTo>
                  <a:cubicBezTo>
                    <a:pt x="142" y="161"/>
                    <a:pt x="139" y="160"/>
                    <a:pt x="137" y="160"/>
                  </a:cubicBezTo>
                  <a:cubicBezTo>
                    <a:pt x="134" y="157"/>
                    <a:pt x="130" y="155"/>
                    <a:pt x="127" y="153"/>
                  </a:cubicBezTo>
                  <a:cubicBezTo>
                    <a:pt x="125" y="152"/>
                    <a:pt x="124" y="152"/>
                    <a:pt x="122" y="152"/>
                  </a:cubicBezTo>
                  <a:cubicBezTo>
                    <a:pt x="120" y="152"/>
                    <a:pt x="118" y="151"/>
                    <a:pt x="117" y="150"/>
                  </a:cubicBezTo>
                  <a:cubicBezTo>
                    <a:pt x="113" y="147"/>
                    <a:pt x="109" y="146"/>
                    <a:pt x="106" y="142"/>
                  </a:cubicBezTo>
                  <a:cubicBezTo>
                    <a:pt x="105" y="141"/>
                    <a:pt x="105" y="140"/>
                    <a:pt x="104" y="140"/>
                  </a:cubicBezTo>
                  <a:cubicBezTo>
                    <a:pt x="100" y="138"/>
                    <a:pt x="97" y="136"/>
                    <a:pt x="93" y="136"/>
                  </a:cubicBezTo>
                  <a:cubicBezTo>
                    <a:pt x="92" y="136"/>
                    <a:pt x="91" y="135"/>
                    <a:pt x="90" y="134"/>
                  </a:cubicBezTo>
                  <a:cubicBezTo>
                    <a:pt x="89" y="132"/>
                    <a:pt x="87" y="131"/>
                    <a:pt x="86" y="130"/>
                  </a:cubicBezTo>
                  <a:cubicBezTo>
                    <a:pt x="84" y="129"/>
                    <a:pt x="82" y="127"/>
                    <a:pt x="80" y="126"/>
                  </a:cubicBezTo>
                  <a:cubicBezTo>
                    <a:pt x="79" y="125"/>
                    <a:pt x="77" y="123"/>
                    <a:pt x="77" y="121"/>
                  </a:cubicBezTo>
                  <a:cubicBezTo>
                    <a:pt x="76" y="120"/>
                    <a:pt x="76" y="119"/>
                    <a:pt x="77" y="118"/>
                  </a:cubicBezTo>
                  <a:cubicBezTo>
                    <a:pt x="77" y="117"/>
                    <a:pt x="78" y="117"/>
                    <a:pt x="78" y="117"/>
                  </a:cubicBezTo>
                  <a:cubicBezTo>
                    <a:pt x="79" y="116"/>
                    <a:pt x="78" y="114"/>
                    <a:pt x="79" y="113"/>
                  </a:cubicBezTo>
                  <a:cubicBezTo>
                    <a:pt x="79" y="112"/>
                    <a:pt x="80" y="111"/>
                    <a:pt x="80" y="111"/>
                  </a:cubicBezTo>
                  <a:cubicBezTo>
                    <a:pt x="81" y="109"/>
                    <a:pt x="81" y="107"/>
                    <a:pt x="80" y="105"/>
                  </a:cubicBezTo>
                  <a:cubicBezTo>
                    <a:pt x="80" y="104"/>
                    <a:pt x="79" y="104"/>
                    <a:pt x="79" y="104"/>
                  </a:cubicBezTo>
                  <a:cubicBezTo>
                    <a:pt x="78" y="102"/>
                    <a:pt x="77" y="101"/>
                    <a:pt x="77" y="99"/>
                  </a:cubicBezTo>
                  <a:cubicBezTo>
                    <a:pt x="77" y="98"/>
                    <a:pt x="76" y="97"/>
                    <a:pt x="76" y="96"/>
                  </a:cubicBezTo>
                  <a:cubicBezTo>
                    <a:pt x="75" y="95"/>
                    <a:pt x="75" y="94"/>
                    <a:pt x="75" y="93"/>
                  </a:cubicBezTo>
                  <a:cubicBezTo>
                    <a:pt x="74" y="92"/>
                    <a:pt x="73" y="92"/>
                    <a:pt x="73" y="91"/>
                  </a:cubicBezTo>
                  <a:cubicBezTo>
                    <a:pt x="71" y="89"/>
                    <a:pt x="69" y="86"/>
                    <a:pt x="68" y="84"/>
                  </a:cubicBezTo>
                  <a:cubicBezTo>
                    <a:pt x="67" y="83"/>
                    <a:pt x="66" y="82"/>
                    <a:pt x="66" y="82"/>
                  </a:cubicBezTo>
                  <a:cubicBezTo>
                    <a:pt x="66" y="82"/>
                    <a:pt x="66" y="82"/>
                    <a:pt x="66" y="82"/>
                  </a:cubicBezTo>
                  <a:cubicBezTo>
                    <a:pt x="65" y="81"/>
                    <a:pt x="65" y="80"/>
                    <a:pt x="64" y="79"/>
                  </a:cubicBezTo>
                  <a:cubicBezTo>
                    <a:pt x="63" y="78"/>
                    <a:pt x="63" y="78"/>
                    <a:pt x="62" y="77"/>
                  </a:cubicBezTo>
                  <a:cubicBezTo>
                    <a:pt x="61" y="76"/>
                    <a:pt x="61" y="74"/>
                    <a:pt x="60" y="73"/>
                  </a:cubicBezTo>
                  <a:cubicBezTo>
                    <a:pt x="60" y="72"/>
                    <a:pt x="59" y="71"/>
                    <a:pt x="58" y="71"/>
                  </a:cubicBezTo>
                  <a:cubicBezTo>
                    <a:pt x="57" y="70"/>
                    <a:pt x="57" y="69"/>
                    <a:pt x="56" y="69"/>
                  </a:cubicBezTo>
                  <a:cubicBezTo>
                    <a:pt x="56" y="68"/>
                    <a:pt x="56" y="67"/>
                    <a:pt x="55" y="67"/>
                  </a:cubicBezTo>
                  <a:cubicBezTo>
                    <a:pt x="54" y="67"/>
                    <a:pt x="54" y="67"/>
                    <a:pt x="53" y="67"/>
                  </a:cubicBezTo>
                  <a:cubicBezTo>
                    <a:pt x="53" y="67"/>
                    <a:pt x="52" y="66"/>
                    <a:pt x="52" y="66"/>
                  </a:cubicBezTo>
                  <a:cubicBezTo>
                    <a:pt x="52" y="65"/>
                    <a:pt x="52" y="65"/>
                    <a:pt x="53" y="64"/>
                  </a:cubicBezTo>
                  <a:cubicBezTo>
                    <a:pt x="54" y="63"/>
                    <a:pt x="54" y="61"/>
                    <a:pt x="53" y="60"/>
                  </a:cubicBezTo>
                  <a:cubicBezTo>
                    <a:pt x="53" y="59"/>
                    <a:pt x="52" y="59"/>
                    <a:pt x="51" y="58"/>
                  </a:cubicBezTo>
                  <a:cubicBezTo>
                    <a:pt x="50" y="58"/>
                    <a:pt x="50" y="57"/>
                    <a:pt x="49" y="57"/>
                  </a:cubicBezTo>
                  <a:cubicBezTo>
                    <a:pt x="48" y="56"/>
                    <a:pt x="49" y="54"/>
                    <a:pt x="48" y="53"/>
                  </a:cubicBezTo>
                  <a:cubicBezTo>
                    <a:pt x="47" y="52"/>
                    <a:pt x="45" y="53"/>
                    <a:pt x="44" y="51"/>
                  </a:cubicBezTo>
                  <a:cubicBezTo>
                    <a:pt x="44" y="50"/>
                    <a:pt x="45" y="48"/>
                    <a:pt x="44" y="47"/>
                  </a:cubicBezTo>
                  <a:cubicBezTo>
                    <a:pt x="43" y="45"/>
                    <a:pt x="41" y="45"/>
                    <a:pt x="39" y="44"/>
                  </a:cubicBezTo>
                  <a:cubicBezTo>
                    <a:pt x="38" y="43"/>
                    <a:pt x="38" y="42"/>
                    <a:pt x="37" y="41"/>
                  </a:cubicBezTo>
                  <a:cubicBezTo>
                    <a:pt x="37" y="40"/>
                    <a:pt x="36" y="40"/>
                    <a:pt x="35" y="39"/>
                  </a:cubicBezTo>
                  <a:cubicBezTo>
                    <a:pt x="33" y="38"/>
                    <a:pt x="32" y="38"/>
                    <a:pt x="31" y="37"/>
                  </a:cubicBezTo>
                  <a:cubicBezTo>
                    <a:pt x="31" y="36"/>
                    <a:pt x="31" y="35"/>
                    <a:pt x="31" y="35"/>
                  </a:cubicBezTo>
                  <a:cubicBezTo>
                    <a:pt x="32" y="34"/>
                    <a:pt x="32" y="33"/>
                    <a:pt x="31" y="32"/>
                  </a:cubicBezTo>
                  <a:cubicBezTo>
                    <a:pt x="31" y="30"/>
                    <a:pt x="29" y="28"/>
                    <a:pt x="29" y="26"/>
                  </a:cubicBezTo>
                  <a:cubicBezTo>
                    <a:pt x="28" y="23"/>
                    <a:pt x="29" y="19"/>
                    <a:pt x="29" y="16"/>
                  </a:cubicBezTo>
                  <a:cubicBezTo>
                    <a:pt x="27" y="14"/>
                    <a:pt x="26" y="13"/>
                    <a:pt x="25" y="11"/>
                  </a:cubicBezTo>
                  <a:cubicBezTo>
                    <a:pt x="23" y="11"/>
                    <a:pt x="21" y="12"/>
                    <a:pt x="20" y="11"/>
                  </a:cubicBezTo>
                  <a:cubicBezTo>
                    <a:pt x="18" y="11"/>
                    <a:pt x="18" y="8"/>
                    <a:pt x="16" y="9"/>
                  </a:cubicBezTo>
                  <a:cubicBezTo>
                    <a:pt x="16" y="9"/>
                    <a:pt x="15" y="10"/>
                    <a:pt x="15" y="10"/>
                  </a:cubicBezTo>
                  <a:cubicBezTo>
                    <a:pt x="15" y="14"/>
                    <a:pt x="15" y="18"/>
                    <a:pt x="16" y="22"/>
                  </a:cubicBezTo>
                  <a:cubicBezTo>
                    <a:pt x="16" y="24"/>
                    <a:pt x="16" y="25"/>
                    <a:pt x="17" y="26"/>
                  </a:cubicBezTo>
                  <a:cubicBezTo>
                    <a:pt x="17" y="27"/>
                    <a:pt x="18" y="29"/>
                    <a:pt x="18" y="30"/>
                  </a:cubicBezTo>
                  <a:cubicBezTo>
                    <a:pt x="19" y="32"/>
                    <a:pt x="20" y="33"/>
                    <a:pt x="21" y="34"/>
                  </a:cubicBezTo>
                  <a:cubicBezTo>
                    <a:pt x="22" y="35"/>
                    <a:pt x="22" y="35"/>
                    <a:pt x="22" y="36"/>
                  </a:cubicBezTo>
                  <a:cubicBezTo>
                    <a:pt x="23" y="38"/>
                    <a:pt x="25" y="39"/>
                    <a:pt x="26" y="42"/>
                  </a:cubicBezTo>
                  <a:cubicBezTo>
                    <a:pt x="27" y="43"/>
                    <a:pt x="28" y="45"/>
                    <a:pt x="29" y="47"/>
                  </a:cubicBezTo>
                  <a:cubicBezTo>
                    <a:pt x="29" y="49"/>
                    <a:pt x="30" y="50"/>
                    <a:pt x="31" y="51"/>
                  </a:cubicBezTo>
                  <a:cubicBezTo>
                    <a:pt x="31" y="52"/>
                    <a:pt x="31" y="54"/>
                    <a:pt x="32" y="55"/>
                  </a:cubicBezTo>
                  <a:cubicBezTo>
                    <a:pt x="32" y="55"/>
                    <a:pt x="32" y="56"/>
                    <a:pt x="33" y="56"/>
                  </a:cubicBezTo>
                  <a:cubicBezTo>
                    <a:pt x="33" y="56"/>
                    <a:pt x="34" y="56"/>
                    <a:pt x="35" y="57"/>
                  </a:cubicBezTo>
                  <a:cubicBezTo>
                    <a:pt x="36" y="57"/>
                    <a:pt x="38" y="58"/>
                    <a:pt x="38" y="60"/>
                  </a:cubicBezTo>
                  <a:cubicBezTo>
                    <a:pt x="39" y="61"/>
                    <a:pt x="38" y="63"/>
                    <a:pt x="38" y="65"/>
                  </a:cubicBezTo>
                  <a:cubicBezTo>
                    <a:pt x="37" y="66"/>
                    <a:pt x="38" y="68"/>
                    <a:pt x="39" y="70"/>
                  </a:cubicBezTo>
                  <a:cubicBezTo>
                    <a:pt x="39" y="71"/>
                    <a:pt x="41" y="72"/>
                    <a:pt x="41" y="73"/>
                  </a:cubicBezTo>
                  <a:cubicBezTo>
                    <a:pt x="41" y="74"/>
                    <a:pt x="41" y="75"/>
                    <a:pt x="41" y="76"/>
                  </a:cubicBezTo>
                  <a:cubicBezTo>
                    <a:pt x="42" y="78"/>
                    <a:pt x="41" y="79"/>
                    <a:pt x="41" y="80"/>
                  </a:cubicBezTo>
                  <a:cubicBezTo>
                    <a:pt x="42" y="80"/>
                    <a:pt x="42" y="81"/>
                    <a:pt x="42" y="81"/>
                  </a:cubicBezTo>
                  <a:cubicBezTo>
                    <a:pt x="43" y="81"/>
                    <a:pt x="45" y="80"/>
                    <a:pt x="46" y="82"/>
                  </a:cubicBezTo>
                  <a:cubicBezTo>
                    <a:pt x="47" y="83"/>
                    <a:pt x="46" y="84"/>
                    <a:pt x="47" y="85"/>
                  </a:cubicBezTo>
                  <a:cubicBezTo>
                    <a:pt x="47" y="87"/>
                    <a:pt x="48" y="88"/>
                    <a:pt x="48" y="89"/>
                  </a:cubicBezTo>
                  <a:cubicBezTo>
                    <a:pt x="49" y="91"/>
                    <a:pt x="47" y="93"/>
                    <a:pt x="46" y="94"/>
                  </a:cubicBezTo>
                  <a:cubicBezTo>
                    <a:pt x="46" y="95"/>
                    <a:pt x="45" y="95"/>
                    <a:pt x="45" y="94"/>
                  </a:cubicBezTo>
                  <a:cubicBezTo>
                    <a:pt x="44" y="94"/>
                    <a:pt x="43" y="93"/>
                    <a:pt x="43" y="92"/>
                  </a:cubicBezTo>
                  <a:cubicBezTo>
                    <a:pt x="43" y="91"/>
                    <a:pt x="43" y="90"/>
                    <a:pt x="43" y="89"/>
                  </a:cubicBezTo>
                  <a:cubicBezTo>
                    <a:pt x="43" y="88"/>
                    <a:pt x="42" y="87"/>
                    <a:pt x="42" y="87"/>
                  </a:cubicBezTo>
                  <a:cubicBezTo>
                    <a:pt x="39" y="84"/>
                    <a:pt x="36" y="83"/>
                    <a:pt x="33" y="80"/>
                  </a:cubicBezTo>
                  <a:cubicBezTo>
                    <a:pt x="32" y="79"/>
                    <a:pt x="31" y="78"/>
                    <a:pt x="30" y="77"/>
                  </a:cubicBezTo>
                  <a:cubicBezTo>
                    <a:pt x="29" y="76"/>
                    <a:pt x="27" y="77"/>
                    <a:pt x="27" y="76"/>
                  </a:cubicBezTo>
                  <a:cubicBezTo>
                    <a:pt x="26" y="74"/>
                    <a:pt x="28" y="73"/>
                    <a:pt x="30" y="73"/>
                  </a:cubicBezTo>
                  <a:cubicBezTo>
                    <a:pt x="31" y="72"/>
                    <a:pt x="31" y="70"/>
                    <a:pt x="31" y="68"/>
                  </a:cubicBezTo>
                  <a:cubicBezTo>
                    <a:pt x="31" y="68"/>
                    <a:pt x="30" y="68"/>
                    <a:pt x="30" y="67"/>
                  </a:cubicBezTo>
                  <a:cubicBezTo>
                    <a:pt x="30" y="66"/>
                    <a:pt x="30" y="65"/>
                    <a:pt x="29" y="64"/>
                  </a:cubicBezTo>
                  <a:cubicBezTo>
                    <a:pt x="28" y="62"/>
                    <a:pt x="27" y="61"/>
                    <a:pt x="26" y="60"/>
                  </a:cubicBezTo>
                  <a:cubicBezTo>
                    <a:pt x="24" y="59"/>
                    <a:pt x="23" y="57"/>
                    <a:pt x="22" y="57"/>
                  </a:cubicBezTo>
                  <a:cubicBezTo>
                    <a:pt x="21" y="56"/>
                    <a:pt x="19" y="57"/>
                    <a:pt x="19" y="56"/>
                  </a:cubicBezTo>
                  <a:cubicBezTo>
                    <a:pt x="17" y="55"/>
                    <a:pt x="15" y="54"/>
                    <a:pt x="13" y="53"/>
                  </a:cubicBezTo>
                  <a:cubicBezTo>
                    <a:pt x="12" y="53"/>
                    <a:pt x="12" y="52"/>
                    <a:pt x="12" y="51"/>
                  </a:cubicBezTo>
                  <a:cubicBezTo>
                    <a:pt x="11" y="49"/>
                    <a:pt x="8" y="48"/>
                    <a:pt x="9" y="46"/>
                  </a:cubicBezTo>
                  <a:cubicBezTo>
                    <a:pt x="10" y="46"/>
                    <a:pt x="11" y="47"/>
                    <a:pt x="12" y="47"/>
                  </a:cubicBezTo>
                  <a:cubicBezTo>
                    <a:pt x="13" y="48"/>
                    <a:pt x="14" y="46"/>
                    <a:pt x="15" y="45"/>
                  </a:cubicBezTo>
                  <a:cubicBezTo>
                    <a:pt x="16" y="44"/>
                    <a:pt x="16" y="44"/>
                    <a:pt x="17" y="43"/>
                  </a:cubicBezTo>
                  <a:cubicBezTo>
                    <a:pt x="17" y="42"/>
                    <a:pt x="17" y="41"/>
                    <a:pt x="17" y="41"/>
                  </a:cubicBezTo>
                  <a:cubicBezTo>
                    <a:pt x="16" y="39"/>
                    <a:pt x="14" y="38"/>
                    <a:pt x="13" y="36"/>
                  </a:cubicBezTo>
                  <a:cubicBezTo>
                    <a:pt x="12" y="35"/>
                    <a:pt x="12" y="34"/>
                    <a:pt x="12" y="33"/>
                  </a:cubicBezTo>
                  <a:cubicBezTo>
                    <a:pt x="11" y="33"/>
                    <a:pt x="11" y="32"/>
                    <a:pt x="11" y="32"/>
                  </a:cubicBezTo>
                  <a:cubicBezTo>
                    <a:pt x="9" y="32"/>
                    <a:pt x="7" y="30"/>
                    <a:pt x="6" y="29"/>
                  </a:cubicBezTo>
                  <a:cubicBezTo>
                    <a:pt x="5" y="27"/>
                    <a:pt x="6" y="26"/>
                    <a:pt x="6" y="23"/>
                  </a:cubicBezTo>
                  <a:cubicBezTo>
                    <a:pt x="5" y="21"/>
                    <a:pt x="4" y="20"/>
                    <a:pt x="3" y="18"/>
                  </a:cubicBezTo>
                  <a:cubicBezTo>
                    <a:pt x="3" y="16"/>
                    <a:pt x="3" y="14"/>
                    <a:pt x="3" y="12"/>
                  </a:cubicBezTo>
                  <a:cubicBezTo>
                    <a:pt x="2" y="9"/>
                    <a:pt x="1" y="7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7" y="0"/>
                    <a:pt x="11" y="0"/>
                    <a:pt x="16" y="0"/>
                  </a:cubicBezTo>
                  <a:cubicBezTo>
                    <a:pt x="17" y="0"/>
                    <a:pt x="17" y="0"/>
                    <a:pt x="18" y="0"/>
                  </a:cubicBezTo>
                  <a:cubicBezTo>
                    <a:pt x="21" y="3"/>
                    <a:pt x="24" y="4"/>
                    <a:pt x="28" y="6"/>
                  </a:cubicBezTo>
                  <a:cubicBezTo>
                    <a:pt x="28" y="6"/>
                    <a:pt x="29" y="6"/>
                    <a:pt x="30" y="7"/>
                  </a:cubicBezTo>
                  <a:cubicBezTo>
                    <a:pt x="30" y="7"/>
                    <a:pt x="30" y="7"/>
                    <a:pt x="31" y="7"/>
                  </a:cubicBezTo>
                  <a:cubicBezTo>
                    <a:pt x="33" y="9"/>
                    <a:pt x="36" y="9"/>
                    <a:pt x="38" y="10"/>
                  </a:cubicBezTo>
                  <a:cubicBezTo>
                    <a:pt x="41" y="12"/>
                    <a:pt x="44" y="13"/>
                    <a:pt x="47" y="14"/>
                  </a:cubicBezTo>
                  <a:cubicBezTo>
                    <a:pt x="49" y="15"/>
                    <a:pt x="52" y="15"/>
                    <a:pt x="54" y="15"/>
                  </a:cubicBezTo>
                  <a:cubicBezTo>
                    <a:pt x="55" y="14"/>
                    <a:pt x="55" y="14"/>
                    <a:pt x="56" y="14"/>
                  </a:cubicBezTo>
                  <a:cubicBezTo>
                    <a:pt x="59" y="13"/>
                    <a:pt x="63" y="15"/>
                    <a:pt x="67" y="14"/>
                  </a:cubicBezTo>
                  <a:cubicBezTo>
                    <a:pt x="67" y="12"/>
                    <a:pt x="67" y="10"/>
                    <a:pt x="69" y="9"/>
                  </a:cubicBezTo>
                  <a:cubicBezTo>
                    <a:pt x="70" y="9"/>
                    <a:pt x="71" y="9"/>
                    <a:pt x="73" y="9"/>
                  </a:cubicBezTo>
                  <a:cubicBezTo>
                    <a:pt x="74" y="10"/>
                    <a:pt x="77" y="10"/>
                    <a:pt x="77" y="9"/>
                  </a:cubicBezTo>
                  <a:cubicBezTo>
                    <a:pt x="79" y="9"/>
                    <a:pt x="81" y="8"/>
                    <a:pt x="83" y="9"/>
                  </a:cubicBezTo>
                  <a:cubicBezTo>
                    <a:pt x="84" y="10"/>
                    <a:pt x="84" y="12"/>
                    <a:pt x="84" y="13"/>
                  </a:cubicBezTo>
                  <a:cubicBezTo>
                    <a:pt x="86" y="15"/>
                    <a:pt x="88" y="16"/>
                    <a:pt x="89" y="18"/>
                  </a:cubicBezTo>
                  <a:cubicBezTo>
                    <a:pt x="90" y="20"/>
                    <a:pt x="92" y="21"/>
                    <a:pt x="93" y="23"/>
                  </a:cubicBezTo>
                  <a:cubicBezTo>
                    <a:pt x="93" y="26"/>
                    <a:pt x="93" y="28"/>
                    <a:pt x="96" y="30"/>
                  </a:cubicBezTo>
                  <a:cubicBezTo>
                    <a:pt x="97" y="31"/>
                    <a:pt x="98" y="31"/>
                    <a:pt x="99" y="32"/>
                  </a:cubicBezTo>
                  <a:cubicBezTo>
                    <a:pt x="101" y="33"/>
                    <a:pt x="102" y="35"/>
                    <a:pt x="104" y="36"/>
                  </a:cubicBezTo>
                  <a:cubicBezTo>
                    <a:pt x="104" y="36"/>
                    <a:pt x="105" y="36"/>
                    <a:pt x="106" y="36"/>
                  </a:cubicBezTo>
                  <a:cubicBezTo>
                    <a:pt x="107" y="36"/>
                    <a:pt x="108" y="35"/>
                    <a:pt x="108" y="34"/>
                  </a:cubicBezTo>
                  <a:cubicBezTo>
                    <a:pt x="108" y="33"/>
                    <a:pt x="109" y="31"/>
                    <a:pt x="109" y="30"/>
                  </a:cubicBezTo>
                  <a:cubicBezTo>
                    <a:pt x="109" y="29"/>
                    <a:pt x="110" y="29"/>
                    <a:pt x="111" y="29"/>
                  </a:cubicBezTo>
                  <a:cubicBezTo>
                    <a:pt x="113" y="28"/>
                    <a:pt x="116" y="28"/>
                    <a:pt x="118" y="29"/>
                  </a:cubicBezTo>
                  <a:cubicBezTo>
                    <a:pt x="120" y="30"/>
                    <a:pt x="121" y="32"/>
                    <a:pt x="123" y="33"/>
                  </a:cubicBezTo>
                  <a:cubicBezTo>
                    <a:pt x="124" y="34"/>
                    <a:pt x="124" y="35"/>
                    <a:pt x="124" y="35"/>
                  </a:cubicBezTo>
                  <a:cubicBezTo>
                    <a:pt x="125" y="38"/>
                    <a:pt x="126" y="41"/>
                    <a:pt x="127" y="44"/>
                  </a:cubicBezTo>
                  <a:cubicBezTo>
                    <a:pt x="127" y="45"/>
                    <a:pt x="127" y="46"/>
                    <a:pt x="128" y="46"/>
                  </a:cubicBezTo>
                  <a:cubicBezTo>
                    <a:pt x="129" y="49"/>
                    <a:pt x="131" y="52"/>
                    <a:pt x="132" y="54"/>
                  </a:cubicBezTo>
                  <a:cubicBezTo>
                    <a:pt x="133" y="55"/>
                    <a:pt x="132" y="57"/>
                    <a:pt x="133" y="58"/>
                  </a:cubicBezTo>
                  <a:cubicBezTo>
                    <a:pt x="135" y="62"/>
                    <a:pt x="139" y="63"/>
                    <a:pt x="142" y="65"/>
                  </a:cubicBezTo>
                  <a:cubicBezTo>
                    <a:pt x="143" y="66"/>
                    <a:pt x="144" y="65"/>
                    <a:pt x="145" y="65"/>
                  </a:cubicBezTo>
                  <a:cubicBezTo>
                    <a:pt x="147" y="66"/>
                    <a:pt x="147" y="66"/>
                    <a:pt x="147" y="66"/>
                  </a:cubicBezTo>
                  <a:cubicBezTo>
                    <a:pt x="147" y="67"/>
                    <a:pt x="148" y="71"/>
                    <a:pt x="146" y="72"/>
                  </a:cubicBezTo>
                  <a:cubicBezTo>
                    <a:pt x="145" y="72"/>
                    <a:pt x="144" y="72"/>
                    <a:pt x="143" y="73"/>
                  </a:cubicBezTo>
                  <a:cubicBezTo>
                    <a:pt x="141" y="74"/>
                    <a:pt x="141" y="76"/>
                    <a:pt x="141" y="78"/>
                  </a:cubicBezTo>
                  <a:cubicBezTo>
                    <a:pt x="140" y="85"/>
                    <a:pt x="140" y="92"/>
                    <a:pt x="140" y="99"/>
                  </a:cubicBezTo>
                  <a:cubicBezTo>
                    <a:pt x="140" y="101"/>
                    <a:pt x="140" y="104"/>
                    <a:pt x="143" y="106"/>
                  </a:cubicBezTo>
                  <a:cubicBezTo>
                    <a:pt x="143" y="109"/>
                    <a:pt x="142" y="112"/>
                    <a:pt x="143" y="115"/>
                  </a:cubicBezTo>
                  <a:cubicBezTo>
                    <a:pt x="144" y="118"/>
                    <a:pt x="145" y="120"/>
                    <a:pt x="147" y="122"/>
                  </a:cubicBezTo>
                  <a:cubicBezTo>
                    <a:pt x="148" y="124"/>
                    <a:pt x="150" y="126"/>
                    <a:pt x="150" y="129"/>
                  </a:cubicBezTo>
                  <a:cubicBezTo>
                    <a:pt x="150" y="130"/>
                    <a:pt x="150" y="130"/>
                    <a:pt x="150" y="130"/>
                  </a:cubicBezTo>
                  <a:cubicBezTo>
                    <a:pt x="152" y="132"/>
                    <a:pt x="155" y="133"/>
                    <a:pt x="157" y="134"/>
                  </a:cubicBezTo>
                  <a:cubicBezTo>
                    <a:pt x="158" y="134"/>
                    <a:pt x="159" y="134"/>
                    <a:pt x="160" y="135"/>
                  </a:cubicBezTo>
                  <a:cubicBezTo>
                    <a:pt x="161" y="135"/>
                    <a:pt x="161" y="137"/>
                    <a:pt x="162" y="137"/>
                  </a:cubicBezTo>
                  <a:cubicBezTo>
                    <a:pt x="164" y="138"/>
                    <a:pt x="167" y="137"/>
                    <a:pt x="169" y="137"/>
                  </a:cubicBezTo>
                  <a:cubicBezTo>
                    <a:pt x="173" y="135"/>
                    <a:pt x="177" y="137"/>
                    <a:pt x="180" y="133"/>
                  </a:cubicBezTo>
                  <a:cubicBezTo>
                    <a:pt x="182" y="133"/>
                    <a:pt x="184" y="134"/>
                    <a:pt x="186" y="135"/>
                  </a:cubicBezTo>
                  <a:cubicBezTo>
                    <a:pt x="186" y="136"/>
                    <a:pt x="188" y="136"/>
                    <a:pt x="188" y="135"/>
                  </a:cubicBezTo>
                  <a:cubicBezTo>
                    <a:pt x="189" y="134"/>
                    <a:pt x="188" y="133"/>
                    <a:pt x="189" y="133"/>
                  </a:cubicBezTo>
                  <a:cubicBezTo>
                    <a:pt x="189" y="132"/>
                    <a:pt x="190" y="132"/>
                    <a:pt x="190" y="132"/>
                  </a:cubicBezTo>
                  <a:cubicBezTo>
                    <a:pt x="192" y="130"/>
                    <a:pt x="193" y="127"/>
                    <a:pt x="194" y="125"/>
                  </a:cubicBezTo>
                  <a:cubicBezTo>
                    <a:pt x="195" y="123"/>
                    <a:pt x="194" y="120"/>
                    <a:pt x="195" y="117"/>
                  </a:cubicBezTo>
                  <a:cubicBezTo>
                    <a:pt x="195" y="117"/>
                    <a:pt x="195" y="117"/>
                    <a:pt x="195" y="116"/>
                  </a:cubicBezTo>
                  <a:cubicBezTo>
                    <a:pt x="196" y="116"/>
                    <a:pt x="196" y="115"/>
                    <a:pt x="196" y="114"/>
                  </a:cubicBezTo>
                  <a:cubicBezTo>
                    <a:pt x="197" y="113"/>
                    <a:pt x="198" y="113"/>
                    <a:pt x="199" y="112"/>
                  </a:cubicBezTo>
                  <a:cubicBezTo>
                    <a:pt x="199" y="111"/>
                    <a:pt x="201" y="110"/>
                    <a:pt x="202" y="110"/>
                  </a:cubicBezTo>
                  <a:cubicBezTo>
                    <a:pt x="205" y="110"/>
                    <a:pt x="209" y="110"/>
                    <a:pt x="212" y="108"/>
                  </a:cubicBezTo>
                  <a:cubicBezTo>
                    <a:pt x="215" y="108"/>
                    <a:pt x="217" y="108"/>
                    <a:pt x="220" y="108"/>
                  </a:cubicBezTo>
                  <a:cubicBezTo>
                    <a:pt x="223" y="109"/>
                    <a:pt x="225" y="109"/>
                    <a:pt x="227" y="110"/>
                  </a:cubicBezTo>
                  <a:cubicBezTo>
                    <a:pt x="228" y="111"/>
                    <a:pt x="227" y="113"/>
                    <a:pt x="226" y="114"/>
                  </a:cubicBezTo>
                  <a:cubicBezTo>
                    <a:pt x="225" y="116"/>
                    <a:pt x="223" y="118"/>
                    <a:pt x="222" y="120"/>
                  </a:cubicBezTo>
                  <a:cubicBezTo>
                    <a:pt x="221" y="121"/>
                    <a:pt x="221" y="123"/>
                    <a:pt x="220" y="124"/>
                  </a:cubicBezTo>
                  <a:cubicBezTo>
                    <a:pt x="219" y="125"/>
                    <a:pt x="219" y="126"/>
                    <a:pt x="220" y="127"/>
                  </a:cubicBezTo>
                  <a:cubicBezTo>
                    <a:pt x="220" y="128"/>
                    <a:pt x="220" y="130"/>
                    <a:pt x="220" y="131"/>
                  </a:cubicBezTo>
                  <a:cubicBezTo>
                    <a:pt x="220" y="133"/>
                    <a:pt x="218" y="134"/>
                    <a:pt x="217" y="137"/>
                  </a:cubicBezTo>
                  <a:cubicBezTo>
                    <a:pt x="217" y="137"/>
                    <a:pt x="217" y="137"/>
                    <a:pt x="217" y="137"/>
                  </a:cubicBezTo>
                  <a:cubicBezTo>
                    <a:pt x="216" y="136"/>
                    <a:pt x="216" y="134"/>
                    <a:pt x="215" y="135"/>
                  </a:cubicBezTo>
                  <a:cubicBezTo>
                    <a:pt x="214" y="135"/>
                    <a:pt x="214" y="136"/>
                    <a:pt x="214" y="137"/>
                  </a:cubicBezTo>
                  <a:cubicBezTo>
                    <a:pt x="213" y="138"/>
                    <a:pt x="213" y="138"/>
                    <a:pt x="213" y="138"/>
                  </a:cubicBezTo>
                  <a:cubicBezTo>
                    <a:pt x="212" y="138"/>
                    <a:pt x="211" y="139"/>
                    <a:pt x="210" y="139"/>
                  </a:cubicBezTo>
                  <a:cubicBezTo>
                    <a:pt x="210" y="140"/>
                    <a:pt x="209" y="141"/>
                    <a:pt x="208" y="141"/>
                  </a:cubicBezTo>
                  <a:cubicBezTo>
                    <a:pt x="207" y="141"/>
                    <a:pt x="206" y="141"/>
                    <a:pt x="205" y="141"/>
                  </a:cubicBezTo>
                  <a:cubicBezTo>
                    <a:pt x="205" y="141"/>
                    <a:pt x="205" y="141"/>
                    <a:pt x="205" y="141"/>
                  </a:cubicBezTo>
                  <a:cubicBezTo>
                    <a:pt x="203" y="142"/>
                    <a:pt x="202" y="142"/>
                    <a:pt x="200" y="142"/>
                  </a:cubicBezTo>
                  <a:cubicBezTo>
                    <a:pt x="200" y="142"/>
                    <a:pt x="199" y="143"/>
                    <a:pt x="198" y="143"/>
                  </a:cubicBezTo>
                  <a:cubicBezTo>
                    <a:pt x="196" y="144"/>
                    <a:pt x="193" y="142"/>
                    <a:pt x="191" y="144"/>
                  </a:cubicBezTo>
                  <a:cubicBezTo>
                    <a:pt x="190" y="144"/>
                    <a:pt x="188" y="146"/>
                    <a:pt x="189" y="147"/>
                  </a:cubicBezTo>
                  <a:cubicBezTo>
                    <a:pt x="190" y="149"/>
                    <a:pt x="192" y="150"/>
                    <a:pt x="194" y="153"/>
                  </a:cubicBezTo>
                  <a:cubicBezTo>
                    <a:pt x="195" y="154"/>
                    <a:pt x="195" y="157"/>
                    <a:pt x="195" y="158"/>
                  </a:cubicBezTo>
                  <a:cubicBezTo>
                    <a:pt x="194" y="159"/>
                    <a:pt x="194" y="159"/>
                    <a:pt x="194" y="159"/>
                  </a:cubicBezTo>
                  <a:cubicBezTo>
                    <a:pt x="192" y="159"/>
                    <a:pt x="190" y="159"/>
                    <a:pt x="188" y="159"/>
                  </a:cubicBezTo>
                  <a:cubicBezTo>
                    <a:pt x="186" y="160"/>
                    <a:pt x="185" y="160"/>
                    <a:pt x="184" y="161"/>
                  </a:cubicBezTo>
                  <a:cubicBezTo>
                    <a:pt x="183" y="162"/>
                    <a:pt x="183" y="163"/>
                    <a:pt x="182" y="163"/>
                  </a:cubicBezTo>
                  <a:cubicBezTo>
                    <a:pt x="181" y="165"/>
                    <a:pt x="181" y="168"/>
                    <a:pt x="180" y="170"/>
                  </a:cubicBezTo>
                  <a:cubicBezTo>
                    <a:pt x="180" y="171"/>
                    <a:pt x="180" y="171"/>
                    <a:pt x="180" y="171"/>
                  </a:cubicBezTo>
                  <a:lnTo>
                    <a:pt x="179" y="17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0" name="Freeform 15"/>
            <p:cNvSpPr>
              <a:spLocks/>
            </p:cNvSpPr>
            <p:nvPr/>
          </p:nvSpPr>
          <p:spPr bwMode="auto">
            <a:xfrm>
              <a:off x="5596274" y="5037465"/>
              <a:ext cx="2899" cy="4834"/>
            </a:xfrm>
            <a:custGeom>
              <a:avLst/>
              <a:gdLst>
                <a:gd name="T0" fmla="*/ 2497529 w 2"/>
                <a:gd name="T1" fmla="*/ 2554647 h 5"/>
                <a:gd name="T2" fmla="*/ 0 w 2"/>
                <a:gd name="T3" fmla="*/ 1064436 h 5"/>
                <a:gd name="T4" fmla="*/ 0 w 2"/>
                <a:gd name="T5" fmla="*/ 5085394 h 5"/>
                <a:gd name="T6" fmla="*/ 2497529 w 2"/>
                <a:gd name="T7" fmla="*/ 2554647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5"/>
                <a:gd name="T14" fmla="*/ 2 w 2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5">
                  <a:moveTo>
                    <a:pt x="1" y="2"/>
                  </a:moveTo>
                  <a:cubicBezTo>
                    <a:pt x="2" y="1"/>
                    <a:pt x="1" y="0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5"/>
                    <a:pt x="1" y="3"/>
                    <a:pt x="1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1" name="Freeform 16"/>
            <p:cNvSpPr>
              <a:spLocks/>
            </p:cNvSpPr>
            <p:nvPr/>
          </p:nvSpPr>
          <p:spPr bwMode="auto">
            <a:xfrm>
              <a:off x="5626719" y="5044716"/>
              <a:ext cx="1450" cy="3022"/>
            </a:xfrm>
            <a:custGeom>
              <a:avLst/>
              <a:gdLst>
                <a:gd name="T0" fmla="*/ 43046679 w 1"/>
                <a:gd name="T1" fmla="*/ 727531 h 3"/>
                <a:gd name="T2" fmla="*/ 43046679 w 1"/>
                <a:gd name="T3" fmla="*/ 727531 h 3"/>
                <a:gd name="T4" fmla="*/ 43046679 w 1"/>
                <a:gd name="T5" fmla="*/ 727531 h 3"/>
                <a:gd name="T6" fmla="*/ 43046679 w 1"/>
                <a:gd name="T7" fmla="*/ 0 h 3"/>
                <a:gd name="T8" fmla="*/ 0 w 1"/>
                <a:gd name="T9" fmla="*/ 0 h 3"/>
                <a:gd name="T10" fmla="*/ 0 w 1"/>
                <a:gd name="T11" fmla="*/ 1697572 h 3"/>
                <a:gd name="T12" fmla="*/ 43046679 w 1"/>
                <a:gd name="T13" fmla="*/ 727531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3"/>
                <a:gd name="T23" fmla="*/ 1 w 1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3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1" y="2"/>
                    <a:pt x="1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2" name="Freeform 17"/>
            <p:cNvSpPr>
              <a:spLocks/>
            </p:cNvSpPr>
            <p:nvPr/>
          </p:nvSpPr>
          <p:spPr bwMode="auto">
            <a:xfrm>
              <a:off x="5944980" y="5099712"/>
              <a:ext cx="110194" cy="35655"/>
            </a:xfrm>
            <a:custGeom>
              <a:avLst/>
              <a:gdLst>
                <a:gd name="T0" fmla="*/ 53120829 w 82"/>
                <a:gd name="T1" fmla="*/ 16168527 h 33"/>
                <a:gd name="T2" fmla="*/ 51560260 w 82"/>
                <a:gd name="T3" fmla="*/ 14073912 h 33"/>
                <a:gd name="T4" fmla="*/ 47887387 w 82"/>
                <a:gd name="T5" fmla="*/ 13226473 h 33"/>
                <a:gd name="T6" fmla="*/ 47887387 w 82"/>
                <a:gd name="T7" fmla="*/ 12441453 h 33"/>
                <a:gd name="T8" fmla="*/ 45174957 w 82"/>
                <a:gd name="T9" fmla="*/ 12441453 h 33"/>
                <a:gd name="T10" fmla="*/ 38090193 w 82"/>
                <a:gd name="T11" fmla="*/ 8480158 h 33"/>
                <a:gd name="T12" fmla="*/ 32050613 w 82"/>
                <a:gd name="T13" fmla="*/ 3587761 h 33"/>
                <a:gd name="T14" fmla="*/ 27541043 w 82"/>
                <a:gd name="T15" fmla="*/ 849380 h 33"/>
                <a:gd name="T16" fmla="*/ 16934816 w 82"/>
                <a:gd name="T17" fmla="*/ 0 h 33"/>
                <a:gd name="T18" fmla="*/ 14221934 w 82"/>
                <a:gd name="T19" fmla="*/ 849380 h 33"/>
                <a:gd name="T20" fmla="*/ 9797197 w 82"/>
                <a:gd name="T21" fmla="*/ 2007625 h 33"/>
                <a:gd name="T22" fmla="*/ 7835352 w 82"/>
                <a:gd name="T23" fmla="*/ 2894072 h 33"/>
                <a:gd name="T24" fmla="*/ 2567272 w 82"/>
                <a:gd name="T25" fmla="*/ 6840533 h 33"/>
                <a:gd name="T26" fmla="*/ 0 w 82"/>
                <a:gd name="T27" fmla="*/ 13226473 h 33"/>
                <a:gd name="T28" fmla="*/ 1904180 w 82"/>
                <a:gd name="T29" fmla="*/ 13226473 h 33"/>
                <a:gd name="T30" fmla="*/ 6042482 w 82"/>
                <a:gd name="T31" fmla="*/ 9698924 h 33"/>
                <a:gd name="T32" fmla="*/ 9797197 w 82"/>
                <a:gd name="T33" fmla="*/ 8480158 h 33"/>
                <a:gd name="T34" fmla="*/ 13126410 w 82"/>
                <a:gd name="T35" fmla="*/ 6840533 h 33"/>
                <a:gd name="T36" fmla="*/ 16934816 w 82"/>
                <a:gd name="T37" fmla="*/ 6840533 h 33"/>
                <a:gd name="T38" fmla="*/ 19537246 w 82"/>
                <a:gd name="T39" fmla="*/ 9698924 h 33"/>
                <a:gd name="T40" fmla="*/ 24165973 w 82"/>
                <a:gd name="T41" fmla="*/ 10341117 h 33"/>
                <a:gd name="T42" fmla="*/ 25636839 w 82"/>
                <a:gd name="T43" fmla="*/ 11216144 h 33"/>
                <a:gd name="T44" fmla="*/ 29445284 w 82"/>
                <a:gd name="T45" fmla="*/ 11216144 h 33"/>
                <a:gd name="T46" fmla="*/ 33473559 w 82"/>
                <a:gd name="T47" fmla="*/ 14073912 h 33"/>
                <a:gd name="T48" fmla="*/ 39858778 w 82"/>
                <a:gd name="T49" fmla="*/ 15293841 h 33"/>
                <a:gd name="T50" fmla="*/ 40668587 w 82"/>
                <a:gd name="T51" fmla="*/ 16168527 h 33"/>
                <a:gd name="T52" fmla="*/ 40668587 w 82"/>
                <a:gd name="T53" fmla="*/ 20915062 h 33"/>
                <a:gd name="T54" fmla="*/ 44476429 w 82"/>
                <a:gd name="T55" fmla="*/ 22924719 h 33"/>
                <a:gd name="T56" fmla="*/ 48700849 w 82"/>
                <a:gd name="T57" fmla="*/ 24442627 h 33"/>
                <a:gd name="T58" fmla="*/ 49791778 w 82"/>
                <a:gd name="T59" fmla="*/ 25663075 h 33"/>
                <a:gd name="T60" fmla="*/ 49791778 w 82"/>
                <a:gd name="T61" fmla="*/ 27670974 h 33"/>
                <a:gd name="T62" fmla="*/ 47887387 w 82"/>
                <a:gd name="T63" fmla="*/ 29407055 h 33"/>
                <a:gd name="T64" fmla="*/ 47887387 w 82"/>
                <a:gd name="T65" fmla="*/ 30553758 h 33"/>
                <a:gd name="T66" fmla="*/ 54273557 w 82"/>
                <a:gd name="T67" fmla="*/ 31262565 h 33"/>
                <a:gd name="T68" fmla="*/ 65631179 w 82"/>
                <a:gd name="T69" fmla="*/ 30553758 h 33"/>
                <a:gd name="T70" fmla="*/ 67401167 w 82"/>
                <a:gd name="T71" fmla="*/ 29407055 h 33"/>
                <a:gd name="T72" fmla="*/ 72053463 w 82"/>
                <a:gd name="T73" fmla="*/ 28518479 h 33"/>
                <a:gd name="T74" fmla="*/ 72053463 w 82"/>
                <a:gd name="T75" fmla="*/ 27670974 h 33"/>
                <a:gd name="T76" fmla="*/ 69304128 w 82"/>
                <a:gd name="T77" fmla="*/ 23659148 h 33"/>
                <a:gd name="T78" fmla="*/ 62110069 w 82"/>
                <a:gd name="T79" fmla="*/ 22924719 h 33"/>
                <a:gd name="T80" fmla="*/ 61014583 w 82"/>
                <a:gd name="T81" fmla="*/ 21764401 h 33"/>
                <a:gd name="T82" fmla="*/ 60340345 w 82"/>
                <a:gd name="T83" fmla="*/ 20915062 h 33"/>
                <a:gd name="T84" fmla="*/ 57629835 w 82"/>
                <a:gd name="T85" fmla="*/ 18819581 h 33"/>
                <a:gd name="T86" fmla="*/ 56878435 w 82"/>
                <a:gd name="T87" fmla="*/ 18819581 h 33"/>
                <a:gd name="T88" fmla="*/ 54273557 w 82"/>
                <a:gd name="T89" fmla="*/ 17330084 h 33"/>
                <a:gd name="T90" fmla="*/ 53120829 w 82"/>
                <a:gd name="T91" fmla="*/ 16168527 h 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2"/>
                <a:gd name="T139" fmla="*/ 0 h 33"/>
                <a:gd name="T140" fmla="*/ 82 w 82"/>
                <a:gd name="T141" fmla="*/ 33 h 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2" h="33">
                  <a:moveTo>
                    <a:pt x="60" y="17"/>
                  </a:moveTo>
                  <a:cubicBezTo>
                    <a:pt x="59" y="16"/>
                    <a:pt x="58" y="15"/>
                    <a:pt x="58" y="15"/>
                  </a:cubicBezTo>
                  <a:cubicBezTo>
                    <a:pt x="57" y="15"/>
                    <a:pt x="56" y="14"/>
                    <a:pt x="54" y="14"/>
                  </a:cubicBezTo>
                  <a:cubicBezTo>
                    <a:pt x="54" y="14"/>
                    <a:pt x="54" y="13"/>
                    <a:pt x="54" y="13"/>
                  </a:cubicBezTo>
                  <a:cubicBezTo>
                    <a:pt x="53" y="12"/>
                    <a:pt x="51" y="13"/>
                    <a:pt x="51" y="13"/>
                  </a:cubicBezTo>
                  <a:cubicBezTo>
                    <a:pt x="48" y="11"/>
                    <a:pt x="46" y="9"/>
                    <a:pt x="43" y="9"/>
                  </a:cubicBezTo>
                  <a:cubicBezTo>
                    <a:pt x="40" y="9"/>
                    <a:pt x="38" y="5"/>
                    <a:pt x="36" y="4"/>
                  </a:cubicBezTo>
                  <a:cubicBezTo>
                    <a:pt x="34" y="4"/>
                    <a:pt x="32" y="2"/>
                    <a:pt x="31" y="1"/>
                  </a:cubicBezTo>
                  <a:cubicBezTo>
                    <a:pt x="27" y="0"/>
                    <a:pt x="23" y="0"/>
                    <a:pt x="19" y="0"/>
                  </a:cubicBezTo>
                  <a:cubicBezTo>
                    <a:pt x="18" y="0"/>
                    <a:pt x="17" y="1"/>
                    <a:pt x="16" y="1"/>
                  </a:cubicBezTo>
                  <a:cubicBezTo>
                    <a:pt x="15" y="2"/>
                    <a:pt x="13" y="2"/>
                    <a:pt x="11" y="2"/>
                  </a:cubicBezTo>
                  <a:cubicBezTo>
                    <a:pt x="10" y="2"/>
                    <a:pt x="9" y="3"/>
                    <a:pt x="9" y="3"/>
                  </a:cubicBezTo>
                  <a:cubicBezTo>
                    <a:pt x="7" y="4"/>
                    <a:pt x="4" y="5"/>
                    <a:pt x="3" y="7"/>
                  </a:cubicBezTo>
                  <a:cubicBezTo>
                    <a:pt x="2" y="9"/>
                    <a:pt x="0" y="11"/>
                    <a:pt x="0" y="14"/>
                  </a:cubicBezTo>
                  <a:cubicBezTo>
                    <a:pt x="0" y="14"/>
                    <a:pt x="1" y="14"/>
                    <a:pt x="2" y="14"/>
                  </a:cubicBezTo>
                  <a:cubicBezTo>
                    <a:pt x="4" y="13"/>
                    <a:pt x="5" y="10"/>
                    <a:pt x="7" y="10"/>
                  </a:cubicBezTo>
                  <a:cubicBezTo>
                    <a:pt x="8" y="9"/>
                    <a:pt x="10" y="9"/>
                    <a:pt x="11" y="9"/>
                  </a:cubicBezTo>
                  <a:cubicBezTo>
                    <a:pt x="12" y="8"/>
                    <a:pt x="14" y="7"/>
                    <a:pt x="15" y="7"/>
                  </a:cubicBezTo>
                  <a:cubicBezTo>
                    <a:pt x="16" y="6"/>
                    <a:pt x="18" y="6"/>
                    <a:pt x="19" y="7"/>
                  </a:cubicBezTo>
                  <a:cubicBezTo>
                    <a:pt x="20" y="8"/>
                    <a:pt x="21" y="10"/>
                    <a:pt x="22" y="10"/>
                  </a:cubicBezTo>
                  <a:cubicBezTo>
                    <a:pt x="24" y="10"/>
                    <a:pt x="26" y="10"/>
                    <a:pt x="27" y="11"/>
                  </a:cubicBezTo>
                  <a:cubicBezTo>
                    <a:pt x="28" y="11"/>
                    <a:pt x="29" y="12"/>
                    <a:pt x="29" y="12"/>
                  </a:cubicBezTo>
                  <a:cubicBezTo>
                    <a:pt x="31" y="12"/>
                    <a:pt x="32" y="12"/>
                    <a:pt x="33" y="12"/>
                  </a:cubicBezTo>
                  <a:cubicBezTo>
                    <a:pt x="35" y="13"/>
                    <a:pt x="36" y="15"/>
                    <a:pt x="38" y="15"/>
                  </a:cubicBezTo>
                  <a:cubicBezTo>
                    <a:pt x="40" y="16"/>
                    <a:pt x="43" y="16"/>
                    <a:pt x="45" y="16"/>
                  </a:cubicBezTo>
                  <a:cubicBezTo>
                    <a:pt x="45" y="16"/>
                    <a:pt x="46" y="16"/>
                    <a:pt x="46" y="17"/>
                  </a:cubicBezTo>
                  <a:cubicBezTo>
                    <a:pt x="47" y="18"/>
                    <a:pt x="46" y="20"/>
                    <a:pt x="46" y="22"/>
                  </a:cubicBezTo>
                  <a:cubicBezTo>
                    <a:pt x="47" y="23"/>
                    <a:pt x="49" y="24"/>
                    <a:pt x="50" y="24"/>
                  </a:cubicBezTo>
                  <a:cubicBezTo>
                    <a:pt x="52" y="25"/>
                    <a:pt x="54" y="25"/>
                    <a:pt x="55" y="26"/>
                  </a:cubicBezTo>
                  <a:cubicBezTo>
                    <a:pt x="56" y="26"/>
                    <a:pt x="56" y="26"/>
                    <a:pt x="56" y="27"/>
                  </a:cubicBezTo>
                  <a:cubicBezTo>
                    <a:pt x="56" y="28"/>
                    <a:pt x="56" y="28"/>
                    <a:pt x="56" y="29"/>
                  </a:cubicBezTo>
                  <a:cubicBezTo>
                    <a:pt x="56" y="30"/>
                    <a:pt x="55" y="30"/>
                    <a:pt x="54" y="31"/>
                  </a:cubicBezTo>
                  <a:cubicBezTo>
                    <a:pt x="54" y="31"/>
                    <a:pt x="54" y="32"/>
                    <a:pt x="54" y="32"/>
                  </a:cubicBezTo>
                  <a:cubicBezTo>
                    <a:pt x="56" y="33"/>
                    <a:pt x="59" y="33"/>
                    <a:pt x="61" y="33"/>
                  </a:cubicBezTo>
                  <a:cubicBezTo>
                    <a:pt x="65" y="32"/>
                    <a:pt x="70" y="33"/>
                    <a:pt x="74" y="32"/>
                  </a:cubicBezTo>
                  <a:cubicBezTo>
                    <a:pt x="75" y="32"/>
                    <a:pt x="75" y="32"/>
                    <a:pt x="76" y="31"/>
                  </a:cubicBezTo>
                  <a:cubicBezTo>
                    <a:pt x="78" y="31"/>
                    <a:pt x="80" y="32"/>
                    <a:pt x="81" y="30"/>
                  </a:cubicBezTo>
                  <a:cubicBezTo>
                    <a:pt x="82" y="30"/>
                    <a:pt x="82" y="29"/>
                    <a:pt x="81" y="29"/>
                  </a:cubicBezTo>
                  <a:cubicBezTo>
                    <a:pt x="80" y="27"/>
                    <a:pt x="79" y="26"/>
                    <a:pt x="78" y="25"/>
                  </a:cubicBezTo>
                  <a:cubicBezTo>
                    <a:pt x="75" y="24"/>
                    <a:pt x="73" y="25"/>
                    <a:pt x="70" y="24"/>
                  </a:cubicBezTo>
                  <a:cubicBezTo>
                    <a:pt x="70" y="24"/>
                    <a:pt x="69" y="24"/>
                    <a:pt x="69" y="23"/>
                  </a:cubicBezTo>
                  <a:cubicBezTo>
                    <a:pt x="69" y="23"/>
                    <a:pt x="69" y="22"/>
                    <a:pt x="68" y="22"/>
                  </a:cubicBezTo>
                  <a:cubicBezTo>
                    <a:pt x="67" y="21"/>
                    <a:pt x="66" y="21"/>
                    <a:pt x="65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3" y="19"/>
                    <a:pt x="62" y="18"/>
                    <a:pt x="61" y="18"/>
                  </a:cubicBezTo>
                  <a:lnTo>
                    <a:pt x="60" y="17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3" name="Freeform 18"/>
            <p:cNvSpPr>
              <a:spLocks/>
            </p:cNvSpPr>
            <p:nvPr/>
          </p:nvSpPr>
          <p:spPr bwMode="auto">
            <a:xfrm>
              <a:off x="6006601" y="5146246"/>
              <a:ext cx="24648" cy="10273"/>
            </a:xfrm>
            <a:custGeom>
              <a:avLst/>
              <a:gdLst>
                <a:gd name="T0" fmla="*/ 16931056 w 18"/>
                <a:gd name="T1" fmla="*/ 6550065 h 9"/>
                <a:gd name="T2" fmla="*/ 15574178 w 18"/>
                <a:gd name="T3" fmla="*/ 6550065 h 9"/>
                <a:gd name="T4" fmla="*/ 12233175 w 18"/>
                <a:gd name="T5" fmla="*/ 3238158 h 9"/>
                <a:gd name="T6" fmla="*/ 2384158 w 18"/>
                <a:gd name="T7" fmla="*/ 1324701 h 9"/>
                <a:gd name="T8" fmla="*/ 998020 w 18"/>
                <a:gd name="T9" fmla="*/ 3238158 h 9"/>
                <a:gd name="T10" fmla="*/ 4697331 w 18"/>
                <a:gd name="T11" fmla="*/ 7915496 h 9"/>
                <a:gd name="T12" fmla="*/ 6519426 w 18"/>
                <a:gd name="T13" fmla="*/ 13330806 h 9"/>
                <a:gd name="T14" fmla="*/ 8080076 w 18"/>
                <a:gd name="T15" fmla="*/ 14708563 h 9"/>
                <a:gd name="T16" fmla="*/ 10471513 w 18"/>
                <a:gd name="T17" fmla="*/ 14708563 h 9"/>
                <a:gd name="T18" fmla="*/ 12233175 w 18"/>
                <a:gd name="T19" fmla="*/ 13330806 h 9"/>
                <a:gd name="T20" fmla="*/ 20313258 w 18"/>
                <a:gd name="T21" fmla="*/ 11470653 h 9"/>
                <a:gd name="T22" fmla="*/ 20313258 w 18"/>
                <a:gd name="T23" fmla="*/ 10015063 h 9"/>
                <a:gd name="T24" fmla="*/ 20313258 w 18"/>
                <a:gd name="T25" fmla="*/ 10015063 h 9"/>
                <a:gd name="T26" fmla="*/ 16931056 w 18"/>
                <a:gd name="T27" fmla="*/ 6550065 h 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8"/>
                <a:gd name="T43" fmla="*/ 0 h 9"/>
                <a:gd name="T44" fmla="*/ 18 w 18"/>
                <a:gd name="T45" fmla="*/ 9 h 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8" h="9">
                  <a:moveTo>
                    <a:pt x="15" y="4"/>
                  </a:moveTo>
                  <a:cubicBezTo>
                    <a:pt x="15" y="4"/>
                    <a:pt x="14" y="4"/>
                    <a:pt x="14" y="4"/>
                  </a:cubicBezTo>
                  <a:cubicBezTo>
                    <a:pt x="13" y="3"/>
                    <a:pt x="13" y="2"/>
                    <a:pt x="11" y="2"/>
                  </a:cubicBezTo>
                  <a:cubicBezTo>
                    <a:pt x="8" y="1"/>
                    <a:pt x="5" y="0"/>
                    <a:pt x="2" y="1"/>
                  </a:cubicBezTo>
                  <a:cubicBezTo>
                    <a:pt x="2" y="1"/>
                    <a:pt x="1" y="1"/>
                    <a:pt x="1" y="2"/>
                  </a:cubicBezTo>
                  <a:cubicBezTo>
                    <a:pt x="0" y="4"/>
                    <a:pt x="2" y="4"/>
                    <a:pt x="4" y="5"/>
                  </a:cubicBezTo>
                  <a:cubicBezTo>
                    <a:pt x="5" y="5"/>
                    <a:pt x="5" y="6"/>
                    <a:pt x="6" y="8"/>
                  </a:cubicBezTo>
                  <a:cubicBezTo>
                    <a:pt x="6" y="8"/>
                    <a:pt x="6" y="8"/>
                    <a:pt x="7" y="9"/>
                  </a:cubicBezTo>
                  <a:cubicBezTo>
                    <a:pt x="8" y="9"/>
                    <a:pt x="8" y="9"/>
                    <a:pt x="9" y="9"/>
                  </a:cubicBezTo>
                  <a:cubicBezTo>
                    <a:pt x="10" y="9"/>
                    <a:pt x="10" y="8"/>
                    <a:pt x="11" y="8"/>
                  </a:cubicBezTo>
                  <a:cubicBezTo>
                    <a:pt x="13" y="7"/>
                    <a:pt x="16" y="8"/>
                    <a:pt x="18" y="7"/>
                  </a:cubicBezTo>
                  <a:cubicBezTo>
                    <a:pt x="18" y="7"/>
                    <a:pt x="18" y="6"/>
                    <a:pt x="18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6" y="5"/>
                    <a:pt x="16" y="4"/>
                    <a:pt x="15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4" name="Freeform 19"/>
            <p:cNvSpPr>
              <a:spLocks/>
            </p:cNvSpPr>
            <p:nvPr/>
          </p:nvSpPr>
          <p:spPr bwMode="auto">
            <a:xfrm>
              <a:off x="6126219" y="5147455"/>
              <a:ext cx="16674" cy="7253"/>
            </a:xfrm>
            <a:custGeom>
              <a:avLst/>
              <a:gdLst>
                <a:gd name="T0" fmla="*/ 9492531 w 12"/>
                <a:gd name="T1" fmla="*/ 505778 h 7"/>
                <a:gd name="T2" fmla="*/ 1147259 w 12"/>
                <a:gd name="T3" fmla="*/ 505778 h 7"/>
                <a:gd name="T4" fmla="*/ 1147259 w 12"/>
                <a:gd name="T5" fmla="*/ 2234466 h 7"/>
                <a:gd name="T6" fmla="*/ 3927944 w 12"/>
                <a:gd name="T7" fmla="*/ 3397424 h 7"/>
                <a:gd name="T8" fmla="*/ 10639125 w 12"/>
                <a:gd name="T9" fmla="*/ 3397424 h 7"/>
                <a:gd name="T10" fmla="*/ 10639125 w 12"/>
                <a:gd name="T11" fmla="*/ 3942014 h 7"/>
                <a:gd name="T12" fmla="*/ 13411727 w 12"/>
                <a:gd name="T13" fmla="*/ 3942014 h 7"/>
                <a:gd name="T14" fmla="*/ 16192411 w 12"/>
                <a:gd name="T15" fmla="*/ 1724631 h 7"/>
                <a:gd name="T16" fmla="*/ 16192411 w 12"/>
                <a:gd name="T17" fmla="*/ 1156064 h 7"/>
                <a:gd name="T18" fmla="*/ 13411727 w 12"/>
                <a:gd name="T19" fmla="*/ 505778 h 7"/>
                <a:gd name="T20" fmla="*/ 9492531 w 12"/>
                <a:gd name="T21" fmla="*/ 505778 h 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7"/>
                <a:gd name="T35" fmla="*/ 12 w 12"/>
                <a:gd name="T36" fmla="*/ 7 h 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7">
                  <a:moveTo>
                    <a:pt x="7" y="1"/>
                  </a:moveTo>
                  <a:cubicBezTo>
                    <a:pt x="5" y="1"/>
                    <a:pt x="3" y="0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1" y="5"/>
                    <a:pt x="2" y="6"/>
                    <a:pt x="3" y="6"/>
                  </a:cubicBezTo>
                  <a:cubicBezTo>
                    <a:pt x="4" y="6"/>
                    <a:pt x="6" y="6"/>
                    <a:pt x="8" y="6"/>
                  </a:cubicBezTo>
                  <a:cubicBezTo>
                    <a:pt x="8" y="6"/>
                    <a:pt x="8" y="7"/>
                    <a:pt x="8" y="7"/>
                  </a:cubicBezTo>
                  <a:cubicBezTo>
                    <a:pt x="9" y="7"/>
                    <a:pt x="9" y="7"/>
                    <a:pt x="10" y="7"/>
                  </a:cubicBezTo>
                  <a:cubicBezTo>
                    <a:pt x="11" y="6"/>
                    <a:pt x="11" y="4"/>
                    <a:pt x="12" y="3"/>
                  </a:cubicBezTo>
                  <a:cubicBezTo>
                    <a:pt x="12" y="3"/>
                    <a:pt x="12" y="2"/>
                    <a:pt x="12" y="2"/>
                  </a:cubicBezTo>
                  <a:cubicBezTo>
                    <a:pt x="11" y="1"/>
                    <a:pt x="11" y="1"/>
                    <a:pt x="10" y="1"/>
                  </a:cubicBezTo>
                  <a:lnTo>
                    <a:pt x="7" y="1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5" name="Freeform 21"/>
            <p:cNvSpPr>
              <a:spLocks/>
            </p:cNvSpPr>
            <p:nvPr/>
          </p:nvSpPr>
          <p:spPr bwMode="auto">
            <a:xfrm>
              <a:off x="6169718" y="4398075"/>
              <a:ext cx="10873" cy="6044"/>
            </a:xfrm>
            <a:custGeom>
              <a:avLst/>
              <a:gdLst>
                <a:gd name="T0" fmla="*/ 7279645 w 8"/>
                <a:gd name="T1" fmla="*/ 2554647 h 5"/>
                <a:gd name="T2" fmla="*/ 5058432 w 8"/>
                <a:gd name="T3" fmla="*/ 0 h 5"/>
                <a:gd name="T4" fmla="*/ 0 w 8"/>
                <a:gd name="T5" fmla="*/ 1064436 h 5"/>
                <a:gd name="T6" fmla="*/ 0 w 8"/>
                <a:gd name="T7" fmla="*/ 3577445 h 5"/>
                <a:gd name="T8" fmla="*/ 5058432 w 8"/>
                <a:gd name="T9" fmla="*/ 6131150 h 5"/>
                <a:gd name="T10" fmla="*/ 7279645 w 8"/>
                <a:gd name="T11" fmla="*/ 6131150 h 5"/>
                <a:gd name="T12" fmla="*/ 8176458 w 8"/>
                <a:gd name="T13" fmla="*/ 3577445 h 5"/>
                <a:gd name="T14" fmla="*/ 7279645 w 8"/>
                <a:gd name="T15" fmla="*/ 2554647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5"/>
                <a:gd name="T26" fmla="*/ 8 w 8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5">
                  <a:moveTo>
                    <a:pt x="7" y="2"/>
                  </a:moveTo>
                  <a:cubicBezTo>
                    <a:pt x="7" y="1"/>
                    <a:pt x="6" y="0"/>
                    <a:pt x="5" y="0"/>
                  </a:cubicBezTo>
                  <a:cubicBezTo>
                    <a:pt x="4" y="0"/>
                    <a:pt x="2" y="0"/>
                    <a:pt x="0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4"/>
                    <a:pt x="3" y="4"/>
                    <a:pt x="5" y="5"/>
                  </a:cubicBezTo>
                  <a:cubicBezTo>
                    <a:pt x="5" y="5"/>
                    <a:pt x="7" y="5"/>
                    <a:pt x="7" y="5"/>
                  </a:cubicBezTo>
                  <a:cubicBezTo>
                    <a:pt x="8" y="5"/>
                    <a:pt x="8" y="4"/>
                    <a:pt x="8" y="3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6" name="Freeform 23"/>
            <p:cNvSpPr>
              <a:spLocks/>
            </p:cNvSpPr>
            <p:nvPr/>
          </p:nvSpPr>
          <p:spPr bwMode="auto">
            <a:xfrm>
              <a:off x="6033425" y="4332203"/>
              <a:ext cx="276936" cy="117846"/>
            </a:xfrm>
            <a:custGeom>
              <a:avLst/>
              <a:gdLst>
                <a:gd name="T0" fmla="*/ 117704894 w 205"/>
                <a:gd name="T1" fmla="*/ 6546201 h 109"/>
                <a:gd name="T2" fmla="*/ 100186453 w 205"/>
                <a:gd name="T3" fmla="*/ 5431840 h 109"/>
                <a:gd name="T4" fmla="*/ 104334683 w 205"/>
                <a:gd name="T5" fmla="*/ 10041261 h 109"/>
                <a:gd name="T6" fmla="*/ 87577858 w 205"/>
                <a:gd name="T7" fmla="*/ 4609370 h 109"/>
                <a:gd name="T8" fmla="*/ 73349448 w 205"/>
                <a:gd name="T9" fmla="*/ 4609370 h 109"/>
                <a:gd name="T10" fmla="*/ 65559016 w 205"/>
                <a:gd name="T11" fmla="*/ 9329435 h 109"/>
                <a:gd name="T12" fmla="*/ 69184184 w 205"/>
                <a:gd name="T13" fmla="*/ 15434619 h 109"/>
                <a:gd name="T14" fmla="*/ 60740625 w 205"/>
                <a:gd name="T15" fmla="*/ 16200535 h 109"/>
                <a:gd name="T16" fmla="*/ 50922751 w 205"/>
                <a:gd name="T17" fmla="*/ 12807184 h 109"/>
                <a:gd name="T18" fmla="*/ 44373957 w 205"/>
                <a:gd name="T19" fmla="*/ 16200535 h 109"/>
                <a:gd name="T20" fmla="*/ 35798052 w 205"/>
                <a:gd name="T21" fmla="*/ 18238993 h 109"/>
                <a:gd name="T22" fmla="*/ 9811355 w 205"/>
                <a:gd name="T23" fmla="*/ 20193074 h 109"/>
                <a:gd name="T24" fmla="*/ 12581459 w 205"/>
                <a:gd name="T25" fmla="*/ 22821264 h 109"/>
                <a:gd name="T26" fmla="*/ 18261484 w 205"/>
                <a:gd name="T27" fmla="*/ 26239844 h 109"/>
                <a:gd name="T28" fmla="*/ 19134777 w 205"/>
                <a:gd name="T29" fmla="*/ 28241708 h 109"/>
                <a:gd name="T30" fmla="*/ 17537107 w 205"/>
                <a:gd name="T31" fmla="*/ 32149144 h 109"/>
                <a:gd name="T32" fmla="*/ 36655172 w 205"/>
                <a:gd name="T33" fmla="*/ 33626465 h 109"/>
                <a:gd name="T34" fmla="*/ 34628204 w 205"/>
                <a:gd name="T35" fmla="*/ 37572022 h 109"/>
                <a:gd name="T36" fmla="*/ 37551452 w 205"/>
                <a:gd name="T37" fmla="*/ 37572022 h 109"/>
                <a:gd name="T38" fmla="*/ 47141967 w 205"/>
                <a:gd name="T39" fmla="*/ 41001061 h 109"/>
                <a:gd name="T40" fmla="*/ 56954995 w 205"/>
                <a:gd name="T41" fmla="*/ 38197574 h 109"/>
                <a:gd name="T42" fmla="*/ 74206681 w 205"/>
                <a:gd name="T43" fmla="*/ 36391709 h 109"/>
                <a:gd name="T44" fmla="*/ 83796808 w 205"/>
                <a:gd name="T45" fmla="*/ 26239844 h 109"/>
                <a:gd name="T46" fmla="*/ 93269532 w 205"/>
                <a:gd name="T47" fmla="*/ 35628329 h 109"/>
                <a:gd name="T48" fmla="*/ 69184184 w 205"/>
                <a:gd name="T49" fmla="*/ 41823348 h 109"/>
                <a:gd name="T50" fmla="*/ 60740625 w 205"/>
                <a:gd name="T51" fmla="*/ 49061069 h 109"/>
                <a:gd name="T52" fmla="*/ 67650846 w 205"/>
                <a:gd name="T53" fmla="*/ 53043069 h 109"/>
                <a:gd name="T54" fmla="*/ 44373957 w 205"/>
                <a:gd name="T55" fmla="*/ 43629232 h 109"/>
                <a:gd name="T56" fmla="*/ 43203976 w 205"/>
                <a:gd name="T57" fmla="*/ 54481514 h 109"/>
                <a:gd name="T58" fmla="*/ 46493875 w 205"/>
                <a:gd name="T59" fmla="*/ 60417278 h 109"/>
                <a:gd name="T60" fmla="*/ 58697474 w 205"/>
                <a:gd name="T61" fmla="*/ 61868248 h 109"/>
                <a:gd name="T62" fmla="*/ 33766542 w 205"/>
                <a:gd name="T63" fmla="*/ 63822315 h 109"/>
                <a:gd name="T64" fmla="*/ 25980103 w 205"/>
                <a:gd name="T65" fmla="*/ 72020094 h 109"/>
                <a:gd name="T66" fmla="*/ 36655172 w 205"/>
                <a:gd name="T67" fmla="*/ 69243590 h 109"/>
                <a:gd name="T68" fmla="*/ 50065593 w 205"/>
                <a:gd name="T69" fmla="*/ 75801172 h 109"/>
                <a:gd name="T70" fmla="*/ 34628204 w 205"/>
                <a:gd name="T71" fmla="*/ 84004402 h 109"/>
                <a:gd name="T72" fmla="*/ 15493427 w 205"/>
                <a:gd name="T73" fmla="*/ 84004402 h 109"/>
                <a:gd name="T74" fmla="*/ 0 w 205"/>
                <a:gd name="T75" fmla="*/ 92064900 h 109"/>
                <a:gd name="T76" fmla="*/ 14272457 w 205"/>
                <a:gd name="T77" fmla="*/ 97500284 h 109"/>
                <a:gd name="T78" fmla="*/ 25980103 w 205"/>
                <a:gd name="T79" fmla="*/ 99438884 h 109"/>
                <a:gd name="T80" fmla="*/ 34628204 w 205"/>
                <a:gd name="T81" fmla="*/ 95960585 h 109"/>
                <a:gd name="T82" fmla="*/ 46493875 w 205"/>
                <a:gd name="T83" fmla="*/ 96672225 h 109"/>
                <a:gd name="T84" fmla="*/ 55812761 w 205"/>
                <a:gd name="T85" fmla="*/ 98610976 h 109"/>
                <a:gd name="T86" fmla="*/ 71217833 w 205"/>
                <a:gd name="T87" fmla="*/ 95960585 h 109"/>
                <a:gd name="T88" fmla="*/ 69184184 w 205"/>
                <a:gd name="T89" fmla="*/ 86633063 h 109"/>
                <a:gd name="T90" fmla="*/ 54916728 w 205"/>
                <a:gd name="T91" fmla="*/ 84004402 h 109"/>
                <a:gd name="T92" fmla="*/ 82649540 w 205"/>
                <a:gd name="T93" fmla="*/ 76629494 h 109"/>
                <a:gd name="T94" fmla="*/ 88841185 w 205"/>
                <a:gd name="T95" fmla="*/ 72020094 h 109"/>
                <a:gd name="T96" fmla="*/ 93269532 w 205"/>
                <a:gd name="T97" fmla="*/ 68414324 h 109"/>
                <a:gd name="T98" fmla="*/ 95389639 w 205"/>
                <a:gd name="T99" fmla="*/ 61868248 h 109"/>
                <a:gd name="T100" fmla="*/ 107102315 w 205"/>
                <a:gd name="T101" fmla="*/ 54481514 h 109"/>
                <a:gd name="T102" fmla="*/ 123376128 w 205"/>
                <a:gd name="T103" fmla="*/ 51864283 h 109"/>
                <a:gd name="T104" fmla="*/ 148186316 w 205"/>
                <a:gd name="T105" fmla="*/ 36391709 h 109"/>
                <a:gd name="T106" fmla="*/ 173534065 w 205"/>
                <a:gd name="T107" fmla="*/ 25624458 h 109"/>
                <a:gd name="T108" fmla="*/ 139609513 w 205"/>
                <a:gd name="T109" fmla="*/ 30196756 h 109"/>
                <a:gd name="T110" fmla="*/ 160927438 w 205"/>
                <a:gd name="T111" fmla="*/ 23675258 h 109"/>
                <a:gd name="T112" fmla="*/ 193823166 w 205"/>
                <a:gd name="T113" fmla="*/ 16200535 h 109"/>
                <a:gd name="T114" fmla="*/ 187764160 w 205"/>
                <a:gd name="T115" fmla="*/ 11978003 h 109"/>
                <a:gd name="T116" fmla="*/ 179188794 w 205"/>
                <a:gd name="T117" fmla="*/ 5431840 h 109"/>
                <a:gd name="T118" fmla="*/ 157142565 w 205"/>
                <a:gd name="T119" fmla="*/ 5431840 h 109"/>
                <a:gd name="T120" fmla="*/ 151109072 w 205"/>
                <a:gd name="T121" fmla="*/ 2776404 h 109"/>
                <a:gd name="T122" fmla="*/ 131188060 w 205"/>
                <a:gd name="T123" fmla="*/ 2776404 h 10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05"/>
                <a:gd name="T187" fmla="*/ 0 h 109"/>
                <a:gd name="T188" fmla="*/ 205 w 205"/>
                <a:gd name="T189" fmla="*/ 109 h 10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05" h="109">
                  <a:moveTo>
                    <a:pt x="124" y="3"/>
                  </a:moveTo>
                  <a:cubicBezTo>
                    <a:pt x="124" y="3"/>
                    <a:pt x="124" y="3"/>
                    <a:pt x="124" y="3"/>
                  </a:cubicBezTo>
                  <a:cubicBezTo>
                    <a:pt x="124" y="4"/>
                    <a:pt x="123" y="4"/>
                    <a:pt x="124" y="4"/>
                  </a:cubicBezTo>
                  <a:cubicBezTo>
                    <a:pt x="124" y="6"/>
                    <a:pt x="126" y="7"/>
                    <a:pt x="125" y="8"/>
                  </a:cubicBezTo>
                  <a:cubicBezTo>
                    <a:pt x="124" y="8"/>
                    <a:pt x="123" y="7"/>
                    <a:pt x="122" y="7"/>
                  </a:cubicBezTo>
                  <a:cubicBezTo>
                    <a:pt x="120" y="7"/>
                    <a:pt x="120" y="5"/>
                    <a:pt x="119" y="4"/>
                  </a:cubicBezTo>
                  <a:cubicBezTo>
                    <a:pt x="118" y="1"/>
                    <a:pt x="114" y="2"/>
                    <a:pt x="112" y="2"/>
                  </a:cubicBezTo>
                  <a:cubicBezTo>
                    <a:pt x="108" y="3"/>
                    <a:pt x="105" y="1"/>
                    <a:pt x="101" y="2"/>
                  </a:cubicBezTo>
                  <a:cubicBezTo>
                    <a:pt x="101" y="2"/>
                    <a:pt x="101" y="3"/>
                    <a:pt x="101" y="3"/>
                  </a:cubicBezTo>
                  <a:cubicBezTo>
                    <a:pt x="102" y="4"/>
                    <a:pt x="103" y="5"/>
                    <a:pt x="104" y="6"/>
                  </a:cubicBezTo>
                  <a:cubicBezTo>
                    <a:pt x="104" y="6"/>
                    <a:pt x="105" y="6"/>
                    <a:pt x="105" y="7"/>
                  </a:cubicBezTo>
                  <a:cubicBezTo>
                    <a:pt x="105" y="7"/>
                    <a:pt x="106" y="8"/>
                    <a:pt x="106" y="8"/>
                  </a:cubicBezTo>
                  <a:cubicBezTo>
                    <a:pt x="107" y="9"/>
                    <a:pt x="108" y="10"/>
                    <a:pt x="110" y="11"/>
                  </a:cubicBezTo>
                  <a:cubicBezTo>
                    <a:pt x="110" y="11"/>
                    <a:pt x="110" y="11"/>
                    <a:pt x="110" y="11"/>
                  </a:cubicBezTo>
                  <a:cubicBezTo>
                    <a:pt x="109" y="11"/>
                    <a:pt x="109" y="12"/>
                    <a:pt x="108" y="11"/>
                  </a:cubicBezTo>
                  <a:cubicBezTo>
                    <a:pt x="106" y="11"/>
                    <a:pt x="105" y="9"/>
                    <a:pt x="103" y="8"/>
                  </a:cubicBezTo>
                  <a:cubicBezTo>
                    <a:pt x="102" y="7"/>
                    <a:pt x="101" y="7"/>
                    <a:pt x="101" y="6"/>
                  </a:cubicBezTo>
                  <a:cubicBezTo>
                    <a:pt x="100" y="6"/>
                    <a:pt x="99" y="5"/>
                    <a:pt x="98" y="5"/>
                  </a:cubicBezTo>
                  <a:cubicBezTo>
                    <a:pt x="97" y="5"/>
                    <a:pt x="95" y="5"/>
                    <a:pt x="94" y="5"/>
                  </a:cubicBezTo>
                  <a:cubicBezTo>
                    <a:pt x="93" y="5"/>
                    <a:pt x="92" y="5"/>
                    <a:pt x="91" y="5"/>
                  </a:cubicBezTo>
                  <a:cubicBezTo>
                    <a:pt x="90" y="4"/>
                    <a:pt x="89" y="4"/>
                    <a:pt x="89" y="4"/>
                  </a:cubicBezTo>
                  <a:cubicBezTo>
                    <a:pt x="86" y="3"/>
                    <a:pt x="84" y="3"/>
                    <a:pt x="81" y="3"/>
                  </a:cubicBezTo>
                  <a:cubicBezTo>
                    <a:pt x="81" y="5"/>
                    <a:pt x="81" y="7"/>
                    <a:pt x="82" y="9"/>
                  </a:cubicBezTo>
                  <a:cubicBezTo>
                    <a:pt x="83" y="9"/>
                    <a:pt x="82" y="9"/>
                    <a:pt x="82" y="9"/>
                  </a:cubicBezTo>
                  <a:cubicBezTo>
                    <a:pt x="79" y="10"/>
                    <a:pt x="78" y="7"/>
                    <a:pt x="76" y="5"/>
                  </a:cubicBezTo>
                  <a:cubicBezTo>
                    <a:pt x="76" y="5"/>
                    <a:pt x="75" y="5"/>
                    <a:pt x="75" y="5"/>
                  </a:cubicBezTo>
                  <a:cubicBezTo>
                    <a:pt x="75" y="6"/>
                    <a:pt x="75" y="7"/>
                    <a:pt x="75" y="8"/>
                  </a:cubicBezTo>
                  <a:cubicBezTo>
                    <a:pt x="76" y="10"/>
                    <a:pt x="77" y="11"/>
                    <a:pt x="77" y="12"/>
                  </a:cubicBezTo>
                  <a:cubicBezTo>
                    <a:pt x="75" y="13"/>
                    <a:pt x="74" y="10"/>
                    <a:pt x="72" y="9"/>
                  </a:cubicBezTo>
                  <a:cubicBezTo>
                    <a:pt x="71" y="9"/>
                    <a:pt x="69" y="9"/>
                    <a:pt x="68" y="10"/>
                  </a:cubicBezTo>
                  <a:cubicBezTo>
                    <a:pt x="67" y="10"/>
                    <a:pt x="68" y="12"/>
                    <a:pt x="68" y="12"/>
                  </a:cubicBezTo>
                  <a:cubicBezTo>
                    <a:pt x="67" y="13"/>
                    <a:pt x="66" y="12"/>
                    <a:pt x="66" y="13"/>
                  </a:cubicBezTo>
                  <a:cubicBezTo>
                    <a:pt x="65" y="13"/>
                    <a:pt x="65" y="14"/>
                    <a:pt x="66" y="15"/>
                  </a:cubicBezTo>
                  <a:cubicBezTo>
                    <a:pt x="68" y="16"/>
                    <a:pt x="69" y="15"/>
                    <a:pt x="71" y="16"/>
                  </a:cubicBezTo>
                  <a:cubicBezTo>
                    <a:pt x="71" y="16"/>
                    <a:pt x="72" y="16"/>
                    <a:pt x="72" y="17"/>
                  </a:cubicBezTo>
                  <a:cubicBezTo>
                    <a:pt x="74" y="17"/>
                    <a:pt x="76" y="18"/>
                    <a:pt x="77" y="19"/>
                  </a:cubicBezTo>
                  <a:cubicBezTo>
                    <a:pt x="77" y="19"/>
                    <a:pt x="77" y="20"/>
                    <a:pt x="77" y="20"/>
                  </a:cubicBezTo>
                  <a:cubicBezTo>
                    <a:pt x="74" y="20"/>
                    <a:pt x="71" y="19"/>
                    <a:pt x="68" y="18"/>
                  </a:cubicBezTo>
                  <a:cubicBezTo>
                    <a:pt x="68" y="17"/>
                    <a:pt x="67" y="17"/>
                    <a:pt x="66" y="17"/>
                  </a:cubicBezTo>
                  <a:cubicBezTo>
                    <a:pt x="65" y="16"/>
                    <a:pt x="63" y="17"/>
                    <a:pt x="63" y="18"/>
                  </a:cubicBezTo>
                  <a:cubicBezTo>
                    <a:pt x="63" y="19"/>
                    <a:pt x="62" y="19"/>
                    <a:pt x="62" y="18"/>
                  </a:cubicBezTo>
                  <a:cubicBezTo>
                    <a:pt x="61" y="18"/>
                    <a:pt x="61" y="17"/>
                    <a:pt x="60" y="16"/>
                  </a:cubicBezTo>
                  <a:cubicBezTo>
                    <a:pt x="60" y="15"/>
                    <a:pt x="59" y="15"/>
                    <a:pt x="58" y="14"/>
                  </a:cubicBezTo>
                  <a:cubicBezTo>
                    <a:pt x="57" y="14"/>
                    <a:pt x="55" y="14"/>
                    <a:pt x="54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0" y="12"/>
                    <a:pt x="47" y="9"/>
                    <a:pt x="45" y="12"/>
                  </a:cubicBezTo>
                  <a:cubicBezTo>
                    <a:pt x="44" y="14"/>
                    <a:pt x="42" y="15"/>
                    <a:pt x="40" y="15"/>
                  </a:cubicBezTo>
                  <a:cubicBezTo>
                    <a:pt x="40" y="15"/>
                    <a:pt x="40" y="16"/>
                    <a:pt x="40" y="16"/>
                  </a:cubicBezTo>
                  <a:cubicBezTo>
                    <a:pt x="40" y="17"/>
                    <a:pt x="41" y="17"/>
                    <a:pt x="41" y="17"/>
                  </a:cubicBezTo>
                  <a:cubicBezTo>
                    <a:pt x="43" y="17"/>
                    <a:pt x="45" y="18"/>
                    <a:pt x="46" y="18"/>
                  </a:cubicBezTo>
                  <a:cubicBezTo>
                    <a:pt x="47" y="19"/>
                    <a:pt x="48" y="18"/>
                    <a:pt x="48" y="19"/>
                  </a:cubicBezTo>
                  <a:cubicBezTo>
                    <a:pt x="48" y="20"/>
                    <a:pt x="46" y="19"/>
                    <a:pt x="45" y="19"/>
                  </a:cubicBezTo>
                  <a:cubicBezTo>
                    <a:pt x="42" y="18"/>
                    <a:pt x="40" y="17"/>
                    <a:pt x="38" y="18"/>
                  </a:cubicBezTo>
                  <a:cubicBezTo>
                    <a:pt x="38" y="18"/>
                    <a:pt x="38" y="20"/>
                    <a:pt x="38" y="20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6" y="19"/>
                    <a:pt x="36" y="18"/>
                    <a:pt x="34" y="18"/>
                  </a:cubicBezTo>
                  <a:cubicBezTo>
                    <a:pt x="33" y="17"/>
                    <a:pt x="29" y="16"/>
                    <a:pt x="27" y="17"/>
                  </a:cubicBezTo>
                  <a:cubicBezTo>
                    <a:pt x="26" y="19"/>
                    <a:pt x="25" y="21"/>
                    <a:pt x="22" y="22"/>
                  </a:cubicBezTo>
                  <a:cubicBezTo>
                    <a:pt x="21" y="22"/>
                    <a:pt x="20" y="22"/>
                    <a:pt x="18" y="22"/>
                  </a:cubicBezTo>
                  <a:cubicBezTo>
                    <a:pt x="16" y="21"/>
                    <a:pt x="13" y="21"/>
                    <a:pt x="10" y="22"/>
                  </a:cubicBezTo>
                  <a:cubicBezTo>
                    <a:pt x="9" y="22"/>
                    <a:pt x="7" y="23"/>
                    <a:pt x="6" y="23"/>
                  </a:cubicBezTo>
                  <a:cubicBezTo>
                    <a:pt x="6" y="23"/>
                    <a:pt x="5" y="24"/>
                    <a:pt x="6" y="24"/>
                  </a:cubicBezTo>
                  <a:cubicBezTo>
                    <a:pt x="7" y="25"/>
                    <a:pt x="8" y="26"/>
                    <a:pt x="10" y="27"/>
                  </a:cubicBezTo>
                  <a:cubicBezTo>
                    <a:pt x="10" y="27"/>
                    <a:pt x="11" y="27"/>
                    <a:pt x="11" y="27"/>
                  </a:cubicBezTo>
                  <a:cubicBezTo>
                    <a:pt x="12" y="27"/>
                    <a:pt x="12" y="26"/>
                    <a:pt x="13" y="25"/>
                  </a:cubicBezTo>
                  <a:cubicBezTo>
                    <a:pt x="15" y="24"/>
                    <a:pt x="17" y="25"/>
                    <a:pt x="19" y="25"/>
                  </a:cubicBezTo>
                  <a:cubicBezTo>
                    <a:pt x="19" y="25"/>
                    <a:pt x="19" y="25"/>
                    <a:pt x="19" y="26"/>
                  </a:cubicBezTo>
                  <a:cubicBezTo>
                    <a:pt x="18" y="27"/>
                    <a:pt x="17" y="27"/>
                    <a:pt x="15" y="28"/>
                  </a:cubicBezTo>
                  <a:cubicBezTo>
                    <a:pt x="15" y="28"/>
                    <a:pt x="15" y="29"/>
                    <a:pt x="15" y="29"/>
                  </a:cubicBezTo>
                  <a:cubicBezTo>
                    <a:pt x="17" y="29"/>
                    <a:pt x="18" y="29"/>
                    <a:pt x="19" y="29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1" y="28"/>
                    <a:pt x="23" y="27"/>
                    <a:pt x="24" y="27"/>
                  </a:cubicBezTo>
                  <a:cubicBezTo>
                    <a:pt x="25" y="26"/>
                    <a:pt x="27" y="26"/>
                    <a:pt x="27" y="28"/>
                  </a:cubicBezTo>
                  <a:cubicBezTo>
                    <a:pt x="25" y="28"/>
                    <a:pt x="24" y="29"/>
                    <a:pt x="22" y="29"/>
                  </a:cubicBezTo>
                  <a:cubicBezTo>
                    <a:pt x="21" y="29"/>
                    <a:pt x="21" y="31"/>
                    <a:pt x="20" y="31"/>
                  </a:cubicBezTo>
                  <a:cubicBezTo>
                    <a:pt x="20" y="32"/>
                    <a:pt x="19" y="31"/>
                    <a:pt x="18" y="30"/>
                  </a:cubicBezTo>
                  <a:cubicBezTo>
                    <a:pt x="17" y="30"/>
                    <a:pt x="16" y="30"/>
                    <a:pt x="16" y="31"/>
                  </a:cubicBezTo>
                  <a:cubicBezTo>
                    <a:pt x="15" y="31"/>
                    <a:pt x="16" y="31"/>
                    <a:pt x="16" y="3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4"/>
                    <a:pt x="17" y="35"/>
                    <a:pt x="18" y="35"/>
                  </a:cubicBezTo>
                  <a:cubicBezTo>
                    <a:pt x="24" y="35"/>
                    <a:pt x="29" y="35"/>
                    <a:pt x="35" y="34"/>
                  </a:cubicBezTo>
                  <a:cubicBezTo>
                    <a:pt x="38" y="34"/>
                    <a:pt x="41" y="33"/>
                    <a:pt x="43" y="31"/>
                  </a:cubicBezTo>
                  <a:cubicBezTo>
                    <a:pt x="43" y="31"/>
                    <a:pt x="44" y="31"/>
                    <a:pt x="44" y="31"/>
                  </a:cubicBezTo>
                  <a:cubicBezTo>
                    <a:pt x="45" y="31"/>
                    <a:pt x="45" y="32"/>
                    <a:pt x="44" y="32"/>
                  </a:cubicBezTo>
                  <a:cubicBezTo>
                    <a:pt x="42" y="34"/>
                    <a:pt x="40" y="36"/>
                    <a:pt x="38" y="37"/>
                  </a:cubicBezTo>
                  <a:cubicBezTo>
                    <a:pt x="36" y="37"/>
                    <a:pt x="33" y="37"/>
                    <a:pt x="31" y="37"/>
                  </a:cubicBezTo>
                  <a:cubicBezTo>
                    <a:pt x="28" y="36"/>
                    <a:pt x="26" y="36"/>
                    <a:pt x="23" y="36"/>
                  </a:cubicBezTo>
                  <a:cubicBezTo>
                    <a:pt x="23" y="36"/>
                    <a:pt x="22" y="36"/>
                    <a:pt x="22" y="37"/>
                  </a:cubicBezTo>
                  <a:cubicBezTo>
                    <a:pt x="20" y="38"/>
                    <a:pt x="22" y="39"/>
                    <a:pt x="23" y="40"/>
                  </a:cubicBezTo>
                  <a:cubicBezTo>
                    <a:pt x="27" y="42"/>
                    <a:pt x="32" y="43"/>
                    <a:pt x="36" y="41"/>
                  </a:cubicBezTo>
                  <a:cubicBezTo>
                    <a:pt x="38" y="40"/>
                    <a:pt x="39" y="38"/>
                    <a:pt x="40" y="37"/>
                  </a:cubicBezTo>
                  <a:cubicBezTo>
                    <a:pt x="43" y="36"/>
                    <a:pt x="45" y="36"/>
                    <a:pt x="47" y="35"/>
                  </a:cubicBezTo>
                  <a:cubicBezTo>
                    <a:pt x="48" y="34"/>
                    <a:pt x="48" y="35"/>
                    <a:pt x="49" y="35"/>
                  </a:cubicBezTo>
                  <a:cubicBezTo>
                    <a:pt x="49" y="37"/>
                    <a:pt x="45" y="37"/>
                    <a:pt x="43" y="38"/>
                  </a:cubicBezTo>
                  <a:cubicBezTo>
                    <a:pt x="41" y="38"/>
                    <a:pt x="39" y="39"/>
                    <a:pt x="39" y="41"/>
                  </a:cubicBezTo>
                  <a:cubicBezTo>
                    <a:pt x="39" y="42"/>
                    <a:pt x="37" y="43"/>
                    <a:pt x="38" y="43"/>
                  </a:cubicBezTo>
                  <a:cubicBezTo>
                    <a:pt x="39" y="44"/>
                    <a:pt x="40" y="44"/>
                    <a:pt x="40" y="43"/>
                  </a:cubicBezTo>
                  <a:cubicBezTo>
                    <a:pt x="41" y="43"/>
                    <a:pt x="42" y="43"/>
                    <a:pt x="43" y="43"/>
                  </a:cubicBezTo>
                  <a:cubicBezTo>
                    <a:pt x="44" y="44"/>
                    <a:pt x="45" y="44"/>
                    <a:pt x="46" y="45"/>
                  </a:cubicBezTo>
                  <a:cubicBezTo>
                    <a:pt x="47" y="46"/>
                    <a:pt x="48" y="45"/>
                    <a:pt x="49" y="45"/>
                  </a:cubicBezTo>
                  <a:cubicBezTo>
                    <a:pt x="51" y="44"/>
                    <a:pt x="51" y="42"/>
                    <a:pt x="52" y="41"/>
                  </a:cubicBezTo>
                  <a:cubicBezTo>
                    <a:pt x="53" y="41"/>
                    <a:pt x="54" y="41"/>
                    <a:pt x="55" y="42"/>
                  </a:cubicBezTo>
                  <a:cubicBezTo>
                    <a:pt x="56" y="42"/>
                    <a:pt x="57" y="42"/>
                    <a:pt x="58" y="41"/>
                  </a:cubicBezTo>
                  <a:cubicBezTo>
                    <a:pt x="59" y="41"/>
                    <a:pt x="59" y="41"/>
                    <a:pt x="59" y="41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8" y="43"/>
                    <a:pt x="57" y="43"/>
                    <a:pt x="55" y="44"/>
                  </a:cubicBezTo>
                  <a:cubicBezTo>
                    <a:pt x="55" y="44"/>
                    <a:pt x="55" y="45"/>
                    <a:pt x="56" y="45"/>
                  </a:cubicBezTo>
                  <a:cubicBezTo>
                    <a:pt x="57" y="45"/>
                    <a:pt x="59" y="45"/>
                    <a:pt x="61" y="45"/>
                  </a:cubicBezTo>
                  <a:cubicBezTo>
                    <a:pt x="63" y="44"/>
                    <a:pt x="65" y="44"/>
                    <a:pt x="67" y="44"/>
                  </a:cubicBezTo>
                  <a:cubicBezTo>
                    <a:pt x="70" y="42"/>
                    <a:pt x="73" y="41"/>
                    <a:pt x="77" y="40"/>
                  </a:cubicBezTo>
                  <a:cubicBezTo>
                    <a:pt x="77" y="39"/>
                    <a:pt x="78" y="39"/>
                    <a:pt x="78" y="39"/>
                  </a:cubicBezTo>
                  <a:cubicBezTo>
                    <a:pt x="79" y="39"/>
                    <a:pt x="79" y="38"/>
                    <a:pt x="80" y="38"/>
                  </a:cubicBezTo>
                  <a:cubicBezTo>
                    <a:pt x="80" y="38"/>
                    <a:pt x="80" y="38"/>
                    <a:pt x="80" y="38"/>
                  </a:cubicBezTo>
                  <a:cubicBezTo>
                    <a:pt x="80" y="36"/>
                    <a:pt x="81" y="34"/>
                    <a:pt x="83" y="34"/>
                  </a:cubicBezTo>
                  <a:cubicBezTo>
                    <a:pt x="84" y="33"/>
                    <a:pt x="85" y="31"/>
                    <a:pt x="87" y="29"/>
                  </a:cubicBezTo>
                  <a:cubicBezTo>
                    <a:pt x="87" y="29"/>
                    <a:pt x="88" y="29"/>
                    <a:pt x="88" y="29"/>
                  </a:cubicBezTo>
                  <a:cubicBezTo>
                    <a:pt x="88" y="32"/>
                    <a:pt x="85" y="34"/>
                    <a:pt x="84" y="36"/>
                  </a:cubicBezTo>
                  <a:cubicBezTo>
                    <a:pt x="83" y="37"/>
                    <a:pt x="84" y="37"/>
                    <a:pt x="84" y="38"/>
                  </a:cubicBezTo>
                  <a:cubicBezTo>
                    <a:pt x="88" y="38"/>
                    <a:pt x="93" y="37"/>
                    <a:pt x="98" y="38"/>
                  </a:cubicBezTo>
                  <a:cubicBezTo>
                    <a:pt x="98" y="38"/>
                    <a:pt x="97" y="39"/>
                    <a:pt x="97" y="39"/>
                  </a:cubicBezTo>
                  <a:cubicBezTo>
                    <a:pt x="92" y="39"/>
                    <a:pt x="87" y="40"/>
                    <a:pt x="82" y="40"/>
                  </a:cubicBezTo>
                  <a:cubicBezTo>
                    <a:pt x="81" y="41"/>
                    <a:pt x="79" y="41"/>
                    <a:pt x="78" y="42"/>
                  </a:cubicBezTo>
                  <a:cubicBezTo>
                    <a:pt x="77" y="43"/>
                    <a:pt x="80" y="43"/>
                    <a:pt x="81" y="43"/>
                  </a:cubicBezTo>
                  <a:cubicBezTo>
                    <a:pt x="81" y="43"/>
                    <a:pt x="81" y="44"/>
                    <a:pt x="80" y="44"/>
                  </a:cubicBezTo>
                  <a:cubicBezTo>
                    <a:pt x="77" y="44"/>
                    <a:pt x="75" y="45"/>
                    <a:pt x="72" y="46"/>
                  </a:cubicBezTo>
                  <a:cubicBezTo>
                    <a:pt x="70" y="47"/>
                    <a:pt x="68" y="46"/>
                    <a:pt x="67" y="47"/>
                  </a:cubicBezTo>
                  <a:cubicBezTo>
                    <a:pt x="64" y="47"/>
                    <a:pt x="60" y="47"/>
                    <a:pt x="58" y="47"/>
                  </a:cubicBezTo>
                  <a:cubicBezTo>
                    <a:pt x="57" y="48"/>
                    <a:pt x="58" y="49"/>
                    <a:pt x="58" y="49"/>
                  </a:cubicBezTo>
                  <a:cubicBezTo>
                    <a:pt x="59" y="50"/>
                    <a:pt x="60" y="50"/>
                    <a:pt x="61" y="51"/>
                  </a:cubicBezTo>
                  <a:cubicBezTo>
                    <a:pt x="62" y="52"/>
                    <a:pt x="62" y="53"/>
                    <a:pt x="63" y="54"/>
                  </a:cubicBezTo>
                  <a:cubicBezTo>
                    <a:pt x="64" y="54"/>
                    <a:pt x="64" y="55"/>
                    <a:pt x="65" y="55"/>
                  </a:cubicBezTo>
                  <a:cubicBezTo>
                    <a:pt x="69" y="56"/>
                    <a:pt x="73" y="55"/>
                    <a:pt x="77" y="55"/>
                  </a:cubicBezTo>
                  <a:cubicBezTo>
                    <a:pt x="77" y="55"/>
                    <a:pt x="78" y="56"/>
                    <a:pt x="77" y="56"/>
                  </a:cubicBezTo>
                  <a:cubicBezTo>
                    <a:pt x="76" y="57"/>
                    <a:pt x="73" y="57"/>
                    <a:pt x="71" y="58"/>
                  </a:cubicBezTo>
                  <a:cubicBezTo>
                    <a:pt x="71" y="58"/>
                    <a:pt x="70" y="58"/>
                    <a:pt x="70" y="58"/>
                  </a:cubicBezTo>
                  <a:cubicBezTo>
                    <a:pt x="67" y="58"/>
                    <a:pt x="64" y="59"/>
                    <a:pt x="62" y="57"/>
                  </a:cubicBezTo>
                  <a:cubicBezTo>
                    <a:pt x="61" y="56"/>
                    <a:pt x="61" y="55"/>
                    <a:pt x="61" y="54"/>
                  </a:cubicBezTo>
                  <a:cubicBezTo>
                    <a:pt x="60" y="53"/>
                    <a:pt x="60" y="52"/>
                    <a:pt x="58" y="51"/>
                  </a:cubicBezTo>
                  <a:cubicBezTo>
                    <a:pt x="58" y="51"/>
                    <a:pt x="57" y="51"/>
                    <a:pt x="56" y="50"/>
                  </a:cubicBezTo>
                  <a:cubicBezTo>
                    <a:pt x="53" y="48"/>
                    <a:pt x="50" y="48"/>
                    <a:pt x="46" y="48"/>
                  </a:cubicBezTo>
                  <a:cubicBezTo>
                    <a:pt x="43" y="47"/>
                    <a:pt x="41" y="47"/>
                    <a:pt x="38" y="48"/>
                  </a:cubicBezTo>
                  <a:cubicBezTo>
                    <a:pt x="36" y="48"/>
                    <a:pt x="37" y="50"/>
                    <a:pt x="36" y="52"/>
                  </a:cubicBezTo>
                  <a:cubicBezTo>
                    <a:pt x="36" y="52"/>
                    <a:pt x="35" y="52"/>
                    <a:pt x="35" y="53"/>
                  </a:cubicBezTo>
                  <a:cubicBezTo>
                    <a:pt x="35" y="53"/>
                    <a:pt x="35" y="54"/>
                    <a:pt x="35" y="54"/>
                  </a:cubicBezTo>
                  <a:cubicBezTo>
                    <a:pt x="38" y="56"/>
                    <a:pt x="44" y="55"/>
                    <a:pt x="45" y="60"/>
                  </a:cubicBezTo>
                  <a:cubicBezTo>
                    <a:pt x="45" y="62"/>
                    <a:pt x="47" y="62"/>
                    <a:pt x="48" y="64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49" y="64"/>
                    <a:pt x="50" y="65"/>
                    <a:pt x="51" y="65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0" y="67"/>
                    <a:pt x="49" y="67"/>
                    <a:pt x="48" y="66"/>
                  </a:cubicBezTo>
                  <a:cubicBezTo>
                    <a:pt x="45" y="66"/>
                    <a:pt x="43" y="64"/>
                    <a:pt x="40" y="66"/>
                  </a:cubicBezTo>
                  <a:cubicBezTo>
                    <a:pt x="39" y="66"/>
                    <a:pt x="41" y="68"/>
                    <a:pt x="43" y="68"/>
                  </a:cubicBezTo>
                  <a:cubicBezTo>
                    <a:pt x="46" y="69"/>
                    <a:pt x="48" y="68"/>
                    <a:pt x="52" y="69"/>
                  </a:cubicBezTo>
                  <a:cubicBezTo>
                    <a:pt x="53" y="70"/>
                    <a:pt x="54" y="70"/>
                    <a:pt x="56" y="70"/>
                  </a:cubicBezTo>
                  <a:cubicBezTo>
                    <a:pt x="57" y="69"/>
                    <a:pt x="59" y="67"/>
                    <a:pt x="61" y="68"/>
                  </a:cubicBezTo>
                  <a:cubicBezTo>
                    <a:pt x="61" y="68"/>
                    <a:pt x="60" y="69"/>
                    <a:pt x="59" y="70"/>
                  </a:cubicBezTo>
                  <a:cubicBezTo>
                    <a:pt x="57" y="70"/>
                    <a:pt x="56" y="71"/>
                    <a:pt x="54" y="72"/>
                  </a:cubicBezTo>
                  <a:cubicBezTo>
                    <a:pt x="53" y="72"/>
                    <a:pt x="52" y="72"/>
                    <a:pt x="51" y="72"/>
                  </a:cubicBezTo>
                  <a:cubicBezTo>
                    <a:pt x="47" y="71"/>
                    <a:pt x="44" y="70"/>
                    <a:pt x="40" y="69"/>
                  </a:cubicBezTo>
                  <a:cubicBezTo>
                    <a:pt x="38" y="68"/>
                    <a:pt x="36" y="69"/>
                    <a:pt x="35" y="70"/>
                  </a:cubicBezTo>
                  <a:cubicBezTo>
                    <a:pt x="32" y="71"/>
                    <a:pt x="29" y="70"/>
                    <a:pt x="27" y="71"/>
                  </a:cubicBezTo>
                  <a:cubicBezTo>
                    <a:pt x="25" y="73"/>
                    <a:pt x="22" y="75"/>
                    <a:pt x="21" y="77"/>
                  </a:cubicBezTo>
                  <a:cubicBezTo>
                    <a:pt x="20" y="78"/>
                    <a:pt x="20" y="80"/>
                    <a:pt x="22" y="81"/>
                  </a:cubicBezTo>
                  <a:cubicBezTo>
                    <a:pt x="22" y="81"/>
                    <a:pt x="23" y="81"/>
                    <a:pt x="24" y="81"/>
                  </a:cubicBezTo>
                  <a:cubicBezTo>
                    <a:pt x="25" y="81"/>
                    <a:pt x="26" y="79"/>
                    <a:pt x="27" y="79"/>
                  </a:cubicBezTo>
                  <a:cubicBezTo>
                    <a:pt x="27" y="78"/>
                    <a:pt x="28" y="78"/>
                    <a:pt x="29" y="79"/>
                  </a:cubicBezTo>
                  <a:cubicBezTo>
                    <a:pt x="29" y="79"/>
                    <a:pt x="29" y="80"/>
                    <a:pt x="30" y="80"/>
                  </a:cubicBezTo>
                  <a:cubicBezTo>
                    <a:pt x="31" y="81"/>
                    <a:pt x="33" y="80"/>
                    <a:pt x="34" y="80"/>
                  </a:cubicBezTo>
                  <a:cubicBezTo>
                    <a:pt x="36" y="79"/>
                    <a:pt x="36" y="77"/>
                    <a:pt x="37" y="76"/>
                  </a:cubicBezTo>
                  <a:cubicBezTo>
                    <a:pt x="37" y="76"/>
                    <a:pt x="38" y="76"/>
                    <a:pt x="38" y="76"/>
                  </a:cubicBezTo>
                  <a:cubicBezTo>
                    <a:pt x="38" y="76"/>
                    <a:pt x="38" y="77"/>
                    <a:pt x="38" y="78"/>
                  </a:cubicBezTo>
                  <a:cubicBezTo>
                    <a:pt x="37" y="80"/>
                    <a:pt x="34" y="81"/>
                    <a:pt x="33" y="83"/>
                  </a:cubicBezTo>
                  <a:cubicBezTo>
                    <a:pt x="32" y="85"/>
                    <a:pt x="33" y="88"/>
                    <a:pt x="36" y="89"/>
                  </a:cubicBezTo>
                  <a:cubicBezTo>
                    <a:pt x="37" y="89"/>
                    <a:pt x="38" y="90"/>
                    <a:pt x="39" y="90"/>
                  </a:cubicBezTo>
                  <a:cubicBezTo>
                    <a:pt x="45" y="92"/>
                    <a:pt x="48" y="86"/>
                    <a:pt x="52" y="83"/>
                  </a:cubicBezTo>
                  <a:cubicBezTo>
                    <a:pt x="52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4"/>
                  </a:cubicBezTo>
                  <a:cubicBezTo>
                    <a:pt x="51" y="86"/>
                    <a:pt x="49" y="88"/>
                    <a:pt x="47" y="90"/>
                  </a:cubicBezTo>
                  <a:cubicBezTo>
                    <a:pt x="46" y="91"/>
                    <a:pt x="44" y="91"/>
                    <a:pt x="43" y="92"/>
                  </a:cubicBezTo>
                  <a:cubicBezTo>
                    <a:pt x="40" y="93"/>
                    <a:pt x="38" y="93"/>
                    <a:pt x="36" y="92"/>
                  </a:cubicBezTo>
                  <a:cubicBezTo>
                    <a:pt x="34" y="92"/>
                    <a:pt x="32" y="91"/>
                    <a:pt x="30" y="90"/>
                  </a:cubicBezTo>
                  <a:cubicBezTo>
                    <a:pt x="28" y="89"/>
                    <a:pt x="28" y="87"/>
                    <a:pt x="28" y="86"/>
                  </a:cubicBezTo>
                  <a:cubicBezTo>
                    <a:pt x="26" y="83"/>
                    <a:pt x="23" y="84"/>
                    <a:pt x="20" y="84"/>
                  </a:cubicBezTo>
                  <a:cubicBezTo>
                    <a:pt x="18" y="85"/>
                    <a:pt x="16" y="85"/>
                    <a:pt x="14" y="86"/>
                  </a:cubicBezTo>
                  <a:cubicBezTo>
                    <a:pt x="14" y="88"/>
                    <a:pt x="15" y="90"/>
                    <a:pt x="16" y="92"/>
                  </a:cubicBezTo>
                  <a:cubicBezTo>
                    <a:pt x="18" y="92"/>
                    <a:pt x="19" y="92"/>
                    <a:pt x="20" y="93"/>
                  </a:cubicBezTo>
                  <a:cubicBezTo>
                    <a:pt x="21" y="93"/>
                    <a:pt x="21" y="95"/>
                    <a:pt x="20" y="95"/>
                  </a:cubicBezTo>
                  <a:cubicBezTo>
                    <a:pt x="18" y="95"/>
                    <a:pt x="16" y="95"/>
                    <a:pt x="15" y="95"/>
                  </a:cubicBezTo>
                  <a:cubicBezTo>
                    <a:pt x="11" y="97"/>
                    <a:pt x="7" y="96"/>
                    <a:pt x="3" y="98"/>
                  </a:cubicBezTo>
                  <a:cubicBezTo>
                    <a:pt x="1" y="98"/>
                    <a:pt x="0" y="99"/>
                    <a:pt x="0" y="101"/>
                  </a:cubicBezTo>
                  <a:cubicBezTo>
                    <a:pt x="0" y="102"/>
                    <a:pt x="0" y="104"/>
                    <a:pt x="0" y="105"/>
                  </a:cubicBezTo>
                  <a:cubicBezTo>
                    <a:pt x="1" y="105"/>
                    <a:pt x="2" y="105"/>
                    <a:pt x="3" y="105"/>
                  </a:cubicBezTo>
                  <a:cubicBezTo>
                    <a:pt x="5" y="104"/>
                    <a:pt x="7" y="105"/>
                    <a:pt x="7" y="107"/>
                  </a:cubicBezTo>
                  <a:cubicBezTo>
                    <a:pt x="9" y="108"/>
                    <a:pt x="10" y="106"/>
                    <a:pt x="12" y="105"/>
                  </a:cubicBezTo>
                  <a:cubicBezTo>
                    <a:pt x="13" y="105"/>
                    <a:pt x="14" y="106"/>
                    <a:pt x="15" y="107"/>
                  </a:cubicBezTo>
                  <a:cubicBezTo>
                    <a:pt x="15" y="108"/>
                    <a:pt x="16" y="108"/>
                    <a:pt x="16" y="107"/>
                  </a:cubicBezTo>
                  <a:cubicBezTo>
                    <a:pt x="17" y="107"/>
                    <a:pt x="17" y="106"/>
                    <a:pt x="18" y="106"/>
                  </a:cubicBezTo>
                  <a:cubicBezTo>
                    <a:pt x="19" y="106"/>
                    <a:pt x="20" y="106"/>
                    <a:pt x="21" y="106"/>
                  </a:cubicBezTo>
                  <a:cubicBezTo>
                    <a:pt x="23" y="107"/>
                    <a:pt x="24" y="108"/>
                    <a:pt x="26" y="109"/>
                  </a:cubicBezTo>
                  <a:cubicBezTo>
                    <a:pt x="26" y="109"/>
                    <a:pt x="27" y="109"/>
                    <a:pt x="27" y="109"/>
                  </a:cubicBezTo>
                  <a:cubicBezTo>
                    <a:pt x="29" y="108"/>
                    <a:pt x="30" y="109"/>
                    <a:pt x="31" y="108"/>
                  </a:cubicBezTo>
                  <a:cubicBezTo>
                    <a:pt x="31" y="107"/>
                    <a:pt x="31" y="106"/>
                    <a:pt x="31" y="105"/>
                  </a:cubicBezTo>
                  <a:cubicBezTo>
                    <a:pt x="32" y="104"/>
                    <a:pt x="33" y="105"/>
                    <a:pt x="34" y="106"/>
                  </a:cubicBezTo>
                  <a:cubicBezTo>
                    <a:pt x="34" y="106"/>
                    <a:pt x="35" y="107"/>
                    <a:pt x="36" y="106"/>
                  </a:cubicBezTo>
                  <a:cubicBezTo>
                    <a:pt x="36" y="106"/>
                    <a:pt x="36" y="105"/>
                    <a:pt x="36" y="105"/>
                  </a:cubicBezTo>
                  <a:cubicBezTo>
                    <a:pt x="37" y="105"/>
                    <a:pt x="38" y="106"/>
                    <a:pt x="38" y="106"/>
                  </a:cubicBezTo>
                  <a:cubicBezTo>
                    <a:pt x="39" y="107"/>
                    <a:pt x="40" y="107"/>
                    <a:pt x="41" y="106"/>
                  </a:cubicBezTo>
                  <a:cubicBezTo>
                    <a:pt x="41" y="106"/>
                    <a:pt x="42" y="105"/>
                    <a:pt x="42" y="105"/>
                  </a:cubicBezTo>
                  <a:cubicBezTo>
                    <a:pt x="43" y="105"/>
                    <a:pt x="44" y="105"/>
                    <a:pt x="45" y="106"/>
                  </a:cubicBezTo>
                  <a:cubicBezTo>
                    <a:pt x="46" y="106"/>
                    <a:pt x="47" y="106"/>
                    <a:pt x="48" y="106"/>
                  </a:cubicBezTo>
                  <a:cubicBezTo>
                    <a:pt x="49" y="105"/>
                    <a:pt x="50" y="104"/>
                    <a:pt x="50" y="103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1" y="104"/>
                    <a:pt x="52" y="105"/>
                    <a:pt x="52" y="106"/>
                  </a:cubicBezTo>
                  <a:cubicBezTo>
                    <a:pt x="53" y="107"/>
                    <a:pt x="55" y="105"/>
                    <a:pt x="56" y="106"/>
                  </a:cubicBezTo>
                  <a:cubicBezTo>
                    <a:pt x="57" y="107"/>
                    <a:pt x="57" y="108"/>
                    <a:pt x="58" y="108"/>
                  </a:cubicBezTo>
                  <a:cubicBezTo>
                    <a:pt x="60" y="108"/>
                    <a:pt x="63" y="109"/>
                    <a:pt x="65" y="108"/>
                  </a:cubicBezTo>
                  <a:cubicBezTo>
                    <a:pt x="66" y="107"/>
                    <a:pt x="68" y="107"/>
                    <a:pt x="69" y="106"/>
                  </a:cubicBezTo>
                  <a:cubicBezTo>
                    <a:pt x="70" y="105"/>
                    <a:pt x="71" y="106"/>
                    <a:pt x="72" y="107"/>
                  </a:cubicBezTo>
                  <a:cubicBezTo>
                    <a:pt x="72" y="107"/>
                    <a:pt x="73" y="107"/>
                    <a:pt x="73" y="107"/>
                  </a:cubicBezTo>
                  <a:cubicBezTo>
                    <a:pt x="74" y="107"/>
                    <a:pt x="74" y="106"/>
                    <a:pt x="74" y="105"/>
                  </a:cubicBezTo>
                  <a:cubicBezTo>
                    <a:pt x="78" y="104"/>
                    <a:pt x="80" y="101"/>
                    <a:pt x="80" y="97"/>
                  </a:cubicBezTo>
                  <a:cubicBezTo>
                    <a:pt x="78" y="97"/>
                    <a:pt x="76" y="99"/>
                    <a:pt x="75" y="100"/>
                  </a:cubicBezTo>
                  <a:cubicBezTo>
                    <a:pt x="74" y="100"/>
                    <a:pt x="72" y="100"/>
                    <a:pt x="72" y="99"/>
                  </a:cubicBezTo>
                  <a:cubicBezTo>
                    <a:pt x="71" y="98"/>
                    <a:pt x="72" y="97"/>
                    <a:pt x="72" y="96"/>
                  </a:cubicBezTo>
                  <a:cubicBezTo>
                    <a:pt x="73" y="96"/>
                    <a:pt x="73" y="95"/>
                    <a:pt x="72" y="95"/>
                  </a:cubicBezTo>
                  <a:cubicBezTo>
                    <a:pt x="71" y="94"/>
                    <a:pt x="70" y="94"/>
                    <a:pt x="69" y="93"/>
                  </a:cubicBezTo>
                  <a:cubicBezTo>
                    <a:pt x="66" y="93"/>
                    <a:pt x="63" y="93"/>
                    <a:pt x="60" y="93"/>
                  </a:cubicBezTo>
                  <a:cubicBezTo>
                    <a:pt x="58" y="94"/>
                    <a:pt x="56" y="94"/>
                    <a:pt x="55" y="94"/>
                  </a:cubicBezTo>
                  <a:cubicBezTo>
                    <a:pt x="55" y="94"/>
                    <a:pt x="55" y="93"/>
                    <a:pt x="55" y="93"/>
                  </a:cubicBezTo>
                  <a:cubicBezTo>
                    <a:pt x="55" y="93"/>
                    <a:pt x="56" y="92"/>
                    <a:pt x="57" y="92"/>
                  </a:cubicBezTo>
                  <a:cubicBezTo>
                    <a:pt x="63" y="92"/>
                    <a:pt x="70" y="93"/>
                    <a:pt x="76" y="92"/>
                  </a:cubicBezTo>
                  <a:cubicBezTo>
                    <a:pt x="78" y="92"/>
                    <a:pt x="80" y="91"/>
                    <a:pt x="81" y="89"/>
                  </a:cubicBezTo>
                  <a:cubicBezTo>
                    <a:pt x="81" y="88"/>
                    <a:pt x="81" y="87"/>
                    <a:pt x="82" y="85"/>
                  </a:cubicBezTo>
                  <a:cubicBezTo>
                    <a:pt x="82" y="85"/>
                    <a:pt x="82" y="84"/>
                    <a:pt x="83" y="84"/>
                  </a:cubicBezTo>
                  <a:cubicBezTo>
                    <a:pt x="84" y="84"/>
                    <a:pt x="85" y="84"/>
                    <a:pt x="86" y="84"/>
                  </a:cubicBezTo>
                  <a:cubicBezTo>
                    <a:pt x="88" y="84"/>
                    <a:pt x="89" y="84"/>
                    <a:pt x="91" y="83"/>
                  </a:cubicBezTo>
                  <a:cubicBezTo>
                    <a:pt x="92" y="82"/>
                    <a:pt x="94" y="83"/>
                    <a:pt x="96" y="83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6" y="81"/>
                    <a:pt x="95" y="80"/>
                    <a:pt x="94" y="80"/>
                  </a:cubicBezTo>
                  <a:cubicBezTo>
                    <a:pt x="94" y="79"/>
                    <a:pt x="93" y="79"/>
                    <a:pt x="92" y="79"/>
                  </a:cubicBezTo>
                  <a:cubicBezTo>
                    <a:pt x="92" y="79"/>
                    <a:pt x="92" y="79"/>
                    <a:pt x="92" y="79"/>
                  </a:cubicBezTo>
                  <a:cubicBezTo>
                    <a:pt x="96" y="78"/>
                    <a:pt x="98" y="79"/>
                    <a:pt x="101" y="78"/>
                  </a:cubicBezTo>
                  <a:cubicBezTo>
                    <a:pt x="101" y="78"/>
                    <a:pt x="102" y="77"/>
                    <a:pt x="101" y="77"/>
                  </a:cubicBezTo>
                  <a:cubicBezTo>
                    <a:pt x="101" y="77"/>
                    <a:pt x="101" y="77"/>
                    <a:pt x="100" y="77"/>
                  </a:cubicBezTo>
                  <a:cubicBezTo>
                    <a:pt x="99" y="76"/>
                    <a:pt x="98" y="76"/>
                    <a:pt x="97" y="75"/>
                  </a:cubicBezTo>
                  <a:cubicBezTo>
                    <a:pt x="96" y="75"/>
                    <a:pt x="96" y="74"/>
                    <a:pt x="97" y="74"/>
                  </a:cubicBezTo>
                  <a:cubicBezTo>
                    <a:pt x="99" y="74"/>
                    <a:pt x="101" y="74"/>
                    <a:pt x="103" y="73"/>
                  </a:cubicBezTo>
                  <a:cubicBezTo>
                    <a:pt x="104" y="73"/>
                    <a:pt x="104" y="73"/>
                    <a:pt x="104" y="72"/>
                  </a:cubicBezTo>
                  <a:cubicBezTo>
                    <a:pt x="105" y="71"/>
                    <a:pt x="105" y="69"/>
                    <a:pt x="104" y="68"/>
                  </a:cubicBezTo>
                  <a:cubicBezTo>
                    <a:pt x="103" y="68"/>
                    <a:pt x="101" y="69"/>
                    <a:pt x="99" y="68"/>
                  </a:cubicBezTo>
                  <a:cubicBezTo>
                    <a:pt x="98" y="67"/>
                    <a:pt x="96" y="66"/>
                    <a:pt x="96" y="64"/>
                  </a:cubicBezTo>
                  <a:cubicBezTo>
                    <a:pt x="95" y="63"/>
                    <a:pt x="95" y="63"/>
                    <a:pt x="96" y="62"/>
                  </a:cubicBezTo>
                  <a:cubicBezTo>
                    <a:pt x="97" y="61"/>
                    <a:pt x="99" y="61"/>
                    <a:pt x="100" y="60"/>
                  </a:cubicBezTo>
                  <a:cubicBezTo>
                    <a:pt x="101" y="59"/>
                    <a:pt x="102" y="60"/>
                    <a:pt x="103" y="60"/>
                  </a:cubicBezTo>
                  <a:cubicBezTo>
                    <a:pt x="106" y="61"/>
                    <a:pt x="108" y="61"/>
                    <a:pt x="111" y="60"/>
                  </a:cubicBezTo>
                  <a:cubicBezTo>
                    <a:pt x="113" y="60"/>
                    <a:pt x="115" y="60"/>
                    <a:pt x="116" y="59"/>
                  </a:cubicBezTo>
                  <a:cubicBezTo>
                    <a:pt x="116" y="58"/>
                    <a:pt x="115" y="56"/>
                    <a:pt x="116" y="55"/>
                  </a:cubicBezTo>
                  <a:cubicBezTo>
                    <a:pt x="116" y="55"/>
                    <a:pt x="117" y="55"/>
                    <a:pt x="118" y="55"/>
                  </a:cubicBezTo>
                  <a:cubicBezTo>
                    <a:pt x="119" y="56"/>
                    <a:pt x="120" y="57"/>
                    <a:pt x="121" y="57"/>
                  </a:cubicBezTo>
                  <a:cubicBezTo>
                    <a:pt x="123" y="58"/>
                    <a:pt x="126" y="58"/>
                    <a:pt x="128" y="57"/>
                  </a:cubicBezTo>
                  <a:cubicBezTo>
                    <a:pt x="131" y="56"/>
                    <a:pt x="133" y="54"/>
                    <a:pt x="135" y="51"/>
                  </a:cubicBezTo>
                  <a:cubicBezTo>
                    <a:pt x="135" y="50"/>
                    <a:pt x="136" y="49"/>
                    <a:pt x="136" y="49"/>
                  </a:cubicBezTo>
                  <a:cubicBezTo>
                    <a:pt x="139" y="47"/>
                    <a:pt x="143" y="47"/>
                    <a:pt x="146" y="46"/>
                  </a:cubicBezTo>
                  <a:cubicBezTo>
                    <a:pt x="147" y="46"/>
                    <a:pt x="147" y="45"/>
                    <a:pt x="148" y="45"/>
                  </a:cubicBezTo>
                  <a:cubicBezTo>
                    <a:pt x="150" y="43"/>
                    <a:pt x="152" y="41"/>
                    <a:pt x="154" y="40"/>
                  </a:cubicBezTo>
                  <a:cubicBezTo>
                    <a:pt x="157" y="38"/>
                    <a:pt x="160" y="38"/>
                    <a:pt x="162" y="37"/>
                  </a:cubicBezTo>
                  <a:cubicBezTo>
                    <a:pt x="165" y="36"/>
                    <a:pt x="167" y="34"/>
                    <a:pt x="170" y="33"/>
                  </a:cubicBezTo>
                  <a:cubicBezTo>
                    <a:pt x="172" y="32"/>
                    <a:pt x="174" y="33"/>
                    <a:pt x="176" y="32"/>
                  </a:cubicBezTo>
                  <a:cubicBezTo>
                    <a:pt x="177" y="31"/>
                    <a:pt x="179" y="30"/>
                    <a:pt x="180" y="29"/>
                  </a:cubicBezTo>
                  <a:cubicBezTo>
                    <a:pt x="181" y="29"/>
                    <a:pt x="181" y="28"/>
                    <a:pt x="180" y="28"/>
                  </a:cubicBezTo>
                  <a:cubicBezTo>
                    <a:pt x="179" y="26"/>
                    <a:pt x="177" y="27"/>
                    <a:pt x="175" y="27"/>
                  </a:cubicBezTo>
                  <a:cubicBezTo>
                    <a:pt x="175" y="28"/>
                    <a:pt x="174" y="28"/>
                    <a:pt x="174" y="28"/>
                  </a:cubicBezTo>
                  <a:cubicBezTo>
                    <a:pt x="168" y="29"/>
                    <a:pt x="164" y="30"/>
                    <a:pt x="159" y="32"/>
                  </a:cubicBezTo>
                  <a:cubicBezTo>
                    <a:pt x="157" y="33"/>
                    <a:pt x="155" y="33"/>
                    <a:pt x="153" y="33"/>
                  </a:cubicBezTo>
                  <a:cubicBezTo>
                    <a:pt x="151" y="34"/>
                    <a:pt x="148" y="33"/>
                    <a:pt x="145" y="33"/>
                  </a:cubicBezTo>
                  <a:cubicBezTo>
                    <a:pt x="145" y="33"/>
                    <a:pt x="145" y="32"/>
                    <a:pt x="145" y="32"/>
                  </a:cubicBezTo>
                  <a:cubicBezTo>
                    <a:pt x="150" y="32"/>
                    <a:pt x="154" y="32"/>
                    <a:pt x="158" y="30"/>
                  </a:cubicBezTo>
                  <a:cubicBezTo>
                    <a:pt x="159" y="30"/>
                    <a:pt x="159" y="28"/>
                    <a:pt x="160" y="27"/>
                  </a:cubicBezTo>
                  <a:cubicBezTo>
                    <a:pt x="162" y="26"/>
                    <a:pt x="164" y="27"/>
                    <a:pt x="166" y="27"/>
                  </a:cubicBezTo>
                  <a:cubicBezTo>
                    <a:pt x="166" y="26"/>
                    <a:pt x="166" y="26"/>
                    <a:pt x="167" y="26"/>
                  </a:cubicBezTo>
                  <a:cubicBezTo>
                    <a:pt x="169" y="25"/>
                    <a:pt x="171" y="26"/>
                    <a:pt x="173" y="25"/>
                  </a:cubicBezTo>
                  <a:cubicBezTo>
                    <a:pt x="176" y="24"/>
                    <a:pt x="179" y="25"/>
                    <a:pt x="182" y="25"/>
                  </a:cubicBezTo>
                  <a:cubicBezTo>
                    <a:pt x="184" y="25"/>
                    <a:pt x="185" y="24"/>
                    <a:pt x="187" y="23"/>
                  </a:cubicBezTo>
                  <a:cubicBezTo>
                    <a:pt x="189" y="23"/>
                    <a:pt x="192" y="22"/>
                    <a:pt x="194" y="21"/>
                  </a:cubicBezTo>
                  <a:cubicBezTo>
                    <a:pt x="197" y="21"/>
                    <a:pt x="198" y="19"/>
                    <a:pt x="201" y="18"/>
                  </a:cubicBezTo>
                  <a:cubicBezTo>
                    <a:pt x="202" y="17"/>
                    <a:pt x="204" y="17"/>
                    <a:pt x="205" y="16"/>
                  </a:cubicBezTo>
                  <a:cubicBezTo>
                    <a:pt x="205" y="15"/>
                    <a:pt x="205" y="14"/>
                    <a:pt x="205" y="13"/>
                  </a:cubicBezTo>
                  <a:cubicBezTo>
                    <a:pt x="204" y="13"/>
                    <a:pt x="202" y="12"/>
                    <a:pt x="201" y="12"/>
                  </a:cubicBezTo>
                  <a:cubicBezTo>
                    <a:pt x="199" y="12"/>
                    <a:pt x="197" y="11"/>
                    <a:pt x="196" y="12"/>
                  </a:cubicBezTo>
                  <a:cubicBezTo>
                    <a:pt x="195" y="12"/>
                    <a:pt x="195" y="13"/>
                    <a:pt x="195" y="13"/>
                  </a:cubicBezTo>
                  <a:cubicBezTo>
                    <a:pt x="194" y="13"/>
                    <a:pt x="193" y="13"/>
                    <a:pt x="192" y="12"/>
                  </a:cubicBezTo>
                  <a:cubicBezTo>
                    <a:pt x="192" y="12"/>
                    <a:pt x="192" y="11"/>
                    <a:pt x="192" y="10"/>
                  </a:cubicBezTo>
                  <a:cubicBezTo>
                    <a:pt x="192" y="9"/>
                    <a:pt x="191" y="9"/>
                    <a:pt x="191" y="8"/>
                  </a:cubicBezTo>
                  <a:cubicBezTo>
                    <a:pt x="190" y="7"/>
                    <a:pt x="190" y="7"/>
                    <a:pt x="189" y="7"/>
                  </a:cubicBezTo>
                  <a:cubicBezTo>
                    <a:pt x="188" y="6"/>
                    <a:pt x="187" y="7"/>
                    <a:pt x="186" y="6"/>
                  </a:cubicBezTo>
                  <a:cubicBezTo>
                    <a:pt x="185" y="6"/>
                    <a:pt x="185" y="4"/>
                    <a:pt x="184" y="4"/>
                  </a:cubicBezTo>
                  <a:cubicBezTo>
                    <a:pt x="183" y="4"/>
                    <a:pt x="181" y="4"/>
                    <a:pt x="180" y="4"/>
                  </a:cubicBezTo>
                  <a:cubicBezTo>
                    <a:pt x="177" y="7"/>
                    <a:pt x="173" y="8"/>
                    <a:pt x="169" y="8"/>
                  </a:cubicBezTo>
                  <a:cubicBezTo>
                    <a:pt x="165" y="10"/>
                    <a:pt x="161" y="10"/>
                    <a:pt x="157" y="9"/>
                  </a:cubicBezTo>
                  <a:cubicBezTo>
                    <a:pt x="158" y="7"/>
                    <a:pt x="161" y="7"/>
                    <a:pt x="163" y="6"/>
                  </a:cubicBezTo>
                  <a:cubicBezTo>
                    <a:pt x="164" y="6"/>
                    <a:pt x="164" y="6"/>
                    <a:pt x="165" y="6"/>
                  </a:cubicBezTo>
                  <a:cubicBezTo>
                    <a:pt x="166" y="5"/>
                    <a:pt x="167" y="5"/>
                    <a:pt x="169" y="5"/>
                  </a:cubicBezTo>
                  <a:cubicBezTo>
                    <a:pt x="169" y="5"/>
                    <a:pt x="170" y="4"/>
                    <a:pt x="169" y="4"/>
                  </a:cubicBezTo>
                  <a:cubicBezTo>
                    <a:pt x="165" y="3"/>
                    <a:pt x="162" y="3"/>
                    <a:pt x="158" y="3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5" y="2"/>
                    <a:pt x="152" y="3"/>
                    <a:pt x="150" y="2"/>
                  </a:cubicBezTo>
                  <a:cubicBezTo>
                    <a:pt x="149" y="1"/>
                    <a:pt x="149" y="1"/>
                    <a:pt x="148" y="0"/>
                  </a:cubicBezTo>
                  <a:cubicBezTo>
                    <a:pt x="148" y="0"/>
                    <a:pt x="147" y="0"/>
                    <a:pt x="147" y="0"/>
                  </a:cubicBezTo>
                  <a:cubicBezTo>
                    <a:pt x="144" y="1"/>
                    <a:pt x="142" y="1"/>
                    <a:pt x="140" y="2"/>
                  </a:cubicBezTo>
                  <a:cubicBezTo>
                    <a:pt x="139" y="2"/>
                    <a:pt x="138" y="3"/>
                    <a:pt x="136" y="3"/>
                  </a:cubicBezTo>
                  <a:cubicBezTo>
                    <a:pt x="136" y="3"/>
                    <a:pt x="136" y="2"/>
                    <a:pt x="135" y="2"/>
                  </a:cubicBezTo>
                  <a:cubicBezTo>
                    <a:pt x="134" y="1"/>
                    <a:pt x="132" y="1"/>
                    <a:pt x="130" y="2"/>
                  </a:cubicBezTo>
                  <a:cubicBezTo>
                    <a:pt x="128" y="2"/>
                    <a:pt x="126" y="3"/>
                    <a:pt x="125" y="3"/>
                  </a:cubicBezTo>
                  <a:lnTo>
                    <a:pt x="124" y="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7" name="Freeform 24"/>
            <p:cNvSpPr>
              <a:spLocks/>
            </p:cNvSpPr>
            <p:nvPr/>
          </p:nvSpPr>
          <p:spPr bwMode="auto">
            <a:xfrm>
              <a:off x="5995002" y="4363627"/>
              <a:ext cx="93520" cy="57412"/>
            </a:xfrm>
            <a:custGeom>
              <a:avLst/>
              <a:gdLst>
                <a:gd name="T0" fmla="*/ 56252775 w 70"/>
                <a:gd name="T1" fmla="*/ 31159019 h 53"/>
                <a:gd name="T2" fmla="*/ 62755092 w 70"/>
                <a:gd name="T3" fmla="*/ 28373247 h 53"/>
                <a:gd name="T4" fmla="*/ 59010782 w 70"/>
                <a:gd name="T5" fmla="*/ 24879587 h 53"/>
                <a:gd name="T6" fmla="*/ 57074267 w 70"/>
                <a:gd name="T7" fmla="*/ 28373247 h 53"/>
                <a:gd name="T8" fmla="*/ 52779479 w 70"/>
                <a:gd name="T9" fmla="*/ 24879587 h 53"/>
                <a:gd name="T10" fmla="*/ 53606553 w 70"/>
                <a:gd name="T11" fmla="*/ 22068928 h 53"/>
                <a:gd name="T12" fmla="*/ 50835950 w 70"/>
                <a:gd name="T13" fmla="*/ 19431358 h 53"/>
                <a:gd name="T14" fmla="*/ 51656725 w 70"/>
                <a:gd name="T15" fmla="*/ 15523547 h 53"/>
                <a:gd name="T16" fmla="*/ 48187729 w 70"/>
                <a:gd name="T17" fmla="*/ 18314169 h 53"/>
                <a:gd name="T18" fmla="*/ 45420332 w 70"/>
                <a:gd name="T19" fmla="*/ 17483434 h 53"/>
                <a:gd name="T20" fmla="*/ 43481667 w 70"/>
                <a:gd name="T21" fmla="*/ 13691982 h 53"/>
                <a:gd name="T22" fmla="*/ 32648159 w 70"/>
                <a:gd name="T23" fmla="*/ 3493293 h 53"/>
                <a:gd name="T24" fmla="*/ 16148472 w 70"/>
                <a:gd name="T25" fmla="*/ 0 h 53"/>
                <a:gd name="T26" fmla="*/ 17326119 w 70"/>
                <a:gd name="T27" fmla="*/ 3493293 h 53"/>
                <a:gd name="T28" fmla="*/ 24685149 w 70"/>
                <a:gd name="T29" fmla="*/ 3493293 h 53"/>
                <a:gd name="T30" fmla="*/ 18797730 w 70"/>
                <a:gd name="T31" fmla="*/ 5453100 h 53"/>
                <a:gd name="T32" fmla="*/ 10823095 w 70"/>
                <a:gd name="T33" fmla="*/ 6581986 h 53"/>
                <a:gd name="T34" fmla="*/ 9969093 w 70"/>
                <a:gd name="T35" fmla="*/ 10075275 h 53"/>
                <a:gd name="T36" fmla="*/ 16148472 w 70"/>
                <a:gd name="T37" fmla="*/ 12861086 h 53"/>
                <a:gd name="T38" fmla="*/ 14713180 w 70"/>
                <a:gd name="T39" fmla="*/ 13691982 h 53"/>
                <a:gd name="T40" fmla="*/ 6241959 w 70"/>
                <a:gd name="T41" fmla="*/ 12861086 h 53"/>
                <a:gd name="T42" fmla="*/ 3383249 w 70"/>
                <a:gd name="T43" fmla="*/ 14809151 h 53"/>
                <a:gd name="T44" fmla="*/ 1947959 w 70"/>
                <a:gd name="T45" fmla="*/ 17483434 h 53"/>
                <a:gd name="T46" fmla="*/ 9969093 w 70"/>
                <a:gd name="T47" fmla="*/ 19431358 h 53"/>
                <a:gd name="T48" fmla="*/ 1947959 w 70"/>
                <a:gd name="T49" fmla="*/ 19431358 h 53"/>
                <a:gd name="T50" fmla="*/ 0 w 70"/>
                <a:gd name="T51" fmla="*/ 20975834 h 53"/>
                <a:gd name="T52" fmla="*/ 9969093 w 70"/>
                <a:gd name="T53" fmla="*/ 24879587 h 53"/>
                <a:gd name="T54" fmla="*/ 3383249 w 70"/>
                <a:gd name="T55" fmla="*/ 28373247 h 53"/>
                <a:gd name="T56" fmla="*/ 12766087 w 70"/>
                <a:gd name="T57" fmla="*/ 28373247 h 53"/>
                <a:gd name="T58" fmla="*/ 23498564 w 70"/>
                <a:gd name="T59" fmla="*/ 28373247 h 53"/>
                <a:gd name="T60" fmla="*/ 18797730 w 70"/>
                <a:gd name="T61" fmla="*/ 31159019 h 53"/>
                <a:gd name="T62" fmla="*/ 13592425 w 70"/>
                <a:gd name="T63" fmla="*/ 33735471 h 53"/>
                <a:gd name="T64" fmla="*/ 10823095 w 70"/>
                <a:gd name="T65" fmla="*/ 36612131 h 53"/>
                <a:gd name="T66" fmla="*/ 13592425 w 70"/>
                <a:gd name="T67" fmla="*/ 40380309 h 53"/>
                <a:gd name="T68" fmla="*/ 18181997 w 70"/>
                <a:gd name="T69" fmla="*/ 41234498 h 53"/>
                <a:gd name="T70" fmla="*/ 17326119 w 70"/>
                <a:gd name="T71" fmla="*/ 45138081 h 53"/>
                <a:gd name="T72" fmla="*/ 23498564 w 70"/>
                <a:gd name="T73" fmla="*/ 46596156 h 53"/>
                <a:gd name="T74" fmla="*/ 28094990 w 70"/>
                <a:gd name="T75" fmla="*/ 45138081 h 53"/>
                <a:gd name="T76" fmla="*/ 30864538 w 70"/>
                <a:gd name="T77" fmla="*/ 45828647 h 53"/>
                <a:gd name="T78" fmla="*/ 32039281 w 70"/>
                <a:gd name="T79" fmla="*/ 41974346 h 53"/>
                <a:gd name="T80" fmla="*/ 37455333 w 70"/>
                <a:gd name="T81" fmla="*/ 45828647 h 53"/>
                <a:gd name="T82" fmla="*/ 38890643 w 70"/>
                <a:gd name="T83" fmla="*/ 43193780 h 53"/>
                <a:gd name="T84" fmla="*/ 38890643 w 70"/>
                <a:gd name="T85" fmla="*/ 41234498 h 53"/>
                <a:gd name="T86" fmla="*/ 42857534 w 70"/>
                <a:gd name="T87" fmla="*/ 35781395 h 53"/>
                <a:gd name="T88" fmla="*/ 44308930 w 70"/>
                <a:gd name="T89" fmla="*/ 39183621 h 53"/>
                <a:gd name="T90" fmla="*/ 49983306 w 70"/>
                <a:gd name="T91" fmla="*/ 35781395 h 5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0"/>
                <a:gd name="T139" fmla="*/ 0 h 53"/>
                <a:gd name="T140" fmla="*/ 70 w 70"/>
                <a:gd name="T141" fmla="*/ 53 h 5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0" h="53">
                  <a:moveTo>
                    <a:pt x="57" y="38"/>
                  </a:moveTo>
                  <a:cubicBezTo>
                    <a:pt x="58" y="37"/>
                    <a:pt x="60" y="35"/>
                    <a:pt x="62" y="34"/>
                  </a:cubicBezTo>
                  <a:cubicBezTo>
                    <a:pt x="64" y="33"/>
                    <a:pt x="67" y="35"/>
                    <a:pt x="69" y="32"/>
                  </a:cubicBezTo>
                  <a:cubicBezTo>
                    <a:pt x="70" y="32"/>
                    <a:pt x="70" y="31"/>
                    <a:pt x="69" y="31"/>
                  </a:cubicBezTo>
                  <a:cubicBezTo>
                    <a:pt x="68" y="30"/>
                    <a:pt x="68" y="28"/>
                    <a:pt x="66" y="27"/>
                  </a:cubicBezTo>
                  <a:cubicBezTo>
                    <a:pt x="66" y="27"/>
                    <a:pt x="65" y="27"/>
                    <a:pt x="65" y="27"/>
                  </a:cubicBezTo>
                  <a:cubicBezTo>
                    <a:pt x="65" y="28"/>
                    <a:pt x="65" y="30"/>
                    <a:pt x="64" y="31"/>
                  </a:cubicBezTo>
                  <a:cubicBezTo>
                    <a:pt x="64" y="31"/>
                    <a:pt x="64" y="31"/>
                    <a:pt x="63" y="31"/>
                  </a:cubicBezTo>
                  <a:cubicBezTo>
                    <a:pt x="62" y="29"/>
                    <a:pt x="62" y="27"/>
                    <a:pt x="61" y="26"/>
                  </a:cubicBezTo>
                  <a:cubicBezTo>
                    <a:pt x="60" y="26"/>
                    <a:pt x="59" y="27"/>
                    <a:pt x="58" y="27"/>
                  </a:cubicBezTo>
                  <a:cubicBezTo>
                    <a:pt x="57" y="28"/>
                    <a:pt x="57" y="26"/>
                    <a:pt x="57" y="25"/>
                  </a:cubicBezTo>
                  <a:cubicBezTo>
                    <a:pt x="58" y="24"/>
                    <a:pt x="58" y="24"/>
                    <a:pt x="59" y="24"/>
                  </a:cubicBezTo>
                  <a:cubicBezTo>
                    <a:pt x="59" y="23"/>
                    <a:pt x="59" y="22"/>
                    <a:pt x="59" y="22"/>
                  </a:cubicBezTo>
                  <a:cubicBezTo>
                    <a:pt x="58" y="21"/>
                    <a:pt x="57" y="22"/>
                    <a:pt x="56" y="21"/>
                  </a:cubicBezTo>
                  <a:cubicBezTo>
                    <a:pt x="56" y="20"/>
                    <a:pt x="56" y="20"/>
                    <a:pt x="56" y="19"/>
                  </a:cubicBezTo>
                  <a:cubicBezTo>
                    <a:pt x="57" y="18"/>
                    <a:pt x="58" y="17"/>
                    <a:pt x="57" y="17"/>
                  </a:cubicBezTo>
                  <a:cubicBezTo>
                    <a:pt x="57" y="16"/>
                    <a:pt x="56" y="16"/>
                    <a:pt x="56" y="16"/>
                  </a:cubicBezTo>
                  <a:cubicBezTo>
                    <a:pt x="54" y="17"/>
                    <a:pt x="53" y="18"/>
                    <a:pt x="53" y="20"/>
                  </a:cubicBezTo>
                  <a:cubicBezTo>
                    <a:pt x="53" y="21"/>
                    <a:pt x="52" y="21"/>
                    <a:pt x="51" y="21"/>
                  </a:cubicBezTo>
                  <a:cubicBezTo>
                    <a:pt x="51" y="21"/>
                    <a:pt x="51" y="20"/>
                    <a:pt x="50" y="19"/>
                  </a:cubicBezTo>
                  <a:cubicBezTo>
                    <a:pt x="49" y="19"/>
                    <a:pt x="46" y="18"/>
                    <a:pt x="47" y="17"/>
                  </a:cubicBezTo>
                  <a:cubicBezTo>
                    <a:pt x="48" y="16"/>
                    <a:pt x="48" y="15"/>
                    <a:pt x="48" y="15"/>
                  </a:cubicBezTo>
                  <a:cubicBezTo>
                    <a:pt x="46" y="14"/>
                    <a:pt x="44" y="15"/>
                    <a:pt x="42" y="14"/>
                  </a:cubicBezTo>
                  <a:cubicBezTo>
                    <a:pt x="38" y="12"/>
                    <a:pt x="38" y="8"/>
                    <a:pt x="36" y="4"/>
                  </a:cubicBezTo>
                  <a:cubicBezTo>
                    <a:pt x="36" y="2"/>
                    <a:pt x="34" y="0"/>
                    <a:pt x="31" y="0"/>
                  </a:cubicBezTo>
                  <a:cubicBezTo>
                    <a:pt x="27" y="0"/>
                    <a:pt x="23" y="0"/>
                    <a:pt x="18" y="0"/>
                  </a:cubicBezTo>
                  <a:cubicBezTo>
                    <a:pt x="17" y="0"/>
                    <a:pt x="16" y="1"/>
                    <a:pt x="17" y="3"/>
                  </a:cubicBezTo>
                  <a:cubicBezTo>
                    <a:pt x="17" y="4"/>
                    <a:pt x="18" y="4"/>
                    <a:pt x="19" y="4"/>
                  </a:cubicBezTo>
                  <a:cubicBezTo>
                    <a:pt x="21" y="4"/>
                    <a:pt x="22" y="4"/>
                    <a:pt x="24" y="4"/>
                  </a:cubicBezTo>
                  <a:cubicBezTo>
                    <a:pt x="25" y="3"/>
                    <a:pt x="26" y="3"/>
                    <a:pt x="27" y="4"/>
                  </a:cubicBezTo>
                  <a:cubicBezTo>
                    <a:pt x="28" y="4"/>
                    <a:pt x="28" y="5"/>
                    <a:pt x="27" y="5"/>
                  </a:cubicBezTo>
                  <a:cubicBezTo>
                    <a:pt x="25" y="6"/>
                    <a:pt x="23" y="5"/>
                    <a:pt x="21" y="6"/>
                  </a:cubicBezTo>
                  <a:cubicBezTo>
                    <a:pt x="20" y="6"/>
                    <a:pt x="20" y="6"/>
                    <a:pt x="19" y="7"/>
                  </a:cubicBezTo>
                  <a:cubicBezTo>
                    <a:pt x="17" y="7"/>
                    <a:pt x="15" y="6"/>
                    <a:pt x="12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11" y="10"/>
                    <a:pt x="11" y="11"/>
                  </a:cubicBezTo>
                  <a:cubicBezTo>
                    <a:pt x="12" y="11"/>
                    <a:pt x="14" y="12"/>
                    <a:pt x="15" y="12"/>
                  </a:cubicBezTo>
                  <a:cubicBezTo>
                    <a:pt x="16" y="13"/>
                    <a:pt x="17" y="14"/>
                    <a:pt x="18" y="14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7" y="15"/>
                    <a:pt x="17" y="15"/>
                    <a:pt x="16" y="15"/>
                  </a:cubicBezTo>
                  <a:cubicBezTo>
                    <a:pt x="14" y="14"/>
                    <a:pt x="11" y="13"/>
                    <a:pt x="8" y="13"/>
                  </a:cubicBezTo>
                  <a:cubicBezTo>
                    <a:pt x="8" y="13"/>
                    <a:pt x="7" y="13"/>
                    <a:pt x="7" y="14"/>
                  </a:cubicBezTo>
                  <a:cubicBezTo>
                    <a:pt x="7" y="14"/>
                    <a:pt x="7" y="15"/>
                    <a:pt x="6" y="15"/>
                  </a:cubicBezTo>
                  <a:cubicBezTo>
                    <a:pt x="6" y="16"/>
                    <a:pt x="5" y="15"/>
                    <a:pt x="4" y="16"/>
                  </a:cubicBezTo>
                  <a:cubicBezTo>
                    <a:pt x="4" y="16"/>
                    <a:pt x="3" y="17"/>
                    <a:pt x="2" y="17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4" y="19"/>
                    <a:pt x="6" y="19"/>
                    <a:pt x="8" y="19"/>
                  </a:cubicBezTo>
                  <a:cubicBezTo>
                    <a:pt x="9" y="20"/>
                    <a:pt x="10" y="20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8" y="22"/>
                    <a:pt x="5" y="22"/>
                    <a:pt x="2" y="21"/>
                  </a:cubicBezTo>
                  <a:cubicBezTo>
                    <a:pt x="2" y="21"/>
                    <a:pt x="1" y="20"/>
                    <a:pt x="0" y="21"/>
                  </a:cubicBezTo>
                  <a:cubicBezTo>
                    <a:pt x="0" y="21"/>
                    <a:pt x="0" y="22"/>
                    <a:pt x="0" y="23"/>
                  </a:cubicBezTo>
                  <a:cubicBezTo>
                    <a:pt x="1" y="24"/>
                    <a:pt x="2" y="25"/>
                    <a:pt x="3" y="26"/>
                  </a:cubicBezTo>
                  <a:cubicBezTo>
                    <a:pt x="5" y="28"/>
                    <a:pt x="8" y="26"/>
                    <a:pt x="11" y="27"/>
                  </a:cubicBezTo>
                  <a:cubicBezTo>
                    <a:pt x="11" y="27"/>
                    <a:pt x="11" y="28"/>
                    <a:pt x="10" y="28"/>
                  </a:cubicBezTo>
                  <a:cubicBezTo>
                    <a:pt x="8" y="28"/>
                    <a:pt x="4" y="28"/>
                    <a:pt x="4" y="31"/>
                  </a:cubicBezTo>
                  <a:cubicBezTo>
                    <a:pt x="5" y="32"/>
                    <a:pt x="6" y="32"/>
                    <a:pt x="6" y="32"/>
                  </a:cubicBezTo>
                  <a:cubicBezTo>
                    <a:pt x="9" y="33"/>
                    <a:pt x="11" y="30"/>
                    <a:pt x="14" y="31"/>
                  </a:cubicBezTo>
                  <a:cubicBezTo>
                    <a:pt x="16" y="32"/>
                    <a:pt x="18" y="33"/>
                    <a:pt x="19" y="32"/>
                  </a:cubicBezTo>
                  <a:cubicBezTo>
                    <a:pt x="21" y="31"/>
                    <a:pt x="24" y="31"/>
                    <a:pt x="26" y="31"/>
                  </a:cubicBezTo>
                  <a:cubicBezTo>
                    <a:pt x="27" y="32"/>
                    <a:pt x="26" y="33"/>
                    <a:pt x="26" y="34"/>
                  </a:cubicBezTo>
                  <a:cubicBezTo>
                    <a:pt x="24" y="34"/>
                    <a:pt x="22" y="35"/>
                    <a:pt x="21" y="34"/>
                  </a:cubicBezTo>
                  <a:cubicBezTo>
                    <a:pt x="20" y="34"/>
                    <a:pt x="18" y="33"/>
                    <a:pt x="18" y="34"/>
                  </a:cubicBezTo>
                  <a:cubicBezTo>
                    <a:pt x="17" y="34"/>
                    <a:pt x="17" y="36"/>
                    <a:pt x="15" y="37"/>
                  </a:cubicBezTo>
                  <a:cubicBezTo>
                    <a:pt x="15" y="37"/>
                    <a:pt x="14" y="37"/>
                    <a:pt x="13" y="37"/>
                  </a:cubicBezTo>
                  <a:cubicBezTo>
                    <a:pt x="12" y="38"/>
                    <a:pt x="12" y="39"/>
                    <a:pt x="12" y="40"/>
                  </a:cubicBezTo>
                  <a:cubicBezTo>
                    <a:pt x="13" y="40"/>
                    <a:pt x="14" y="40"/>
                    <a:pt x="15" y="41"/>
                  </a:cubicBezTo>
                  <a:cubicBezTo>
                    <a:pt x="16" y="42"/>
                    <a:pt x="15" y="43"/>
                    <a:pt x="15" y="44"/>
                  </a:cubicBezTo>
                  <a:cubicBezTo>
                    <a:pt x="16" y="44"/>
                    <a:pt x="16" y="45"/>
                    <a:pt x="17" y="45"/>
                  </a:cubicBezTo>
                  <a:cubicBezTo>
                    <a:pt x="18" y="45"/>
                    <a:pt x="19" y="45"/>
                    <a:pt x="20" y="45"/>
                  </a:cubicBezTo>
                  <a:cubicBezTo>
                    <a:pt x="20" y="45"/>
                    <a:pt x="20" y="46"/>
                    <a:pt x="20" y="47"/>
                  </a:cubicBezTo>
                  <a:cubicBezTo>
                    <a:pt x="19" y="47"/>
                    <a:pt x="18" y="48"/>
                    <a:pt x="19" y="49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3" y="51"/>
                    <a:pt x="25" y="50"/>
                    <a:pt x="26" y="51"/>
                  </a:cubicBezTo>
                  <a:cubicBezTo>
                    <a:pt x="27" y="51"/>
                    <a:pt x="29" y="53"/>
                    <a:pt x="30" y="53"/>
                  </a:cubicBezTo>
                  <a:cubicBezTo>
                    <a:pt x="30" y="51"/>
                    <a:pt x="30" y="50"/>
                    <a:pt x="31" y="49"/>
                  </a:cubicBezTo>
                  <a:cubicBezTo>
                    <a:pt x="31" y="49"/>
                    <a:pt x="32" y="49"/>
                    <a:pt x="32" y="49"/>
                  </a:cubicBezTo>
                  <a:cubicBezTo>
                    <a:pt x="33" y="50"/>
                    <a:pt x="34" y="50"/>
                    <a:pt x="34" y="50"/>
                  </a:cubicBezTo>
                  <a:cubicBezTo>
                    <a:pt x="35" y="49"/>
                    <a:pt x="34" y="47"/>
                    <a:pt x="34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6" y="47"/>
                    <a:pt x="36" y="47"/>
                    <a:pt x="37" y="48"/>
                  </a:cubicBezTo>
                  <a:cubicBezTo>
                    <a:pt x="39" y="48"/>
                    <a:pt x="40" y="49"/>
                    <a:pt x="41" y="50"/>
                  </a:cubicBezTo>
                  <a:cubicBezTo>
                    <a:pt x="41" y="50"/>
                    <a:pt x="42" y="50"/>
                    <a:pt x="42" y="50"/>
                  </a:cubicBezTo>
                  <a:cubicBezTo>
                    <a:pt x="43" y="49"/>
                    <a:pt x="43" y="48"/>
                    <a:pt x="43" y="47"/>
                  </a:cubicBezTo>
                  <a:cubicBezTo>
                    <a:pt x="43" y="46"/>
                    <a:pt x="42" y="45"/>
                    <a:pt x="42" y="45"/>
                  </a:cubicBezTo>
                  <a:cubicBezTo>
                    <a:pt x="42" y="45"/>
                    <a:pt x="43" y="45"/>
                    <a:pt x="43" y="45"/>
                  </a:cubicBezTo>
                  <a:cubicBezTo>
                    <a:pt x="44" y="46"/>
                    <a:pt x="45" y="47"/>
                    <a:pt x="47" y="47"/>
                  </a:cubicBezTo>
                  <a:cubicBezTo>
                    <a:pt x="47" y="44"/>
                    <a:pt x="47" y="41"/>
                    <a:pt x="47" y="39"/>
                  </a:cubicBezTo>
                  <a:cubicBezTo>
                    <a:pt x="47" y="38"/>
                    <a:pt x="48" y="37"/>
                    <a:pt x="48" y="38"/>
                  </a:cubicBezTo>
                  <a:cubicBezTo>
                    <a:pt x="49" y="39"/>
                    <a:pt x="48" y="41"/>
                    <a:pt x="49" y="43"/>
                  </a:cubicBezTo>
                  <a:cubicBezTo>
                    <a:pt x="49" y="44"/>
                    <a:pt x="50" y="44"/>
                    <a:pt x="50" y="43"/>
                  </a:cubicBezTo>
                  <a:cubicBezTo>
                    <a:pt x="52" y="42"/>
                    <a:pt x="53" y="40"/>
                    <a:pt x="55" y="39"/>
                  </a:cubicBezTo>
                  <a:lnTo>
                    <a:pt x="57" y="3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8" name="Freeform 25"/>
            <p:cNvSpPr>
              <a:spLocks/>
            </p:cNvSpPr>
            <p:nvPr/>
          </p:nvSpPr>
          <p:spPr bwMode="auto">
            <a:xfrm>
              <a:off x="5962379" y="4386594"/>
              <a:ext cx="13775" cy="8460"/>
            </a:xfrm>
            <a:custGeom>
              <a:avLst/>
              <a:gdLst>
                <a:gd name="T0" fmla="*/ 8585865 w 10"/>
                <a:gd name="T1" fmla="*/ 0 h 8"/>
                <a:gd name="T2" fmla="*/ 3577445 w 10"/>
                <a:gd name="T3" fmla="*/ 0 h 8"/>
                <a:gd name="T4" fmla="*/ 1064436 w 10"/>
                <a:gd name="T5" fmla="*/ 3065115 h 8"/>
                <a:gd name="T6" fmla="*/ 6131150 w 10"/>
                <a:gd name="T7" fmla="*/ 4351847 h 8"/>
                <a:gd name="T8" fmla="*/ 8585865 w 10"/>
                <a:gd name="T9" fmla="*/ 8176458 h 8"/>
                <a:gd name="T10" fmla="*/ 9650293 w 10"/>
                <a:gd name="T11" fmla="*/ 8176458 h 8"/>
                <a:gd name="T12" fmla="*/ 12204941 w 10"/>
                <a:gd name="T13" fmla="*/ 4351847 h 8"/>
                <a:gd name="T14" fmla="*/ 12204941 w 10"/>
                <a:gd name="T15" fmla="*/ 0 h 8"/>
                <a:gd name="T16" fmla="*/ 11140513 w 10"/>
                <a:gd name="T17" fmla="*/ 0 h 8"/>
                <a:gd name="T18" fmla="*/ 8585865 w 10"/>
                <a:gd name="T19" fmla="*/ 0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8"/>
                <a:gd name="T32" fmla="*/ 10 w 10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8">
                  <a:moveTo>
                    <a:pt x="7" y="0"/>
                  </a:moveTo>
                  <a:cubicBezTo>
                    <a:pt x="6" y="0"/>
                    <a:pt x="4" y="0"/>
                    <a:pt x="3" y="0"/>
                  </a:cubicBezTo>
                  <a:cubicBezTo>
                    <a:pt x="2" y="1"/>
                    <a:pt x="0" y="2"/>
                    <a:pt x="1" y="3"/>
                  </a:cubicBezTo>
                  <a:cubicBezTo>
                    <a:pt x="2" y="4"/>
                    <a:pt x="4" y="3"/>
                    <a:pt x="5" y="4"/>
                  </a:cubicBezTo>
                  <a:cubicBezTo>
                    <a:pt x="6" y="5"/>
                    <a:pt x="6" y="7"/>
                    <a:pt x="7" y="8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9" y="7"/>
                    <a:pt x="9" y="5"/>
                    <a:pt x="10" y="4"/>
                  </a:cubicBezTo>
                  <a:cubicBezTo>
                    <a:pt x="10" y="3"/>
                    <a:pt x="10" y="1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9" name="Freeform 26"/>
            <p:cNvSpPr>
              <a:spLocks/>
            </p:cNvSpPr>
            <p:nvPr/>
          </p:nvSpPr>
          <p:spPr bwMode="auto">
            <a:xfrm>
              <a:off x="5966729" y="4404723"/>
              <a:ext cx="28998" cy="20547"/>
            </a:xfrm>
            <a:custGeom>
              <a:avLst/>
              <a:gdLst>
                <a:gd name="T0" fmla="*/ 17330086 w 22"/>
                <a:gd name="T1" fmla="*/ 7008797 h 19"/>
                <a:gd name="T2" fmla="*/ 14073923 w 22"/>
                <a:gd name="T3" fmla="*/ 5759327 h 19"/>
                <a:gd name="T4" fmla="*/ 14073923 w 22"/>
                <a:gd name="T5" fmla="*/ 3671997 h 19"/>
                <a:gd name="T6" fmla="*/ 12441464 w 22"/>
                <a:gd name="T7" fmla="*/ 2959271 h 19"/>
                <a:gd name="T8" fmla="*/ 9698926 w 22"/>
                <a:gd name="T9" fmla="*/ 2959271 h 19"/>
                <a:gd name="T10" fmla="*/ 6840539 w 22"/>
                <a:gd name="T11" fmla="*/ 865359 h 19"/>
                <a:gd name="T12" fmla="*/ 3587761 w 22"/>
                <a:gd name="T13" fmla="*/ 865359 h 19"/>
                <a:gd name="T14" fmla="*/ 849380 w 22"/>
                <a:gd name="T15" fmla="*/ 2959271 h 19"/>
                <a:gd name="T16" fmla="*/ 849380 w 22"/>
                <a:gd name="T17" fmla="*/ 3671997 h 19"/>
                <a:gd name="T18" fmla="*/ 0 w 22"/>
                <a:gd name="T19" fmla="*/ 5759327 h 19"/>
                <a:gd name="T20" fmla="*/ 0 w 22"/>
                <a:gd name="T21" fmla="*/ 8696832 h 19"/>
                <a:gd name="T22" fmla="*/ 2894074 w 22"/>
                <a:gd name="T23" fmla="*/ 10840510 h 19"/>
                <a:gd name="T24" fmla="*/ 5595820 w 22"/>
                <a:gd name="T25" fmla="*/ 10840510 h 19"/>
                <a:gd name="T26" fmla="*/ 6840539 w 22"/>
                <a:gd name="T27" fmla="*/ 12773055 h 19"/>
                <a:gd name="T28" fmla="*/ 4745295 w 22"/>
                <a:gd name="T29" fmla="*/ 12773055 h 19"/>
                <a:gd name="T30" fmla="*/ 2894074 w 22"/>
                <a:gd name="T31" fmla="*/ 11496685 h 19"/>
                <a:gd name="T32" fmla="*/ 2894074 w 22"/>
                <a:gd name="T33" fmla="*/ 13640503 h 19"/>
                <a:gd name="T34" fmla="*/ 4745295 w 22"/>
                <a:gd name="T35" fmla="*/ 16599778 h 19"/>
                <a:gd name="T36" fmla="*/ 8480159 w 22"/>
                <a:gd name="T37" fmla="*/ 16599778 h 19"/>
                <a:gd name="T38" fmla="*/ 17330086 w 22"/>
                <a:gd name="T39" fmla="*/ 15706817 h 19"/>
                <a:gd name="T40" fmla="*/ 18819602 w 22"/>
                <a:gd name="T41" fmla="*/ 13640503 h 19"/>
                <a:gd name="T42" fmla="*/ 18819602 w 22"/>
                <a:gd name="T43" fmla="*/ 10840510 h 19"/>
                <a:gd name="T44" fmla="*/ 20043998 w 22"/>
                <a:gd name="T45" fmla="*/ 8696832 h 19"/>
                <a:gd name="T46" fmla="*/ 20043998 w 22"/>
                <a:gd name="T47" fmla="*/ 7008797 h 19"/>
                <a:gd name="T48" fmla="*/ 18819602 w 22"/>
                <a:gd name="T49" fmla="*/ 7008797 h 19"/>
                <a:gd name="T50" fmla="*/ 17330086 w 22"/>
                <a:gd name="T51" fmla="*/ 7008797 h 1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2"/>
                <a:gd name="T79" fmla="*/ 0 h 19"/>
                <a:gd name="T80" fmla="*/ 22 w 22"/>
                <a:gd name="T81" fmla="*/ 19 h 1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2" h="19">
                  <a:moveTo>
                    <a:pt x="18" y="7"/>
                  </a:moveTo>
                  <a:cubicBezTo>
                    <a:pt x="17" y="7"/>
                    <a:pt x="15" y="7"/>
                    <a:pt x="15" y="6"/>
                  </a:cubicBezTo>
                  <a:cubicBezTo>
                    <a:pt x="14" y="5"/>
                    <a:pt x="15" y="5"/>
                    <a:pt x="15" y="4"/>
                  </a:cubicBezTo>
                  <a:cubicBezTo>
                    <a:pt x="14" y="3"/>
                    <a:pt x="14" y="3"/>
                    <a:pt x="13" y="3"/>
                  </a:cubicBezTo>
                  <a:cubicBezTo>
                    <a:pt x="12" y="2"/>
                    <a:pt x="11" y="3"/>
                    <a:pt x="10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6" y="0"/>
                    <a:pt x="5" y="0"/>
                    <a:pt x="4" y="1"/>
                  </a:cubicBezTo>
                  <a:cubicBezTo>
                    <a:pt x="3" y="1"/>
                    <a:pt x="2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1" y="5"/>
                    <a:pt x="0" y="6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1" y="10"/>
                    <a:pt x="2" y="10"/>
                    <a:pt x="3" y="11"/>
                  </a:cubicBezTo>
                  <a:cubicBezTo>
                    <a:pt x="4" y="11"/>
                    <a:pt x="5" y="11"/>
                    <a:pt x="6" y="11"/>
                  </a:cubicBezTo>
                  <a:cubicBezTo>
                    <a:pt x="6" y="12"/>
                    <a:pt x="8" y="13"/>
                    <a:pt x="7" y="13"/>
                  </a:cubicBezTo>
                  <a:cubicBezTo>
                    <a:pt x="7" y="14"/>
                    <a:pt x="6" y="14"/>
                    <a:pt x="5" y="13"/>
                  </a:cubicBezTo>
                  <a:cubicBezTo>
                    <a:pt x="4" y="13"/>
                    <a:pt x="3" y="12"/>
                    <a:pt x="3" y="12"/>
                  </a:cubicBezTo>
                  <a:cubicBezTo>
                    <a:pt x="3" y="13"/>
                    <a:pt x="2" y="14"/>
                    <a:pt x="3" y="14"/>
                  </a:cubicBezTo>
                  <a:cubicBezTo>
                    <a:pt x="4" y="15"/>
                    <a:pt x="5" y="16"/>
                    <a:pt x="5" y="17"/>
                  </a:cubicBezTo>
                  <a:cubicBezTo>
                    <a:pt x="6" y="19"/>
                    <a:pt x="8" y="18"/>
                    <a:pt x="9" y="17"/>
                  </a:cubicBezTo>
                  <a:cubicBezTo>
                    <a:pt x="12" y="16"/>
                    <a:pt x="15" y="17"/>
                    <a:pt x="18" y="16"/>
                  </a:cubicBezTo>
                  <a:cubicBezTo>
                    <a:pt x="19" y="16"/>
                    <a:pt x="20" y="15"/>
                    <a:pt x="20" y="14"/>
                  </a:cubicBezTo>
                  <a:cubicBezTo>
                    <a:pt x="20" y="13"/>
                    <a:pt x="20" y="12"/>
                    <a:pt x="20" y="11"/>
                  </a:cubicBezTo>
                  <a:cubicBezTo>
                    <a:pt x="21" y="10"/>
                    <a:pt x="21" y="10"/>
                    <a:pt x="21" y="9"/>
                  </a:cubicBezTo>
                  <a:cubicBezTo>
                    <a:pt x="22" y="9"/>
                    <a:pt x="22" y="7"/>
                    <a:pt x="21" y="7"/>
                  </a:cubicBezTo>
                  <a:cubicBezTo>
                    <a:pt x="21" y="6"/>
                    <a:pt x="20" y="7"/>
                    <a:pt x="20" y="7"/>
                  </a:cubicBezTo>
                  <a:lnTo>
                    <a:pt x="18" y="7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0" name="Freeform 27"/>
            <p:cNvSpPr>
              <a:spLocks/>
            </p:cNvSpPr>
            <p:nvPr/>
          </p:nvSpPr>
          <p:spPr bwMode="auto">
            <a:xfrm>
              <a:off x="5979776" y="4425270"/>
              <a:ext cx="26825" cy="5438"/>
            </a:xfrm>
            <a:custGeom>
              <a:avLst/>
              <a:gdLst>
                <a:gd name="T0" fmla="*/ 12190249 w 20"/>
                <a:gd name="T1" fmla="*/ 0 h 5"/>
                <a:gd name="T2" fmla="*/ 4391010 w 20"/>
                <a:gd name="T3" fmla="*/ 0 h 5"/>
                <a:gd name="T4" fmla="*/ 0 w 20"/>
                <a:gd name="T5" fmla="*/ 3577445 h 5"/>
                <a:gd name="T6" fmla="*/ 795113 w 20"/>
                <a:gd name="T7" fmla="*/ 5085394 h 5"/>
                <a:gd name="T8" fmla="*/ 2522523 w 20"/>
                <a:gd name="T9" fmla="*/ 6131150 h 5"/>
                <a:gd name="T10" fmla="*/ 7062610 w 20"/>
                <a:gd name="T11" fmla="*/ 6131150 h 5"/>
                <a:gd name="T12" fmla="*/ 12190249 w 20"/>
                <a:gd name="T13" fmla="*/ 6131150 h 5"/>
                <a:gd name="T14" fmla="*/ 15548153 w 20"/>
                <a:gd name="T15" fmla="*/ 6131150 h 5"/>
                <a:gd name="T16" fmla="*/ 16597127 w 20"/>
                <a:gd name="T17" fmla="*/ 0 h 5"/>
                <a:gd name="T18" fmla="*/ 14725738 w 20"/>
                <a:gd name="T19" fmla="*/ 0 h 5"/>
                <a:gd name="T20" fmla="*/ 12190249 w 20"/>
                <a:gd name="T21" fmla="*/ 0 h 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5"/>
                <a:gd name="T35" fmla="*/ 20 w 20"/>
                <a:gd name="T36" fmla="*/ 5 h 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5">
                  <a:moveTo>
                    <a:pt x="14" y="0"/>
                  </a:moveTo>
                  <a:cubicBezTo>
                    <a:pt x="11" y="0"/>
                    <a:pt x="8" y="0"/>
                    <a:pt x="5" y="0"/>
                  </a:cubicBezTo>
                  <a:cubicBezTo>
                    <a:pt x="3" y="1"/>
                    <a:pt x="2" y="2"/>
                    <a:pt x="0" y="3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2" y="4"/>
                    <a:pt x="2" y="4"/>
                    <a:pt x="3" y="5"/>
                  </a:cubicBezTo>
                  <a:cubicBezTo>
                    <a:pt x="5" y="5"/>
                    <a:pt x="6" y="5"/>
                    <a:pt x="8" y="5"/>
                  </a:cubicBezTo>
                  <a:cubicBezTo>
                    <a:pt x="10" y="4"/>
                    <a:pt x="12" y="4"/>
                    <a:pt x="14" y="5"/>
                  </a:cubicBezTo>
                  <a:cubicBezTo>
                    <a:pt x="15" y="5"/>
                    <a:pt x="17" y="5"/>
                    <a:pt x="18" y="5"/>
                  </a:cubicBezTo>
                  <a:cubicBezTo>
                    <a:pt x="20" y="4"/>
                    <a:pt x="20" y="2"/>
                    <a:pt x="19" y="0"/>
                  </a:cubicBezTo>
                  <a:cubicBezTo>
                    <a:pt x="19" y="0"/>
                    <a:pt x="18" y="0"/>
                    <a:pt x="17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1" name="Freeform 28"/>
            <p:cNvSpPr>
              <a:spLocks/>
            </p:cNvSpPr>
            <p:nvPr/>
          </p:nvSpPr>
          <p:spPr bwMode="auto">
            <a:xfrm>
              <a:off x="6023999" y="4427688"/>
              <a:ext cx="13775" cy="7253"/>
            </a:xfrm>
            <a:custGeom>
              <a:avLst/>
              <a:gdLst>
                <a:gd name="T0" fmla="*/ 8585865 w 10"/>
                <a:gd name="T1" fmla="*/ 505778 h 7"/>
                <a:gd name="T2" fmla="*/ 2554647 w 10"/>
                <a:gd name="T3" fmla="*/ 505778 h 7"/>
                <a:gd name="T4" fmla="*/ 1064436 w 10"/>
                <a:gd name="T5" fmla="*/ 2234466 h 7"/>
                <a:gd name="T6" fmla="*/ 0 w 10"/>
                <a:gd name="T7" fmla="*/ 2642432 h 7"/>
                <a:gd name="T8" fmla="*/ 5085394 w 10"/>
                <a:gd name="T9" fmla="*/ 2642432 h 7"/>
                <a:gd name="T10" fmla="*/ 8585865 w 10"/>
                <a:gd name="T11" fmla="*/ 3397424 h 7"/>
                <a:gd name="T12" fmla="*/ 9650293 w 10"/>
                <a:gd name="T13" fmla="*/ 2234466 h 7"/>
                <a:gd name="T14" fmla="*/ 11140513 w 10"/>
                <a:gd name="T15" fmla="*/ 1724631 h 7"/>
                <a:gd name="T16" fmla="*/ 11140513 w 10"/>
                <a:gd name="T17" fmla="*/ 1156064 h 7"/>
                <a:gd name="T18" fmla="*/ 8585865 w 10"/>
                <a:gd name="T19" fmla="*/ 505778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7"/>
                <a:gd name="T32" fmla="*/ 10 w 1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7">
                  <a:moveTo>
                    <a:pt x="7" y="1"/>
                  </a:moveTo>
                  <a:cubicBezTo>
                    <a:pt x="4" y="1"/>
                    <a:pt x="4" y="0"/>
                    <a:pt x="2" y="1"/>
                  </a:cubicBezTo>
                  <a:cubicBezTo>
                    <a:pt x="1" y="1"/>
                    <a:pt x="1" y="3"/>
                    <a:pt x="1" y="4"/>
                  </a:cubicBezTo>
                  <a:cubicBezTo>
                    <a:pt x="1" y="4"/>
                    <a:pt x="0" y="5"/>
                    <a:pt x="0" y="5"/>
                  </a:cubicBezTo>
                  <a:cubicBezTo>
                    <a:pt x="2" y="5"/>
                    <a:pt x="3" y="5"/>
                    <a:pt x="4" y="5"/>
                  </a:cubicBezTo>
                  <a:cubicBezTo>
                    <a:pt x="5" y="5"/>
                    <a:pt x="6" y="7"/>
                    <a:pt x="7" y="6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4"/>
                    <a:pt x="9" y="4"/>
                    <a:pt x="9" y="3"/>
                  </a:cubicBezTo>
                  <a:cubicBezTo>
                    <a:pt x="10" y="3"/>
                    <a:pt x="10" y="2"/>
                    <a:pt x="9" y="2"/>
                  </a:cubicBezTo>
                  <a:lnTo>
                    <a:pt x="7" y="1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2" name="Freeform 29"/>
            <p:cNvSpPr>
              <a:spLocks/>
            </p:cNvSpPr>
            <p:nvPr/>
          </p:nvSpPr>
          <p:spPr bwMode="auto">
            <a:xfrm>
              <a:off x="5900756" y="4398075"/>
              <a:ext cx="57273" cy="27195"/>
            </a:xfrm>
            <a:custGeom>
              <a:avLst/>
              <a:gdLst>
                <a:gd name="T0" fmla="*/ 31133610 w 43"/>
                <a:gd name="T1" fmla="*/ 9524393 h 25"/>
                <a:gd name="T2" fmla="*/ 27351777 w 43"/>
                <a:gd name="T3" fmla="*/ 7460446 h 25"/>
                <a:gd name="T4" fmla="*/ 25490446 w 43"/>
                <a:gd name="T5" fmla="*/ 8295957 h 25"/>
                <a:gd name="T6" fmla="*/ 24896472 w 43"/>
                <a:gd name="T7" fmla="*/ 5488568 h 25"/>
                <a:gd name="T8" fmla="*/ 20531245 w 43"/>
                <a:gd name="T9" fmla="*/ 4650620 h 25"/>
                <a:gd name="T10" fmla="*/ 17874011 w 43"/>
                <a:gd name="T11" fmla="*/ 5488568 h 25"/>
                <a:gd name="T12" fmla="*/ 17081927 w 43"/>
                <a:gd name="T13" fmla="*/ 835001 h 25"/>
                <a:gd name="T14" fmla="*/ 16494699 w 43"/>
                <a:gd name="T15" fmla="*/ 0 h 25"/>
                <a:gd name="T16" fmla="*/ 5161223 w 43"/>
                <a:gd name="T17" fmla="*/ 0 h 25"/>
                <a:gd name="T18" fmla="*/ 2508984 w 43"/>
                <a:gd name="T19" fmla="*/ 0 h 25"/>
                <a:gd name="T20" fmla="*/ 0 w 43"/>
                <a:gd name="T21" fmla="*/ 3515237 h 25"/>
                <a:gd name="T22" fmla="*/ 2508984 w 43"/>
                <a:gd name="T23" fmla="*/ 4650620 h 25"/>
                <a:gd name="T24" fmla="*/ 5161223 w 43"/>
                <a:gd name="T25" fmla="*/ 5488568 h 25"/>
                <a:gd name="T26" fmla="*/ 5893195 w 43"/>
                <a:gd name="T27" fmla="*/ 7460446 h 25"/>
                <a:gd name="T28" fmla="*/ 8402175 w 43"/>
                <a:gd name="T29" fmla="*/ 6629066 h 25"/>
                <a:gd name="T30" fmla="*/ 9470346 w 43"/>
                <a:gd name="T31" fmla="*/ 6629066 h 25"/>
                <a:gd name="T32" fmla="*/ 10262278 w 43"/>
                <a:gd name="T33" fmla="*/ 8295957 h 25"/>
                <a:gd name="T34" fmla="*/ 11330453 w 43"/>
                <a:gd name="T35" fmla="*/ 10144084 h 25"/>
                <a:gd name="T36" fmla="*/ 11330453 w 43"/>
                <a:gd name="T37" fmla="*/ 12117629 h 25"/>
                <a:gd name="T38" fmla="*/ 4369091 w 43"/>
                <a:gd name="T39" fmla="*/ 12117629 h 25"/>
                <a:gd name="T40" fmla="*/ 7022497 w 43"/>
                <a:gd name="T41" fmla="*/ 15644591 h 25"/>
                <a:gd name="T42" fmla="*/ 10262278 w 43"/>
                <a:gd name="T43" fmla="*/ 15644591 h 25"/>
                <a:gd name="T44" fmla="*/ 11330453 w 43"/>
                <a:gd name="T45" fmla="*/ 15644591 h 25"/>
                <a:gd name="T46" fmla="*/ 16494699 w 43"/>
                <a:gd name="T47" fmla="*/ 15644591 h 25"/>
                <a:gd name="T48" fmla="*/ 23036232 w 43"/>
                <a:gd name="T49" fmla="*/ 15644591 h 25"/>
                <a:gd name="T50" fmla="*/ 25490446 w 43"/>
                <a:gd name="T51" fmla="*/ 18442993 h 25"/>
                <a:gd name="T52" fmla="*/ 25490446 w 43"/>
                <a:gd name="T53" fmla="*/ 21138070 h 25"/>
                <a:gd name="T54" fmla="*/ 31720857 w 43"/>
                <a:gd name="T55" fmla="*/ 22477568 h 25"/>
                <a:gd name="T56" fmla="*/ 36233498 w 43"/>
                <a:gd name="T57" fmla="*/ 20413475 h 25"/>
                <a:gd name="T58" fmla="*/ 36233498 w 43"/>
                <a:gd name="T59" fmla="*/ 18442993 h 25"/>
                <a:gd name="T60" fmla="*/ 32512941 w 43"/>
                <a:gd name="T61" fmla="*/ 14926566 h 25"/>
                <a:gd name="T62" fmla="*/ 32512941 w 43"/>
                <a:gd name="T63" fmla="*/ 12117629 h 25"/>
                <a:gd name="T64" fmla="*/ 32512941 w 43"/>
                <a:gd name="T65" fmla="*/ 10975465 h 25"/>
                <a:gd name="T66" fmla="*/ 31133610 w 43"/>
                <a:gd name="T67" fmla="*/ 10144084 h 25"/>
                <a:gd name="T68" fmla="*/ 31133610 w 43"/>
                <a:gd name="T69" fmla="*/ 9524393 h 2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3"/>
                <a:gd name="T106" fmla="*/ 0 h 25"/>
                <a:gd name="T107" fmla="*/ 43 w 43"/>
                <a:gd name="T108" fmla="*/ 25 h 2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3" h="25">
                  <a:moveTo>
                    <a:pt x="36" y="10"/>
                  </a:moveTo>
                  <a:cubicBezTo>
                    <a:pt x="35" y="9"/>
                    <a:pt x="33" y="9"/>
                    <a:pt x="32" y="8"/>
                  </a:cubicBezTo>
                  <a:cubicBezTo>
                    <a:pt x="31" y="8"/>
                    <a:pt x="30" y="9"/>
                    <a:pt x="30" y="9"/>
                  </a:cubicBezTo>
                  <a:cubicBezTo>
                    <a:pt x="29" y="8"/>
                    <a:pt x="30" y="6"/>
                    <a:pt x="29" y="6"/>
                  </a:cubicBezTo>
                  <a:cubicBezTo>
                    <a:pt x="28" y="4"/>
                    <a:pt x="26" y="4"/>
                    <a:pt x="24" y="5"/>
                  </a:cubicBezTo>
                  <a:cubicBezTo>
                    <a:pt x="23" y="5"/>
                    <a:pt x="22" y="7"/>
                    <a:pt x="21" y="6"/>
                  </a:cubicBezTo>
                  <a:cubicBezTo>
                    <a:pt x="20" y="5"/>
                    <a:pt x="20" y="3"/>
                    <a:pt x="20" y="1"/>
                  </a:cubicBezTo>
                  <a:cubicBezTo>
                    <a:pt x="20" y="1"/>
                    <a:pt x="20" y="1"/>
                    <a:pt x="19" y="0"/>
                  </a:cubicBezTo>
                  <a:cubicBezTo>
                    <a:pt x="15" y="0"/>
                    <a:pt x="10" y="0"/>
                    <a:pt x="6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2" y="1"/>
                    <a:pt x="0" y="2"/>
                    <a:pt x="0" y="4"/>
                  </a:cubicBezTo>
                  <a:cubicBezTo>
                    <a:pt x="1" y="4"/>
                    <a:pt x="2" y="5"/>
                    <a:pt x="3" y="5"/>
                  </a:cubicBezTo>
                  <a:cubicBezTo>
                    <a:pt x="4" y="6"/>
                    <a:pt x="6" y="5"/>
                    <a:pt x="6" y="6"/>
                  </a:cubicBezTo>
                  <a:cubicBezTo>
                    <a:pt x="6" y="7"/>
                    <a:pt x="7" y="8"/>
                    <a:pt x="7" y="8"/>
                  </a:cubicBezTo>
                  <a:cubicBezTo>
                    <a:pt x="8" y="9"/>
                    <a:pt x="9" y="8"/>
                    <a:pt x="10" y="7"/>
                  </a:cubicBezTo>
                  <a:cubicBezTo>
                    <a:pt x="10" y="7"/>
                    <a:pt x="11" y="7"/>
                    <a:pt x="11" y="7"/>
                  </a:cubicBezTo>
                  <a:cubicBezTo>
                    <a:pt x="12" y="7"/>
                    <a:pt x="12" y="8"/>
                    <a:pt x="12" y="9"/>
                  </a:cubicBezTo>
                  <a:cubicBezTo>
                    <a:pt x="12" y="10"/>
                    <a:pt x="13" y="10"/>
                    <a:pt x="13" y="11"/>
                  </a:cubicBezTo>
                  <a:cubicBezTo>
                    <a:pt x="13" y="12"/>
                    <a:pt x="13" y="13"/>
                    <a:pt x="13" y="13"/>
                  </a:cubicBezTo>
                  <a:cubicBezTo>
                    <a:pt x="10" y="14"/>
                    <a:pt x="7" y="13"/>
                    <a:pt x="5" y="13"/>
                  </a:cubicBezTo>
                  <a:cubicBezTo>
                    <a:pt x="4" y="15"/>
                    <a:pt x="6" y="16"/>
                    <a:pt x="8" y="17"/>
                  </a:cubicBezTo>
                  <a:cubicBezTo>
                    <a:pt x="9" y="18"/>
                    <a:pt x="11" y="18"/>
                    <a:pt x="12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5" y="16"/>
                    <a:pt x="17" y="16"/>
                    <a:pt x="19" y="17"/>
                  </a:cubicBezTo>
                  <a:cubicBezTo>
                    <a:pt x="22" y="17"/>
                    <a:pt x="24" y="17"/>
                    <a:pt x="27" y="17"/>
                  </a:cubicBezTo>
                  <a:cubicBezTo>
                    <a:pt x="28" y="18"/>
                    <a:pt x="30" y="19"/>
                    <a:pt x="30" y="20"/>
                  </a:cubicBezTo>
                  <a:cubicBezTo>
                    <a:pt x="30" y="21"/>
                    <a:pt x="30" y="23"/>
                    <a:pt x="30" y="23"/>
                  </a:cubicBezTo>
                  <a:cubicBezTo>
                    <a:pt x="32" y="25"/>
                    <a:pt x="35" y="24"/>
                    <a:pt x="37" y="24"/>
                  </a:cubicBezTo>
                  <a:cubicBezTo>
                    <a:pt x="39" y="24"/>
                    <a:pt x="40" y="23"/>
                    <a:pt x="42" y="22"/>
                  </a:cubicBezTo>
                  <a:cubicBezTo>
                    <a:pt x="43" y="22"/>
                    <a:pt x="42" y="20"/>
                    <a:pt x="42" y="20"/>
                  </a:cubicBezTo>
                  <a:cubicBezTo>
                    <a:pt x="41" y="18"/>
                    <a:pt x="39" y="17"/>
                    <a:pt x="38" y="16"/>
                  </a:cubicBezTo>
                  <a:cubicBezTo>
                    <a:pt x="37" y="15"/>
                    <a:pt x="37" y="14"/>
                    <a:pt x="38" y="13"/>
                  </a:cubicBezTo>
                  <a:cubicBezTo>
                    <a:pt x="38" y="13"/>
                    <a:pt x="38" y="12"/>
                    <a:pt x="38" y="12"/>
                  </a:cubicBezTo>
                  <a:cubicBezTo>
                    <a:pt x="37" y="11"/>
                    <a:pt x="37" y="11"/>
                    <a:pt x="36" y="11"/>
                  </a:cubicBezTo>
                  <a:lnTo>
                    <a:pt x="36" y="1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3" name="Freeform 30"/>
            <p:cNvSpPr>
              <a:spLocks/>
            </p:cNvSpPr>
            <p:nvPr/>
          </p:nvSpPr>
          <p:spPr bwMode="auto">
            <a:xfrm>
              <a:off x="5924679" y="4421042"/>
              <a:ext cx="13050" cy="5438"/>
            </a:xfrm>
            <a:custGeom>
              <a:avLst/>
              <a:gdLst>
                <a:gd name="T0" fmla="*/ 11140513 w 10"/>
                <a:gd name="T1" fmla="*/ 1064436 h 5"/>
                <a:gd name="T2" fmla="*/ 8585865 w 10"/>
                <a:gd name="T3" fmla="*/ 1064436 h 5"/>
                <a:gd name="T4" fmla="*/ 6131150 w 10"/>
                <a:gd name="T5" fmla="*/ 0 h 5"/>
                <a:gd name="T6" fmla="*/ 1064436 w 10"/>
                <a:gd name="T7" fmla="*/ 2554647 h 5"/>
                <a:gd name="T8" fmla="*/ 6131150 w 10"/>
                <a:gd name="T9" fmla="*/ 5085394 h 5"/>
                <a:gd name="T10" fmla="*/ 11140513 w 10"/>
                <a:gd name="T11" fmla="*/ 5085394 h 5"/>
                <a:gd name="T12" fmla="*/ 12204941 w 10"/>
                <a:gd name="T13" fmla="*/ 3577445 h 5"/>
                <a:gd name="T14" fmla="*/ 12204941 w 10"/>
                <a:gd name="T15" fmla="*/ 1064436 h 5"/>
                <a:gd name="T16" fmla="*/ 11140513 w 10"/>
                <a:gd name="T17" fmla="*/ 1064436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5"/>
                <a:gd name="T29" fmla="*/ 10 w 10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5">
                  <a:moveTo>
                    <a:pt x="9" y="1"/>
                  </a:moveTo>
                  <a:cubicBezTo>
                    <a:pt x="8" y="1"/>
                    <a:pt x="8" y="1"/>
                    <a:pt x="7" y="1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0" y="4"/>
                    <a:pt x="3" y="5"/>
                    <a:pt x="5" y="4"/>
                  </a:cubicBezTo>
                  <a:cubicBezTo>
                    <a:pt x="6" y="4"/>
                    <a:pt x="8" y="4"/>
                    <a:pt x="9" y="4"/>
                  </a:cubicBezTo>
                  <a:cubicBezTo>
                    <a:pt x="9" y="4"/>
                    <a:pt x="10" y="4"/>
                    <a:pt x="10" y="3"/>
                  </a:cubicBezTo>
                  <a:cubicBezTo>
                    <a:pt x="10" y="3"/>
                    <a:pt x="10" y="2"/>
                    <a:pt x="10" y="1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4" name="Freeform 31"/>
            <p:cNvSpPr>
              <a:spLocks/>
            </p:cNvSpPr>
            <p:nvPr/>
          </p:nvSpPr>
          <p:spPr bwMode="auto">
            <a:xfrm>
              <a:off x="5892057" y="4424061"/>
              <a:ext cx="13775" cy="12088"/>
            </a:xfrm>
            <a:custGeom>
              <a:avLst/>
              <a:gdLst>
                <a:gd name="T0" fmla="*/ 8585865 w 10"/>
                <a:gd name="T1" fmla="*/ 5595820 h 11"/>
                <a:gd name="T2" fmla="*/ 7196548 w 10"/>
                <a:gd name="T3" fmla="*/ 3587761 h 11"/>
                <a:gd name="T4" fmla="*/ 3577445 w 10"/>
                <a:gd name="T5" fmla="*/ 0 h 11"/>
                <a:gd name="T6" fmla="*/ 0 w 10"/>
                <a:gd name="T7" fmla="*/ 0 h 11"/>
                <a:gd name="T8" fmla="*/ 0 w 10"/>
                <a:gd name="T9" fmla="*/ 2007625 h 11"/>
                <a:gd name="T10" fmla="*/ 3577445 w 10"/>
                <a:gd name="T11" fmla="*/ 8480159 h 11"/>
                <a:gd name="T12" fmla="*/ 11140513 w 10"/>
                <a:gd name="T13" fmla="*/ 9698926 h 11"/>
                <a:gd name="T14" fmla="*/ 12204941 w 10"/>
                <a:gd name="T15" fmla="*/ 8480159 h 11"/>
                <a:gd name="T16" fmla="*/ 11140513 w 10"/>
                <a:gd name="T17" fmla="*/ 6840539 h 11"/>
                <a:gd name="T18" fmla="*/ 8585865 w 10"/>
                <a:gd name="T19" fmla="*/ 5595820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11"/>
                <a:gd name="T32" fmla="*/ 10 w 10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11">
                  <a:moveTo>
                    <a:pt x="7" y="6"/>
                  </a:moveTo>
                  <a:cubicBezTo>
                    <a:pt x="7" y="5"/>
                    <a:pt x="6" y="5"/>
                    <a:pt x="6" y="4"/>
                  </a:cubicBezTo>
                  <a:cubicBezTo>
                    <a:pt x="5" y="3"/>
                    <a:pt x="4" y="1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2" y="4"/>
                    <a:pt x="2" y="7"/>
                    <a:pt x="3" y="9"/>
                  </a:cubicBezTo>
                  <a:cubicBezTo>
                    <a:pt x="5" y="11"/>
                    <a:pt x="7" y="11"/>
                    <a:pt x="9" y="10"/>
                  </a:cubicBezTo>
                  <a:cubicBezTo>
                    <a:pt x="9" y="10"/>
                    <a:pt x="10" y="10"/>
                    <a:pt x="10" y="9"/>
                  </a:cubicBezTo>
                  <a:cubicBezTo>
                    <a:pt x="10" y="8"/>
                    <a:pt x="10" y="7"/>
                    <a:pt x="9" y="7"/>
                  </a:cubicBezTo>
                  <a:lnTo>
                    <a:pt x="7" y="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5" name="Freeform 57"/>
            <p:cNvSpPr>
              <a:spLocks/>
            </p:cNvSpPr>
            <p:nvPr/>
          </p:nvSpPr>
          <p:spPr bwMode="auto">
            <a:xfrm>
              <a:off x="5730391" y="4427688"/>
              <a:ext cx="73222" cy="28404"/>
            </a:xfrm>
            <a:custGeom>
              <a:avLst/>
              <a:gdLst>
                <a:gd name="T0" fmla="*/ 18064640 w 54"/>
                <a:gd name="T1" fmla="*/ 9343585 h 26"/>
                <a:gd name="T2" fmla="*/ 13820151 w 54"/>
                <a:gd name="T3" fmla="*/ 11820412 h 26"/>
                <a:gd name="T4" fmla="*/ 10951795 w 54"/>
                <a:gd name="T5" fmla="*/ 13633585 h 26"/>
                <a:gd name="T6" fmla="*/ 7991856 w 54"/>
                <a:gd name="T7" fmla="*/ 16241531 h 26"/>
                <a:gd name="T8" fmla="*/ 3739447 w 54"/>
                <a:gd name="T9" fmla="*/ 16241531 h 26"/>
                <a:gd name="T10" fmla="*/ 2071929 w 54"/>
                <a:gd name="T11" fmla="*/ 16821088 h 26"/>
                <a:gd name="T12" fmla="*/ 874095 w 54"/>
                <a:gd name="T13" fmla="*/ 18660434 h 26"/>
                <a:gd name="T14" fmla="*/ 874095 w 54"/>
                <a:gd name="T15" fmla="*/ 20026566 h 26"/>
                <a:gd name="T16" fmla="*/ 2984029 w 54"/>
                <a:gd name="T17" fmla="*/ 20026566 h 26"/>
                <a:gd name="T18" fmla="*/ 7991856 w 54"/>
                <a:gd name="T19" fmla="*/ 19444641 h 26"/>
                <a:gd name="T20" fmla="*/ 11641450 w 54"/>
                <a:gd name="T21" fmla="*/ 20026566 h 26"/>
                <a:gd name="T22" fmla="*/ 11641450 w 54"/>
                <a:gd name="T23" fmla="*/ 18660434 h 26"/>
                <a:gd name="T24" fmla="*/ 13820151 w 54"/>
                <a:gd name="T25" fmla="*/ 16821088 h 26"/>
                <a:gd name="T26" fmla="*/ 14972246 w 54"/>
                <a:gd name="T27" fmla="*/ 20026566 h 26"/>
                <a:gd name="T28" fmla="*/ 15887104 w 54"/>
                <a:gd name="T29" fmla="*/ 21137273 h 26"/>
                <a:gd name="T30" fmla="*/ 21766963 w 54"/>
                <a:gd name="T31" fmla="*/ 20026566 h 26"/>
                <a:gd name="T32" fmla="*/ 23876004 w 54"/>
                <a:gd name="T33" fmla="*/ 16821088 h 26"/>
                <a:gd name="T34" fmla="*/ 27594545 w 54"/>
                <a:gd name="T35" fmla="*/ 16821088 h 26"/>
                <a:gd name="T36" fmla="*/ 29000421 w 54"/>
                <a:gd name="T37" fmla="*/ 16241531 h 26"/>
                <a:gd name="T38" fmla="*/ 30580149 w 54"/>
                <a:gd name="T39" fmla="*/ 12522682 h 26"/>
                <a:gd name="T40" fmla="*/ 33951763 w 54"/>
                <a:gd name="T41" fmla="*/ 10127813 h 26"/>
                <a:gd name="T42" fmla="*/ 35489754 w 54"/>
                <a:gd name="T43" fmla="*/ 9343585 h 26"/>
                <a:gd name="T44" fmla="*/ 35489754 w 54"/>
                <a:gd name="T45" fmla="*/ 11156751 h 26"/>
                <a:gd name="T46" fmla="*/ 33951763 w 54"/>
                <a:gd name="T47" fmla="*/ 15127963 h 26"/>
                <a:gd name="T48" fmla="*/ 36902683 w 54"/>
                <a:gd name="T49" fmla="*/ 16241531 h 26"/>
                <a:gd name="T50" fmla="*/ 41900646 w 54"/>
                <a:gd name="T51" fmla="*/ 12522682 h 26"/>
                <a:gd name="T52" fmla="*/ 45648068 w 54"/>
                <a:gd name="T53" fmla="*/ 12522682 h 26"/>
                <a:gd name="T54" fmla="*/ 47731111 w 54"/>
                <a:gd name="T55" fmla="*/ 10127813 h 26"/>
                <a:gd name="T56" fmla="*/ 48605189 w 54"/>
                <a:gd name="T57" fmla="*/ 6922623 h 26"/>
                <a:gd name="T58" fmla="*/ 47731111 w 54"/>
                <a:gd name="T59" fmla="*/ 5038211 h 26"/>
                <a:gd name="T60" fmla="*/ 52895407 w 54"/>
                <a:gd name="T61" fmla="*/ 2476837 h 26"/>
                <a:gd name="T62" fmla="*/ 49803041 w 54"/>
                <a:gd name="T63" fmla="*/ 784235 h 26"/>
                <a:gd name="T64" fmla="*/ 45648068 w 54"/>
                <a:gd name="T65" fmla="*/ 784235 h 26"/>
                <a:gd name="T66" fmla="*/ 43645200 w 54"/>
                <a:gd name="T67" fmla="*/ 2476837 h 26"/>
                <a:gd name="T68" fmla="*/ 39742159 w 54"/>
                <a:gd name="T69" fmla="*/ 2476837 h 26"/>
                <a:gd name="T70" fmla="*/ 33951763 w 54"/>
                <a:gd name="T71" fmla="*/ 3198282 h 26"/>
                <a:gd name="T72" fmla="*/ 29666476 w 54"/>
                <a:gd name="T73" fmla="*/ 3198282 h 26"/>
                <a:gd name="T74" fmla="*/ 23876004 w 54"/>
                <a:gd name="T75" fmla="*/ 6922623 h 26"/>
                <a:gd name="T76" fmla="*/ 19605475 w 54"/>
                <a:gd name="T77" fmla="*/ 7503662 h 26"/>
                <a:gd name="T78" fmla="*/ 18064640 w 54"/>
                <a:gd name="T79" fmla="*/ 10127813 h 26"/>
                <a:gd name="T80" fmla="*/ 18064640 w 54"/>
                <a:gd name="T81" fmla="*/ 9343585 h 2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4"/>
                <a:gd name="T124" fmla="*/ 0 h 26"/>
                <a:gd name="T125" fmla="*/ 54 w 54"/>
                <a:gd name="T126" fmla="*/ 26 h 2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4" h="26">
                  <a:moveTo>
                    <a:pt x="18" y="11"/>
                  </a:moveTo>
                  <a:cubicBezTo>
                    <a:pt x="17" y="12"/>
                    <a:pt x="15" y="13"/>
                    <a:pt x="14" y="14"/>
                  </a:cubicBezTo>
                  <a:cubicBezTo>
                    <a:pt x="13" y="15"/>
                    <a:pt x="12" y="15"/>
                    <a:pt x="11" y="16"/>
                  </a:cubicBezTo>
                  <a:cubicBezTo>
                    <a:pt x="10" y="17"/>
                    <a:pt x="9" y="18"/>
                    <a:pt x="8" y="19"/>
                  </a:cubicBezTo>
                  <a:cubicBezTo>
                    <a:pt x="7" y="19"/>
                    <a:pt x="5" y="18"/>
                    <a:pt x="4" y="19"/>
                  </a:cubicBezTo>
                  <a:cubicBezTo>
                    <a:pt x="3" y="19"/>
                    <a:pt x="3" y="19"/>
                    <a:pt x="2" y="20"/>
                  </a:cubicBezTo>
                  <a:cubicBezTo>
                    <a:pt x="2" y="20"/>
                    <a:pt x="2" y="21"/>
                    <a:pt x="1" y="22"/>
                  </a:cubicBezTo>
                  <a:cubicBezTo>
                    <a:pt x="1" y="23"/>
                    <a:pt x="0" y="24"/>
                    <a:pt x="1" y="24"/>
                  </a:cubicBezTo>
                  <a:cubicBezTo>
                    <a:pt x="1" y="24"/>
                    <a:pt x="2" y="24"/>
                    <a:pt x="3" y="24"/>
                  </a:cubicBezTo>
                  <a:cubicBezTo>
                    <a:pt x="4" y="23"/>
                    <a:pt x="6" y="22"/>
                    <a:pt x="8" y="23"/>
                  </a:cubicBezTo>
                  <a:cubicBezTo>
                    <a:pt x="9" y="24"/>
                    <a:pt x="10" y="24"/>
                    <a:pt x="12" y="24"/>
                  </a:cubicBezTo>
                  <a:cubicBezTo>
                    <a:pt x="12" y="24"/>
                    <a:pt x="12" y="23"/>
                    <a:pt x="12" y="22"/>
                  </a:cubicBezTo>
                  <a:cubicBezTo>
                    <a:pt x="13" y="21"/>
                    <a:pt x="14" y="20"/>
                    <a:pt x="14" y="20"/>
                  </a:cubicBezTo>
                  <a:cubicBezTo>
                    <a:pt x="15" y="21"/>
                    <a:pt x="14" y="23"/>
                    <a:pt x="15" y="24"/>
                  </a:cubicBezTo>
                  <a:cubicBezTo>
                    <a:pt x="15" y="25"/>
                    <a:pt x="15" y="25"/>
                    <a:pt x="16" y="25"/>
                  </a:cubicBezTo>
                  <a:cubicBezTo>
                    <a:pt x="18" y="25"/>
                    <a:pt x="20" y="26"/>
                    <a:pt x="22" y="24"/>
                  </a:cubicBezTo>
                  <a:cubicBezTo>
                    <a:pt x="22" y="23"/>
                    <a:pt x="22" y="20"/>
                    <a:pt x="24" y="20"/>
                  </a:cubicBezTo>
                  <a:cubicBezTo>
                    <a:pt x="25" y="19"/>
                    <a:pt x="27" y="20"/>
                    <a:pt x="28" y="20"/>
                  </a:cubicBezTo>
                  <a:cubicBezTo>
                    <a:pt x="29" y="20"/>
                    <a:pt x="29" y="19"/>
                    <a:pt x="29" y="19"/>
                  </a:cubicBezTo>
                  <a:cubicBezTo>
                    <a:pt x="29" y="17"/>
                    <a:pt x="30" y="16"/>
                    <a:pt x="31" y="15"/>
                  </a:cubicBezTo>
                  <a:cubicBezTo>
                    <a:pt x="32" y="14"/>
                    <a:pt x="33" y="12"/>
                    <a:pt x="34" y="12"/>
                  </a:cubicBezTo>
                  <a:cubicBezTo>
                    <a:pt x="35" y="11"/>
                    <a:pt x="35" y="11"/>
                    <a:pt x="36" y="11"/>
                  </a:cubicBezTo>
                  <a:cubicBezTo>
                    <a:pt x="36" y="12"/>
                    <a:pt x="36" y="12"/>
                    <a:pt x="36" y="13"/>
                  </a:cubicBezTo>
                  <a:cubicBezTo>
                    <a:pt x="34" y="14"/>
                    <a:pt x="33" y="16"/>
                    <a:pt x="34" y="18"/>
                  </a:cubicBezTo>
                  <a:cubicBezTo>
                    <a:pt x="34" y="19"/>
                    <a:pt x="36" y="19"/>
                    <a:pt x="37" y="19"/>
                  </a:cubicBezTo>
                  <a:cubicBezTo>
                    <a:pt x="39" y="18"/>
                    <a:pt x="39" y="15"/>
                    <a:pt x="42" y="15"/>
                  </a:cubicBezTo>
                  <a:cubicBezTo>
                    <a:pt x="43" y="15"/>
                    <a:pt x="44" y="15"/>
                    <a:pt x="46" y="15"/>
                  </a:cubicBezTo>
                  <a:cubicBezTo>
                    <a:pt x="47" y="14"/>
                    <a:pt x="47" y="13"/>
                    <a:pt x="48" y="12"/>
                  </a:cubicBezTo>
                  <a:cubicBezTo>
                    <a:pt x="49" y="11"/>
                    <a:pt x="49" y="9"/>
                    <a:pt x="49" y="8"/>
                  </a:cubicBezTo>
                  <a:cubicBezTo>
                    <a:pt x="48" y="7"/>
                    <a:pt x="48" y="6"/>
                    <a:pt x="48" y="6"/>
                  </a:cubicBezTo>
                  <a:cubicBezTo>
                    <a:pt x="50" y="5"/>
                    <a:pt x="54" y="6"/>
                    <a:pt x="53" y="3"/>
                  </a:cubicBezTo>
                  <a:cubicBezTo>
                    <a:pt x="52" y="2"/>
                    <a:pt x="51" y="2"/>
                    <a:pt x="50" y="1"/>
                  </a:cubicBezTo>
                  <a:cubicBezTo>
                    <a:pt x="49" y="0"/>
                    <a:pt x="47" y="0"/>
                    <a:pt x="46" y="1"/>
                  </a:cubicBezTo>
                  <a:cubicBezTo>
                    <a:pt x="45" y="1"/>
                    <a:pt x="45" y="3"/>
                    <a:pt x="44" y="3"/>
                  </a:cubicBezTo>
                  <a:cubicBezTo>
                    <a:pt x="42" y="4"/>
                    <a:pt x="41" y="3"/>
                    <a:pt x="40" y="3"/>
                  </a:cubicBezTo>
                  <a:cubicBezTo>
                    <a:pt x="38" y="2"/>
                    <a:pt x="36" y="3"/>
                    <a:pt x="34" y="4"/>
                  </a:cubicBezTo>
                  <a:cubicBezTo>
                    <a:pt x="33" y="4"/>
                    <a:pt x="31" y="3"/>
                    <a:pt x="30" y="4"/>
                  </a:cubicBezTo>
                  <a:cubicBezTo>
                    <a:pt x="28" y="5"/>
                    <a:pt x="26" y="7"/>
                    <a:pt x="24" y="8"/>
                  </a:cubicBezTo>
                  <a:cubicBezTo>
                    <a:pt x="23" y="9"/>
                    <a:pt x="22" y="9"/>
                    <a:pt x="20" y="9"/>
                  </a:cubicBezTo>
                  <a:cubicBezTo>
                    <a:pt x="19" y="10"/>
                    <a:pt x="19" y="11"/>
                    <a:pt x="18" y="12"/>
                  </a:cubicBezTo>
                  <a:cubicBezTo>
                    <a:pt x="18" y="11"/>
                    <a:pt x="18" y="11"/>
                    <a:pt x="18" y="1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6" name="Freeform 61"/>
            <p:cNvSpPr>
              <a:spLocks/>
            </p:cNvSpPr>
            <p:nvPr/>
          </p:nvSpPr>
          <p:spPr bwMode="auto">
            <a:xfrm>
              <a:off x="5830436" y="4408351"/>
              <a:ext cx="34799" cy="8460"/>
            </a:xfrm>
            <a:custGeom>
              <a:avLst/>
              <a:gdLst>
                <a:gd name="T0" fmla="*/ 16241531 w 26"/>
                <a:gd name="T1" fmla="*/ 0 h 8"/>
                <a:gd name="T2" fmla="*/ 9343585 w 26"/>
                <a:gd name="T3" fmla="*/ 3065115 h 8"/>
                <a:gd name="T4" fmla="*/ 3198282 w 26"/>
                <a:gd name="T5" fmla="*/ 3065115 h 8"/>
                <a:gd name="T6" fmla="*/ 784235 w 26"/>
                <a:gd name="T7" fmla="*/ 5058432 h 8"/>
                <a:gd name="T8" fmla="*/ 0 w 26"/>
                <a:gd name="T9" fmla="*/ 8176458 h 8"/>
                <a:gd name="T10" fmla="*/ 1839936 w 26"/>
                <a:gd name="T11" fmla="*/ 8176458 h 8"/>
                <a:gd name="T12" fmla="*/ 6922623 w 26"/>
                <a:gd name="T13" fmla="*/ 5955246 h 8"/>
                <a:gd name="T14" fmla="*/ 9343585 w 26"/>
                <a:gd name="T15" fmla="*/ 7279645 h 8"/>
                <a:gd name="T16" fmla="*/ 11156751 w 26"/>
                <a:gd name="T17" fmla="*/ 7279645 h 8"/>
                <a:gd name="T18" fmla="*/ 13633585 w 26"/>
                <a:gd name="T19" fmla="*/ 5955246 h 8"/>
                <a:gd name="T20" fmla="*/ 15127963 w 26"/>
                <a:gd name="T21" fmla="*/ 8176458 h 8"/>
                <a:gd name="T22" fmla="*/ 18660434 w 26"/>
                <a:gd name="T23" fmla="*/ 8176458 h 8"/>
                <a:gd name="T24" fmla="*/ 20026566 w 26"/>
                <a:gd name="T25" fmla="*/ 7279645 h 8"/>
                <a:gd name="T26" fmla="*/ 21137273 w 26"/>
                <a:gd name="T27" fmla="*/ 5058432 h 8"/>
                <a:gd name="T28" fmla="*/ 21137273 w 26"/>
                <a:gd name="T29" fmla="*/ 3065115 h 8"/>
                <a:gd name="T30" fmla="*/ 16241531 w 26"/>
                <a:gd name="T31" fmla="*/ 0 h 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6"/>
                <a:gd name="T49" fmla="*/ 0 h 8"/>
                <a:gd name="T50" fmla="*/ 26 w 26"/>
                <a:gd name="T51" fmla="*/ 8 h 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6" h="8">
                  <a:moveTo>
                    <a:pt x="19" y="0"/>
                  </a:moveTo>
                  <a:cubicBezTo>
                    <a:pt x="16" y="1"/>
                    <a:pt x="14" y="2"/>
                    <a:pt x="11" y="3"/>
                  </a:cubicBezTo>
                  <a:cubicBezTo>
                    <a:pt x="9" y="3"/>
                    <a:pt x="7" y="3"/>
                    <a:pt x="4" y="3"/>
                  </a:cubicBezTo>
                  <a:cubicBezTo>
                    <a:pt x="3" y="4"/>
                    <a:pt x="2" y="5"/>
                    <a:pt x="1" y="5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1" y="8"/>
                    <a:pt x="2" y="8"/>
                    <a:pt x="2" y="8"/>
                  </a:cubicBezTo>
                  <a:cubicBezTo>
                    <a:pt x="4" y="7"/>
                    <a:pt x="6" y="5"/>
                    <a:pt x="8" y="6"/>
                  </a:cubicBezTo>
                  <a:cubicBezTo>
                    <a:pt x="9" y="6"/>
                    <a:pt x="10" y="7"/>
                    <a:pt x="11" y="7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4" y="7"/>
                    <a:pt x="15" y="6"/>
                    <a:pt x="16" y="6"/>
                  </a:cubicBezTo>
                  <a:cubicBezTo>
                    <a:pt x="16" y="7"/>
                    <a:pt x="17" y="7"/>
                    <a:pt x="18" y="8"/>
                  </a:cubicBezTo>
                  <a:cubicBezTo>
                    <a:pt x="19" y="8"/>
                    <a:pt x="21" y="8"/>
                    <a:pt x="22" y="8"/>
                  </a:cubicBezTo>
                  <a:cubicBezTo>
                    <a:pt x="23" y="8"/>
                    <a:pt x="24" y="8"/>
                    <a:pt x="24" y="7"/>
                  </a:cubicBezTo>
                  <a:cubicBezTo>
                    <a:pt x="24" y="6"/>
                    <a:pt x="25" y="6"/>
                    <a:pt x="25" y="5"/>
                  </a:cubicBezTo>
                  <a:cubicBezTo>
                    <a:pt x="25" y="5"/>
                    <a:pt x="26" y="4"/>
                    <a:pt x="25" y="3"/>
                  </a:cubicBezTo>
                  <a:cubicBezTo>
                    <a:pt x="24" y="1"/>
                    <a:pt x="21" y="0"/>
                    <a:pt x="19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7" name="Freeform 62"/>
            <p:cNvSpPr>
              <a:spLocks/>
            </p:cNvSpPr>
            <p:nvPr/>
          </p:nvSpPr>
          <p:spPr bwMode="auto">
            <a:xfrm>
              <a:off x="5824635" y="4418020"/>
              <a:ext cx="36972" cy="15109"/>
            </a:xfrm>
            <a:custGeom>
              <a:avLst/>
              <a:gdLst>
                <a:gd name="T0" fmla="*/ 16766227 w 27"/>
                <a:gd name="T1" fmla="*/ 826407 h 14"/>
                <a:gd name="T2" fmla="*/ 7073252 w 27"/>
                <a:gd name="T3" fmla="*/ 2769339 h 14"/>
                <a:gd name="T4" fmla="*/ 874095 w 27"/>
                <a:gd name="T5" fmla="*/ 5415918 h 14"/>
                <a:gd name="T6" fmla="*/ 0 w 27"/>
                <a:gd name="T7" fmla="*/ 9297269 h 14"/>
                <a:gd name="T8" fmla="*/ 5830377 w 27"/>
                <a:gd name="T9" fmla="*/ 12766089 h 14"/>
                <a:gd name="T10" fmla="*/ 7991856 w 27"/>
                <a:gd name="T11" fmla="*/ 12766089 h 14"/>
                <a:gd name="T12" fmla="*/ 14972246 w 27"/>
                <a:gd name="T13" fmla="*/ 10823097 h 14"/>
                <a:gd name="T14" fmla="*/ 19605475 w 27"/>
                <a:gd name="T15" fmla="*/ 10823097 h 14"/>
                <a:gd name="T16" fmla="*/ 21766963 w 27"/>
                <a:gd name="T17" fmla="*/ 9969095 h 14"/>
                <a:gd name="T18" fmla="*/ 21766963 w 27"/>
                <a:gd name="T19" fmla="*/ 8174845 h 14"/>
                <a:gd name="T20" fmla="*/ 21010663 w 27"/>
                <a:gd name="T21" fmla="*/ 7350477 h 14"/>
                <a:gd name="T22" fmla="*/ 16766227 w 27"/>
                <a:gd name="T23" fmla="*/ 5415918 h 14"/>
                <a:gd name="T24" fmla="*/ 16766227 w 27"/>
                <a:gd name="T25" fmla="*/ 4591618 h 14"/>
                <a:gd name="T26" fmla="*/ 24755278 w 27"/>
                <a:gd name="T27" fmla="*/ 3468116 h 14"/>
                <a:gd name="T28" fmla="*/ 25959805 w 27"/>
                <a:gd name="T29" fmla="*/ 1947959 h 14"/>
                <a:gd name="T30" fmla="*/ 21766963 w 27"/>
                <a:gd name="T31" fmla="*/ 826407 h 14"/>
                <a:gd name="T32" fmla="*/ 18943658 w 27"/>
                <a:gd name="T33" fmla="*/ 826407 h 14"/>
                <a:gd name="T34" fmla="*/ 16766227 w 27"/>
                <a:gd name="T35" fmla="*/ 826407 h 1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7"/>
                <a:gd name="T55" fmla="*/ 0 h 14"/>
                <a:gd name="T56" fmla="*/ 27 w 27"/>
                <a:gd name="T57" fmla="*/ 14 h 1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7" h="14">
                  <a:moveTo>
                    <a:pt x="17" y="1"/>
                  </a:moveTo>
                  <a:cubicBezTo>
                    <a:pt x="14" y="2"/>
                    <a:pt x="10" y="2"/>
                    <a:pt x="7" y="3"/>
                  </a:cubicBezTo>
                  <a:cubicBezTo>
                    <a:pt x="5" y="4"/>
                    <a:pt x="2" y="4"/>
                    <a:pt x="1" y="6"/>
                  </a:cubicBezTo>
                  <a:cubicBezTo>
                    <a:pt x="0" y="8"/>
                    <a:pt x="0" y="9"/>
                    <a:pt x="0" y="10"/>
                  </a:cubicBezTo>
                  <a:cubicBezTo>
                    <a:pt x="1" y="12"/>
                    <a:pt x="3" y="13"/>
                    <a:pt x="6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10" y="12"/>
                    <a:pt x="12" y="11"/>
                    <a:pt x="15" y="12"/>
                  </a:cubicBezTo>
                  <a:cubicBezTo>
                    <a:pt x="17" y="12"/>
                    <a:pt x="18" y="12"/>
                    <a:pt x="20" y="12"/>
                  </a:cubicBezTo>
                  <a:cubicBezTo>
                    <a:pt x="21" y="12"/>
                    <a:pt x="22" y="12"/>
                    <a:pt x="22" y="11"/>
                  </a:cubicBezTo>
                  <a:cubicBezTo>
                    <a:pt x="22" y="10"/>
                    <a:pt x="22" y="10"/>
                    <a:pt x="22" y="9"/>
                  </a:cubicBezTo>
                  <a:cubicBezTo>
                    <a:pt x="22" y="9"/>
                    <a:pt x="21" y="8"/>
                    <a:pt x="21" y="8"/>
                  </a:cubicBezTo>
                  <a:cubicBezTo>
                    <a:pt x="20" y="7"/>
                    <a:pt x="18" y="7"/>
                    <a:pt x="17" y="6"/>
                  </a:cubicBezTo>
                  <a:cubicBezTo>
                    <a:pt x="17" y="6"/>
                    <a:pt x="17" y="6"/>
                    <a:pt x="17" y="5"/>
                  </a:cubicBezTo>
                  <a:cubicBezTo>
                    <a:pt x="20" y="5"/>
                    <a:pt x="23" y="5"/>
                    <a:pt x="25" y="4"/>
                  </a:cubicBezTo>
                  <a:cubicBezTo>
                    <a:pt x="26" y="4"/>
                    <a:pt x="27" y="3"/>
                    <a:pt x="26" y="2"/>
                  </a:cubicBezTo>
                  <a:cubicBezTo>
                    <a:pt x="25" y="1"/>
                    <a:pt x="24" y="1"/>
                    <a:pt x="22" y="1"/>
                  </a:cubicBezTo>
                  <a:cubicBezTo>
                    <a:pt x="20" y="0"/>
                    <a:pt x="20" y="0"/>
                    <a:pt x="19" y="1"/>
                  </a:cubicBezTo>
                  <a:cubicBezTo>
                    <a:pt x="18" y="1"/>
                    <a:pt x="17" y="1"/>
                    <a:pt x="17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8" name="Freeform 63"/>
            <p:cNvSpPr>
              <a:spLocks/>
            </p:cNvSpPr>
            <p:nvPr/>
          </p:nvSpPr>
          <p:spPr bwMode="auto">
            <a:xfrm>
              <a:off x="5810135" y="4419832"/>
              <a:ext cx="14500" cy="5438"/>
            </a:xfrm>
            <a:custGeom>
              <a:avLst/>
              <a:gdLst>
                <a:gd name="T0" fmla="*/ 7630664 w 11"/>
                <a:gd name="T1" fmla="*/ 2554647 h 5"/>
                <a:gd name="T2" fmla="*/ 5595820 w 11"/>
                <a:gd name="T3" fmla="*/ 0 h 5"/>
                <a:gd name="T4" fmla="*/ 3587761 w 11"/>
                <a:gd name="T5" fmla="*/ 0 h 5"/>
                <a:gd name="T6" fmla="*/ 849380 w 11"/>
                <a:gd name="T7" fmla="*/ 2554647 h 5"/>
                <a:gd name="T8" fmla="*/ 849380 w 11"/>
                <a:gd name="T9" fmla="*/ 2554647 h 5"/>
                <a:gd name="T10" fmla="*/ 4745295 w 11"/>
                <a:gd name="T11" fmla="*/ 5085394 h 5"/>
                <a:gd name="T12" fmla="*/ 9698926 w 11"/>
                <a:gd name="T13" fmla="*/ 6131150 h 5"/>
                <a:gd name="T14" fmla="*/ 9698926 w 11"/>
                <a:gd name="T15" fmla="*/ 3577445 h 5"/>
                <a:gd name="T16" fmla="*/ 8480159 w 11"/>
                <a:gd name="T17" fmla="*/ 3577445 h 5"/>
                <a:gd name="T18" fmla="*/ 7630664 w 11"/>
                <a:gd name="T19" fmla="*/ 2554647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5"/>
                <a:gd name="T32" fmla="*/ 11 w 11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5">
                  <a:moveTo>
                    <a:pt x="8" y="2"/>
                  </a:moveTo>
                  <a:cubicBezTo>
                    <a:pt x="7" y="1"/>
                    <a:pt x="7" y="1"/>
                    <a:pt x="6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1"/>
                    <a:pt x="2" y="1"/>
                    <a:pt x="1" y="2"/>
                  </a:cubicBezTo>
                  <a:cubicBezTo>
                    <a:pt x="1" y="2"/>
                    <a:pt x="0" y="2"/>
                    <a:pt x="1" y="2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7" y="5"/>
                    <a:pt x="8" y="5"/>
                    <a:pt x="10" y="5"/>
                  </a:cubicBezTo>
                  <a:cubicBezTo>
                    <a:pt x="10" y="5"/>
                    <a:pt x="11" y="3"/>
                    <a:pt x="10" y="3"/>
                  </a:cubicBezTo>
                  <a:cubicBezTo>
                    <a:pt x="10" y="3"/>
                    <a:pt x="9" y="3"/>
                    <a:pt x="9" y="3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9" name="Freeform 77"/>
            <p:cNvSpPr>
              <a:spLocks/>
            </p:cNvSpPr>
            <p:nvPr/>
          </p:nvSpPr>
          <p:spPr bwMode="auto">
            <a:xfrm>
              <a:off x="5557850" y="4819298"/>
              <a:ext cx="598093" cy="263491"/>
            </a:xfrm>
            <a:custGeom>
              <a:avLst/>
              <a:gdLst>
                <a:gd name="T0" fmla="*/ 32689556 w 444"/>
                <a:gd name="T1" fmla="*/ 147477504 h 243"/>
                <a:gd name="T2" fmla="*/ 22511005 w 444"/>
                <a:gd name="T3" fmla="*/ 140766081 h 243"/>
                <a:gd name="T4" fmla="*/ 16509635 w 444"/>
                <a:gd name="T5" fmla="*/ 133139810 h 243"/>
                <a:gd name="T6" fmla="*/ 11009393 w 444"/>
                <a:gd name="T7" fmla="*/ 116546783 h 243"/>
                <a:gd name="T8" fmla="*/ 1976091 w 444"/>
                <a:gd name="T9" fmla="*/ 98645395 h 243"/>
                <a:gd name="T10" fmla="*/ 2813201 w 444"/>
                <a:gd name="T11" fmla="*/ 78761000 h 243"/>
                <a:gd name="T12" fmla="*/ 8346470 w 444"/>
                <a:gd name="T13" fmla="*/ 49669535 h 243"/>
                <a:gd name="T14" fmla="*/ 13849396 w 444"/>
                <a:gd name="T15" fmla="*/ 27431288 h 243"/>
                <a:gd name="T16" fmla="*/ 14949994 w 444"/>
                <a:gd name="T17" fmla="*/ 6694551 h 243"/>
                <a:gd name="T18" fmla="*/ 28023824 w 444"/>
                <a:gd name="T19" fmla="*/ 15813460 h 243"/>
                <a:gd name="T20" fmla="*/ 218247772 w 444"/>
                <a:gd name="T21" fmla="*/ 0 h 243"/>
                <a:gd name="T22" fmla="*/ 246916814 w 444"/>
                <a:gd name="T23" fmla="*/ 8420939 h 243"/>
                <a:gd name="T24" fmla="*/ 277550280 w 444"/>
                <a:gd name="T25" fmla="*/ 11102003 h 243"/>
                <a:gd name="T26" fmla="*/ 290524327 w 444"/>
                <a:gd name="T27" fmla="*/ 21514771 h 243"/>
                <a:gd name="T28" fmla="*/ 303588560 w 444"/>
                <a:gd name="T29" fmla="*/ 35845606 h 243"/>
                <a:gd name="T30" fmla="*/ 298092283 w 444"/>
                <a:gd name="T31" fmla="*/ 69561696 h 243"/>
                <a:gd name="T32" fmla="*/ 322075275 w 444"/>
                <a:gd name="T33" fmla="*/ 62799893 h 243"/>
                <a:gd name="T34" fmla="*/ 339723363 w 444"/>
                <a:gd name="T35" fmla="*/ 53746965 h 243"/>
                <a:gd name="T36" fmla="*/ 364870220 w 444"/>
                <a:gd name="T37" fmla="*/ 40562108 h 243"/>
                <a:gd name="T38" fmla="*/ 391693574 w 444"/>
                <a:gd name="T39" fmla="*/ 30302364 h 243"/>
                <a:gd name="T40" fmla="*/ 403893424 w 444"/>
                <a:gd name="T41" fmla="*/ 18674029 h 243"/>
                <a:gd name="T42" fmla="*/ 408557042 w 444"/>
                <a:gd name="T43" fmla="*/ 37353596 h 243"/>
                <a:gd name="T44" fmla="*/ 402701537 w 444"/>
                <a:gd name="T45" fmla="*/ 46986334 h 243"/>
                <a:gd name="T46" fmla="*/ 396329699 w 444"/>
                <a:gd name="T47" fmla="*/ 48977976 h 243"/>
                <a:gd name="T48" fmla="*/ 384192691 w 444"/>
                <a:gd name="T49" fmla="*/ 69561696 h 243"/>
                <a:gd name="T50" fmla="*/ 376704195 w 444"/>
                <a:gd name="T51" fmla="*/ 75142732 h 243"/>
                <a:gd name="T52" fmla="*/ 372347538 w 444"/>
                <a:gd name="T53" fmla="*/ 77982628 h 243"/>
                <a:gd name="T54" fmla="*/ 358230396 w 444"/>
                <a:gd name="T55" fmla="*/ 91096905 h 243"/>
                <a:gd name="T56" fmla="*/ 347220923 w 444"/>
                <a:gd name="T57" fmla="*/ 96655680 h 243"/>
                <a:gd name="T58" fmla="*/ 342556701 w 444"/>
                <a:gd name="T59" fmla="*/ 116546783 h 243"/>
                <a:gd name="T60" fmla="*/ 341724646 w 444"/>
                <a:gd name="T61" fmla="*/ 99517912 h 243"/>
                <a:gd name="T62" fmla="*/ 339025754 w 444"/>
                <a:gd name="T63" fmla="*/ 111766266 h 243"/>
                <a:gd name="T64" fmla="*/ 337897918 w 444"/>
                <a:gd name="T65" fmla="*/ 126957808 h 243"/>
                <a:gd name="T66" fmla="*/ 335084520 w 444"/>
                <a:gd name="T67" fmla="*/ 136375525 h 243"/>
                <a:gd name="T68" fmla="*/ 324048460 w 444"/>
                <a:gd name="T69" fmla="*/ 146324856 h 243"/>
                <a:gd name="T70" fmla="*/ 304370915 w 444"/>
                <a:gd name="T71" fmla="*/ 160591232 h 243"/>
                <a:gd name="T72" fmla="*/ 296025741 w 444"/>
                <a:gd name="T73" fmla="*/ 174631184 h 243"/>
                <a:gd name="T74" fmla="*/ 298865725 w 444"/>
                <a:gd name="T75" fmla="*/ 198012206 h 243"/>
                <a:gd name="T76" fmla="*/ 298865725 w 444"/>
                <a:gd name="T77" fmla="*/ 227470993 h 243"/>
                <a:gd name="T78" fmla="*/ 290524327 w 444"/>
                <a:gd name="T79" fmla="*/ 221619842 h 243"/>
                <a:gd name="T80" fmla="*/ 285864184 w 444"/>
                <a:gd name="T81" fmla="*/ 209640130 h 243"/>
                <a:gd name="T82" fmla="*/ 285075484 w 444"/>
                <a:gd name="T83" fmla="*/ 197297895 h 243"/>
                <a:gd name="T84" fmla="*/ 266239889 w 444"/>
                <a:gd name="T85" fmla="*/ 184890201 h 243"/>
                <a:gd name="T86" fmla="*/ 244232726 w 444"/>
                <a:gd name="T87" fmla="*/ 179338228 h 243"/>
                <a:gd name="T88" fmla="*/ 232713113 w 444"/>
                <a:gd name="T89" fmla="*/ 186044436 h 243"/>
                <a:gd name="T90" fmla="*/ 223744351 w 444"/>
                <a:gd name="T91" fmla="*/ 186910378 h 243"/>
                <a:gd name="T92" fmla="*/ 208796514 w 444"/>
                <a:gd name="T93" fmla="*/ 184205823 h 243"/>
                <a:gd name="T94" fmla="*/ 195731979 w 444"/>
                <a:gd name="T95" fmla="*/ 190959803 h 243"/>
                <a:gd name="T96" fmla="*/ 175396480 w 444"/>
                <a:gd name="T97" fmla="*/ 210482639 h 243"/>
                <a:gd name="T98" fmla="*/ 163283491 w 444"/>
                <a:gd name="T99" fmla="*/ 212344836 h 243"/>
                <a:gd name="T100" fmla="*/ 154100030 w 444"/>
                <a:gd name="T101" fmla="*/ 188904099 h 243"/>
                <a:gd name="T102" fmla="*/ 138424749 w 444"/>
                <a:gd name="T103" fmla="*/ 191737759 h 243"/>
                <a:gd name="T104" fmla="*/ 122602031 w 444"/>
                <a:gd name="T105" fmla="*/ 174631184 h 243"/>
                <a:gd name="T106" fmla="*/ 103825426 w 444"/>
                <a:gd name="T107" fmla="*/ 166153031 h 243"/>
                <a:gd name="T108" fmla="*/ 75178420 w 444"/>
                <a:gd name="T109" fmla="*/ 166995389 h 243"/>
                <a:gd name="T110" fmla="*/ 54631961 w 444"/>
                <a:gd name="T111" fmla="*/ 157974549 h 24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44"/>
                <a:gd name="T169" fmla="*/ 0 h 243"/>
                <a:gd name="T170" fmla="*/ 444 w 444"/>
                <a:gd name="T171" fmla="*/ 243 h 24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44" h="243">
                  <a:moveTo>
                    <a:pt x="43" y="168"/>
                  </a:moveTo>
                  <a:cubicBezTo>
                    <a:pt x="43" y="167"/>
                    <a:pt x="42" y="166"/>
                    <a:pt x="42" y="165"/>
                  </a:cubicBezTo>
                  <a:cubicBezTo>
                    <a:pt x="41" y="164"/>
                    <a:pt x="41" y="162"/>
                    <a:pt x="40" y="161"/>
                  </a:cubicBezTo>
                  <a:cubicBezTo>
                    <a:pt x="39" y="160"/>
                    <a:pt x="39" y="160"/>
                    <a:pt x="38" y="159"/>
                  </a:cubicBezTo>
                  <a:cubicBezTo>
                    <a:pt x="37" y="159"/>
                    <a:pt x="36" y="158"/>
                    <a:pt x="35" y="157"/>
                  </a:cubicBezTo>
                  <a:cubicBezTo>
                    <a:pt x="35" y="156"/>
                    <a:pt x="35" y="156"/>
                    <a:pt x="35" y="155"/>
                  </a:cubicBezTo>
                  <a:cubicBezTo>
                    <a:pt x="35" y="155"/>
                    <a:pt x="34" y="155"/>
                    <a:pt x="34" y="154"/>
                  </a:cubicBezTo>
                  <a:cubicBezTo>
                    <a:pt x="33" y="154"/>
                    <a:pt x="31" y="155"/>
                    <a:pt x="30" y="154"/>
                  </a:cubicBezTo>
                  <a:cubicBezTo>
                    <a:pt x="29" y="154"/>
                    <a:pt x="28" y="153"/>
                    <a:pt x="27" y="152"/>
                  </a:cubicBezTo>
                  <a:cubicBezTo>
                    <a:pt x="26" y="151"/>
                    <a:pt x="25" y="150"/>
                    <a:pt x="24" y="150"/>
                  </a:cubicBezTo>
                  <a:cubicBezTo>
                    <a:pt x="22" y="150"/>
                    <a:pt x="21" y="150"/>
                    <a:pt x="19" y="150"/>
                  </a:cubicBezTo>
                  <a:cubicBezTo>
                    <a:pt x="19" y="150"/>
                    <a:pt x="19" y="150"/>
                    <a:pt x="19" y="149"/>
                  </a:cubicBezTo>
                  <a:cubicBezTo>
                    <a:pt x="18" y="148"/>
                    <a:pt x="19" y="146"/>
                    <a:pt x="18" y="145"/>
                  </a:cubicBezTo>
                  <a:cubicBezTo>
                    <a:pt x="17" y="145"/>
                    <a:pt x="17" y="144"/>
                    <a:pt x="17" y="143"/>
                  </a:cubicBezTo>
                  <a:cubicBezTo>
                    <a:pt x="17" y="142"/>
                    <a:pt x="17" y="142"/>
                    <a:pt x="18" y="142"/>
                  </a:cubicBezTo>
                  <a:cubicBezTo>
                    <a:pt x="18" y="142"/>
                    <a:pt x="18" y="141"/>
                    <a:pt x="18" y="140"/>
                  </a:cubicBezTo>
                  <a:cubicBezTo>
                    <a:pt x="17" y="139"/>
                    <a:pt x="16" y="138"/>
                    <a:pt x="15" y="136"/>
                  </a:cubicBezTo>
                  <a:cubicBezTo>
                    <a:pt x="14" y="134"/>
                    <a:pt x="13" y="132"/>
                    <a:pt x="12" y="130"/>
                  </a:cubicBezTo>
                  <a:cubicBezTo>
                    <a:pt x="12" y="129"/>
                    <a:pt x="12" y="128"/>
                    <a:pt x="13" y="127"/>
                  </a:cubicBezTo>
                  <a:cubicBezTo>
                    <a:pt x="13" y="126"/>
                    <a:pt x="12" y="125"/>
                    <a:pt x="12" y="124"/>
                  </a:cubicBezTo>
                  <a:cubicBezTo>
                    <a:pt x="11" y="124"/>
                    <a:pt x="10" y="123"/>
                    <a:pt x="10" y="122"/>
                  </a:cubicBezTo>
                  <a:cubicBezTo>
                    <a:pt x="9" y="120"/>
                    <a:pt x="10" y="118"/>
                    <a:pt x="10" y="116"/>
                  </a:cubicBezTo>
                  <a:cubicBezTo>
                    <a:pt x="9" y="115"/>
                    <a:pt x="9" y="114"/>
                    <a:pt x="8" y="113"/>
                  </a:cubicBezTo>
                  <a:cubicBezTo>
                    <a:pt x="7" y="111"/>
                    <a:pt x="5" y="109"/>
                    <a:pt x="3" y="107"/>
                  </a:cubicBezTo>
                  <a:cubicBezTo>
                    <a:pt x="3" y="107"/>
                    <a:pt x="2" y="106"/>
                    <a:pt x="2" y="105"/>
                  </a:cubicBezTo>
                  <a:cubicBezTo>
                    <a:pt x="2" y="103"/>
                    <a:pt x="3" y="100"/>
                    <a:pt x="2" y="98"/>
                  </a:cubicBezTo>
                  <a:cubicBezTo>
                    <a:pt x="1" y="97"/>
                    <a:pt x="1" y="96"/>
                    <a:pt x="0" y="95"/>
                  </a:cubicBezTo>
                  <a:cubicBezTo>
                    <a:pt x="0" y="93"/>
                    <a:pt x="0" y="91"/>
                    <a:pt x="0" y="90"/>
                  </a:cubicBezTo>
                  <a:cubicBezTo>
                    <a:pt x="1" y="89"/>
                    <a:pt x="2" y="88"/>
                    <a:pt x="2" y="87"/>
                  </a:cubicBezTo>
                  <a:cubicBezTo>
                    <a:pt x="2" y="86"/>
                    <a:pt x="3" y="85"/>
                    <a:pt x="3" y="84"/>
                  </a:cubicBezTo>
                  <a:cubicBezTo>
                    <a:pt x="3" y="82"/>
                    <a:pt x="3" y="81"/>
                    <a:pt x="4" y="78"/>
                  </a:cubicBezTo>
                  <a:cubicBezTo>
                    <a:pt x="4" y="77"/>
                    <a:pt x="4" y="76"/>
                    <a:pt x="3" y="75"/>
                  </a:cubicBezTo>
                  <a:cubicBezTo>
                    <a:pt x="3" y="73"/>
                    <a:pt x="4" y="71"/>
                    <a:pt x="3" y="69"/>
                  </a:cubicBezTo>
                  <a:cubicBezTo>
                    <a:pt x="3" y="66"/>
                    <a:pt x="4" y="64"/>
                    <a:pt x="5" y="62"/>
                  </a:cubicBezTo>
                  <a:cubicBezTo>
                    <a:pt x="6" y="59"/>
                    <a:pt x="7" y="56"/>
                    <a:pt x="9" y="53"/>
                  </a:cubicBezTo>
                  <a:cubicBezTo>
                    <a:pt x="10" y="50"/>
                    <a:pt x="11" y="46"/>
                    <a:pt x="12" y="42"/>
                  </a:cubicBezTo>
                  <a:cubicBezTo>
                    <a:pt x="12" y="41"/>
                    <a:pt x="13" y="41"/>
                    <a:pt x="13" y="40"/>
                  </a:cubicBezTo>
                  <a:cubicBezTo>
                    <a:pt x="13" y="38"/>
                    <a:pt x="13" y="37"/>
                    <a:pt x="13" y="35"/>
                  </a:cubicBezTo>
                  <a:cubicBezTo>
                    <a:pt x="13" y="34"/>
                    <a:pt x="14" y="34"/>
                    <a:pt x="14" y="33"/>
                  </a:cubicBezTo>
                  <a:cubicBezTo>
                    <a:pt x="15" y="32"/>
                    <a:pt x="15" y="30"/>
                    <a:pt x="15" y="29"/>
                  </a:cubicBezTo>
                  <a:cubicBezTo>
                    <a:pt x="15" y="27"/>
                    <a:pt x="16" y="26"/>
                    <a:pt x="16" y="25"/>
                  </a:cubicBezTo>
                  <a:cubicBezTo>
                    <a:pt x="16" y="24"/>
                    <a:pt x="16" y="22"/>
                    <a:pt x="16" y="21"/>
                  </a:cubicBezTo>
                  <a:cubicBezTo>
                    <a:pt x="16" y="20"/>
                    <a:pt x="15" y="20"/>
                    <a:pt x="15" y="19"/>
                  </a:cubicBezTo>
                  <a:cubicBezTo>
                    <a:pt x="15" y="15"/>
                    <a:pt x="15" y="11"/>
                    <a:pt x="15" y="8"/>
                  </a:cubicBezTo>
                  <a:cubicBezTo>
                    <a:pt x="15" y="8"/>
                    <a:pt x="15" y="7"/>
                    <a:pt x="16" y="7"/>
                  </a:cubicBezTo>
                  <a:cubicBezTo>
                    <a:pt x="17" y="7"/>
                    <a:pt x="18" y="8"/>
                    <a:pt x="20" y="9"/>
                  </a:cubicBezTo>
                  <a:cubicBezTo>
                    <a:pt x="22" y="9"/>
                    <a:pt x="25" y="8"/>
                    <a:pt x="27" y="9"/>
                  </a:cubicBezTo>
                  <a:cubicBezTo>
                    <a:pt x="28" y="10"/>
                    <a:pt x="29" y="10"/>
                    <a:pt x="29" y="11"/>
                  </a:cubicBezTo>
                  <a:cubicBezTo>
                    <a:pt x="29" y="13"/>
                    <a:pt x="28" y="15"/>
                    <a:pt x="29" y="17"/>
                  </a:cubicBezTo>
                  <a:cubicBezTo>
                    <a:pt x="29" y="17"/>
                    <a:pt x="30" y="17"/>
                    <a:pt x="30" y="17"/>
                  </a:cubicBezTo>
                  <a:cubicBezTo>
                    <a:pt x="31" y="16"/>
                    <a:pt x="31" y="15"/>
                    <a:pt x="32" y="13"/>
                  </a:cubicBezTo>
                  <a:cubicBezTo>
                    <a:pt x="33" y="12"/>
                    <a:pt x="32" y="9"/>
                    <a:pt x="31" y="8"/>
                  </a:cubicBezTo>
                  <a:cubicBezTo>
                    <a:pt x="30" y="6"/>
                    <a:pt x="31" y="3"/>
                    <a:pt x="31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40" y="0"/>
                    <a:pt x="245" y="1"/>
                    <a:pt x="250" y="4"/>
                  </a:cubicBezTo>
                  <a:cubicBezTo>
                    <a:pt x="252" y="4"/>
                    <a:pt x="255" y="3"/>
                    <a:pt x="258" y="4"/>
                  </a:cubicBezTo>
                  <a:cubicBezTo>
                    <a:pt x="260" y="4"/>
                    <a:pt x="261" y="6"/>
                    <a:pt x="262" y="7"/>
                  </a:cubicBezTo>
                  <a:cubicBezTo>
                    <a:pt x="263" y="7"/>
                    <a:pt x="263" y="7"/>
                    <a:pt x="263" y="8"/>
                  </a:cubicBezTo>
                  <a:cubicBezTo>
                    <a:pt x="264" y="8"/>
                    <a:pt x="265" y="9"/>
                    <a:pt x="266" y="9"/>
                  </a:cubicBezTo>
                  <a:cubicBezTo>
                    <a:pt x="268" y="9"/>
                    <a:pt x="270" y="9"/>
                    <a:pt x="272" y="9"/>
                  </a:cubicBezTo>
                  <a:cubicBezTo>
                    <a:pt x="274" y="9"/>
                    <a:pt x="277" y="9"/>
                    <a:pt x="278" y="9"/>
                  </a:cubicBezTo>
                  <a:cubicBezTo>
                    <a:pt x="278" y="9"/>
                    <a:pt x="278" y="9"/>
                    <a:pt x="278" y="9"/>
                  </a:cubicBezTo>
                  <a:cubicBezTo>
                    <a:pt x="283" y="9"/>
                    <a:pt x="287" y="9"/>
                    <a:pt x="291" y="9"/>
                  </a:cubicBezTo>
                  <a:cubicBezTo>
                    <a:pt x="294" y="10"/>
                    <a:pt x="296" y="10"/>
                    <a:pt x="299" y="12"/>
                  </a:cubicBezTo>
                  <a:cubicBezTo>
                    <a:pt x="300" y="12"/>
                    <a:pt x="302" y="13"/>
                    <a:pt x="303" y="14"/>
                  </a:cubicBezTo>
                  <a:cubicBezTo>
                    <a:pt x="305" y="16"/>
                    <a:pt x="307" y="16"/>
                    <a:pt x="309" y="17"/>
                  </a:cubicBezTo>
                  <a:cubicBezTo>
                    <a:pt x="310" y="17"/>
                    <a:pt x="310" y="18"/>
                    <a:pt x="310" y="19"/>
                  </a:cubicBezTo>
                  <a:cubicBezTo>
                    <a:pt x="311" y="20"/>
                    <a:pt x="312" y="19"/>
                    <a:pt x="312" y="20"/>
                  </a:cubicBezTo>
                  <a:cubicBezTo>
                    <a:pt x="313" y="21"/>
                    <a:pt x="312" y="22"/>
                    <a:pt x="313" y="23"/>
                  </a:cubicBezTo>
                  <a:cubicBezTo>
                    <a:pt x="313" y="25"/>
                    <a:pt x="314" y="26"/>
                    <a:pt x="315" y="26"/>
                  </a:cubicBezTo>
                  <a:cubicBezTo>
                    <a:pt x="315" y="27"/>
                    <a:pt x="316" y="27"/>
                    <a:pt x="316" y="27"/>
                  </a:cubicBezTo>
                  <a:cubicBezTo>
                    <a:pt x="316" y="28"/>
                    <a:pt x="317" y="28"/>
                    <a:pt x="318" y="29"/>
                  </a:cubicBezTo>
                  <a:cubicBezTo>
                    <a:pt x="318" y="29"/>
                    <a:pt x="319" y="30"/>
                    <a:pt x="319" y="30"/>
                  </a:cubicBezTo>
                  <a:cubicBezTo>
                    <a:pt x="322" y="33"/>
                    <a:pt x="325" y="35"/>
                    <a:pt x="327" y="38"/>
                  </a:cubicBezTo>
                  <a:cubicBezTo>
                    <a:pt x="327" y="38"/>
                    <a:pt x="326" y="40"/>
                    <a:pt x="327" y="40"/>
                  </a:cubicBezTo>
                  <a:cubicBezTo>
                    <a:pt x="327" y="42"/>
                    <a:pt x="327" y="44"/>
                    <a:pt x="327" y="45"/>
                  </a:cubicBezTo>
                  <a:cubicBezTo>
                    <a:pt x="328" y="50"/>
                    <a:pt x="328" y="54"/>
                    <a:pt x="327" y="58"/>
                  </a:cubicBezTo>
                  <a:cubicBezTo>
                    <a:pt x="327" y="61"/>
                    <a:pt x="326" y="64"/>
                    <a:pt x="325" y="67"/>
                  </a:cubicBezTo>
                  <a:cubicBezTo>
                    <a:pt x="324" y="70"/>
                    <a:pt x="322" y="71"/>
                    <a:pt x="321" y="74"/>
                  </a:cubicBezTo>
                  <a:cubicBezTo>
                    <a:pt x="321" y="74"/>
                    <a:pt x="321" y="75"/>
                    <a:pt x="321" y="75"/>
                  </a:cubicBezTo>
                  <a:cubicBezTo>
                    <a:pt x="324" y="75"/>
                    <a:pt x="326" y="75"/>
                    <a:pt x="328" y="75"/>
                  </a:cubicBezTo>
                  <a:cubicBezTo>
                    <a:pt x="330" y="74"/>
                    <a:pt x="331" y="73"/>
                    <a:pt x="333" y="72"/>
                  </a:cubicBezTo>
                  <a:cubicBezTo>
                    <a:pt x="336" y="70"/>
                    <a:pt x="340" y="69"/>
                    <a:pt x="343" y="67"/>
                  </a:cubicBezTo>
                  <a:cubicBezTo>
                    <a:pt x="345" y="67"/>
                    <a:pt x="346" y="67"/>
                    <a:pt x="347" y="67"/>
                  </a:cubicBezTo>
                  <a:cubicBezTo>
                    <a:pt x="349" y="66"/>
                    <a:pt x="350" y="67"/>
                    <a:pt x="351" y="66"/>
                  </a:cubicBezTo>
                  <a:cubicBezTo>
                    <a:pt x="353" y="64"/>
                    <a:pt x="352" y="61"/>
                    <a:pt x="352" y="58"/>
                  </a:cubicBezTo>
                  <a:cubicBezTo>
                    <a:pt x="355" y="56"/>
                    <a:pt x="358" y="56"/>
                    <a:pt x="361" y="56"/>
                  </a:cubicBezTo>
                  <a:cubicBezTo>
                    <a:pt x="362" y="56"/>
                    <a:pt x="363" y="56"/>
                    <a:pt x="364" y="56"/>
                  </a:cubicBezTo>
                  <a:cubicBezTo>
                    <a:pt x="365" y="56"/>
                    <a:pt x="365" y="57"/>
                    <a:pt x="366" y="57"/>
                  </a:cubicBezTo>
                  <a:cubicBezTo>
                    <a:pt x="367" y="57"/>
                    <a:pt x="369" y="57"/>
                    <a:pt x="371" y="57"/>
                  </a:cubicBezTo>
                  <a:cubicBezTo>
                    <a:pt x="372" y="56"/>
                    <a:pt x="372" y="55"/>
                    <a:pt x="373" y="55"/>
                  </a:cubicBezTo>
                  <a:cubicBezTo>
                    <a:pt x="376" y="53"/>
                    <a:pt x="378" y="50"/>
                    <a:pt x="380" y="48"/>
                  </a:cubicBezTo>
                  <a:cubicBezTo>
                    <a:pt x="382" y="46"/>
                    <a:pt x="383" y="45"/>
                    <a:pt x="385" y="44"/>
                  </a:cubicBezTo>
                  <a:cubicBezTo>
                    <a:pt x="388" y="43"/>
                    <a:pt x="390" y="43"/>
                    <a:pt x="393" y="43"/>
                  </a:cubicBezTo>
                  <a:cubicBezTo>
                    <a:pt x="398" y="43"/>
                    <a:pt x="404" y="44"/>
                    <a:pt x="409" y="43"/>
                  </a:cubicBezTo>
                  <a:cubicBezTo>
                    <a:pt x="412" y="43"/>
                    <a:pt x="415" y="42"/>
                    <a:pt x="417" y="41"/>
                  </a:cubicBezTo>
                  <a:cubicBezTo>
                    <a:pt x="418" y="41"/>
                    <a:pt x="418" y="41"/>
                    <a:pt x="418" y="40"/>
                  </a:cubicBezTo>
                  <a:cubicBezTo>
                    <a:pt x="419" y="39"/>
                    <a:pt x="420" y="37"/>
                    <a:pt x="421" y="35"/>
                  </a:cubicBezTo>
                  <a:cubicBezTo>
                    <a:pt x="422" y="34"/>
                    <a:pt x="421" y="33"/>
                    <a:pt x="422" y="32"/>
                  </a:cubicBezTo>
                  <a:cubicBezTo>
                    <a:pt x="422" y="31"/>
                    <a:pt x="422" y="31"/>
                    <a:pt x="422" y="31"/>
                  </a:cubicBezTo>
                  <a:cubicBezTo>
                    <a:pt x="423" y="30"/>
                    <a:pt x="424" y="29"/>
                    <a:pt x="424" y="28"/>
                  </a:cubicBezTo>
                  <a:cubicBezTo>
                    <a:pt x="426" y="27"/>
                    <a:pt x="426" y="24"/>
                    <a:pt x="427" y="23"/>
                  </a:cubicBezTo>
                  <a:cubicBezTo>
                    <a:pt x="428" y="21"/>
                    <a:pt x="430" y="21"/>
                    <a:pt x="431" y="20"/>
                  </a:cubicBezTo>
                  <a:cubicBezTo>
                    <a:pt x="433" y="19"/>
                    <a:pt x="434" y="19"/>
                    <a:pt x="435" y="20"/>
                  </a:cubicBezTo>
                  <a:cubicBezTo>
                    <a:pt x="438" y="21"/>
                    <a:pt x="440" y="19"/>
                    <a:pt x="441" y="21"/>
                  </a:cubicBezTo>
                  <a:cubicBezTo>
                    <a:pt x="441" y="24"/>
                    <a:pt x="441" y="24"/>
                    <a:pt x="441" y="24"/>
                  </a:cubicBezTo>
                  <a:cubicBezTo>
                    <a:pt x="441" y="25"/>
                    <a:pt x="442" y="27"/>
                    <a:pt x="441" y="28"/>
                  </a:cubicBezTo>
                  <a:cubicBezTo>
                    <a:pt x="441" y="30"/>
                    <a:pt x="441" y="30"/>
                    <a:pt x="440" y="32"/>
                  </a:cubicBezTo>
                  <a:cubicBezTo>
                    <a:pt x="440" y="35"/>
                    <a:pt x="440" y="38"/>
                    <a:pt x="440" y="40"/>
                  </a:cubicBezTo>
                  <a:cubicBezTo>
                    <a:pt x="441" y="41"/>
                    <a:pt x="441" y="42"/>
                    <a:pt x="442" y="42"/>
                  </a:cubicBezTo>
                  <a:cubicBezTo>
                    <a:pt x="444" y="43"/>
                    <a:pt x="444" y="43"/>
                    <a:pt x="444" y="43"/>
                  </a:cubicBezTo>
                  <a:cubicBezTo>
                    <a:pt x="444" y="45"/>
                    <a:pt x="442" y="46"/>
                    <a:pt x="441" y="47"/>
                  </a:cubicBezTo>
                  <a:cubicBezTo>
                    <a:pt x="440" y="48"/>
                    <a:pt x="439" y="49"/>
                    <a:pt x="438" y="50"/>
                  </a:cubicBezTo>
                  <a:cubicBezTo>
                    <a:pt x="437" y="50"/>
                    <a:pt x="436" y="49"/>
                    <a:pt x="434" y="50"/>
                  </a:cubicBezTo>
                  <a:cubicBezTo>
                    <a:pt x="434" y="50"/>
                    <a:pt x="433" y="51"/>
                    <a:pt x="433" y="51"/>
                  </a:cubicBezTo>
                  <a:cubicBezTo>
                    <a:pt x="432" y="51"/>
                    <a:pt x="432" y="51"/>
                    <a:pt x="431" y="51"/>
                  </a:cubicBezTo>
                  <a:cubicBezTo>
                    <a:pt x="431" y="51"/>
                    <a:pt x="431" y="50"/>
                    <a:pt x="430" y="50"/>
                  </a:cubicBezTo>
                  <a:cubicBezTo>
                    <a:pt x="430" y="50"/>
                    <a:pt x="429" y="50"/>
                    <a:pt x="429" y="50"/>
                  </a:cubicBezTo>
                  <a:cubicBezTo>
                    <a:pt x="428" y="50"/>
                    <a:pt x="427" y="51"/>
                    <a:pt x="427" y="52"/>
                  </a:cubicBezTo>
                  <a:cubicBezTo>
                    <a:pt x="426" y="54"/>
                    <a:pt x="425" y="55"/>
                    <a:pt x="423" y="56"/>
                  </a:cubicBezTo>
                  <a:cubicBezTo>
                    <a:pt x="422" y="56"/>
                    <a:pt x="420" y="56"/>
                    <a:pt x="419" y="56"/>
                  </a:cubicBezTo>
                  <a:cubicBezTo>
                    <a:pt x="418" y="56"/>
                    <a:pt x="418" y="57"/>
                    <a:pt x="417" y="58"/>
                  </a:cubicBezTo>
                  <a:cubicBezTo>
                    <a:pt x="416" y="60"/>
                    <a:pt x="415" y="62"/>
                    <a:pt x="414" y="64"/>
                  </a:cubicBezTo>
                  <a:cubicBezTo>
                    <a:pt x="414" y="68"/>
                    <a:pt x="413" y="71"/>
                    <a:pt x="414" y="74"/>
                  </a:cubicBezTo>
                  <a:cubicBezTo>
                    <a:pt x="415" y="76"/>
                    <a:pt x="417" y="76"/>
                    <a:pt x="419" y="77"/>
                  </a:cubicBezTo>
                  <a:cubicBezTo>
                    <a:pt x="419" y="77"/>
                    <a:pt x="419" y="77"/>
                    <a:pt x="419" y="78"/>
                  </a:cubicBezTo>
                  <a:cubicBezTo>
                    <a:pt x="418" y="79"/>
                    <a:pt x="417" y="79"/>
                    <a:pt x="416" y="79"/>
                  </a:cubicBezTo>
                  <a:cubicBezTo>
                    <a:pt x="415" y="80"/>
                    <a:pt x="413" y="79"/>
                    <a:pt x="412" y="79"/>
                  </a:cubicBezTo>
                  <a:cubicBezTo>
                    <a:pt x="410" y="80"/>
                    <a:pt x="408" y="80"/>
                    <a:pt x="406" y="80"/>
                  </a:cubicBezTo>
                  <a:cubicBezTo>
                    <a:pt x="404" y="81"/>
                    <a:pt x="401" y="80"/>
                    <a:pt x="398" y="81"/>
                  </a:cubicBezTo>
                  <a:cubicBezTo>
                    <a:pt x="395" y="82"/>
                    <a:pt x="393" y="82"/>
                    <a:pt x="390" y="84"/>
                  </a:cubicBezTo>
                  <a:cubicBezTo>
                    <a:pt x="390" y="84"/>
                    <a:pt x="390" y="85"/>
                    <a:pt x="390" y="86"/>
                  </a:cubicBezTo>
                  <a:cubicBezTo>
                    <a:pt x="393" y="86"/>
                    <a:pt x="395" y="84"/>
                    <a:pt x="398" y="83"/>
                  </a:cubicBezTo>
                  <a:cubicBezTo>
                    <a:pt x="398" y="82"/>
                    <a:pt x="400" y="82"/>
                    <a:pt x="401" y="83"/>
                  </a:cubicBezTo>
                  <a:cubicBezTo>
                    <a:pt x="401" y="83"/>
                    <a:pt x="401" y="85"/>
                    <a:pt x="401" y="85"/>
                  </a:cubicBezTo>
                  <a:cubicBezTo>
                    <a:pt x="401" y="86"/>
                    <a:pt x="401" y="86"/>
                    <a:pt x="400" y="86"/>
                  </a:cubicBezTo>
                  <a:cubicBezTo>
                    <a:pt x="397" y="87"/>
                    <a:pt x="393" y="88"/>
                    <a:pt x="390" y="89"/>
                  </a:cubicBezTo>
                  <a:cubicBezTo>
                    <a:pt x="389" y="90"/>
                    <a:pt x="388" y="91"/>
                    <a:pt x="387" y="92"/>
                  </a:cubicBezTo>
                  <a:cubicBezTo>
                    <a:pt x="386" y="93"/>
                    <a:pt x="386" y="95"/>
                    <a:pt x="386" y="97"/>
                  </a:cubicBezTo>
                  <a:cubicBezTo>
                    <a:pt x="385" y="99"/>
                    <a:pt x="384" y="100"/>
                    <a:pt x="383" y="101"/>
                  </a:cubicBezTo>
                  <a:cubicBezTo>
                    <a:pt x="382" y="101"/>
                    <a:pt x="382" y="101"/>
                    <a:pt x="382" y="101"/>
                  </a:cubicBezTo>
                  <a:cubicBezTo>
                    <a:pt x="381" y="102"/>
                    <a:pt x="380" y="103"/>
                    <a:pt x="380" y="103"/>
                  </a:cubicBezTo>
                  <a:cubicBezTo>
                    <a:pt x="379" y="104"/>
                    <a:pt x="377" y="104"/>
                    <a:pt x="376" y="103"/>
                  </a:cubicBezTo>
                  <a:cubicBezTo>
                    <a:pt x="376" y="103"/>
                    <a:pt x="375" y="102"/>
                    <a:pt x="374" y="103"/>
                  </a:cubicBezTo>
                  <a:cubicBezTo>
                    <a:pt x="374" y="103"/>
                    <a:pt x="374" y="104"/>
                    <a:pt x="374" y="105"/>
                  </a:cubicBezTo>
                  <a:cubicBezTo>
                    <a:pt x="374" y="106"/>
                    <a:pt x="375" y="107"/>
                    <a:pt x="376" y="108"/>
                  </a:cubicBezTo>
                  <a:cubicBezTo>
                    <a:pt x="376" y="109"/>
                    <a:pt x="376" y="111"/>
                    <a:pt x="376" y="112"/>
                  </a:cubicBezTo>
                  <a:cubicBezTo>
                    <a:pt x="374" y="115"/>
                    <a:pt x="372" y="118"/>
                    <a:pt x="371" y="121"/>
                  </a:cubicBezTo>
                  <a:cubicBezTo>
                    <a:pt x="370" y="122"/>
                    <a:pt x="370" y="123"/>
                    <a:pt x="369" y="124"/>
                  </a:cubicBezTo>
                  <a:cubicBezTo>
                    <a:pt x="369" y="124"/>
                    <a:pt x="368" y="125"/>
                    <a:pt x="368" y="124"/>
                  </a:cubicBezTo>
                  <a:cubicBezTo>
                    <a:pt x="368" y="123"/>
                    <a:pt x="369" y="122"/>
                    <a:pt x="370" y="120"/>
                  </a:cubicBezTo>
                  <a:cubicBezTo>
                    <a:pt x="370" y="119"/>
                    <a:pt x="370" y="117"/>
                    <a:pt x="369" y="116"/>
                  </a:cubicBezTo>
                  <a:cubicBezTo>
                    <a:pt x="369" y="115"/>
                    <a:pt x="368" y="115"/>
                    <a:pt x="368" y="114"/>
                  </a:cubicBezTo>
                  <a:cubicBezTo>
                    <a:pt x="368" y="112"/>
                    <a:pt x="368" y="109"/>
                    <a:pt x="368" y="106"/>
                  </a:cubicBezTo>
                  <a:cubicBezTo>
                    <a:pt x="368" y="105"/>
                    <a:pt x="369" y="104"/>
                    <a:pt x="370" y="103"/>
                  </a:cubicBezTo>
                  <a:cubicBezTo>
                    <a:pt x="370" y="102"/>
                    <a:pt x="370" y="102"/>
                    <a:pt x="370" y="102"/>
                  </a:cubicBezTo>
                  <a:cubicBezTo>
                    <a:pt x="368" y="101"/>
                    <a:pt x="367" y="103"/>
                    <a:pt x="367" y="104"/>
                  </a:cubicBezTo>
                  <a:cubicBezTo>
                    <a:pt x="366" y="105"/>
                    <a:pt x="366" y="106"/>
                    <a:pt x="366" y="107"/>
                  </a:cubicBezTo>
                  <a:cubicBezTo>
                    <a:pt x="365" y="111"/>
                    <a:pt x="366" y="115"/>
                    <a:pt x="365" y="119"/>
                  </a:cubicBezTo>
                  <a:cubicBezTo>
                    <a:pt x="364" y="121"/>
                    <a:pt x="365" y="123"/>
                    <a:pt x="364" y="126"/>
                  </a:cubicBezTo>
                  <a:cubicBezTo>
                    <a:pt x="363" y="126"/>
                    <a:pt x="363" y="127"/>
                    <a:pt x="364" y="128"/>
                  </a:cubicBezTo>
                  <a:cubicBezTo>
                    <a:pt x="365" y="130"/>
                    <a:pt x="367" y="130"/>
                    <a:pt x="368" y="132"/>
                  </a:cubicBezTo>
                  <a:cubicBezTo>
                    <a:pt x="368" y="132"/>
                    <a:pt x="368" y="133"/>
                    <a:pt x="368" y="134"/>
                  </a:cubicBezTo>
                  <a:cubicBezTo>
                    <a:pt x="366" y="135"/>
                    <a:pt x="365" y="134"/>
                    <a:pt x="364" y="135"/>
                  </a:cubicBezTo>
                  <a:cubicBezTo>
                    <a:pt x="364" y="137"/>
                    <a:pt x="367" y="138"/>
                    <a:pt x="369" y="138"/>
                  </a:cubicBezTo>
                  <a:cubicBezTo>
                    <a:pt x="369" y="138"/>
                    <a:pt x="369" y="139"/>
                    <a:pt x="368" y="140"/>
                  </a:cubicBezTo>
                  <a:cubicBezTo>
                    <a:pt x="367" y="141"/>
                    <a:pt x="365" y="143"/>
                    <a:pt x="363" y="142"/>
                  </a:cubicBezTo>
                  <a:cubicBezTo>
                    <a:pt x="362" y="142"/>
                    <a:pt x="361" y="142"/>
                    <a:pt x="361" y="142"/>
                  </a:cubicBezTo>
                  <a:cubicBezTo>
                    <a:pt x="360" y="143"/>
                    <a:pt x="361" y="144"/>
                    <a:pt x="361" y="145"/>
                  </a:cubicBezTo>
                  <a:cubicBezTo>
                    <a:pt x="362" y="145"/>
                    <a:pt x="362" y="146"/>
                    <a:pt x="363" y="146"/>
                  </a:cubicBezTo>
                  <a:cubicBezTo>
                    <a:pt x="363" y="146"/>
                    <a:pt x="363" y="147"/>
                    <a:pt x="363" y="148"/>
                  </a:cubicBezTo>
                  <a:cubicBezTo>
                    <a:pt x="362" y="148"/>
                    <a:pt x="362" y="148"/>
                    <a:pt x="361" y="149"/>
                  </a:cubicBezTo>
                  <a:cubicBezTo>
                    <a:pt x="359" y="150"/>
                    <a:pt x="357" y="149"/>
                    <a:pt x="355" y="150"/>
                  </a:cubicBezTo>
                  <a:cubicBezTo>
                    <a:pt x="352" y="151"/>
                    <a:pt x="351" y="154"/>
                    <a:pt x="349" y="156"/>
                  </a:cubicBezTo>
                  <a:cubicBezTo>
                    <a:pt x="347" y="159"/>
                    <a:pt x="344" y="156"/>
                    <a:pt x="341" y="158"/>
                  </a:cubicBezTo>
                  <a:cubicBezTo>
                    <a:pt x="341" y="158"/>
                    <a:pt x="341" y="158"/>
                    <a:pt x="340" y="159"/>
                  </a:cubicBezTo>
                  <a:cubicBezTo>
                    <a:pt x="340" y="160"/>
                    <a:pt x="339" y="162"/>
                    <a:pt x="338" y="164"/>
                  </a:cubicBezTo>
                  <a:cubicBezTo>
                    <a:pt x="338" y="164"/>
                    <a:pt x="337" y="165"/>
                    <a:pt x="337" y="165"/>
                  </a:cubicBezTo>
                  <a:cubicBezTo>
                    <a:pt x="334" y="167"/>
                    <a:pt x="331" y="168"/>
                    <a:pt x="328" y="171"/>
                  </a:cubicBezTo>
                  <a:cubicBezTo>
                    <a:pt x="327" y="172"/>
                    <a:pt x="326" y="174"/>
                    <a:pt x="325" y="175"/>
                  </a:cubicBezTo>
                  <a:cubicBezTo>
                    <a:pt x="325" y="176"/>
                    <a:pt x="324" y="177"/>
                    <a:pt x="324" y="177"/>
                  </a:cubicBezTo>
                  <a:cubicBezTo>
                    <a:pt x="324" y="178"/>
                    <a:pt x="323" y="179"/>
                    <a:pt x="322" y="179"/>
                  </a:cubicBezTo>
                  <a:cubicBezTo>
                    <a:pt x="321" y="181"/>
                    <a:pt x="321" y="183"/>
                    <a:pt x="320" y="184"/>
                  </a:cubicBezTo>
                  <a:cubicBezTo>
                    <a:pt x="320" y="185"/>
                    <a:pt x="319" y="185"/>
                    <a:pt x="319" y="186"/>
                  </a:cubicBezTo>
                  <a:cubicBezTo>
                    <a:pt x="318" y="187"/>
                    <a:pt x="318" y="189"/>
                    <a:pt x="318" y="191"/>
                  </a:cubicBezTo>
                  <a:cubicBezTo>
                    <a:pt x="318" y="193"/>
                    <a:pt x="318" y="196"/>
                    <a:pt x="318" y="199"/>
                  </a:cubicBezTo>
                  <a:cubicBezTo>
                    <a:pt x="319" y="200"/>
                    <a:pt x="319" y="202"/>
                    <a:pt x="320" y="203"/>
                  </a:cubicBezTo>
                  <a:cubicBezTo>
                    <a:pt x="321" y="204"/>
                    <a:pt x="322" y="206"/>
                    <a:pt x="322" y="207"/>
                  </a:cubicBezTo>
                  <a:cubicBezTo>
                    <a:pt x="323" y="208"/>
                    <a:pt x="323" y="210"/>
                    <a:pt x="322" y="211"/>
                  </a:cubicBezTo>
                  <a:cubicBezTo>
                    <a:pt x="322" y="214"/>
                    <a:pt x="324" y="217"/>
                    <a:pt x="326" y="220"/>
                  </a:cubicBezTo>
                  <a:cubicBezTo>
                    <a:pt x="328" y="223"/>
                    <a:pt x="327" y="227"/>
                    <a:pt x="326" y="230"/>
                  </a:cubicBezTo>
                  <a:cubicBezTo>
                    <a:pt x="326" y="232"/>
                    <a:pt x="325" y="232"/>
                    <a:pt x="324" y="234"/>
                  </a:cubicBezTo>
                  <a:cubicBezTo>
                    <a:pt x="324" y="235"/>
                    <a:pt x="324" y="237"/>
                    <a:pt x="324" y="239"/>
                  </a:cubicBezTo>
                  <a:cubicBezTo>
                    <a:pt x="323" y="240"/>
                    <a:pt x="323" y="241"/>
                    <a:pt x="322" y="242"/>
                  </a:cubicBezTo>
                  <a:cubicBezTo>
                    <a:pt x="321" y="242"/>
                    <a:pt x="320" y="242"/>
                    <a:pt x="319" y="242"/>
                  </a:cubicBezTo>
                  <a:cubicBezTo>
                    <a:pt x="318" y="243"/>
                    <a:pt x="317" y="243"/>
                    <a:pt x="316" y="242"/>
                  </a:cubicBezTo>
                  <a:cubicBezTo>
                    <a:pt x="316" y="242"/>
                    <a:pt x="316" y="242"/>
                    <a:pt x="316" y="242"/>
                  </a:cubicBezTo>
                  <a:cubicBezTo>
                    <a:pt x="315" y="241"/>
                    <a:pt x="315" y="239"/>
                    <a:pt x="315" y="238"/>
                  </a:cubicBezTo>
                  <a:cubicBezTo>
                    <a:pt x="315" y="237"/>
                    <a:pt x="313" y="237"/>
                    <a:pt x="313" y="236"/>
                  </a:cubicBezTo>
                  <a:cubicBezTo>
                    <a:pt x="313" y="235"/>
                    <a:pt x="312" y="234"/>
                    <a:pt x="312" y="234"/>
                  </a:cubicBezTo>
                  <a:cubicBezTo>
                    <a:pt x="311" y="233"/>
                    <a:pt x="312" y="232"/>
                    <a:pt x="311" y="231"/>
                  </a:cubicBezTo>
                  <a:cubicBezTo>
                    <a:pt x="311" y="230"/>
                    <a:pt x="310" y="230"/>
                    <a:pt x="310" y="229"/>
                  </a:cubicBezTo>
                  <a:cubicBezTo>
                    <a:pt x="309" y="228"/>
                    <a:pt x="310" y="227"/>
                    <a:pt x="309" y="225"/>
                  </a:cubicBezTo>
                  <a:cubicBezTo>
                    <a:pt x="309" y="224"/>
                    <a:pt x="309" y="224"/>
                    <a:pt x="308" y="223"/>
                  </a:cubicBezTo>
                  <a:cubicBezTo>
                    <a:pt x="307" y="222"/>
                    <a:pt x="307" y="222"/>
                    <a:pt x="307" y="221"/>
                  </a:cubicBezTo>
                  <a:cubicBezTo>
                    <a:pt x="306" y="220"/>
                    <a:pt x="307" y="218"/>
                    <a:pt x="306" y="217"/>
                  </a:cubicBezTo>
                  <a:cubicBezTo>
                    <a:pt x="306" y="216"/>
                    <a:pt x="305" y="215"/>
                    <a:pt x="304" y="215"/>
                  </a:cubicBezTo>
                  <a:cubicBezTo>
                    <a:pt x="304" y="214"/>
                    <a:pt x="304" y="213"/>
                    <a:pt x="304" y="212"/>
                  </a:cubicBezTo>
                  <a:cubicBezTo>
                    <a:pt x="305" y="211"/>
                    <a:pt x="306" y="211"/>
                    <a:pt x="307" y="210"/>
                  </a:cubicBezTo>
                  <a:cubicBezTo>
                    <a:pt x="307" y="207"/>
                    <a:pt x="307" y="205"/>
                    <a:pt x="306" y="203"/>
                  </a:cubicBezTo>
                  <a:cubicBezTo>
                    <a:pt x="306" y="202"/>
                    <a:pt x="305" y="202"/>
                    <a:pt x="304" y="201"/>
                  </a:cubicBezTo>
                  <a:cubicBezTo>
                    <a:pt x="302" y="199"/>
                    <a:pt x="300" y="197"/>
                    <a:pt x="297" y="196"/>
                  </a:cubicBezTo>
                  <a:cubicBezTo>
                    <a:pt x="295" y="194"/>
                    <a:pt x="292" y="196"/>
                    <a:pt x="290" y="197"/>
                  </a:cubicBezTo>
                  <a:cubicBezTo>
                    <a:pt x="289" y="198"/>
                    <a:pt x="288" y="198"/>
                    <a:pt x="287" y="197"/>
                  </a:cubicBezTo>
                  <a:cubicBezTo>
                    <a:pt x="287" y="196"/>
                    <a:pt x="287" y="195"/>
                    <a:pt x="286" y="195"/>
                  </a:cubicBezTo>
                  <a:cubicBezTo>
                    <a:pt x="285" y="194"/>
                    <a:pt x="283" y="193"/>
                    <a:pt x="282" y="192"/>
                  </a:cubicBezTo>
                  <a:cubicBezTo>
                    <a:pt x="279" y="190"/>
                    <a:pt x="275" y="192"/>
                    <a:pt x="272" y="191"/>
                  </a:cubicBezTo>
                  <a:cubicBezTo>
                    <a:pt x="270" y="191"/>
                    <a:pt x="269" y="191"/>
                    <a:pt x="268" y="191"/>
                  </a:cubicBezTo>
                  <a:cubicBezTo>
                    <a:pt x="266" y="192"/>
                    <a:pt x="265" y="191"/>
                    <a:pt x="263" y="191"/>
                  </a:cubicBezTo>
                  <a:cubicBezTo>
                    <a:pt x="261" y="191"/>
                    <a:pt x="260" y="191"/>
                    <a:pt x="258" y="192"/>
                  </a:cubicBezTo>
                  <a:cubicBezTo>
                    <a:pt x="256" y="192"/>
                    <a:pt x="255" y="193"/>
                    <a:pt x="254" y="193"/>
                  </a:cubicBezTo>
                  <a:cubicBezTo>
                    <a:pt x="253" y="193"/>
                    <a:pt x="251" y="193"/>
                    <a:pt x="250" y="194"/>
                  </a:cubicBezTo>
                  <a:cubicBezTo>
                    <a:pt x="250" y="194"/>
                    <a:pt x="250" y="194"/>
                    <a:pt x="250" y="195"/>
                  </a:cubicBezTo>
                  <a:cubicBezTo>
                    <a:pt x="251" y="196"/>
                    <a:pt x="251" y="197"/>
                    <a:pt x="251" y="198"/>
                  </a:cubicBezTo>
                  <a:cubicBezTo>
                    <a:pt x="251" y="200"/>
                    <a:pt x="250" y="201"/>
                    <a:pt x="249" y="202"/>
                  </a:cubicBezTo>
                  <a:cubicBezTo>
                    <a:pt x="249" y="203"/>
                    <a:pt x="248" y="203"/>
                    <a:pt x="248" y="202"/>
                  </a:cubicBezTo>
                  <a:cubicBezTo>
                    <a:pt x="247" y="202"/>
                    <a:pt x="247" y="201"/>
                    <a:pt x="246" y="202"/>
                  </a:cubicBezTo>
                  <a:cubicBezTo>
                    <a:pt x="245" y="203"/>
                    <a:pt x="243" y="203"/>
                    <a:pt x="242" y="202"/>
                  </a:cubicBezTo>
                  <a:cubicBezTo>
                    <a:pt x="242" y="201"/>
                    <a:pt x="242" y="200"/>
                    <a:pt x="241" y="199"/>
                  </a:cubicBezTo>
                  <a:cubicBezTo>
                    <a:pt x="240" y="199"/>
                    <a:pt x="239" y="199"/>
                    <a:pt x="238" y="198"/>
                  </a:cubicBezTo>
                  <a:cubicBezTo>
                    <a:pt x="237" y="198"/>
                    <a:pt x="236" y="198"/>
                    <a:pt x="234" y="198"/>
                  </a:cubicBezTo>
                  <a:cubicBezTo>
                    <a:pt x="233" y="199"/>
                    <a:pt x="231" y="199"/>
                    <a:pt x="230" y="198"/>
                  </a:cubicBezTo>
                  <a:cubicBezTo>
                    <a:pt x="229" y="198"/>
                    <a:pt x="228" y="198"/>
                    <a:pt x="227" y="197"/>
                  </a:cubicBezTo>
                  <a:cubicBezTo>
                    <a:pt x="226" y="197"/>
                    <a:pt x="226" y="197"/>
                    <a:pt x="225" y="196"/>
                  </a:cubicBezTo>
                  <a:cubicBezTo>
                    <a:pt x="224" y="196"/>
                    <a:pt x="224" y="196"/>
                    <a:pt x="223" y="196"/>
                  </a:cubicBezTo>
                  <a:cubicBezTo>
                    <a:pt x="222" y="197"/>
                    <a:pt x="221" y="197"/>
                    <a:pt x="219" y="197"/>
                  </a:cubicBezTo>
                  <a:cubicBezTo>
                    <a:pt x="218" y="197"/>
                    <a:pt x="217" y="199"/>
                    <a:pt x="216" y="200"/>
                  </a:cubicBezTo>
                  <a:cubicBezTo>
                    <a:pt x="215" y="200"/>
                    <a:pt x="214" y="199"/>
                    <a:pt x="213" y="200"/>
                  </a:cubicBezTo>
                  <a:cubicBezTo>
                    <a:pt x="212" y="200"/>
                    <a:pt x="211" y="202"/>
                    <a:pt x="211" y="203"/>
                  </a:cubicBezTo>
                  <a:cubicBezTo>
                    <a:pt x="208" y="205"/>
                    <a:pt x="205" y="208"/>
                    <a:pt x="202" y="209"/>
                  </a:cubicBezTo>
                  <a:cubicBezTo>
                    <a:pt x="201" y="210"/>
                    <a:pt x="199" y="210"/>
                    <a:pt x="198" y="211"/>
                  </a:cubicBezTo>
                  <a:cubicBezTo>
                    <a:pt x="196" y="212"/>
                    <a:pt x="194" y="213"/>
                    <a:pt x="193" y="215"/>
                  </a:cubicBezTo>
                  <a:cubicBezTo>
                    <a:pt x="189" y="216"/>
                    <a:pt x="191" y="220"/>
                    <a:pt x="190" y="223"/>
                  </a:cubicBezTo>
                  <a:cubicBezTo>
                    <a:pt x="190" y="223"/>
                    <a:pt x="189" y="223"/>
                    <a:pt x="189" y="224"/>
                  </a:cubicBezTo>
                  <a:cubicBezTo>
                    <a:pt x="189" y="225"/>
                    <a:pt x="189" y="226"/>
                    <a:pt x="190" y="228"/>
                  </a:cubicBezTo>
                  <a:cubicBezTo>
                    <a:pt x="190" y="230"/>
                    <a:pt x="190" y="232"/>
                    <a:pt x="190" y="234"/>
                  </a:cubicBezTo>
                  <a:cubicBezTo>
                    <a:pt x="188" y="233"/>
                    <a:pt x="188" y="233"/>
                    <a:pt x="188" y="233"/>
                  </a:cubicBezTo>
                  <a:cubicBezTo>
                    <a:pt x="187" y="233"/>
                    <a:pt x="186" y="234"/>
                    <a:pt x="185" y="233"/>
                  </a:cubicBezTo>
                  <a:cubicBezTo>
                    <a:pt x="182" y="231"/>
                    <a:pt x="178" y="230"/>
                    <a:pt x="176" y="226"/>
                  </a:cubicBezTo>
                  <a:cubicBezTo>
                    <a:pt x="175" y="225"/>
                    <a:pt x="176" y="223"/>
                    <a:pt x="175" y="222"/>
                  </a:cubicBezTo>
                  <a:cubicBezTo>
                    <a:pt x="174" y="220"/>
                    <a:pt x="172" y="217"/>
                    <a:pt x="171" y="214"/>
                  </a:cubicBezTo>
                  <a:cubicBezTo>
                    <a:pt x="170" y="214"/>
                    <a:pt x="170" y="213"/>
                    <a:pt x="170" y="212"/>
                  </a:cubicBezTo>
                  <a:cubicBezTo>
                    <a:pt x="169" y="209"/>
                    <a:pt x="168" y="206"/>
                    <a:pt x="167" y="203"/>
                  </a:cubicBezTo>
                  <a:cubicBezTo>
                    <a:pt x="167" y="203"/>
                    <a:pt x="167" y="202"/>
                    <a:pt x="166" y="201"/>
                  </a:cubicBezTo>
                  <a:cubicBezTo>
                    <a:pt x="164" y="200"/>
                    <a:pt x="163" y="198"/>
                    <a:pt x="161" y="197"/>
                  </a:cubicBezTo>
                  <a:cubicBezTo>
                    <a:pt x="159" y="196"/>
                    <a:pt x="156" y="196"/>
                    <a:pt x="154" y="197"/>
                  </a:cubicBezTo>
                  <a:cubicBezTo>
                    <a:pt x="153" y="197"/>
                    <a:pt x="152" y="197"/>
                    <a:pt x="152" y="198"/>
                  </a:cubicBezTo>
                  <a:cubicBezTo>
                    <a:pt x="152" y="199"/>
                    <a:pt x="151" y="201"/>
                    <a:pt x="151" y="202"/>
                  </a:cubicBezTo>
                  <a:cubicBezTo>
                    <a:pt x="151" y="203"/>
                    <a:pt x="150" y="204"/>
                    <a:pt x="149" y="204"/>
                  </a:cubicBezTo>
                  <a:cubicBezTo>
                    <a:pt x="148" y="204"/>
                    <a:pt x="147" y="204"/>
                    <a:pt x="147" y="204"/>
                  </a:cubicBezTo>
                  <a:cubicBezTo>
                    <a:pt x="145" y="203"/>
                    <a:pt x="144" y="201"/>
                    <a:pt x="142" y="200"/>
                  </a:cubicBezTo>
                  <a:cubicBezTo>
                    <a:pt x="141" y="199"/>
                    <a:pt x="140" y="199"/>
                    <a:pt x="139" y="198"/>
                  </a:cubicBezTo>
                  <a:cubicBezTo>
                    <a:pt x="136" y="196"/>
                    <a:pt x="136" y="194"/>
                    <a:pt x="136" y="191"/>
                  </a:cubicBezTo>
                  <a:cubicBezTo>
                    <a:pt x="135" y="189"/>
                    <a:pt x="133" y="188"/>
                    <a:pt x="132" y="186"/>
                  </a:cubicBezTo>
                  <a:cubicBezTo>
                    <a:pt x="131" y="184"/>
                    <a:pt x="129" y="183"/>
                    <a:pt x="127" y="181"/>
                  </a:cubicBezTo>
                  <a:cubicBezTo>
                    <a:pt x="127" y="180"/>
                    <a:pt x="127" y="178"/>
                    <a:pt x="126" y="177"/>
                  </a:cubicBezTo>
                  <a:cubicBezTo>
                    <a:pt x="124" y="176"/>
                    <a:pt x="122" y="177"/>
                    <a:pt x="120" y="177"/>
                  </a:cubicBezTo>
                  <a:cubicBezTo>
                    <a:pt x="120" y="178"/>
                    <a:pt x="117" y="178"/>
                    <a:pt x="116" y="177"/>
                  </a:cubicBezTo>
                  <a:cubicBezTo>
                    <a:pt x="114" y="177"/>
                    <a:pt x="113" y="177"/>
                    <a:pt x="112" y="177"/>
                  </a:cubicBezTo>
                  <a:cubicBezTo>
                    <a:pt x="110" y="178"/>
                    <a:pt x="110" y="180"/>
                    <a:pt x="110" y="182"/>
                  </a:cubicBezTo>
                  <a:cubicBezTo>
                    <a:pt x="106" y="183"/>
                    <a:pt x="102" y="181"/>
                    <a:pt x="99" y="182"/>
                  </a:cubicBezTo>
                  <a:cubicBezTo>
                    <a:pt x="98" y="182"/>
                    <a:pt x="98" y="182"/>
                    <a:pt x="97" y="183"/>
                  </a:cubicBezTo>
                  <a:cubicBezTo>
                    <a:pt x="95" y="183"/>
                    <a:pt x="92" y="183"/>
                    <a:pt x="90" y="182"/>
                  </a:cubicBezTo>
                  <a:cubicBezTo>
                    <a:pt x="87" y="181"/>
                    <a:pt x="84" y="180"/>
                    <a:pt x="81" y="178"/>
                  </a:cubicBezTo>
                  <a:cubicBezTo>
                    <a:pt x="79" y="177"/>
                    <a:pt x="76" y="177"/>
                    <a:pt x="74" y="175"/>
                  </a:cubicBezTo>
                  <a:cubicBezTo>
                    <a:pt x="73" y="175"/>
                    <a:pt x="73" y="175"/>
                    <a:pt x="73" y="175"/>
                  </a:cubicBezTo>
                  <a:cubicBezTo>
                    <a:pt x="72" y="174"/>
                    <a:pt x="71" y="174"/>
                    <a:pt x="71" y="174"/>
                  </a:cubicBezTo>
                  <a:cubicBezTo>
                    <a:pt x="67" y="172"/>
                    <a:pt x="64" y="171"/>
                    <a:pt x="61" y="168"/>
                  </a:cubicBezTo>
                  <a:cubicBezTo>
                    <a:pt x="60" y="168"/>
                    <a:pt x="60" y="168"/>
                    <a:pt x="59" y="168"/>
                  </a:cubicBezTo>
                  <a:cubicBezTo>
                    <a:pt x="54" y="168"/>
                    <a:pt x="50" y="168"/>
                    <a:pt x="45" y="168"/>
                  </a:cubicBezTo>
                  <a:lnTo>
                    <a:pt x="43" y="16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0" name="Freeform 90"/>
            <p:cNvSpPr>
              <a:spLocks/>
            </p:cNvSpPr>
            <p:nvPr/>
          </p:nvSpPr>
          <p:spPr bwMode="auto">
            <a:xfrm>
              <a:off x="6195092" y="4326159"/>
              <a:ext cx="544446" cy="360186"/>
            </a:xfrm>
            <a:custGeom>
              <a:avLst/>
              <a:gdLst>
                <a:gd name="T0" fmla="*/ 8978497 w 405"/>
                <a:gd name="T1" fmla="*/ 8186757 h 332"/>
                <a:gd name="T2" fmla="*/ 8103509 w 405"/>
                <a:gd name="T3" fmla="*/ 9208768 h 332"/>
                <a:gd name="T4" fmla="*/ 7487351 w 405"/>
                <a:gd name="T5" fmla="*/ 9412033 h 332"/>
                <a:gd name="T6" fmla="*/ 6916877 w 405"/>
                <a:gd name="T7" fmla="*/ 9883204 h 332"/>
                <a:gd name="T8" fmla="*/ 6461992 w 405"/>
                <a:gd name="T9" fmla="*/ 10812299 h 332"/>
                <a:gd name="T10" fmla="*/ 6008764 w 405"/>
                <a:gd name="T11" fmla="*/ 11878608 h 332"/>
                <a:gd name="T12" fmla="*/ 5123762 w 405"/>
                <a:gd name="T13" fmla="*/ 11791491 h 332"/>
                <a:gd name="T14" fmla="*/ 4487314 w 405"/>
                <a:gd name="T15" fmla="*/ 11167383 h 332"/>
                <a:gd name="T16" fmla="*/ 4385024 w 405"/>
                <a:gd name="T17" fmla="*/ 9925560 h 332"/>
                <a:gd name="T18" fmla="*/ 3759625 w 405"/>
                <a:gd name="T19" fmla="*/ 9295916 h 332"/>
                <a:gd name="T20" fmla="*/ 4364786 w 405"/>
                <a:gd name="T21" fmla="*/ 8257790 h 332"/>
                <a:gd name="T22" fmla="*/ 4562217 w 405"/>
                <a:gd name="T23" fmla="*/ 7681306 h 332"/>
                <a:gd name="T24" fmla="*/ 3718598 w 405"/>
                <a:gd name="T25" fmla="*/ 7057195 h 332"/>
                <a:gd name="T26" fmla="*/ 4523232 w 405"/>
                <a:gd name="T27" fmla="*/ 6939477 h 332"/>
                <a:gd name="T28" fmla="*/ 4029244 w 405"/>
                <a:gd name="T29" fmla="*/ 6430126 h 332"/>
                <a:gd name="T30" fmla="*/ 3792737 w 405"/>
                <a:gd name="T31" fmla="*/ 5810602 h 332"/>
                <a:gd name="T32" fmla="*/ 3162115 w 405"/>
                <a:gd name="T33" fmla="*/ 4660692 h 332"/>
                <a:gd name="T34" fmla="*/ 2041392 w 405"/>
                <a:gd name="T35" fmla="*/ 4186707 h 332"/>
                <a:gd name="T36" fmla="*/ 1302327 w 405"/>
                <a:gd name="T37" fmla="*/ 4355412 h 332"/>
                <a:gd name="T38" fmla="*/ 532973 w 405"/>
                <a:gd name="T39" fmla="*/ 3846681 h 332"/>
                <a:gd name="T40" fmla="*/ 1582389 w 405"/>
                <a:gd name="T41" fmla="*/ 3720765 h 332"/>
                <a:gd name="T42" fmla="*/ 913542 w 405"/>
                <a:gd name="T43" fmla="*/ 3523406 h 332"/>
                <a:gd name="T44" fmla="*/ 310615 w 405"/>
                <a:gd name="T45" fmla="*/ 3335628 h 332"/>
                <a:gd name="T46" fmla="*/ 1149179 w 405"/>
                <a:gd name="T47" fmla="*/ 2625455 h 332"/>
                <a:gd name="T48" fmla="*/ 2249329 w 405"/>
                <a:gd name="T49" fmla="*/ 2074689 h 332"/>
                <a:gd name="T50" fmla="*/ 2057249 w 405"/>
                <a:gd name="T51" fmla="*/ 1685710 h 332"/>
                <a:gd name="T52" fmla="*/ 3007563 w 405"/>
                <a:gd name="T53" fmla="*/ 1138080 h 332"/>
                <a:gd name="T54" fmla="*/ 3759625 w 405"/>
                <a:gd name="T55" fmla="*/ 874462 h 332"/>
                <a:gd name="T56" fmla="*/ 4876852 w 405"/>
                <a:gd name="T57" fmla="*/ 1016066 h 332"/>
                <a:gd name="T58" fmla="*/ 5293042 w 405"/>
                <a:gd name="T59" fmla="*/ 737785 h 332"/>
                <a:gd name="T60" fmla="*/ 6736634 w 405"/>
                <a:gd name="T61" fmla="*/ 939537 h 332"/>
                <a:gd name="T62" fmla="*/ 7686148 w 405"/>
                <a:gd name="T63" fmla="*/ 655466 h 332"/>
                <a:gd name="T64" fmla="*/ 6993300 w 405"/>
                <a:gd name="T65" fmla="*/ 360596 h 332"/>
                <a:gd name="T66" fmla="*/ 8064588 w 405"/>
                <a:gd name="T67" fmla="*/ 360596 h 332"/>
                <a:gd name="T68" fmla="*/ 8888718 w 405"/>
                <a:gd name="T69" fmla="*/ 39659 h 332"/>
                <a:gd name="T70" fmla="*/ 8814203 w 405"/>
                <a:gd name="T71" fmla="*/ 471163 h 332"/>
                <a:gd name="T72" fmla="*/ 10871163 w 405"/>
                <a:gd name="T73" fmla="*/ 360596 h 332"/>
                <a:gd name="T74" fmla="*/ 11896327 w 405"/>
                <a:gd name="T75" fmla="*/ 507971 h 332"/>
                <a:gd name="T76" fmla="*/ 10142104 w 405"/>
                <a:gd name="T77" fmla="*/ 874462 h 332"/>
                <a:gd name="T78" fmla="*/ 9658185 w 405"/>
                <a:gd name="T79" fmla="*/ 1138080 h 332"/>
                <a:gd name="T80" fmla="*/ 10806296 w 405"/>
                <a:gd name="T81" fmla="*/ 1016066 h 332"/>
                <a:gd name="T82" fmla="*/ 11024593 w 405"/>
                <a:gd name="T83" fmla="*/ 1263549 h 332"/>
                <a:gd name="T84" fmla="*/ 11441968 w 405"/>
                <a:gd name="T85" fmla="*/ 1750874 h 332"/>
                <a:gd name="T86" fmla="*/ 12349739 w 405"/>
                <a:gd name="T87" fmla="*/ 1172048 h 332"/>
                <a:gd name="T88" fmla="*/ 14106909 w 405"/>
                <a:gd name="T89" fmla="*/ 1242976 h 332"/>
                <a:gd name="T90" fmla="*/ 12276101 w 405"/>
                <a:gd name="T91" fmla="*/ 1750874 h 332"/>
                <a:gd name="T92" fmla="*/ 12349739 w 405"/>
                <a:gd name="T93" fmla="*/ 2035125 h 332"/>
                <a:gd name="T94" fmla="*/ 12504262 w 405"/>
                <a:gd name="T95" fmla="*/ 2319221 h 332"/>
                <a:gd name="T96" fmla="*/ 11896327 w 405"/>
                <a:gd name="T97" fmla="*/ 3335628 h 332"/>
                <a:gd name="T98" fmla="*/ 12173720 w 405"/>
                <a:gd name="T99" fmla="*/ 3414891 h 332"/>
                <a:gd name="T100" fmla="*/ 12010965 w 405"/>
                <a:gd name="T101" fmla="*/ 3965272 h 332"/>
                <a:gd name="T102" fmla="*/ 12080147 w 405"/>
                <a:gd name="T103" fmla="*/ 4110192 h 332"/>
                <a:gd name="T104" fmla="*/ 12276101 w 405"/>
                <a:gd name="T105" fmla="*/ 4777049 h 332"/>
                <a:gd name="T106" fmla="*/ 12114016 w 405"/>
                <a:gd name="T107" fmla="*/ 5061116 h 332"/>
                <a:gd name="T108" fmla="*/ 11896327 w 405"/>
                <a:gd name="T109" fmla="*/ 5345365 h 332"/>
                <a:gd name="T110" fmla="*/ 10846904 w 405"/>
                <a:gd name="T111" fmla="*/ 5751105 h 332"/>
                <a:gd name="T112" fmla="*/ 11024593 w 405"/>
                <a:gd name="T113" fmla="*/ 6074918 h 332"/>
                <a:gd name="T114" fmla="*/ 11660657 w 405"/>
                <a:gd name="T115" fmla="*/ 6696516 h 332"/>
                <a:gd name="T116" fmla="*/ 11477990 w 405"/>
                <a:gd name="T117" fmla="*/ 7172556 h 332"/>
                <a:gd name="T118" fmla="*/ 10180935 w 405"/>
                <a:gd name="T119" fmla="*/ 7172556 h 332"/>
                <a:gd name="T120" fmla="*/ 10377835 w 405"/>
                <a:gd name="T121" fmla="*/ 7201715 h 332"/>
                <a:gd name="T122" fmla="*/ 11127036 w 405"/>
                <a:gd name="T123" fmla="*/ 7643897 h 33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05"/>
                <a:gd name="T187" fmla="*/ 0 h 332"/>
                <a:gd name="T188" fmla="*/ 405 w 405"/>
                <a:gd name="T189" fmla="*/ 332 h 33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05" h="332">
                  <a:moveTo>
                    <a:pt x="304" y="216"/>
                  </a:moveTo>
                  <a:cubicBezTo>
                    <a:pt x="303" y="216"/>
                    <a:pt x="303" y="216"/>
                    <a:pt x="303" y="217"/>
                  </a:cubicBezTo>
                  <a:cubicBezTo>
                    <a:pt x="302" y="217"/>
                    <a:pt x="302" y="219"/>
                    <a:pt x="302" y="219"/>
                  </a:cubicBezTo>
                  <a:cubicBezTo>
                    <a:pt x="301" y="220"/>
                    <a:pt x="301" y="220"/>
                    <a:pt x="300" y="220"/>
                  </a:cubicBezTo>
                  <a:cubicBezTo>
                    <a:pt x="300" y="221"/>
                    <a:pt x="299" y="221"/>
                    <a:pt x="299" y="221"/>
                  </a:cubicBezTo>
                  <a:cubicBezTo>
                    <a:pt x="298" y="221"/>
                    <a:pt x="297" y="222"/>
                    <a:pt x="296" y="222"/>
                  </a:cubicBezTo>
                  <a:cubicBezTo>
                    <a:pt x="291" y="223"/>
                    <a:pt x="286" y="225"/>
                    <a:pt x="282" y="225"/>
                  </a:cubicBezTo>
                  <a:cubicBezTo>
                    <a:pt x="280" y="225"/>
                    <a:pt x="279" y="226"/>
                    <a:pt x="278" y="227"/>
                  </a:cubicBezTo>
                  <a:cubicBezTo>
                    <a:pt x="277" y="228"/>
                    <a:pt x="275" y="227"/>
                    <a:pt x="273" y="227"/>
                  </a:cubicBezTo>
                  <a:cubicBezTo>
                    <a:pt x="270" y="229"/>
                    <a:pt x="267" y="229"/>
                    <a:pt x="264" y="229"/>
                  </a:cubicBezTo>
                  <a:cubicBezTo>
                    <a:pt x="262" y="229"/>
                    <a:pt x="260" y="230"/>
                    <a:pt x="259" y="228"/>
                  </a:cubicBezTo>
                  <a:cubicBezTo>
                    <a:pt x="258" y="227"/>
                    <a:pt x="258" y="225"/>
                    <a:pt x="256" y="225"/>
                  </a:cubicBezTo>
                  <a:cubicBezTo>
                    <a:pt x="257" y="227"/>
                    <a:pt x="257" y="228"/>
                    <a:pt x="258" y="229"/>
                  </a:cubicBezTo>
                  <a:cubicBezTo>
                    <a:pt x="258" y="230"/>
                    <a:pt x="258" y="231"/>
                    <a:pt x="258" y="232"/>
                  </a:cubicBezTo>
                  <a:cubicBezTo>
                    <a:pt x="257" y="233"/>
                    <a:pt x="255" y="233"/>
                    <a:pt x="254" y="234"/>
                  </a:cubicBezTo>
                  <a:cubicBezTo>
                    <a:pt x="253" y="234"/>
                    <a:pt x="252" y="233"/>
                    <a:pt x="251" y="234"/>
                  </a:cubicBezTo>
                  <a:cubicBezTo>
                    <a:pt x="250" y="234"/>
                    <a:pt x="249" y="235"/>
                    <a:pt x="249" y="236"/>
                  </a:cubicBezTo>
                  <a:cubicBezTo>
                    <a:pt x="248" y="238"/>
                    <a:pt x="247" y="240"/>
                    <a:pt x="246" y="242"/>
                  </a:cubicBezTo>
                  <a:cubicBezTo>
                    <a:pt x="246" y="243"/>
                    <a:pt x="246" y="244"/>
                    <a:pt x="245" y="244"/>
                  </a:cubicBezTo>
                  <a:cubicBezTo>
                    <a:pt x="244" y="247"/>
                    <a:pt x="242" y="247"/>
                    <a:pt x="240" y="249"/>
                  </a:cubicBezTo>
                  <a:cubicBezTo>
                    <a:pt x="239" y="249"/>
                    <a:pt x="238" y="248"/>
                    <a:pt x="238" y="249"/>
                  </a:cubicBezTo>
                  <a:cubicBezTo>
                    <a:pt x="237" y="250"/>
                    <a:pt x="237" y="251"/>
                    <a:pt x="237" y="252"/>
                  </a:cubicBezTo>
                  <a:cubicBezTo>
                    <a:pt x="236" y="253"/>
                    <a:pt x="235" y="254"/>
                    <a:pt x="234" y="254"/>
                  </a:cubicBezTo>
                  <a:cubicBezTo>
                    <a:pt x="233" y="255"/>
                    <a:pt x="232" y="254"/>
                    <a:pt x="231" y="253"/>
                  </a:cubicBezTo>
                  <a:cubicBezTo>
                    <a:pt x="231" y="253"/>
                    <a:pt x="231" y="252"/>
                    <a:pt x="231" y="251"/>
                  </a:cubicBezTo>
                  <a:cubicBezTo>
                    <a:pt x="231" y="251"/>
                    <a:pt x="230" y="251"/>
                    <a:pt x="230" y="251"/>
                  </a:cubicBezTo>
                  <a:cubicBezTo>
                    <a:pt x="229" y="253"/>
                    <a:pt x="230" y="255"/>
                    <a:pt x="229" y="256"/>
                  </a:cubicBezTo>
                  <a:cubicBezTo>
                    <a:pt x="226" y="258"/>
                    <a:pt x="223" y="257"/>
                    <a:pt x="220" y="257"/>
                  </a:cubicBezTo>
                  <a:cubicBezTo>
                    <a:pt x="219" y="258"/>
                    <a:pt x="220" y="261"/>
                    <a:pt x="219" y="261"/>
                  </a:cubicBezTo>
                  <a:cubicBezTo>
                    <a:pt x="218" y="262"/>
                    <a:pt x="216" y="261"/>
                    <a:pt x="215" y="260"/>
                  </a:cubicBezTo>
                  <a:cubicBezTo>
                    <a:pt x="214" y="259"/>
                    <a:pt x="215" y="257"/>
                    <a:pt x="216" y="255"/>
                  </a:cubicBezTo>
                  <a:cubicBezTo>
                    <a:pt x="217" y="254"/>
                    <a:pt x="217" y="254"/>
                    <a:pt x="218" y="253"/>
                  </a:cubicBezTo>
                  <a:cubicBezTo>
                    <a:pt x="218" y="252"/>
                    <a:pt x="218" y="251"/>
                    <a:pt x="217" y="252"/>
                  </a:cubicBezTo>
                  <a:cubicBezTo>
                    <a:pt x="216" y="252"/>
                    <a:pt x="216" y="253"/>
                    <a:pt x="215" y="254"/>
                  </a:cubicBezTo>
                  <a:cubicBezTo>
                    <a:pt x="215" y="255"/>
                    <a:pt x="213" y="255"/>
                    <a:pt x="213" y="256"/>
                  </a:cubicBezTo>
                  <a:cubicBezTo>
                    <a:pt x="212" y="257"/>
                    <a:pt x="213" y="258"/>
                    <a:pt x="213" y="259"/>
                  </a:cubicBezTo>
                  <a:cubicBezTo>
                    <a:pt x="213" y="260"/>
                    <a:pt x="213" y="261"/>
                    <a:pt x="212" y="261"/>
                  </a:cubicBezTo>
                  <a:cubicBezTo>
                    <a:pt x="212" y="261"/>
                    <a:pt x="212" y="261"/>
                    <a:pt x="212" y="261"/>
                  </a:cubicBezTo>
                  <a:cubicBezTo>
                    <a:pt x="212" y="261"/>
                    <a:pt x="211" y="262"/>
                    <a:pt x="211" y="262"/>
                  </a:cubicBezTo>
                  <a:cubicBezTo>
                    <a:pt x="208" y="262"/>
                    <a:pt x="206" y="262"/>
                    <a:pt x="204" y="262"/>
                  </a:cubicBezTo>
                  <a:cubicBezTo>
                    <a:pt x="203" y="260"/>
                    <a:pt x="201" y="261"/>
                    <a:pt x="200" y="261"/>
                  </a:cubicBezTo>
                  <a:cubicBezTo>
                    <a:pt x="199" y="261"/>
                    <a:pt x="198" y="263"/>
                    <a:pt x="199" y="264"/>
                  </a:cubicBezTo>
                  <a:cubicBezTo>
                    <a:pt x="200" y="264"/>
                    <a:pt x="200" y="265"/>
                    <a:pt x="201" y="266"/>
                  </a:cubicBezTo>
                  <a:cubicBezTo>
                    <a:pt x="202" y="266"/>
                    <a:pt x="200" y="268"/>
                    <a:pt x="200" y="269"/>
                  </a:cubicBezTo>
                  <a:cubicBezTo>
                    <a:pt x="198" y="269"/>
                    <a:pt x="197" y="269"/>
                    <a:pt x="196" y="269"/>
                  </a:cubicBezTo>
                  <a:cubicBezTo>
                    <a:pt x="194" y="269"/>
                    <a:pt x="193" y="268"/>
                    <a:pt x="191" y="268"/>
                  </a:cubicBezTo>
                  <a:cubicBezTo>
                    <a:pt x="191" y="269"/>
                    <a:pt x="192" y="270"/>
                    <a:pt x="193" y="271"/>
                  </a:cubicBezTo>
                  <a:cubicBezTo>
                    <a:pt x="194" y="271"/>
                    <a:pt x="196" y="271"/>
                    <a:pt x="197" y="272"/>
                  </a:cubicBezTo>
                  <a:cubicBezTo>
                    <a:pt x="197" y="272"/>
                    <a:pt x="197" y="273"/>
                    <a:pt x="197" y="273"/>
                  </a:cubicBezTo>
                  <a:cubicBezTo>
                    <a:pt x="195" y="275"/>
                    <a:pt x="193" y="276"/>
                    <a:pt x="191" y="279"/>
                  </a:cubicBezTo>
                  <a:cubicBezTo>
                    <a:pt x="190" y="279"/>
                    <a:pt x="189" y="278"/>
                    <a:pt x="187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8" y="279"/>
                    <a:pt x="189" y="280"/>
                    <a:pt x="190" y="280"/>
                  </a:cubicBezTo>
                  <a:cubicBezTo>
                    <a:pt x="191" y="281"/>
                    <a:pt x="192" y="280"/>
                    <a:pt x="193" y="281"/>
                  </a:cubicBezTo>
                  <a:cubicBezTo>
                    <a:pt x="194" y="282"/>
                    <a:pt x="193" y="284"/>
                    <a:pt x="193" y="286"/>
                  </a:cubicBezTo>
                  <a:cubicBezTo>
                    <a:pt x="193" y="287"/>
                    <a:pt x="192" y="288"/>
                    <a:pt x="192" y="288"/>
                  </a:cubicBezTo>
                  <a:cubicBezTo>
                    <a:pt x="189" y="288"/>
                    <a:pt x="188" y="290"/>
                    <a:pt x="187" y="291"/>
                  </a:cubicBezTo>
                  <a:cubicBezTo>
                    <a:pt x="186" y="292"/>
                    <a:pt x="186" y="293"/>
                    <a:pt x="186" y="293"/>
                  </a:cubicBezTo>
                  <a:cubicBezTo>
                    <a:pt x="186" y="294"/>
                    <a:pt x="186" y="295"/>
                    <a:pt x="186" y="296"/>
                  </a:cubicBezTo>
                  <a:cubicBezTo>
                    <a:pt x="185" y="296"/>
                    <a:pt x="184" y="297"/>
                    <a:pt x="184" y="297"/>
                  </a:cubicBezTo>
                  <a:cubicBezTo>
                    <a:pt x="183" y="298"/>
                    <a:pt x="182" y="297"/>
                    <a:pt x="181" y="296"/>
                  </a:cubicBezTo>
                  <a:cubicBezTo>
                    <a:pt x="180" y="296"/>
                    <a:pt x="179" y="296"/>
                    <a:pt x="179" y="296"/>
                  </a:cubicBezTo>
                  <a:cubicBezTo>
                    <a:pt x="178" y="297"/>
                    <a:pt x="177" y="297"/>
                    <a:pt x="176" y="298"/>
                  </a:cubicBezTo>
                  <a:cubicBezTo>
                    <a:pt x="175" y="299"/>
                    <a:pt x="177" y="299"/>
                    <a:pt x="177" y="300"/>
                  </a:cubicBezTo>
                  <a:cubicBezTo>
                    <a:pt x="178" y="302"/>
                    <a:pt x="177" y="304"/>
                    <a:pt x="178" y="305"/>
                  </a:cubicBezTo>
                  <a:cubicBezTo>
                    <a:pt x="179" y="307"/>
                    <a:pt x="179" y="308"/>
                    <a:pt x="178" y="310"/>
                  </a:cubicBezTo>
                  <a:cubicBezTo>
                    <a:pt x="178" y="310"/>
                    <a:pt x="178" y="311"/>
                    <a:pt x="178" y="311"/>
                  </a:cubicBezTo>
                  <a:cubicBezTo>
                    <a:pt x="177" y="312"/>
                    <a:pt x="178" y="313"/>
                    <a:pt x="177" y="314"/>
                  </a:cubicBezTo>
                  <a:cubicBezTo>
                    <a:pt x="177" y="315"/>
                    <a:pt x="175" y="316"/>
                    <a:pt x="173" y="317"/>
                  </a:cubicBezTo>
                  <a:cubicBezTo>
                    <a:pt x="173" y="320"/>
                    <a:pt x="174" y="323"/>
                    <a:pt x="172" y="325"/>
                  </a:cubicBezTo>
                  <a:cubicBezTo>
                    <a:pt x="170" y="326"/>
                    <a:pt x="169" y="325"/>
                    <a:pt x="167" y="325"/>
                  </a:cubicBezTo>
                  <a:cubicBezTo>
                    <a:pt x="168" y="327"/>
                    <a:pt x="170" y="327"/>
                    <a:pt x="171" y="327"/>
                  </a:cubicBezTo>
                  <a:cubicBezTo>
                    <a:pt x="172" y="328"/>
                    <a:pt x="171" y="329"/>
                    <a:pt x="171" y="329"/>
                  </a:cubicBezTo>
                  <a:cubicBezTo>
                    <a:pt x="171" y="329"/>
                    <a:pt x="171" y="329"/>
                    <a:pt x="170" y="329"/>
                  </a:cubicBezTo>
                  <a:cubicBezTo>
                    <a:pt x="170" y="330"/>
                    <a:pt x="169" y="331"/>
                    <a:pt x="169" y="331"/>
                  </a:cubicBezTo>
                  <a:cubicBezTo>
                    <a:pt x="167" y="331"/>
                    <a:pt x="166" y="331"/>
                    <a:pt x="165" y="331"/>
                  </a:cubicBezTo>
                  <a:cubicBezTo>
                    <a:pt x="164" y="330"/>
                    <a:pt x="164" y="330"/>
                    <a:pt x="163" y="329"/>
                  </a:cubicBezTo>
                  <a:cubicBezTo>
                    <a:pt x="163" y="329"/>
                    <a:pt x="162" y="329"/>
                    <a:pt x="162" y="330"/>
                  </a:cubicBezTo>
                  <a:cubicBezTo>
                    <a:pt x="161" y="330"/>
                    <a:pt x="161" y="331"/>
                    <a:pt x="160" y="331"/>
                  </a:cubicBezTo>
                  <a:cubicBezTo>
                    <a:pt x="159" y="332"/>
                    <a:pt x="157" y="331"/>
                    <a:pt x="155" y="330"/>
                  </a:cubicBezTo>
                  <a:cubicBezTo>
                    <a:pt x="155" y="329"/>
                    <a:pt x="156" y="328"/>
                    <a:pt x="157" y="328"/>
                  </a:cubicBezTo>
                  <a:cubicBezTo>
                    <a:pt x="157" y="327"/>
                    <a:pt x="157" y="326"/>
                    <a:pt x="157" y="326"/>
                  </a:cubicBezTo>
                  <a:cubicBezTo>
                    <a:pt x="155" y="325"/>
                    <a:pt x="153" y="326"/>
                    <a:pt x="151" y="325"/>
                  </a:cubicBezTo>
                  <a:cubicBezTo>
                    <a:pt x="150" y="325"/>
                    <a:pt x="148" y="325"/>
                    <a:pt x="146" y="324"/>
                  </a:cubicBezTo>
                  <a:cubicBezTo>
                    <a:pt x="146" y="324"/>
                    <a:pt x="146" y="323"/>
                    <a:pt x="147" y="322"/>
                  </a:cubicBezTo>
                  <a:cubicBezTo>
                    <a:pt x="149" y="321"/>
                    <a:pt x="150" y="321"/>
                    <a:pt x="152" y="320"/>
                  </a:cubicBezTo>
                  <a:cubicBezTo>
                    <a:pt x="152" y="319"/>
                    <a:pt x="152" y="319"/>
                    <a:pt x="152" y="319"/>
                  </a:cubicBezTo>
                  <a:cubicBezTo>
                    <a:pt x="150" y="319"/>
                    <a:pt x="148" y="321"/>
                    <a:pt x="146" y="321"/>
                  </a:cubicBezTo>
                  <a:cubicBezTo>
                    <a:pt x="145" y="321"/>
                    <a:pt x="144" y="321"/>
                    <a:pt x="143" y="323"/>
                  </a:cubicBezTo>
                  <a:cubicBezTo>
                    <a:pt x="141" y="322"/>
                    <a:pt x="138" y="323"/>
                    <a:pt x="137" y="321"/>
                  </a:cubicBezTo>
                  <a:cubicBezTo>
                    <a:pt x="136" y="320"/>
                    <a:pt x="137" y="318"/>
                    <a:pt x="136" y="317"/>
                  </a:cubicBezTo>
                  <a:cubicBezTo>
                    <a:pt x="136" y="317"/>
                    <a:pt x="135" y="316"/>
                    <a:pt x="135" y="316"/>
                  </a:cubicBezTo>
                  <a:cubicBezTo>
                    <a:pt x="133" y="316"/>
                    <a:pt x="132" y="316"/>
                    <a:pt x="131" y="315"/>
                  </a:cubicBezTo>
                  <a:cubicBezTo>
                    <a:pt x="130" y="315"/>
                    <a:pt x="129" y="314"/>
                    <a:pt x="129" y="314"/>
                  </a:cubicBezTo>
                  <a:cubicBezTo>
                    <a:pt x="129" y="313"/>
                    <a:pt x="128" y="312"/>
                    <a:pt x="128" y="312"/>
                  </a:cubicBezTo>
                  <a:cubicBezTo>
                    <a:pt x="128" y="310"/>
                    <a:pt x="128" y="308"/>
                    <a:pt x="128" y="307"/>
                  </a:cubicBezTo>
                  <a:cubicBezTo>
                    <a:pt x="127" y="306"/>
                    <a:pt x="128" y="305"/>
                    <a:pt x="128" y="305"/>
                  </a:cubicBezTo>
                  <a:cubicBezTo>
                    <a:pt x="127" y="304"/>
                    <a:pt x="127" y="304"/>
                    <a:pt x="126" y="304"/>
                  </a:cubicBezTo>
                  <a:cubicBezTo>
                    <a:pt x="125" y="303"/>
                    <a:pt x="124" y="304"/>
                    <a:pt x="124" y="303"/>
                  </a:cubicBezTo>
                  <a:cubicBezTo>
                    <a:pt x="122" y="302"/>
                    <a:pt x="121" y="300"/>
                    <a:pt x="122" y="298"/>
                  </a:cubicBezTo>
                  <a:cubicBezTo>
                    <a:pt x="122" y="297"/>
                    <a:pt x="122" y="295"/>
                    <a:pt x="121" y="294"/>
                  </a:cubicBezTo>
                  <a:cubicBezTo>
                    <a:pt x="120" y="292"/>
                    <a:pt x="118" y="290"/>
                    <a:pt x="117" y="288"/>
                  </a:cubicBezTo>
                  <a:cubicBezTo>
                    <a:pt x="116" y="286"/>
                    <a:pt x="116" y="285"/>
                    <a:pt x="116" y="283"/>
                  </a:cubicBezTo>
                  <a:cubicBezTo>
                    <a:pt x="116" y="283"/>
                    <a:pt x="115" y="282"/>
                    <a:pt x="115" y="282"/>
                  </a:cubicBezTo>
                  <a:cubicBezTo>
                    <a:pt x="115" y="282"/>
                    <a:pt x="115" y="281"/>
                    <a:pt x="115" y="281"/>
                  </a:cubicBezTo>
                  <a:cubicBezTo>
                    <a:pt x="116" y="280"/>
                    <a:pt x="118" y="280"/>
                    <a:pt x="119" y="279"/>
                  </a:cubicBezTo>
                  <a:cubicBezTo>
                    <a:pt x="121" y="278"/>
                    <a:pt x="122" y="277"/>
                    <a:pt x="123" y="276"/>
                  </a:cubicBezTo>
                  <a:cubicBezTo>
                    <a:pt x="124" y="275"/>
                    <a:pt x="125" y="274"/>
                    <a:pt x="125" y="273"/>
                  </a:cubicBezTo>
                  <a:cubicBezTo>
                    <a:pt x="126" y="273"/>
                    <a:pt x="126" y="273"/>
                    <a:pt x="126" y="272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5" y="272"/>
                    <a:pt x="124" y="273"/>
                    <a:pt x="124" y="273"/>
                  </a:cubicBezTo>
                  <a:cubicBezTo>
                    <a:pt x="123" y="273"/>
                    <a:pt x="121" y="272"/>
                    <a:pt x="120" y="273"/>
                  </a:cubicBezTo>
                  <a:cubicBezTo>
                    <a:pt x="118" y="274"/>
                    <a:pt x="117" y="276"/>
                    <a:pt x="116" y="278"/>
                  </a:cubicBezTo>
                  <a:cubicBezTo>
                    <a:pt x="113" y="279"/>
                    <a:pt x="113" y="276"/>
                    <a:pt x="113" y="274"/>
                  </a:cubicBezTo>
                  <a:cubicBezTo>
                    <a:pt x="114" y="273"/>
                    <a:pt x="114" y="271"/>
                    <a:pt x="113" y="270"/>
                  </a:cubicBezTo>
                  <a:cubicBezTo>
                    <a:pt x="112" y="269"/>
                    <a:pt x="113" y="268"/>
                    <a:pt x="113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12" y="266"/>
                    <a:pt x="112" y="264"/>
                    <a:pt x="112" y="263"/>
                  </a:cubicBezTo>
                  <a:cubicBezTo>
                    <a:pt x="111" y="261"/>
                    <a:pt x="109" y="261"/>
                    <a:pt x="108" y="260"/>
                  </a:cubicBezTo>
                  <a:cubicBezTo>
                    <a:pt x="107" y="259"/>
                    <a:pt x="108" y="257"/>
                    <a:pt x="107" y="256"/>
                  </a:cubicBezTo>
                  <a:cubicBezTo>
                    <a:pt x="107" y="255"/>
                    <a:pt x="106" y="254"/>
                    <a:pt x="106" y="253"/>
                  </a:cubicBezTo>
                  <a:cubicBezTo>
                    <a:pt x="105" y="249"/>
                    <a:pt x="109" y="248"/>
                    <a:pt x="111" y="245"/>
                  </a:cubicBezTo>
                  <a:cubicBezTo>
                    <a:pt x="111" y="245"/>
                    <a:pt x="111" y="245"/>
                    <a:pt x="111" y="245"/>
                  </a:cubicBezTo>
                  <a:cubicBezTo>
                    <a:pt x="110" y="244"/>
                    <a:pt x="108" y="244"/>
                    <a:pt x="106" y="244"/>
                  </a:cubicBezTo>
                  <a:cubicBezTo>
                    <a:pt x="106" y="244"/>
                    <a:pt x="106" y="243"/>
                    <a:pt x="106" y="243"/>
                  </a:cubicBezTo>
                  <a:cubicBezTo>
                    <a:pt x="105" y="242"/>
                    <a:pt x="105" y="241"/>
                    <a:pt x="106" y="240"/>
                  </a:cubicBezTo>
                  <a:cubicBezTo>
                    <a:pt x="107" y="238"/>
                    <a:pt x="106" y="236"/>
                    <a:pt x="107" y="235"/>
                  </a:cubicBezTo>
                  <a:cubicBezTo>
                    <a:pt x="107" y="233"/>
                    <a:pt x="109" y="233"/>
                    <a:pt x="110" y="232"/>
                  </a:cubicBezTo>
                  <a:cubicBezTo>
                    <a:pt x="110" y="231"/>
                    <a:pt x="110" y="230"/>
                    <a:pt x="111" y="230"/>
                  </a:cubicBezTo>
                  <a:cubicBezTo>
                    <a:pt x="115" y="229"/>
                    <a:pt x="118" y="230"/>
                    <a:pt x="121" y="230"/>
                  </a:cubicBezTo>
                  <a:cubicBezTo>
                    <a:pt x="122" y="229"/>
                    <a:pt x="123" y="229"/>
                    <a:pt x="124" y="228"/>
                  </a:cubicBezTo>
                  <a:cubicBezTo>
                    <a:pt x="124" y="228"/>
                    <a:pt x="124" y="227"/>
                    <a:pt x="124" y="227"/>
                  </a:cubicBezTo>
                  <a:cubicBezTo>
                    <a:pt x="123" y="227"/>
                    <a:pt x="123" y="228"/>
                    <a:pt x="122" y="228"/>
                  </a:cubicBezTo>
                  <a:cubicBezTo>
                    <a:pt x="120" y="228"/>
                    <a:pt x="119" y="228"/>
                    <a:pt x="117" y="228"/>
                  </a:cubicBezTo>
                  <a:cubicBezTo>
                    <a:pt x="115" y="228"/>
                    <a:pt x="113" y="227"/>
                    <a:pt x="111" y="227"/>
                  </a:cubicBezTo>
                  <a:cubicBezTo>
                    <a:pt x="111" y="227"/>
                    <a:pt x="111" y="226"/>
                    <a:pt x="112" y="226"/>
                  </a:cubicBezTo>
                  <a:cubicBezTo>
                    <a:pt x="113" y="226"/>
                    <a:pt x="114" y="226"/>
                    <a:pt x="115" y="225"/>
                  </a:cubicBezTo>
                  <a:cubicBezTo>
                    <a:pt x="116" y="225"/>
                    <a:pt x="116" y="223"/>
                    <a:pt x="117" y="223"/>
                  </a:cubicBezTo>
                  <a:cubicBezTo>
                    <a:pt x="119" y="223"/>
                    <a:pt x="120" y="223"/>
                    <a:pt x="122" y="223"/>
                  </a:cubicBezTo>
                  <a:cubicBezTo>
                    <a:pt x="123" y="223"/>
                    <a:pt x="124" y="223"/>
                    <a:pt x="125" y="223"/>
                  </a:cubicBezTo>
                  <a:cubicBezTo>
                    <a:pt x="126" y="223"/>
                    <a:pt x="126" y="222"/>
                    <a:pt x="127" y="222"/>
                  </a:cubicBezTo>
                  <a:cubicBezTo>
                    <a:pt x="127" y="219"/>
                    <a:pt x="126" y="216"/>
                    <a:pt x="128" y="214"/>
                  </a:cubicBezTo>
                  <a:cubicBezTo>
                    <a:pt x="128" y="214"/>
                    <a:pt x="128" y="214"/>
                    <a:pt x="128" y="214"/>
                  </a:cubicBezTo>
                  <a:cubicBezTo>
                    <a:pt x="129" y="213"/>
                    <a:pt x="130" y="212"/>
                    <a:pt x="130" y="211"/>
                  </a:cubicBezTo>
                  <a:cubicBezTo>
                    <a:pt x="131" y="210"/>
                    <a:pt x="130" y="209"/>
                    <a:pt x="131" y="208"/>
                  </a:cubicBezTo>
                  <a:cubicBezTo>
                    <a:pt x="132" y="207"/>
                    <a:pt x="134" y="206"/>
                    <a:pt x="135" y="204"/>
                  </a:cubicBezTo>
                  <a:cubicBezTo>
                    <a:pt x="135" y="204"/>
                    <a:pt x="135" y="203"/>
                    <a:pt x="135" y="203"/>
                  </a:cubicBezTo>
                  <a:cubicBezTo>
                    <a:pt x="134" y="202"/>
                    <a:pt x="134" y="203"/>
                    <a:pt x="133" y="203"/>
                  </a:cubicBezTo>
                  <a:cubicBezTo>
                    <a:pt x="132" y="203"/>
                    <a:pt x="131" y="202"/>
                    <a:pt x="131" y="202"/>
                  </a:cubicBezTo>
                  <a:cubicBezTo>
                    <a:pt x="130" y="201"/>
                    <a:pt x="129" y="202"/>
                    <a:pt x="127" y="203"/>
                  </a:cubicBezTo>
                  <a:cubicBezTo>
                    <a:pt x="127" y="204"/>
                    <a:pt x="126" y="203"/>
                    <a:pt x="125" y="203"/>
                  </a:cubicBezTo>
                  <a:cubicBezTo>
                    <a:pt x="124" y="202"/>
                    <a:pt x="122" y="203"/>
                    <a:pt x="120" y="202"/>
                  </a:cubicBezTo>
                  <a:cubicBezTo>
                    <a:pt x="119" y="201"/>
                    <a:pt x="119" y="199"/>
                    <a:pt x="118" y="199"/>
                  </a:cubicBezTo>
                  <a:cubicBezTo>
                    <a:pt x="116" y="198"/>
                    <a:pt x="114" y="199"/>
                    <a:pt x="113" y="198"/>
                  </a:cubicBezTo>
                  <a:cubicBezTo>
                    <a:pt x="111" y="198"/>
                    <a:pt x="110" y="198"/>
                    <a:pt x="109" y="197"/>
                  </a:cubicBezTo>
                  <a:cubicBezTo>
                    <a:pt x="108" y="196"/>
                    <a:pt x="107" y="195"/>
                    <a:pt x="106" y="194"/>
                  </a:cubicBezTo>
                  <a:cubicBezTo>
                    <a:pt x="105" y="193"/>
                    <a:pt x="106" y="192"/>
                    <a:pt x="107" y="192"/>
                  </a:cubicBezTo>
                  <a:cubicBezTo>
                    <a:pt x="110" y="191"/>
                    <a:pt x="114" y="191"/>
                    <a:pt x="117" y="192"/>
                  </a:cubicBezTo>
                  <a:cubicBezTo>
                    <a:pt x="119" y="192"/>
                    <a:pt x="120" y="194"/>
                    <a:pt x="122" y="195"/>
                  </a:cubicBezTo>
                  <a:cubicBezTo>
                    <a:pt x="122" y="195"/>
                    <a:pt x="123" y="196"/>
                    <a:pt x="124" y="196"/>
                  </a:cubicBezTo>
                  <a:cubicBezTo>
                    <a:pt x="124" y="196"/>
                    <a:pt x="125" y="197"/>
                    <a:pt x="125" y="197"/>
                  </a:cubicBezTo>
                  <a:cubicBezTo>
                    <a:pt x="126" y="198"/>
                    <a:pt x="127" y="198"/>
                    <a:pt x="128" y="198"/>
                  </a:cubicBezTo>
                  <a:cubicBezTo>
                    <a:pt x="130" y="198"/>
                    <a:pt x="132" y="199"/>
                    <a:pt x="133" y="199"/>
                  </a:cubicBezTo>
                  <a:cubicBezTo>
                    <a:pt x="133" y="199"/>
                    <a:pt x="133" y="198"/>
                    <a:pt x="133" y="198"/>
                  </a:cubicBezTo>
                  <a:cubicBezTo>
                    <a:pt x="132" y="197"/>
                    <a:pt x="131" y="197"/>
                    <a:pt x="131" y="196"/>
                  </a:cubicBezTo>
                  <a:cubicBezTo>
                    <a:pt x="131" y="196"/>
                    <a:pt x="130" y="196"/>
                    <a:pt x="130" y="195"/>
                  </a:cubicBezTo>
                  <a:cubicBezTo>
                    <a:pt x="130" y="194"/>
                    <a:pt x="129" y="194"/>
                    <a:pt x="129" y="193"/>
                  </a:cubicBezTo>
                  <a:cubicBezTo>
                    <a:pt x="128" y="193"/>
                    <a:pt x="129" y="192"/>
                    <a:pt x="129" y="191"/>
                  </a:cubicBezTo>
                  <a:cubicBezTo>
                    <a:pt x="128" y="190"/>
                    <a:pt x="127" y="190"/>
                    <a:pt x="126" y="189"/>
                  </a:cubicBezTo>
                  <a:cubicBezTo>
                    <a:pt x="126" y="189"/>
                    <a:pt x="126" y="188"/>
                    <a:pt x="126" y="187"/>
                  </a:cubicBezTo>
                  <a:cubicBezTo>
                    <a:pt x="125" y="186"/>
                    <a:pt x="124" y="186"/>
                    <a:pt x="123" y="185"/>
                  </a:cubicBezTo>
                  <a:cubicBezTo>
                    <a:pt x="123" y="184"/>
                    <a:pt x="121" y="185"/>
                    <a:pt x="120" y="186"/>
                  </a:cubicBezTo>
                  <a:cubicBezTo>
                    <a:pt x="119" y="186"/>
                    <a:pt x="118" y="186"/>
                    <a:pt x="118" y="186"/>
                  </a:cubicBezTo>
                  <a:cubicBezTo>
                    <a:pt x="117" y="186"/>
                    <a:pt x="118" y="185"/>
                    <a:pt x="118" y="184"/>
                  </a:cubicBezTo>
                  <a:cubicBezTo>
                    <a:pt x="119" y="182"/>
                    <a:pt x="120" y="182"/>
                    <a:pt x="122" y="181"/>
                  </a:cubicBezTo>
                  <a:cubicBezTo>
                    <a:pt x="122" y="181"/>
                    <a:pt x="123" y="181"/>
                    <a:pt x="123" y="181"/>
                  </a:cubicBezTo>
                  <a:cubicBezTo>
                    <a:pt x="124" y="180"/>
                    <a:pt x="123" y="179"/>
                    <a:pt x="122" y="179"/>
                  </a:cubicBezTo>
                  <a:cubicBezTo>
                    <a:pt x="121" y="179"/>
                    <a:pt x="120" y="179"/>
                    <a:pt x="119" y="179"/>
                  </a:cubicBezTo>
                  <a:cubicBezTo>
                    <a:pt x="118" y="178"/>
                    <a:pt x="118" y="178"/>
                    <a:pt x="117" y="177"/>
                  </a:cubicBezTo>
                  <a:cubicBezTo>
                    <a:pt x="117" y="177"/>
                    <a:pt x="116" y="177"/>
                    <a:pt x="115" y="177"/>
                  </a:cubicBezTo>
                  <a:cubicBezTo>
                    <a:pt x="114" y="178"/>
                    <a:pt x="113" y="178"/>
                    <a:pt x="113" y="179"/>
                  </a:cubicBezTo>
                  <a:cubicBezTo>
                    <a:pt x="112" y="181"/>
                    <a:pt x="113" y="182"/>
                    <a:pt x="112" y="183"/>
                  </a:cubicBezTo>
                  <a:cubicBezTo>
                    <a:pt x="112" y="184"/>
                    <a:pt x="111" y="184"/>
                    <a:pt x="110" y="184"/>
                  </a:cubicBezTo>
                  <a:cubicBezTo>
                    <a:pt x="109" y="184"/>
                    <a:pt x="109" y="184"/>
                    <a:pt x="108" y="184"/>
                  </a:cubicBezTo>
                  <a:cubicBezTo>
                    <a:pt x="107" y="184"/>
                    <a:pt x="106" y="184"/>
                    <a:pt x="106" y="183"/>
                  </a:cubicBezTo>
                  <a:cubicBezTo>
                    <a:pt x="105" y="183"/>
                    <a:pt x="103" y="183"/>
                    <a:pt x="103" y="183"/>
                  </a:cubicBezTo>
                  <a:cubicBezTo>
                    <a:pt x="102" y="182"/>
                    <a:pt x="102" y="181"/>
                    <a:pt x="101" y="180"/>
                  </a:cubicBezTo>
                  <a:cubicBezTo>
                    <a:pt x="100" y="178"/>
                    <a:pt x="100" y="177"/>
                    <a:pt x="101" y="176"/>
                  </a:cubicBezTo>
                  <a:cubicBezTo>
                    <a:pt x="103" y="174"/>
                    <a:pt x="104" y="172"/>
                    <a:pt x="106" y="170"/>
                  </a:cubicBezTo>
                  <a:cubicBezTo>
                    <a:pt x="107" y="169"/>
                    <a:pt x="106" y="168"/>
                    <a:pt x="105" y="167"/>
                  </a:cubicBezTo>
                  <a:cubicBezTo>
                    <a:pt x="104" y="166"/>
                    <a:pt x="106" y="165"/>
                    <a:pt x="107" y="165"/>
                  </a:cubicBezTo>
                  <a:cubicBezTo>
                    <a:pt x="109" y="164"/>
                    <a:pt x="108" y="161"/>
                    <a:pt x="108" y="160"/>
                  </a:cubicBezTo>
                  <a:cubicBezTo>
                    <a:pt x="107" y="159"/>
                    <a:pt x="106" y="160"/>
                    <a:pt x="105" y="160"/>
                  </a:cubicBezTo>
                  <a:cubicBezTo>
                    <a:pt x="105" y="158"/>
                    <a:pt x="106" y="157"/>
                    <a:pt x="104" y="156"/>
                  </a:cubicBezTo>
                  <a:cubicBezTo>
                    <a:pt x="104" y="155"/>
                    <a:pt x="104" y="155"/>
                    <a:pt x="104" y="154"/>
                  </a:cubicBezTo>
                  <a:cubicBezTo>
                    <a:pt x="103" y="153"/>
                    <a:pt x="104" y="151"/>
                    <a:pt x="104" y="149"/>
                  </a:cubicBezTo>
                  <a:cubicBezTo>
                    <a:pt x="103" y="148"/>
                    <a:pt x="103" y="147"/>
                    <a:pt x="102" y="146"/>
                  </a:cubicBezTo>
                  <a:cubicBezTo>
                    <a:pt x="102" y="145"/>
                    <a:pt x="102" y="144"/>
                    <a:pt x="102" y="144"/>
                  </a:cubicBezTo>
                  <a:cubicBezTo>
                    <a:pt x="103" y="143"/>
                    <a:pt x="103" y="141"/>
                    <a:pt x="102" y="140"/>
                  </a:cubicBezTo>
                  <a:cubicBezTo>
                    <a:pt x="101" y="140"/>
                    <a:pt x="101" y="139"/>
                    <a:pt x="100" y="139"/>
                  </a:cubicBezTo>
                  <a:cubicBezTo>
                    <a:pt x="100" y="138"/>
                    <a:pt x="100" y="137"/>
                    <a:pt x="99" y="136"/>
                  </a:cubicBezTo>
                  <a:cubicBezTo>
                    <a:pt x="99" y="135"/>
                    <a:pt x="99" y="135"/>
                    <a:pt x="98" y="135"/>
                  </a:cubicBezTo>
                  <a:cubicBezTo>
                    <a:pt x="97" y="134"/>
                    <a:pt x="95" y="134"/>
                    <a:pt x="95" y="133"/>
                  </a:cubicBezTo>
                  <a:cubicBezTo>
                    <a:pt x="93" y="130"/>
                    <a:pt x="91" y="129"/>
                    <a:pt x="90" y="128"/>
                  </a:cubicBezTo>
                  <a:cubicBezTo>
                    <a:pt x="89" y="127"/>
                    <a:pt x="90" y="126"/>
                    <a:pt x="91" y="126"/>
                  </a:cubicBezTo>
                  <a:cubicBezTo>
                    <a:pt x="91" y="125"/>
                    <a:pt x="90" y="124"/>
                    <a:pt x="89" y="123"/>
                  </a:cubicBezTo>
                  <a:cubicBezTo>
                    <a:pt x="88" y="123"/>
                    <a:pt x="87" y="123"/>
                    <a:pt x="86" y="123"/>
                  </a:cubicBezTo>
                  <a:cubicBezTo>
                    <a:pt x="85" y="122"/>
                    <a:pt x="85" y="121"/>
                    <a:pt x="84" y="121"/>
                  </a:cubicBezTo>
                  <a:cubicBezTo>
                    <a:pt x="83" y="120"/>
                    <a:pt x="82" y="121"/>
                    <a:pt x="80" y="121"/>
                  </a:cubicBezTo>
                  <a:cubicBezTo>
                    <a:pt x="80" y="120"/>
                    <a:pt x="80" y="119"/>
                    <a:pt x="79" y="119"/>
                  </a:cubicBezTo>
                  <a:cubicBezTo>
                    <a:pt x="78" y="119"/>
                    <a:pt x="77" y="119"/>
                    <a:pt x="77" y="119"/>
                  </a:cubicBezTo>
                  <a:cubicBezTo>
                    <a:pt x="76" y="120"/>
                    <a:pt x="76" y="120"/>
                    <a:pt x="75" y="120"/>
                  </a:cubicBezTo>
                  <a:cubicBezTo>
                    <a:pt x="74" y="119"/>
                    <a:pt x="74" y="118"/>
                    <a:pt x="73" y="117"/>
                  </a:cubicBezTo>
                  <a:cubicBezTo>
                    <a:pt x="70" y="116"/>
                    <a:pt x="66" y="118"/>
                    <a:pt x="63" y="116"/>
                  </a:cubicBezTo>
                  <a:cubicBezTo>
                    <a:pt x="63" y="115"/>
                    <a:pt x="62" y="115"/>
                    <a:pt x="62" y="115"/>
                  </a:cubicBezTo>
                  <a:cubicBezTo>
                    <a:pt x="61" y="114"/>
                    <a:pt x="60" y="114"/>
                    <a:pt x="58" y="115"/>
                  </a:cubicBezTo>
                  <a:cubicBezTo>
                    <a:pt x="58" y="115"/>
                    <a:pt x="58" y="116"/>
                    <a:pt x="57" y="116"/>
                  </a:cubicBezTo>
                  <a:cubicBezTo>
                    <a:pt x="57" y="116"/>
                    <a:pt x="55" y="116"/>
                    <a:pt x="55" y="115"/>
                  </a:cubicBezTo>
                  <a:cubicBezTo>
                    <a:pt x="55" y="114"/>
                    <a:pt x="55" y="112"/>
                    <a:pt x="54" y="113"/>
                  </a:cubicBezTo>
                  <a:cubicBezTo>
                    <a:pt x="52" y="114"/>
                    <a:pt x="52" y="116"/>
                    <a:pt x="51" y="116"/>
                  </a:cubicBezTo>
                  <a:cubicBezTo>
                    <a:pt x="49" y="116"/>
                    <a:pt x="48" y="117"/>
                    <a:pt x="47" y="117"/>
                  </a:cubicBezTo>
                  <a:cubicBezTo>
                    <a:pt x="46" y="118"/>
                    <a:pt x="46" y="118"/>
                    <a:pt x="45" y="117"/>
                  </a:cubicBezTo>
                  <a:cubicBezTo>
                    <a:pt x="44" y="117"/>
                    <a:pt x="44" y="116"/>
                    <a:pt x="43" y="116"/>
                  </a:cubicBezTo>
                  <a:cubicBezTo>
                    <a:pt x="43" y="115"/>
                    <a:pt x="41" y="115"/>
                    <a:pt x="41" y="116"/>
                  </a:cubicBezTo>
                  <a:cubicBezTo>
                    <a:pt x="40" y="116"/>
                    <a:pt x="38" y="116"/>
                    <a:pt x="37" y="116"/>
                  </a:cubicBezTo>
                  <a:cubicBezTo>
                    <a:pt x="36" y="115"/>
                    <a:pt x="35" y="115"/>
                    <a:pt x="35" y="116"/>
                  </a:cubicBezTo>
                  <a:cubicBezTo>
                    <a:pt x="34" y="117"/>
                    <a:pt x="36" y="118"/>
                    <a:pt x="37" y="119"/>
                  </a:cubicBezTo>
                  <a:cubicBezTo>
                    <a:pt x="37" y="119"/>
                    <a:pt x="37" y="120"/>
                    <a:pt x="37" y="120"/>
                  </a:cubicBezTo>
                  <a:cubicBezTo>
                    <a:pt x="36" y="120"/>
                    <a:pt x="36" y="120"/>
                    <a:pt x="35" y="120"/>
                  </a:cubicBezTo>
                  <a:cubicBezTo>
                    <a:pt x="32" y="119"/>
                    <a:pt x="29" y="118"/>
                    <a:pt x="26" y="117"/>
                  </a:cubicBezTo>
                  <a:cubicBezTo>
                    <a:pt x="25" y="117"/>
                    <a:pt x="24" y="117"/>
                    <a:pt x="23" y="116"/>
                  </a:cubicBezTo>
                  <a:cubicBezTo>
                    <a:pt x="21" y="115"/>
                    <a:pt x="19" y="115"/>
                    <a:pt x="17" y="114"/>
                  </a:cubicBezTo>
                  <a:cubicBezTo>
                    <a:pt x="17" y="114"/>
                    <a:pt x="17" y="113"/>
                    <a:pt x="17" y="113"/>
                  </a:cubicBezTo>
                  <a:cubicBezTo>
                    <a:pt x="18" y="113"/>
                    <a:pt x="19" y="112"/>
                    <a:pt x="20" y="112"/>
                  </a:cubicBezTo>
                  <a:cubicBezTo>
                    <a:pt x="22" y="111"/>
                    <a:pt x="24" y="112"/>
                    <a:pt x="26" y="111"/>
                  </a:cubicBezTo>
                  <a:cubicBezTo>
                    <a:pt x="27" y="111"/>
                    <a:pt x="26" y="110"/>
                    <a:pt x="26" y="109"/>
                  </a:cubicBezTo>
                  <a:cubicBezTo>
                    <a:pt x="25" y="109"/>
                    <a:pt x="24" y="109"/>
                    <a:pt x="23" y="109"/>
                  </a:cubicBezTo>
                  <a:cubicBezTo>
                    <a:pt x="22" y="108"/>
                    <a:pt x="20" y="109"/>
                    <a:pt x="18" y="108"/>
                  </a:cubicBezTo>
                  <a:cubicBezTo>
                    <a:pt x="18" y="107"/>
                    <a:pt x="19" y="105"/>
                    <a:pt x="18" y="105"/>
                  </a:cubicBezTo>
                  <a:cubicBezTo>
                    <a:pt x="17" y="104"/>
                    <a:pt x="16" y="105"/>
                    <a:pt x="15" y="106"/>
                  </a:cubicBezTo>
                  <a:cubicBezTo>
                    <a:pt x="14" y="107"/>
                    <a:pt x="13" y="109"/>
                    <a:pt x="11" y="108"/>
                  </a:cubicBezTo>
                  <a:cubicBezTo>
                    <a:pt x="11" y="107"/>
                    <a:pt x="10" y="106"/>
                    <a:pt x="10" y="106"/>
                  </a:cubicBezTo>
                  <a:cubicBezTo>
                    <a:pt x="9" y="105"/>
                    <a:pt x="7" y="106"/>
                    <a:pt x="7" y="106"/>
                  </a:cubicBezTo>
                  <a:cubicBezTo>
                    <a:pt x="6" y="105"/>
                    <a:pt x="7" y="104"/>
                    <a:pt x="8" y="104"/>
                  </a:cubicBezTo>
                  <a:cubicBezTo>
                    <a:pt x="9" y="103"/>
                    <a:pt x="10" y="104"/>
                    <a:pt x="12" y="103"/>
                  </a:cubicBezTo>
                  <a:cubicBezTo>
                    <a:pt x="12" y="103"/>
                    <a:pt x="12" y="102"/>
                    <a:pt x="12" y="102"/>
                  </a:cubicBezTo>
                  <a:cubicBezTo>
                    <a:pt x="14" y="101"/>
                    <a:pt x="15" y="100"/>
                    <a:pt x="16" y="100"/>
                  </a:cubicBezTo>
                  <a:cubicBezTo>
                    <a:pt x="18" y="100"/>
                    <a:pt x="21" y="100"/>
                    <a:pt x="23" y="101"/>
                  </a:cubicBezTo>
                  <a:cubicBezTo>
                    <a:pt x="25" y="102"/>
                    <a:pt x="27" y="101"/>
                    <a:pt x="29" y="101"/>
                  </a:cubicBezTo>
                  <a:cubicBezTo>
                    <a:pt x="30" y="102"/>
                    <a:pt x="31" y="101"/>
                    <a:pt x="32" y="102"/>
                  </a:cubicBezTo>
                  <a:cubicBezTo>
                    <a:pt x="32" y="102"/>
                    <a:pt x="33" y="102"/>
                    <a:pt x="33" y="102"/>
                  </a:cubicBezTo>
                  <a:cubicBezTo>
                    <a:pt x="37" y="103"/>
                    <a:pt x="41" y="103"/>
                    <a:pt x="45" y="102"/>
                  </a:cubicBezTo>
                  <a:cubicBezTo>
                    <a:pt x="45" y="102"/>
                    <a:pt x="45" y="102"/>
                    <a:pt x="45" y="101"/>
                  </a:cubicBezTo>
                  <a:cubicBezTo>
                    <a:pt x="45" y="101"/>
                    <a:pt x="44" y="100"/>
                    <a:pt x="43" y="100"/>
                  </a:cubicBezTo>
                  <a:cubicBezTo>
                    <a:pt x="43" y="99"/>
                    <a:pt x="42" y="100"/>
                    <a:pt x="41" y="100"/>
                  </a:cubicBezTo>
                  <a:cubicBezTo>
                    <a:pt x="40" y="99"/>
                    <a:pt x="40" y="99"/>
                    <a:pt x="40" y="98"/>
                  </a:cubicBezTo>
                  <a:cubicBezTo>
                    <a:pt x="41" y="98"/>
                    <a:pt x="43" y="97"/>
                    <a:pt x="43" y="96"/>
                  </a:cubicBezTo>
                  <a:cubicBezTo>
                    <a:pt x="44" y="95"/>
                    <a:pt x="44" y="94"/>
                    <a:pt x="43" y="94"/>
                  </a:cubicBezTo>
                  <a:cubicBezTo>
                    <a:pt x="42" y="93"/>
                    <a:pt x="41" y="93"/>
                    <a:pt x="40" y="93"/>
                  </a:cubicBezTo>
                  <a:cubicBezTo>
                    <a:pt x="39" y="92"/>
                    <a:pt x="38" y="93"/>
                    <a:pt x="38" y="94"/>
                  </a:cubicBezTo>
                  <a:cubicBezTo>
                    <a:pt x="36" y="95"/>
                    <a:pt x="34" y="98"/>
                    <a:pt x="32" y="97"/>
                  </a:cubicBezTo>
                  <a:cubicBezTo>
                    <a:pt x="30" y="96"/>
                    <a:pt x="28" y="95"/>
                    <a:pt x="27" y="94"/>
                  </a:cubicBezTo>
                  <a:cubicBezTo>
                    <a:pt x="27" y="93"/>
                    <a:pt x="27" y="93"/>
                    <a:pt x="26" y="94"/>
                  </a:cubicBezTo>
                  <a:cubicBezTo>
                    <a:pt x="26" y="95"/>
                    <a:pt x="26" y="96"/>
                    <a:pt x="26" y="97"/>
                  </a:cubicBezTo>
                  <a:cubicBezTo>
                    <a:pt x="25" y="98"/>
                    <a:pt x="23" y="97"/>
                    <a:pt x="22" y="97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21" y="97"/>
                    <a:pt x="19" y="97"/>
                    <a:pt x="18" y="97"/>
                  </a:cubicBezTo>
                  <a:cubicBezTo>
                    <a:pt x="17" y="96"/>
                    <a:pt x="20" y="95"/>
                    <a:pt x="20" y="94"/>
                  </a:cubicBezTo>
                  <a:cubicBezTo>
                    <a:pt x="20" y="94"/>
                    <a:pt x="20" y="94"/>
                    <a:pt x="20" y="94"/>
                  </a:cubicBezTo>
                  <a:cubicBezTo>
                    <a:pt x="20" y="93"/>
                    <a:pt x="19" y="94"/>
                    <a:pt x="18" y="94"/>
                  </a:cubicBezTo>
                  <a:cubicBezTo>
                    <a:pt x="17" y="95"/>
                    <a:pt x="16" y="95"/>
                    <a:pt x="15" y="94"/>
                  </a:cubicBezTo>
                  <a:cubicBezTo>
                    <a:pt x="14" y="93"/>
                    <a:pt x="16" y="93"/>
                    <a:pt x="17" y="92"/>
                  </a:cubicBezTo>
                  <a:cubicBezTo>
                    <a:pt x="18" y="92"/>
                    <a:pt x="18" y="91"/>
                    <a:pt x="17" y="91"/>
                  </a:cubicBezTo>
                  <a:cubicBezTo>
                    <a:pt x="16" y="91"/>
                    <a:pt x="16" y="91"/>
                    <a:pt x="15" y="91"/>
                  </a:cubicBezTo>
                  <a:cubicBezTo>
                    <a:pt x="14" y="91"/>
                    <a:pt x="13" y="92"/>
                    <a:pt x="12" y="92"/>
                  </a:cubicBezTo>
                  <a:cubicBezTo>
                    <a:pt x="11" y="92"/>
                    <a:pt x="10" y="92"/>
                    <a:pt x="9" y="92"/>
                  </a:cubicBezTo>
                  <a:cubicBezTo>
                    <a:pt x="7" y="92"/>
                    <a:pt x="6" y="90"/>
                    <a:pt x="3" y="90"/>
                  </a:cubicBezTo>
                  <a:cubicBezTo>
                    <a:pt x="2" y="89"/>
                    <a:pt x="1" y="89"/>
                    <a:pt x="1" y="88"/>
                  </a:cubicBezTo>
                  <a:cubicBezTo>
                    <a:pt x="0" y="87"/>
                    <a:pt x="1" y="85"/>
                    <a:pt x="2" y="84"/>
                  </a:cubicBezTo>
                  <a:cubicBezTo>
                    <a:pt x="2" y="83"/>
                    <a:pt x="2" y="81"/>
                    <a:pt x="3" y="81"/>
                  </a:cubicBezTo>
                  <a:cubicBezTo>
                    <a:pt x="5" y="80"/>
                    <a:pt x="6" y="80"/>
                    <a:pt x="7" y="80"/>
                  </a:cubicBezTo>
                  <a:cubicBezTo>
                    <a:pt x="8" y="80"/>
                    <a:pt x="9" y="80"/>
                    <a:pt x="10" y="80"/>
                  </a:cubicBezTo>
                  <a:cubicBezTo>
                    <a:pt x="13" y="79"/>
                    <a:pt x="17" y="80"/>
                    <a:pt x="20" y="79"/>
                  </a:cubicBezTo>
                  <a:cubicBezTo>
                    <a:pt x="21" y="79"/>
                    <a:pt x="23" y="78"/>
                    <a:pt x="24" y="77"/>
                  </a:cubicBezTo>
                  <a:cubicBezTo>
                    <a:pt x="25" y="77"/>
                    <a:pt x="26" y="77"/>
                    <a:pt x="26" y="76"/>
                  </a:cubicBezTo>
                  <a:cubicBezTo>
                    <a:pt x="27" y="76"/>
                    <a:pt x="27" y="75"/>
                    <a:pt x="27" y="74"/>
                  </a:cubicBezTo>
                  <a:cubicBezTo>
                    <a:pt x="27" y="73"/>
                    <a:pt x="28" y="73"/>
                    <a:pt x="28" y="73"/>
                  </a:cubicBezTo>
                  <a:cubicBezTo>
                    <a:pt x="30" y="73"/>
                    <a:pt x="32" y="73"/>
                    <a:pt x="33" y="72"/>
                  </a:cubicBezTo>
                  <a:cubicBezTo>
                    <a:pt x="34" y="72"/>
                    <a:pt x="34" y="72"/>
                    <a:pt x="34" y="72"/>
                  </a:cubicBezTo>
                  <a:cubicBezTo>
                    <a:pt x="34" y="72"/>
                    <a:pt x="36" y="72"/>
                    <a:pt x="38" y="72"/>
                  </a:cubicBezTo>
                  <a:cubicBezTo>
                    <a:pt x="39" y="71"/>
                    <a:pt x="41" y="71"/>
                    <a:pt x="43" y="71"/>
                  </a:cubicBezTo>
                  <a:cubicBezTo>
                    <a:pt x="45" y="72"/>
                    <a:pt x="46" y="73"/>
                    <a:pt x="48" y="72"/>
                  </a:cubicBezTo>
                  <a:cubicBezTo>
                    <a:pt x="50" y="72"/>
                    <a:pt x="50" y="70"/>
                    <a:pt x="52" y="69"/>
                  </a:cubicBezTo>
                  <a:cubicBezTo>
                    <a:pt x="54" y="69"/>
                    <a:pt x="56" y="68"/>
                    <a:pt x="57" y="66"/>
                  </a:cubicBezTo>
                  <a:cubicBezTo>
                    <a:pt x="57" y="66"/>
                    <a:pt x="57" y="65"/>
                    <a:pt x="58" y="65"/>
                  </a:cubicBezTo>
                  <a:cubicBezTo>
                    <a:pt x="58" y="64"/>
                    <a:pt x="58" y="63"/>
                    <a:pt x="58" y="62"/>
                  </a:cubicBezTo>
                  <a:cubicBezTo>
                    <a:pt x="59" y="61"/>
                    <a:pt x="61" y="62"/>
                    <a:pt x="62" y="62"/>
                  </a:cubicBezTo>
                  <a:cubicBezTo>
                    <a:pt x="62" y="61"/>
                    <a:pt x="61" y="61"/>
                    <a:pt x="61" y="60"/>
                  </a:cubicBezTo>
                  <a:cubicBezTo>
                    <a:pt x="61" y="60"/>
                    <a:pt x="61" y="59"/>
                    <a:pt x="61" y="59"/>
                  </a:cubicBezTo>
                  <a:cubicBezTo>
                    <a:pt x="62" y="58"/>
                    <a:pt x="63" y="58"/>
                    <a:pt x="64" y="57"/>
                  </a:cubicBezTo>
                  <a:cubicBezTo>
                    <a:pt x="65" y="56"/>
                    <a:pt x="65" y="56"/>
                    <a:pt x="64" y="56"/>
                  </a:cubicBezTo>
                  <a:cubicBezTo>
                    <a:pt x="63" y="55"/>
                    <a:pt x="62" y="57"/>
                    <a:pt x="61" y="57"/>
                  </a:cubicBezTo>
                  <a:cubicBezTo>
                    <a:pt x="60" y="58"/>
                    <a:pt x="59" y="57"/>
                    <a:pt x="58" y="58"/>
                  </a:cubicBezTo>
                  <a:cubicBezTo>
                    <a:pt x="58" y="58"/>
                    <a:pt x="57" y="58"/>
                    <a:pt x="57" y="58"/>
                  </a:cubicBezTo>
                  <a:cubicBezTo>
                    <a:pt x="55" y="59"/>
                    <a:pt x="54" y="59"/>
                    <a:pt x="52" y="58"/>
                  </a:cubicBezTo>
                  <a:cubicBezTo>
                    <a:pt x="51" y="57"/>
                    <a:pt x="50" y="57"/>
                    <a:pt x="48" y="58"/>
                  </a:cubicBezTo>
                  <a:cubicBezTo>
                    <a:pt x="47" y="58"/>
                    <a:pt x="44" y="59"/>
                    <a:pt x="43" y="57"/>
                  </a:cubicBezTo>
                  <a:cubicBezTo>
                    <a:pt x="42" y="56"/>
                    <a:pt x="44" y="55"/>
                    <a:pt x="46" y="54"/>
                  </a:cubicBezTo>
                  <a:cubicBezTo>
                    <a:pt x="46" y="53"/>
                    <a:pt x="47" y="52"/>
                    <a:pt x="48" y="52"/>
                  </a:cubicBezTo>
                  <a:cubicBezTo>
                    <a:pt x="49" y="51"/>
                    <a:pt x="50" y="50"/>
                    <a:pt x="52" y="50"/>
                  </a:cubicBezTo>
                  <a:cubicBezTo>
                    <a:pt x="54" y="50"/>
                    <a:pt x="56" y="49"/>
                    <a:pt x="58" y="48"/>
                  </a:cubicBezTo>
                  <a:cubicBezTo>
                    <a:pt x="59" y="48"/>
                    <a:pt x="59" y="47"/>
                    <a:pt x="59" y="46"/>
                  </a:cubicBezTo>
                  <a:cubicBezTo>
                    <a:pt x="61" y="45"/>
                    <a:pt x="62" y="44"/>
                    <a:pt x="64" y="43"/>
                  </a:cubicBezTo>
                  <a:cubicBezTo>
                    <a:pt x="66" y="43"/>
                    <a:pt x="69" y="43"/>
                    <a:pt x="70" y="44"/>
                  </a:cubicBezTo>
                  <a:cubicBezTo>
                    <a:pt x="70" y="45"/>
                    <a:pt x="71" y="44"/>
                    <a:pt x="71" y="44"/>
                  </a:cubicBezTo>
                  <a:cubicBezTo>
                    <a:pt x="71" y="42"/>
                    <a:pt x="74" y="39"/>
                    <a:pt x="74" y="41"/>
                  </a:cubicBezTo>
                  <a:cubicBezTo>
                    <a:pt x="74" y="41"/>
                    <a:pt x="77" y="41"/>
                    <a:pt x="77" y="41"/>
                  </a:cubicBezTo>
                  <a:cubicBezTo>
                    <a:pt x="78" y="41"/>
                    <a:pt x="80" y="41"/>
                    <a:pt x="82" y="42"/>
                  </a:cubicBezTo>
                  <a:cubicBezTo>
                    <a:pt x="83" y="43"/>
                    <a:pt x="84" y="42"/>
                    <a:pt x="84" y="42"/>
                  </a:cubicBezTo>
                  <a:cubicBezTo>
                    <a:pt x="85" y="41"/>
                    <a:pt x="84" y="40"/>
                    <a:pt x="85" y="39"/>
                  </a:cubicBezTo>
                  <a:cubicBezTo>
                    <a:pt x="85" y="38"/>
                    <a:pt x="86" y="38"/>
                    <a:pt x="87" y="38"/>
                  </a:cubicBezTo>
                  <a:cubicBezTo>
                    <a:pt x="87" y="37"/>
                    <a:pt x="87" y="36"/>
                    <a:pt x="86" y="36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4" y="34"/>
                    <a:pt x="85" y="32"/>
                    <a:pt x="86" y="31"/>
                  </a:cubicBezTo>
                  <a:cubicBezTo>
                    <a:pt x="87" y="31"/>
                    <a:pt x="88" y="30"/>
                    <a:pt x="89" y="30"/>
                  </a:cubicBezTo>
                  <a:cubicBezTo>
                    <a:pt x="91" y="29"/>
                    <a:pt x="93" y="30"/>
                    <a:pt x="94" y="30"/>
                  </a:cubicBezTo>
                  <a:cubicBezTo>
                    <a:pt x="95" y="31"/>
                    <a:pt x="95" y="31"/>
                    <a:pt x="96" y="31"/>
                  </a:cubicBezTo>
                  <a:cubicBezTo>
                    <a:pt x="98" y="31"/>
                    <a:pt x="100" y="32"/>
                    <a:pt x="101" y="33"/>
                  </a:cubicBezTo>
                  <a:cubicBezTo>
                    <a:pt x="105" y="34"/>
                    <a:pt x="109" y="36"/>
                    <a:pt x="113" y="38"/>
                  </a:cubicBezTo>
                  <a:cubicBezTo>
                    <a:pt x="113" y="38"/>
                    <a:pt x="114" y="38"/>
                    <a:pt x="114" y="38"/>
                  </a:cubicBezTo>
                  <a:cubicBezTo>
                    <a:pt x="114" y="37"/>
                    <a:pt x="114" y="36"/>
                    <a:pt x="113" y="36"/>
                  </a:cubicBezTo>
                  <a:cubicBezTo>
                    <a:pt x="110" y="34"/>
                    <a:pt x="106" y="33"/>
                    <a:pt x="102" y="31"/>
                  </a:cubicBezTo>
                  <a:cubicBezTo>
                    <a:pt x="100" y="30"/>
                    <a:pt x="99" y="30"/>
                    <a:pt x="98" y="29"/>
                  </a:cubicBezTo>
                  <a:cubicBezTo>
                    <a:pt x="97" y="28"/>
                    <a:pt x="97" y="27"/>
                    <a:pt x="98" y="27"/>
                  </a:cubicBezTo>
                  <a:cubicBezTo>
                    <a:pt x="100" y="26"/>
                    <a:pt x="103" y="26"/>
                    <a:pt x="106" y="24"/>
                  </a:cubicBezTo>
                  <a:cubicBezTo>
                    <a:pt x="106" y="24"/>
                    <a:pt x="106" y="24"/>
                    <a:pt x="107" y="24"/>
                  </a:cubicBezTo>
                  <a:cubicBezTo>
                    <a:pt x="107" y="23"/>
                    <a:pt x="108" y="23"/>
                    <a:pt x="108" y="23"/>
                  </a:cubicBezTo>
                  <a:cubicBezTo>
                    <a:pt x="109" y="23"/>
                    <a:pt x="110" y="23"/>
                    <a:pt x="110" y="23"/>
                  </a:cubicBezTo>
                  <a:cubicBezTo>
                    <a:pt x="112" y="22"/>
                    <a:pt x="114" y="23"/>
                    <a:pt x="116" y="23"/>
                  </a:cubicBezTo>
                  <a:cubicBezTo>
                    <a:pt x="118" y="22"/>
                    <a:pt x="120" y="23"/>
                    <a:pt x="122" y="23"/>
                  </a:cubicBezTo>
                  <a:cubicBezTo>
                    <a:pt x="124" y="23"/>
                    <a:pt x="125" y="23"/>
                    <a:pt x="127" y="23"/>
                  </a:cubicBezTo>
                  <a:cubicBezTo>
                    <a:pt x="130" y="22"/>
                    <a:pt x="133" y="23"/>
                    <a:pt x="136" y="24"/>
                  </a:cubicBezTo>
                  <a:cubicBezTo>
                    <a:pt x="136" y="24"/>
                    <a:pt x="136" y="24"/>
                    <a:pt x="136" y="24"/>
                  </a:cubicBezTo>
                  <a:cubicBezTo>
                    <a:pt x="137" y="27"/>
                    <a:pt x="136" y="30"/>
                    <a:pt x="134" y="32"/>
                  </a:cubicBezTo>
                  <a:cubicBezTo>
                    <a:pt x="134" y="33"/>
                    <a:pt x="134" y="34"/>
                    <a:pt x="134" y="35"/>
                  </a:cubicBezTo>
                  <a:cubicBezTo>
                    <a:pt x="134" y="35"/>
                    <a:pt x="135" y="35"/>
                    <a:pt x="135" y="35"/>
                  </a:cubicBezTo>
                  <a:cubicBezTo>
                    <a:pt x="136" y="33"/>
                    <a:pt x="136" y="32"/>
                    <a:pt x="137" y="31"/>
                  </a:cubicBezTo>
                  <a:cubicBezTo>
                    <a:pt x="138" y="30"/>
                    <a:pt x="138" y="29"/>
                    <a:pt x="139" y="28"/>
                  </a:cubicBezTo>
                  <a:cubicBezTo>
                    <a:pt x="140" y="27"/>
                    <a:pt x="141" y="27"/>
                    <a:pt x="142" y="28"/>
                  </a:cubicBezTo>
                  <a:cubicBezTo>
                    <a:pt x="143" y="28"/>
                    <a:pt x="144" y="30"/>
                    <a:pt x="146" y="30"/>
                  </a:cubicBezTo>
                  <a:cubicBezTo>
                    <a:pt x="147" y="31"/>
                    <a:pt x="148" y="31"/>
                    <a:pt x="149" y="32"/>
                  </a:cubicBezTo>
                  <a:cubicBezTo>
                    <a:pt x="150" y="32"/>
                    <a:pt x="151" y="33"/>
                    <a:pt x="151" y="33"/>
                  </a:cubicBezTo>
                  <a:cubicBezTo>
                    <a:pt x="152" y="33"/>
                    <a:pt x="153" y="33"/>
                    <a:pt x="153" y="33"/>
                  </a:cubicBezTo>
                  <a:cubicBezTo>
                    <a:pt x="154" y="32"/>
                    <a:pt x="152" y="31"/>
                    <a:pt x="151" y="30"/>
                  </a:cubicBezTo>
                  <a:cubicBezTo>
                    <a:pt x="151" y="30"/>
                    <a:pt x="151" y="29"/>
                    <a:pt x="151" y="29"/>
                  </a:cubicBezTo>
                  <a:cubicBezTo>
                    <a:pt x="152" y="28"/>
                    <a:pt x="152" y="28"/>
                    <a:pt x="153" y="28"/>
                  </a:cubicBezTo>
                  <a:cubicBezTo>
                    <a:pt x="155" y="29"/>
                    <a:pt x="156" y="31"/>
                    <a:pt x="159" y="30"/>
                  </a:cubicBezTo>
                  <a:cubicBezTo>
                    <a:pt x="159" y="29"/>
                    <a:pt x="157" y="28"/>
                    <a:pt x="156" y="27"/>
                  </a:cubicBezTo>
                  <a:cubicBezTo>
                    <a:pt x="154" y="26"/>
                    <a:pt x="152" y="24"/>
                    <a:pt x="151" y="22"/>
                  </a:cubicBezTo>
                  <a:cubicBezTo>
                    <a:pt x="150" y="22"/>
                    <a:pt x="151" y="20"/>
                    <a:pt x="151" y="20"/>
                  </a:cubicBezTo>
                  <a:cubicBezTo>
                    <a:pt x="152" y="19"/>
                    <a:pt x="154" y="20"/>
                    <a:pt x="155" y="20"/>
                  </a:cubicBezTo>
                  <a:cubicBezTo>
                    <a:pt x="157" y="20"/>
                    <a:pt x="158" y="19"/>
                    <a:pt x="159" y="20"/>
                  </a:cubicBezTo>
                  <a:cubicBezTo>
                    <a:pt x="163" y="22"/>
                    <a:pt x="167" y="22"/>
                    <a:pt x="171" y="23"/>
                  </a:cubicBezTo>
                  <a:cubicBezTo>
                    <a:pt x="172" y="23"/>
                    <a:pt x="173" y="24"/>
                    <a:pt x="174" y="24"/>
                  </a:cubicBezTo>
                  <a:cubicBezTo>
                    <a:pt x="175" y="24"/>
                    <a:pt x="176" y="24"/>
                    <a:pt x="177" y="24"/>
                  </a:cubicBezTo>
                  <a:cubicBezTo>
                    <a:pt x="181" y="25"/>
                    <a:pt x="183" y="29"/>
                    <a:pt x="185" y="32"/>
                  </a:cubicBezTo>
                  <a:cubicBezTo>
                    <a:pt x="186" y="32"/>
                    <a:pt x="187" y="32"/>
                    <a:pt x="188" y="32"/>
                  </a:cubicBezTo>
                  <a:cubicBezTo>
                    <a:pt x="188" y="33"/>
                    <a:pt x="189" y="33"/>
                    <a:pt x="189" y="33"/>
                  </a:cubicBezTo>
                  <a:cubicBezTo>
                    <a:pt x="190" y="33"/>
                    <a:pt x="191" y="33"/>
                    <a:pt x="191" y="33"/>
                  </a:cubicBezTo>
                  <a:cubicBezTo>
                    <a:pt x="192" y="32"/>
                    <a:pt x="190" y="30"/>
                    <a:pt x="190" y="29"/>
                  </a:cubicBezTo>
                  <a:cubicBezTo>
                    <a:pt x="189" y="28"/>
                    <a:pt x="189" y="27"/>
                    <a:pt x="190" y="27"/>
                  </a:cubicBezTo>
                  <a:cubicBezTo>
                    <a:pt x="190" y="26"/>
                    <a:pt x="192" y="27"/>
                    <a:pt x="192" y="26"/>
                  </a:cubicBezTo>
                  <a:cubicBezTo>
                    <a:pt x="192" y="25"/>
                    <a:pt x="192" y="24"/>
                    <a:pt x="192" y="24"/>
                  </a:cubicBezTo>
                  <a:cubicBezTo>
                    <a:pt x="193" y="24"/>
                    <a:pt x="194" y="24"/>
                    <a:pt x="195" y="24"/>
                  </a:cubicBezTo>
                  <a:cubicBezTo>
                    <a:pt x="196" y="24"/>
                    <a:pt x="196" y="25"/>
                    <a:pt x="197" y="24"/>
                  </a:cubicBezTo>
                  <a:cubicBezTo>
                    <a:pt x="197" y="24"/>
                    <a:pt x="197" y="24"/>
                    <a:pt x="197" y="24"/>
                  </a:cubicBezTo>
                  <a:cubicBezTo>
                    <a:pt x="196" y="22"/>
                    <a:pt x="195" y="22"/>
                    <a:pt x="193" y="21"/>
                  </a:cubicBezTo>
                  <a:cubicBezTo>
                    <a:pt x="191" y="20"/>
                    <a:pt x="189" y="19"/>
                    <a:pt x="187" y="18"/>
                  </a:cubicBezTo>
                  <a:cubicBezTo>
                    <a:pt x="187" y="18"/>
                    <a:pt x="187" y="17"/>
                    <a:pt x="187" y="17"/>
                  </a:cubicBezTo>
                  <a:cubicBezTo>
                    <a:pt x="191" y="17"/>
                    <a:pt x="195" y="17"/>
                    <a:pt x="198" y="18"/>
                  </a:cubicBezTo>
                  <a:cubicBezTo>
                    <a:pt x="203" y="18"/>
                    <a:pt x="207" y="17"/>
                    <a:pt x="212" y="18"/>
                  </a:cubicBezTo>
                  <a:cubicBezTo>
                    <a:pt x="214" y="18"/>
                    <a:pt x="216" y="20"/>
                    <a:pt x="218" y="22"/>
                  </a:cubicBezTo>
                  <a:cubicBezTo>
                    <a:pt x="219" y="22"/>
                    <a:pt x="219" y="22"/>
                    <a:pt x="219" y="22"/>
                  </a:cubicBezTo>
                  <a:cubicBezTo>
                    <a:pt x="219" y="20"/>
                    <a:pt x="219" y="19"/>
                    <a:pt x="219" y="18"/>
                  </a:cubicBezTo>
                  <a:cubicBezTo>
                    <a:pt x="218" y="17"/>
                    <a:pt x="218" y="16"/>
                    <a:pt x="217" y="16"/>
                  </a:cubicBezTo>
                  <a:cubicBezTo>
                    <a:pt x="215" y="15"/>
                    <a:pt x="213" y="16"/>
                    <a:pt x="211" y="16"/>
                  </a:cubicBezTo>
                  <a:cubicBezTo>
                    <a:pt x="210" y="16"/>
                    <a:pt x="209" y="16"/>
                    <a:pt x="208" y="16"/>
                  </a:cubicBezTo>
                  <a:cubicBezTo>
                    <a:pt x="207" y="17"/>
                    <a:pt x="205" y="17"/>
                    <a:pt x="203" y="16"/>
                  </a:cubicBezTo>
                  <a:cubicBezTo>
                    <a:pt x="199" y="16"/>
                    <a:pt x="194" y="18"/>
                    <a:pt x="191" y="16"/>
                  </a:cubicBezTo>
                  <a:cubicBezTo>
                    <a:pt x="190" y="15"/>
                    <a:pt x="191" y="14"/>
                    <a:pt x="191" y="13"/>
                  </a:cubicBezTo>
                  <a:cubicBezTo>
                    <a:pt x="190" y="13"/>
                    <a:pt x="190" y="12"/>
                    <a:pt x="189" y="12"/>
                  </a:cubicBezTo>
                  <a:cubicBezTo>
                    <a:pt x="188" y="12"/>
                    <a:pt x="186" y="11"/>
                    <a:pt x="185" y="10"/>
                  </a:cubicBezTo>
                  <a:cubicBezTo>
                    <a:pt x="185" y="10"/>
                    <a:pt x="185" y="10"/>
                    <a:pt x="185" y="9"/>
                  </a:cubicBezTo>
                  <a:cubicBezTo>
                    <a:pt x="186" y="9"/>
                    <a:pt x="188" y="10"/>
                    <a:pt x="189" y="10"/>
                  </a:cubicBezTo>
                  <a:cubicBezTo>
                    <a:pt x="190" y="10"/>
                    <a:pt x="191" y="10"/>
                    <a:pt x="192" y="10"/>
                  </a:cubicBezTo>
                  <a:cubicBezTo>
                    <a:pt x="195" y="11"/>
                    <a:pt x="197" y="11"/>
                    <a:pt x="199" y="10"/>
                  </a:cubicBezTo>
                  <a:cubicBezTo>
                    <a:pt x="201" y="10"/>
                    <a:pt x="202" y="8"/>
                    <a:pt x="203" y="8"/>
                  </a:cubicBezTo>
                  <a:cubicBezTo>
                    <a:pt x="205" y="7"/>
                    <a:pt x="207" y="7"/>
                    <a:pt x="208" y="8"/>
                  </a:cubicBezTo>
                  <a:cubicBezTo>
                    <a:pt x="209" y="9"/>
                    <a:pt x="209" y="10"/>
                    <a:pt x="210" y="11"/>
                  </a:cubicBezTo>
                  <a:cubicBezTo>
                    <a:pt x="210" y="11"/>
                    <a:pt x="211" y="11"/>
                    <a:pt x="212" y="11"/>
                  </a:cubicBezTo>
                  <a:cubicBezTo>
                    <a:pt x="212" y="11"/>
                    <a:pt x="213" y="10"/>
                    <a:pt x="213" y="10"/>
                  </a:cubicBezTo>
                  <a:cubicBezTo>
                    <a:pt x="214" y="10"/>
                    <a:pt x="214" y="10"/>
                    <a:pt x="214" y="10"/>
                  </a:cubicBezTo>
                  <a:cubicBezTo>
                    <a:pt x="216" y="11"/>
                    <a:pt x="217" y="11"/>
                    <a:pt x="219" y="11"/>
                  </a:cubicBezTo>
                  <a:cubicBezTo>
                    <a:pt x="220" y="11"/>
                    <a:pt x="222" y="11"/>
                    <a:pt x="223" y="11"/>
                  </a:cubicBezTo>
                  <a:cubicBezTo>
                    <a:pt x="224" y="12"/>
                    <a:pt x="224" y="13"/>
                    <a:pt x="224" y="13"/>
                  </a:cubicBezTo>
                  <a:cubicBezTo>
                    <a:pt x="225" y="13"/>
                    <a:pt x="226" y="13"/>
                    <a:pt x="226" y="13"/>
                  </a:cubicBezTo>
                  <a:cubicBezTo>
                    <a:pt x="227" y="12"/>
                    <a:pt x="227" y="11"/>
                    <a:pt x="228" y="11"/>
                  </a:cubicBezTo>
                  <a:cubicBezTo>
                    <a:pt x="229" y="10"/>
                    <a:pt x="230" y="11"/>
                    <a:pt x="230" y="10"/>
                  </a:cubicBezTo>
                  <a:cubicBezTo>
                    <a:pt x="231" y="10"/>
                    <a:pt x="230" y="9"/>
                    <a:pt x="230" y="9"/>
                  </a:cubicBezTo>
                  <a:cubicBezTo>
                    <a:pt x="229" y="9"/>
                    <a:pt x="228" y="9"/>
                    <a:pt x="227" y="8"/>
                  </a:cubicBezTo>
                  <a:cubicBezTo>
                    <a:pt x="227" y="8"/>
                    <a:pt x="227" y="7"/>
                    <a:pt x="227" y="7"/>
                  </a:cubicBezTo>
                  <a:cubicBezTo>
                    <a:pt x="228" y="6"/>
                    <a:pt x="230" y="7"/>
                    <a:pt x="231" y="6"/>
                  </a:cubicBezTo>
                  <a:cubicBezTo>
                    <a:pt x="231" y="6"/>
                    <a:pt x="231" y="5"/>
                    <a:pt x="232" y="4"/>
                  </a:cubicBezTo>
                  <a:cubicBezTo>
                    <a:pt x="234" y="4"/>
                    <a:pt x="234" y="5"/>
                    <a:pt x="235" y="6"/>
                  </a:cubicBezTo>
                  <a:cubicBezTo>
                    <a:pt x="236" y="6"/>
                    <a:pt x="237" y="6"/>
                    <a:pt x="237" y="6"/>
                  </a:cubicBezTo>
                  <a:cubicBezTo>
                    <a:pt x="238" y="7"/>
                    <a:pt x="239" y="7"/>
                    <a:pt x="241" y="7"/>
                  </a:cubicBezTo>
                  <a:cubicBezTo>
                    <a:pt x="241" y="6"/>
                    <a:pt x="241" y="5"/>
                    <a:pt x="240" y="4"/>
                  </a:cubicBezTo>
                  <a:cubicBezTo>
                    <a:pt x="240" y="4"/>
                    <a:pt x="240" y="2"/>
                    <a:pt x="241" y="2"/>
                  </a:cubicBezTo>
                  <a:cubicBezTo>
                    <a:pt x="244" y="1"/>
                    <a:pt x="247" y="3"/>
                    <a:pt x="250" y="1"/>
                  </a:cubicBezTo>
                  <a:cubicBezTo>
                    <a:pt x="251" y="1"/>
                    <a:pt x="252" y="0"/>
                    <a:pt x="253" y="1"/>
                  </a:cubicBezTo>
                  <a:cubicBezTo>
                    <a:pt x="255" y="1"/>
                    <a:pt x="255" y="3"/>
                    <a:pt x="257" y="4"/>
                  </a:cubicBezTo>
                  <a:cubicBezTo>
                    <a:pt x="258" y="4"/>
                    <a:pt x="260" y="3"/>
                    <a:pt x="260" y="1"/>
                  </a:cubicBezTo>
                  <a:cubicBezTo>
                    <a:pt x="262" y="0"/>
                    <a:pt x="265" y="0"/>
                    <a:pt x="267" y="2"/>
                  </a:cubicBezTo>
                  <a:cubicBezTo>
                    <a:pt x="273" y="3"/>
                    <a:pt x="278" y="2"/>
                    <a:pt x="284" y="2"/>
                  </a:cubicBezTo>
                  <a:cubicBezTo>
                    <a:pt x="284" y="2"/>
                    <a:pt x="285" y="3"/>
                    <a:pt x="286" y="3"/>
                  </a:cubicBezTo>
                  <a:cubicBezTo>
                    <a:pt x="288" y="4"/>
                    <a:pt x="290" y="2"/>
                    <a:pt x="292" y="4"/>
                  </a:cubicBezTo>
                  <a:cubicBezTo>
                    <a:pt x="292" y="4"/>
                    <a:pt x="292" y="5"/>
                    <a:pt x="291" y="6"/>
                  </a:cubicBezTo>
                  <a:cubicBezTo>
                    <a:pt x="289" y="7"/>
                    <a:pt x="286" y="6"/>
                    <a:pt x="284" y="7"/>
                  </a:cubicBezTo>
                  <a:cubicBezTo>
                    <a:pt x="282" y="7"/>
                    <a:pt x="280" y="7"/>
                    <a:pt x="278" y="7"/>
                  </a:cubicBezTo>
                  <a:cubicBezTo>
                    <a:pt x="276" y="8"/>
                    <a:pt x="274" y="9"/>
                    <a:pt x="273" y="10"/>
                  </a:cubicBezTo>
                  <a:cubicBezTo>
                    <a:pt x="270" y="11"/>
                    <a:pt x="266" y="10"/>
                    <a:pt x="263" y="11"/>
                  </a:cubicBezTo>
                  <a:cubicBezTo>
                    <a:pt x="259" y="11"/>
                    <a:pt x="255" y="13"/>
                    <a:pt x="251" y="13"/>
                  </a:cubicBezTo>
                  <a:cubicBezTo>
                    <a:pt x="250" y="13"/>
                    <a:pt x="249" y="14"/>
                    <a:pt x="248" y="14"/>
                  </a:cubicBezTo>
                  <a:cubicBezTo>
                    <a:pt x="251" y="14"/>
                    <a:pt x="255" y="15"/>
                    <a:pt x="259" y="14"/>
                  </a:cubicBezTo>
                  <a:cubicBezTo>
                    <a:pt x="260" y="13"/>
                    <a:pt x="262" y="14"/>
                    <a:pt x="263" y="13"/>
                  </a:cubicBezTo>
                  <a:cubicBezTo>
                    <a:pt x="267" y="13"/>
                    <a:pt x="271" y="13"/>
                    <a:pt x="275" y="10"/>
                  </a:cubicBezTo>
                  <a:cubicBezTo>
                    <a:pt x="277" y="10"/>
                    <a:pt x="278" y="10"/>
                    <a:pt x="280" y="11"/>
                  </a:cubicBezTo>
                  <a:cubicBezTo>
                    <a:pt x="281" y="11"/>
                    <a:pt x="282" y="11"/>
                    <a:pt x="282" y="11"/>
                  </a:cubicBezTo>
                  <a:cubicBezTo>
                    <a:pt x="285" y="10"/>
                    <a:pt x="289" y="8"/>
                    <a:pt x="292" y="10"/>
                  </a:cubicBezTo>
                  <a:cubicBezTo>
                    <a:pt x="292" y="10"/>
                    <a:pt x="293" y="11"/>
                    <a:pt x="294" y="11"/>
                  </a:cubicBezTo>
                  <a:cubicBezTo>
                    <a:pt x="295" y="11"/>
                    <a:pt x="297" y="11"/>
                    <a:pt x="299" y="11"/>
                  </a:cubicBezTo>
                  <a:cubicBezTo>
                    <a:pt x="301" y="10"/>
                    <a:pt x="304" y="10"/>
                    <a:pt x="306" y="10"/>
                  </a:cubicBezTo>
                  <a:cubicBezTo>
                    <a:pt x="308" y="11"/>
                    <a:pt x="308" y="11"/>
                    <a:pt x="308" y="11"/>
                  </a:cubicBezTo>
                  <a:cubicBezTo>
                    <a:pt x="309" y="11"/>
                    <a:pt x="310" y="11"/>
                    <a:pt x="310" y="10"/>
                  </a:cubicBezTo>
                  <a:cubicBezTo>
                    <a:pt x="312" y="10"/>
                    <a:pt x="313" y="9"/>
                    <a:pt x="314" y="9"/>
                  </a:cubicBezTo>
                  <a:cubicBezTo>
                    <a:pt x="316" y="8"/>
                    <a:pt x="318" y="7"/>
                    <a:pt x="320" y="7"/>
                  </a:cubicBezTo>
                  <a:cubicBezTo>
                    <a:pt x="320" y="9"/>
                    <a:pt x="320" y="10"/>
                    <a:pt x="320" y="12"/>
                  </a:cubicBezTo>
                  <a:cubicBezTo>
                    <a:pt x="319" y="13"/>
                    <a:pt x="316" y="13"/>
                    <a:pt x="317" y="15"/>
                  </a:cubicBezTo>
                  <a:cubicBezTo>
                    <a:pt x="317" y="15"/>
                    <a:pt x="318" y="15"/>
                    <a:pt x="318" y="15"/>
                  </a:cubicBezTo>
                  <a:cubicBezTo>
                    <a:pt x="319" y="14"/>
                    <a:pt x="319" y="14"/>
                    <a:pt x="320" y="14"/>
                  </a:cubicBezTo>
                  <a:cubicBezTo>
                    <a:pt x="322" y="13"/>
                    <a:pt x="324" y="12"/>
                    <a:pt x="326" y="13"/>
                  </a:cubicBezTo>
                  <a:cubicBezTo>
                    <a:pt x="327" y="13"/>
                    <a:pt x="327" y="14"/>
                    <a:pt x="327" y="14"/>
                  </a:cubicBezTo>
                  <a:cubicBezTo>
                    <a:pt x="328" y="15"/>
                    <a:pt x="328" y="15"/>
                    <a:pt x="329" y="14"/>
                  </a:cubicBezTo>
                  <a:cubicBezTo>
                    <a:pt x="329" y="14"/>
                    <a:pt x="330" y="13"/>
                    <a:pt x="330" y="13"/>
                  </a:cubicBezTo>
                  <a:cubicBezTo>
                    <a:pt x="332" y="12"/>
                    <a:pt x="333" y="13"/>
                    <a:pt x="334" y="14"/>
                  </a:cubicBezTo>
                  <a:cubicBezTo>
                    <a:pt x="336" y="14"/>
                    <a:pt x="338" y="13"/>
                    <a:pt x="339" y="14"/>
                  </a:cubicBezTo>
                  <a:cubicBezTo>
                    <a:pt x="341" y="14"/>
                    <a:pt x="342" y="15"/>
                    <a:pt x="343" y="17"/>
                  </a:cubicBezTo>
                  <a:cubicBezTo>
                    <a:pt x="343" y="17"/>
                    <a:pt x="343" y="18"/>
                    <a:pt x="343" y="19"/>
                  </a:cubicBezTo>
                  <a:cubicBezTo>
                    <a:pt x="343" y="20"/>
                    <a:pt x="342" y="20"/>
                    <a:pt x="341" y="20"/>
                  </a:cubicBezTo>
                  <a:cubicBezTo>
                    <a:pt x="339" y="20"/>
                    <a:pt x="338" y="21"/>
                    <a:pt x="337" y="21"/>
                  </a:cubicBezTo>
                  <a:cubicBezTo>
                    <a:pt x="336" y="21"/>
                    <a:pt x="336" y="22"/>
                    <a:pt x="335" y="22"/>
                  </a:cubicBezTo>
                  <a:cubicBezTo>
                    <a:pt x="332" y="23"/>
                    <a:pt x="330" y="22"/>
                    <a:pt x="328" y="23"/>
                  </a:cubicBezTo>
                  <a:cubicBezTo>
                    <a:pt x="324" y="23"/>
                    <a:pt x="320" y="23"/>
                    <a:pt x="315" y="24"/>
                  </a:cubicBezTo>
                  <a:cubicBezTo>
                    <a:pt x="313" y="24"/>
                    <a:pt x="310" y="24"/>
                    <a:pt x="308" y="24"/>
                  </a:cubicBezTo>
                  <a:cubicBezTo>
                    <a:pt x="306" y="24"/>
                    <a:pt x="306" y="24"/>
                    <a:pt x="306" y="24"/>
                  </a:cubicBezTo>
                  <a:cubicBezTo>
                    <a:pt x="303" y="24"/>
                    <a:pt x="300" y="23"/>
                    <a:pt x="297" y="24"/>
                  </a:cubicBezTo>
                  <a:cubicBezTo>
                    <a:pt x="297" y="24"/>
                    <a:pt x="295" y="24"/>
                    <a:pt x="295" y="24"/>
                  </a:cubicBezTo>
                  <a:cubicBezTo>
                    <a:pt x="292" y="24"/>
                    <a:pt x="292" y="23"/>
                    <a:pt x="289" y="24"/>
                  </a:cubicBezTo>
                  <a:cubicBezTo>
                    <a:pt x="288" y="24"/>
                    <a:pt x="287" y="24"/>
                    <a:pt x="286" y="24"/>
                  </a:cubicBezTo>
                  <a:cubicBezTo>
                    <a:pt x="284" y="25"/>
                    <a:pt x="281" y="25"/>
                    <a:pt x="278" y="25"/>
                  </a:cubicBezTo>
                  <a:cubicBezTo>
                    <a:pt x="277" y="25"/>
                    <a:pt x="275" y="26"/>
                    <a:pt x="273" y="27"/>
                  </a:cubicBezTo>
                  <a:cubicBezTo>
                    <a:pt x="273" y="27"/>
                    <a:pt x="272" y="28"/>
                    <a:pt x="272" y="28"/>
                  </a:cubicBezTo>
                  <a:cubicBezTo>
                    <a:pt x="271" y="28"/>
                    <a:pt x="270" y="28"/>
                    <a:pt x="269" y="29"/>
                  </a:cubicBezTo>
                  <a:cubicBezTo>
                    <a:pt x="269" y="29"/>
                    <a:pt x="268" y="29"/>
                    <a:pt x="267" y="29"/>
                  </a:cubicBezTo>
                  <a:cubicBezTo>
                    <a:pt x="267" y="30"/>
                    <a:pt x="264" y="30"/>
                    <a:pt x="263" y="31"/>
                  </a:cubicBezTo>
                  <a:cubicBezTo>
                    <a:pt x="263" y="32"/>
                    <a:pt x="262" y="33"/>
                    <a:pt x="263" y="34"/>
                  </a:cubicBezTo>
                  <a:cubicBezTo>
                    <a:pt x="263" y="34"/>
                    <a:pt x="264" y="34"/>
                    <a:pt x="264" y="34"/>
                  </a:cubicBezTo>
                  <a:cubicBezTo>
                    <a:pt x="266" y="35"/>
                    <a:pt x="268" y="35"/>
                    <a:pt x="269" y="34"/>
                  </a:cubicBezTo>
                  <a:cubicBezTo>
                    <a:pt x="270" y="34"/>
                    <a:pt x="271" y="33"/>
                    <a:pt x="271" y="32"/>
                  </a:cubicBezTo>
                  <a:cubicBezTo>
                    <a:pt x="272" y="31"/>
                    <a:pt x="274" y="32"/>
                    <a:pt x="275" y="31"/>
                  </a:cubicBezTo>
                  <a:cubicBezTo>
                    <a:pt x="276" y="31"/>
                    <a:pt x="276" y="29"/>
                    <a:pt x="277" y="28"/>
                  </a:cubicBezTo>
                  <a:cubicBezTo>
                    <a:pt x="278" y="28"/>
                    <a:pt x="278" y="29"/>
                    <a:pt x="279" y="28"/>
                  </a:cubicBezTo>
                  <a:cubicBezTo>
                    <a:pt x="280" y="28"/>
                    <a:pt x="282" y="27"/>
                    <a:pt x="283" y="28"/>
                  </a:cubicBezTo>
                  <a:cubicBezTo>
                    <a:pt x="283" y="28"/>
                    <a:pt x="284" y="28"/>
                    <a:pt x="284" y="29"/>
                  </a:cubicBezTo>
                  <a:cubicBezTo>
                    <a:pt x="284" y="29"/>
                    <a:pt x="285" y="29"/>
                    <a:pt x="286" y="29"/>
                  </a:cubicBezTo>
                  <a:cubicBezTo>
                    <a:pt x="287" y="28"/>
                    <a:pt x="289" y="28"/>
                    <a:pt x="291" y="27"/>
                  </a:cubicBezTo>
                  <a:cubicBezTo>
                    <a:pt x="292" y="27"/>
                    <a:pt x="293" y="27"/>
                    <a:pt x="294" y="27"/>
                  </a:cubicBezTo>
                  <a:cubicBezTo>
                    <a:pt x="295" y="28"/>
                    <a:pt x="296" y="28"/>
                    <a:pt x="297" y="27"/>
                  </a:cubicBezTo>
                  <a:cubicBezTo>
                    <a:pt x="297" y="27"/>
                    <a:pt x="297" y="27"/>
                    <a:pt x="298" y="27"/>
                  </a:cubicBezTo>
                  <a:cubicBezTo>
                    <a:pt x="298" y="27"/>
                    <a:pt x="299" y="27"/>
                    <a:pt x="299" y="28"/>
                  </a:cubicBezTo>
                  <a:cubicBezTo>
                    <a:pt x="302" y="28"/>
                    <a:pt x="304" y="28"/>
                    <a:pt x="306" y="28"/>
                  </a:cubicBezTo>
                  <a:cubicBezTo>
                    <a:pt x="308" y="28"/>
                    <a:pt x="308" y="28"/>
                    <a:pt x="308" y="28"/>
                  </a:cubicBezTo>
                  <a:cubicBezTo>
                    <a:pt x="310" y="29"/>
                    <a:pt x="313" y="28"/>
                    <a:pt x="316" y="29"/>
                  </a:cubicBezTo>
                  <a:cubicBezTo>
                    <a:pt x="316" y="29"/>
                    <a:pt x="316" y="30"/>
                    <a:pt x="315" y="30"/>
                  </a:cubicBezTo>
                  <a:cubicBezTo>
                    <a:pt x="314" y="31"/>
                    <a:pt x="313" y="32"/>
                    <a:pt x="311" y="32"/>
                  </a:cubicBezTo>
                  <a:cubicBezTo>
                    <a:pt x="311" y="33"/>
                    <a:pt x="311" y="33"/>
                    <a:pt x="310" y="33"/>
                  </a:cubicBezTo>
                  <a:cubicBezTo>
                    <a:pt x="309" y="33"/>
                    <a:pt x="309" y="33"/>
                    <a:pt x="308" y="33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305" y="34"/>
                    <a:pt x="303" y="34"/>
                    <a:pt x="302" y="35"/>
                  </a:cubicBezTo>
                  <a:cubicBezTo>
                    <a:pt x="301" y="35"/>
                    <a:pt x="299" y="36"/>
                    <a:pt x="300" y="37"/>
                  </a:cubicBezTo>
                  <a:cubicBezTo>
                    <a:pt x="300" y="39"/>
                    <a:pt x="301" y="39"/>
                    <a:pt x="303" y="39"/>
                  </a:cubicBezTo>
                  <a:cubicBezTo>
                    <a:pt x="304" y="38"/>
                    <a:pt x="306" y="36"/>
                    <a:pt x="307" y="35"/>
                  </a:cubicBezTo>
                  <a:cubicBezTo>
                    <a:pt x="308" y="35"/>
                    <a:pt x="308" y="35"/>
                    <a:pt x="308" y="35"/>
                  </a:cubicBezTo>
                  <a:cubicBezTo>
                    <a:pt x="310" y="35"/>
                    <a:pt x="312" y="36"/>
                    <a:pt x="314" y="35"/>
                  </a:cubicBezTo>
                  <a:cubicBezTo>
                    <a:pt x="316" y="35"/>
                    <a:pt x="318" y="35"/>
                    <a:pt x="319" y="34"/>
                  </a:cubicBezTo>
                  <a:cubicBezTo>
                    <a:pt x="320" y="34"/>
                    <a:pt x="321" y="34"/>
                    <a:pt x="322" y="33"/>
                  </a:cubicBezTo>
                  <a:cubicBezTo>
                    <a:pt x="324" y="32"/>
                    <a:pt x="325" y="30"/>
                    <a:pt x="327" y="28"/>
                  </a:cubicBezTo>
                  <a:cubicBezTo>
                    <a:pt x="327" y="28"/>
                    <a:pt x="327" y="28"/>
                    <a:pt x="328" y="27"/>
                  </a:cubicBezTo>
                  <a:cubicBezTo>
                    <a:pt x="331" y="27"/>
                    <a:pt x="333" y="25"/>
                    <a:pt x="336" y="26"/>
                  </a:cubicBezTo>
                  <a:cubicBezTo>
                    <a:pt x="337" y="26"/>
                    <a:pt x="337" y="27"/>
                    <a:pt x="337" y="28"/>
                  </a:cubicBezTo>
                  <a:cubicBezTo>
                    <a:pt x="338" y="29"/>
                    <a:pt x="337" y="31"/>
                    <a:pt x="338" y="32"/>
                  </a:cubicBezTo>
                  <a:cubicBezTo>
                    <a:pt x="339" y="33"/>
                    <a:pt x="339" y="34"/>
                    <a:pt x="338" y="35"/>
                  </a:cubicBezTo>
                  <a:cubicBezTo>
                    <a:pt x="337" y="36"/>
                    <a:pt x="335" y="37"/>
                    <a:pt x="334" y="38"/>
                  </a:cubicBezTo>
                  <a:cubicBezTo>
                    <a:pt x="332" y="39"/>
                    <a:pt x="331" y="41"/>
                    <a:pt x="330" y="42"/>
                  </a:cubicBezTo>
                  <a:cubicBezTo>
                    <a:pt x="330" y="42"/>
                    <a:pt x="330" y="42"/>
                    <a:pt x="330" y="43"/>
                  </a:cubicBezTo>
                  <a:cubicBezTo>
                    <a:pt x="328" y="44"/>
                    <a:pt x="328" y="47"/>
                    <a:pt x="326" y="48"/>
                  </a:cubicBezTo>
                  <a:cubicBezTo>
                    <a:pt x="323" y="50"/>
                    <a:pt x="320" y="52"/>
                    <a:pt x="319" y="54"/>
                  </a:cubicBezTo>
                  <a:cubicBezTo>
                    <a:pt x="319" y="54"/>
                    <a:pt x="319" y="55"/>
                    <a:pt x="320" y="54"/>
                  </a:cubicBezTo>
                  <a:cubicBezTo>
                    <a:pt x="321" y="52"/>
                    <a:pt x="323" y="50"/>
                    <a:pt x="326" y="49"/>
                  </a:cubicBezTo>
                  <a:cubicBezTo>
                    <a:pt x="326" y="49"/>
                    <a:pt x="327" y="49"/>
                    <a:pt x="327" y="49"/>
                  </a:cubicBezTo>
                  <a:cubicBezTo>
                    <a:pt x="328" y="50"/>
                    <a:pt x="328" y="50"/>
                    <a:pt x="328" y="50"/>
                  </a:cubicBezTo>
                  <a:cubicBezTo>
                    <a:pt x="329" y="51"/>
                    <a:pt x="330" y="50"/>
                    <a:pt x="330" y="49"/>
                  </a:cubicBezTo>
                  <a:cubicBezTo>
                    <a:pt x="331" y="47"/>
                    <a:pt x="332" y="45"/>
                    <a:pt x="334" y="44"/>
                  </a:cubicBezTo>
                  <a:cubicBezTo>
                    <a:pt x="334" y="43"/>
                    <a:pt x="335" y="43"/>
                    <a:pt x="335" y="42"/>
                  </a:cubicBezTo>
                  <a:cubicBezTo>
                    <a:pt x="336" y="42"/>
                    <a:pt x="337" y="41"/>
                    <a:pt x="339" y="40"/>
                  </a:cubicBezTo>
                  <a:cubicBezTo>
                    <a:pt x="341" y="38"/>
                    <a:pt x="343" y="37"/>
                    <a:pt x="346" y="36"/>
                  </a:cubicBezTo>
                  <a:cubicBezTo>
                    <a:pt x="348" y="36"/>
                    <a:pt x="349" y="33"/>
                    <a:pt x="351" y="32"/>
                  </a:cubicBezTo>
                  <a:cubicBezTo>
                    <a:pt x="351" y="32"/>
                    <a:pt x="352" y="32"/>
                    <a:pt x="352" y="32"/>
                  </a:cubicBezTo>
                  <a:cubicBezTo>
                    <a:pt x="353" y="33"/>
                    <a:pt x="352" y="35"/>
                    <a:pt x="352" y="37"/>
                  </a:cubicBezTo>
                  <a:cubicBezTo>
                    <a:pt x="353" y="37"/>
                    <a:pt x="353" y="37"/>
                    <a:pt x="353" y="37"/>
                  </a:cubicBezTo>
                  <a:cubicBezTo>
                    <a:pt x="354" y="36"/>
                    <a:pt x="354" y="35"/>
                    <a:pt x="355" y="35"/>
                  </a:cubicBezTo>
                  <a:cubicBezTo>
                    <a:pt x="357" y="34"/>
                    <a:pt x="359" y="34"/>
                    <a:pt x="360" y="34"/>
                  </a:cubicBezTo>
                  <a:cubicBezTo>
                    <a:pt x="362" y="34"/>
                    <a:pt x="363" y="34"/>
                    <a:pt x="364" y="34"/>
                  </a:cubicBezTo>
                  <a:cubicBezTo>
                    <a:pt x="366" y="35"/>
                    <a:pt x="368" y="35"/>
                    <a:pt x="369" y="34"/>
                  </a:cubicBezTo>
                  <a:cubicBezTo>
                    <a:pt x="371" y="33"/>
                    <a:pt x="371" y="32"/>
                    <a:pt x="372" y="31"/>
                  </a:cubicBezTo>
                  <a:cubicBezTo>
                    <a:pt x="373" y="30"/>
                    <a:pt x="374" y="29"/>
                    <a:pt x="375" y="28"/>
                  </a:cubicBezTo>
                  <a:cubicBezTo>
                    <a:pt x="377" y="28"/>
                    <a:pt x="379" y="28"/>
                    <a:pt x="381" y="28"/>
                  </a:cubicBezTo>
                  <a:cubicBezTo>
                    <a:pt x="382" y="29"/>
                    <a:pt x="383" y="29"/>
                    <a:pt x="384" y="29"/>
                  </a:cubicBezTo>
                  <a:cubicBezTo>
                    <a:pt x="384" y="29"/>
                    <a:pt x="385" y="29"/>
                    <a:pt x="385" y="29"/>
                  </a:cubicBezTo>
                  <a:cubicBezTo>
                    <a:pt x="391" y="31"/>
                    <a:pt x="396" y="32"/>
                    <a:pt x="402" y="34"/>
                  </a:cubicBezTo>
                  <a:cubicBezTo>
                    <a:pt x="403" y="34"/>
                    <a:pt x="405" y="34"/>
                    <a:pt x="404" y="36"/>
                  </a:cubicBezTo>
                  <a:cubicBezTo>
                    <a:pt x="400" y="38"/>
                    <a:pt x="395" y="39"/>
                    <a:pt x="390" y="40"/>
                  </a:cubicBezTo>
                  <a:cubicBezTo>
                    <a:pt x="389" y="40"/>
                    <a:pt x="388" y="41"/>
                    <a:pt x="387" y="41"/>
                  </a:cubicBezTo>
                  <a:cubicBezTo>
                    <a:pt x="387" y="42"/>
                    <a:pt x="387" y="43"/>
                    <a:pt x="387" y="44"/>
                  </a:cubicBezTo>
                  <a:cubicBezTo>
                    <a:pt x="387" y="44"/>
                    <a:pt x="387" y="44"/>
                    <a:pt x="387" y="44"/>
                  </a:cubicBezTo>
                  <a:cubicBezTo>
                    <a:pt x="385" y="45"/>
                    <a:pt x="384" y="45"/>
                    <a:pt x="383" y="45"/>
                  </a:cubicBezTo>
                  <a:cubicBezTo>
                    <a:pt x="381" y="46"/>
                    <a:pt x="380" y="46"/>
                    <a:pt x="379" y="48"/>
                  </a:cubicBezTo>
                  <a:cubicBezTo>
                    <a:pt x="377" y="49"/>
                    <a:pt x="375" y="48"/>
                    <a:pt x="372" y="48"/>
                  </a:cubicBezTo>
                  <a:cubicBezTo>
                    <a:pt x="371" y="46"/>
                    <a:pt x="369" y="45"/>
                    <a:pt x="367" y="46"/>
                  </a:cubicBezTo>
                  <a:cubicBezTo>
                    <a:pt x="367" y="46"/>
                    <a:pt x="367" y="47"/>
                    <a:pt x="367" y="48"/>
                  </a:cubicBezTo>
                  <a:cubicBezTo>
                    <a:pt x="366" y="48"/>
                    <a:pt x="366" y="48"/>
                    <a:pt x="366" y="48"/>
                  </a:cubicBezTo>
                  <a:cubicBezTo>
                    <a:pt x="361" y="49"/>
                    <a:pt x="355" y="48"/>
                    <a:pt x="350" y="48"/>
                  </a:cubicBezTo>
                  <a:cubicBezTo>
                    <a:pt x="349" y="49"/>
                    <a:pt x="348" y="50"/>
                    <a:pt x="348" y="50"/>
                  </a:cubicBezTo>
                  <a:cubicBezTo>
                    <a:pt x="347" y="51"/>
                    <a:pt x="348" y="51"/>
                    <a:pt x="348" y="51"/>
                  </a:cubicBezTo>
                  <a:cubicBezTo>
                    <a:pt x="348" y="51"/>
                    <a:pt x="349" y="51"/>
                    <a:pt x="349" y="51"/>
                  </a:cubicBezTo>
                  <a:cubicBezTo>
                    <a:pt x="349" y="51"/>
                    <a:pt x="350" y="50"/>
                    <a:pt x="350" y="50"/>
                  </a:cubicBezTo>
                  <a:cubicBezTo>
                    <a:pt x="351" y="50"/>
                    <a:pt x="351" y="50"/>
                    <a:pt x="351" y="50"/>
                  </a:cubicBezTo>
                  <a:cubicBezTo>
                    <a:pt x="358" y="50"/>
                    <a:pt x="366" y="49"/>
                    <a:pt x="373" y="50"/>
                  </a:cubicBezTo>
                  <a:cubicBezTo>
                    <a:pt x="375" y="50"/>
                    <a:pt x="376" y="50"/>
                    <a:pt x="377" y="50"/>
                  </a:cubicBezTo>
                  <a:cubicBezTo>
                    <a:pt x="378" y="51"/>
                    <a:pt x="379" y="52"/>
                    <a:pt x="378" y="52"/>
                  </a:cubicBezTo>
                  <a:cubicBezTo>
                    <a:pt x="376" y="54"/>
                    <a:pt x="374" y="56"/>
                    <a:pt x="371" y="56"/>
                  </a:cubicBezTo>
                  <a:cubicBezTo>
                    <a:pt x="368" y="56"/>
                    <a:pt x="365" y="57"/>
                    <a:pt x="361" y="56"/>
                  </a:cubicBezTo>
                  <a:cubicBezTo>
                    <a:pt x="358" y="55"/>
                    <a:pt x="356" y="54"/>
                    <a:pt x="353" y="55"/>
                  </a:cubicBezTo>
                  <a:cubicBezTo>
                    <a:pt x="353" y="55"/>
                    <a:pt x="352" y="55"/>
                    <a:pt x="352" y="56"/>
                  </a:cubicBezTo>
                  <a:cubicBezTo>
                    <a:pt x="351" y="57"/>
                    <a:pt x="351" y="57"/>
                    <a:pt x="350" y="58"/>
                  </a:cubicBezTo>
                  <a:cubicBezTo>
                    <a:pt x="349" y="60"/>
                    <a:pt x="349" y="61"/>
                    <a:pt x="349" y="63"/>
                  </a:cubicBezTo>
                  <a:cubicBezTo>
                    <a:pt x="349" y="63"/>
                    <a:pt x="350" y="63"/>
                    <a:pt x="351" y="63"/>
                  </a:cubicBezTo>
                  <a:cubicBezTo>
                    <a:pt x="351" y="63"/>
                    <a:pt x="352" y="62"/>
                    <a:pt x="352" y="62"/>
                  </a:cubicBezTo>
                  <a:cubicBezTo>
                    <a:pt x="354" y="61"/>
                    <a:pt x="355" y="59"/>
                    <a:pt x="356" y="58"/>
                  </a:cubicBezTo>
                  <a:cubicBezTo>
                    <a:pt x="357" y="58"/>
                    <a:pt x="357" y="58"/>
                    <a:pt x="358" y="58"/>
                  </a:cubicBezTo>
                  <a:cubicBezTo>
                    <a:pt x="362" y="57"/>
                    <a:pt x="366" y="57"/>
                    <a:pt x="370" y="58"/>
                  </a:cubicBezTo>
                  <a:cubicBezTo>
                    <a:pt x="370" y="58"/>
                    <a:pt x="370" y="59"/>
                    <a:pt x="370" y="60"/>
                  </a:cubicBezTo>
                  <a:cubicBezTo>
                    <a:pt x="369" y="61"/>
                    <a:pt x="368" y="62"/>
                    <a:pt x="366" y="63"/>
                  </a:cubicBezTo>
                  <a:cubicBezTo>
                    <a:pt x="365" y="63"/>
                    <a:pt x="363" y="63"/>
                    <a:pt x="362" y="63"/>
                  </a:cubicBezTo>
                  <a:cubicBezTo>
                    <a:pt x="361" y="62"/>
                    <a:pt x="359" y="62"/>
                    <a:pt x="358" y="63"/>
                  </a:cubicBezTo>
                  <a:cubicBezTo>
                    <a:pt x="357" y="63"/>
                    <a:pt x="356" y="64"/>
                    <a:pt x="356" y="64"/>
                  </a:cubicBezTo>
                  <a:cubicBezTo>
                    <a:pt x="355" y="66"/>
                    <a:pt x="355" y="67"/>
                    <a:pt x="355" y="69"/>
                  </a:cubicBezTo>
                  <a:cubicBezTo>
                    <a:pt x="355" y="69"/>
                    <a:pt x="356" y="69"/>
                    <a:pt x="357" y="70"/>
                  </a:cubicBezTo>
                  <a:cubicBezTo>
                    <a:pt x="357" y="70"/>
                    <a:pt x="357" y="71"/>
                    <a:pt x="357" y="71"/>
                  </a:cubicBezTo>
                  <a:cubicBezTo>
                    <a:pt x="356" y="72"/>
                    <a:pt x="355" y="72"/>
                    <a:pt x="354" y="73"/>
                  </a:cubicBezTo>
                  <a:cubicBezTo>
                    <a:pt x="354" y="73"/>
                    <a:pt x="353" y="74"/>
                    <a:pt x="353" y="74"/>
                  </a:cubicBezTo>
                  <a:cubicBezTo>
                    <a:pt x="353" y="75"/>
                    <a:pt x="353" y="76"/>
                    <a:pt x="353" y="76"/>
                  </a:cubicBezTo>
                  <a:cubicBezTo>
                    <a:pt x="352" y="77"/>
                    <a:pt x="351" y="77"/>
                    <a:pt x="350" y="77"/>
                  </a:cubicBezTo>
                  <a:cubicBezTo>
                    <a:pt x="349" y="76"/>
                    <a:pt x="347" y="76"/>
                    <a:pt x="347" y="76"/>
                  </a:cubicBezTo>
                  <a:cubicBezTo>
                    <a:pt x="345" y="78"/>
                    <a:pt x="346" y="81"/>
                    <a:pt x="345" y="83"/>
                  </a:cubicBezTo>
                  <a:cubicBezTo>
                    <a:pt x="345" y="83"/>
                    <a:pt x="345" y="84"/>
                    <a:pt x="345" y="84"/>
                  </a:cubicBezTo>
                  <a:cubicBezTo>
                    <a:pt x="344" y="85"/>
                    <a:pt x="345" y="87"/>
                    <a:pt x="344" y="88"/>
                  </a:cubicBezTo>
                  <a:cubicBezTo>
                    <a:pt x="343" y="90"/>
                    <a:pt x="341" y="91"/>
                    <a:pt x="339" y="92"/>
                  </a:cubicBezTo>
                  <a:cubicBezTo>
                    <a:pt x="339" y="92"/>
                    <a:pt x="339" y="93"/>
                    <a:pt x="339" y="93"/>
                  </a:cubicBezTo>
                  <a:cubicBezTo>
                    <a:pt x="340" y="93"/>
                    <a:pt x="340" y="93"/>
                    <a:pt x="341" y="93"/>
                  </a:cubicBezTo>
                  <a:cubicBezTo>
                    <a:pt x="342" y="92"/>
                    <a:pt x="344" y="91"/>
                    <a:pt x="345" y="91"/>
                  </a:cubicBezTo>
                  <a:cubicBezTo>
                    <a:pt x="345" y="91"/>
                    <a:pt x="345" y="91"/>
                    <a:pt x="345" y="90"/>
                  </a:cubicBezTo>
                  <a:cubicBezTo>
                    <a:pt x="346" y="90"/>
                    <a:pt x="346" y="90"/>
                    <a:pt x="347" y="90"/>
                  </a:cubicBezTo>
                  <a:cubicBezTo>
                    <a:pt x="347" y="91"/>
                    <a:pt x="348" y="91"/>
                    <a:pt x="348" y="91"/>
                  </a:cubicBezTo>
                  <a:cubicBezTo>
                    <a:pt x="349" y="91"/>
                    <a:pt x="350" y="91"/>
                    <a:pt x="351" y="91"/>
                  </a:cubicBezTo>
                  <a:cubicBezTo>
                    <a:pt x="352" y="91"/>
                    <a:pt x="354" y="91"/>
                    <a:pt x="355" y="91"/>
                  </a:cubicBezTo>
                  <a:cubicBezTo>
                    <a:pt x="357" y="92"/>
                    <a:pt x="357" y="94"/>
                    <a:pt x="357" y="95"/>
                  </a:cubicBezTo>
                  <a:cubicBezTo>
                    <a:pt x="356" y="95"/>
                    <a:pt x="355" y="95"/>
                    <a:pt x="354" y="95"/>
                  </a:cubicBezTo>
                  <a:cubicBezTo>
                    <a:pt x="353" y="95"/>
                    <a:pt x="351" y="95"/>
                    <a:pt x="350" y="94"/>
                  </a:cubicBezTo>
                  <a:cubicBezTo>
                    <a:pt x="349" y="94"/>
                    <a:pt x="348" y="94"/>
                    <a:pt x="347" y="94"/>
                  </a:cubicBezTo>
                  <a:cubicBezTo>
                    <a:pt x="347" y="94"/>
                    <a:pt x="347" y="95"/>
                    <a:pt x="347" y="96"/>
                  </a:cubicBezTo>
                  <a:cubicBezTo>
                    <a:pt x="348" y="97"/>
                    <a:pt x="349" y="97"/>
                    <a:pt x="350" y="98"/>
                  </a:cubicBezTo>
                  <a:cubicBezTo>
                    <a:pt x="352" y="98"/>
                    <a:pt x="354" y="99"/>
                    <a:pt x="355" y="100"/>
                  </a:cubicBezTo>
                  <a:cubicBezTo>
                    <a:pt x="355" y="100"/>
                    <a:pt x="356" y="100"/>
                    <a:pt x="356" y="100"/>
                  </a:cubicBezTo>
                  <a:cubicBezTo>
                    <a:pt x="357" y="100"/>
                    <a:pt x="357" y="99"/>
                    <a:pt x="358" y="98"/>
                  </a:cubicBezTo>
                  <a:cubicBezTo>
                    <a:pt x="360" y="98"/>
                    <a:pt x="361" y="99"/>
                    <a:pt x="363" y="100"/>
                  </a:cubicBezTo>
                  <a:cubicBezTo>
                    <a:pt x="363" y="102"/>
                    <a:pt x="363" y="104"/>
                    <a:pt x="363" y="106"/>
                  </a:cubicBezTo>
                  <a:cubicBezTo>
                    <a:pt x="360" y="108"/>
                    <a:pt x="357" y="107"/>
                    <a:pt x="354" y="105"/>
                  </a:cubicBezTo>
                  <a:cubicBezTo>
                    <a:pt x="351" y="104"/>
                    <a:pt x="349" y="105"/>
                    <a:pt x="346" y="105"/>
                  </a:cubicBezTo>
                  <a:cubicBezTo>
                    <a:pt x="346" y="105"/>
                    <a:pt x="345" y="105"/>
                    <a:pt x="344" y="106"/>
                  </a:cubicBezTo>
                  <a:cubicBezTo>
                    <a:pt x="344" y="107"/>
                    <a:pt x="344" y="107"/>
                    <a:pt x="344" y="108"/>
                  </a:cubicBezTo>
                  <a:cubicBezTo>
                    <a:pt x="343" y="109"/>
                    <a:pt x="343" y="109"/>
                    <a:pt x="342" y="109"/>
                  </a:cubicBezTo>
                  <a:cubicBezTo>
                    <a:pt x="341" y="109"/>
                    <a:pt x="339" y="109"/>
                    <a:pt x="338" y="108"/>
                  </a:cubicBezTo>
                  <a:cubicBezTo>
                    <a:pt x="338" y="107"/>
                    <a:pt x="337" y="107"/>
                    <a:pt x="337" y="106"/>
                  </a:cubicBezTo>
                  <a:cubicBezTo>
                    <a:pt x="336" y="106"/>
                    <a:pt x="336" y="106"/>
                    <a:pt x="335" y="106"/>
                  </a:cubicBezTo>
                  <a:cubicBezTo>
                    <a:pt x="335" y="107"/>
                    <a:pt x="335" y="107"/>
                    <a:pt x="334" y="108"/>
                  </a:cubicBezTo>
                  <a:cubicBezTo>
                    <a:pt x="334" y="108"/>
                    <a:pt x="333" y="109"/>
                    <a:pt x="333" y="110"/>
                  </a:cubicBezTo>
                  <a:cubicBezTo>
                    <a:pt x="334" y="110"/>
                    <a:pt x="334" y="110"/>
                    <a:pt x="334" y="111"/>
                  </a:cubicBezTo>
                  <a:cubicBezTo>
                    <a:pt x="335" y="112"/>
                    <a:pt x="335" y="113"/>
                    <a:pt x="336" y="113"/>
                  </a:cubicBezTo>
                  <a:cubicBezTo>
                    <a:pt x="337" y="114"/>
                    <a:pt x="338" y="113"/>
                    <a:pt x="338" y="112"/>
                  </a:cubicBezTo>
                  <a:cubicBezTo>
                    <a:pt x="339" y="112"/>
                    <a:pt x="339" y="112"/>
                    <a:pt x="340" y="112"/>
                  </a:cubicBezTo>
                  <a:cubicBezTo>
                    <a:pt x="341" y="113"/>
                    <a:pt x="340" y="114"/>
                    <a:pt x="341" y="115"/>
                  </a:cubicBezTo>
                  <a:cubicBezTo>
                    <a:pt x="341" y="115"/>
                    <a:pt x="342" y="115"/>
                    <a:pt x="342" y="115"/>
                  </a:cubicBezTo>
                  <a:cubicBezTo>
                    <a:pt x="343" y="114"/>
                    <a:pt x="343" y="114"/>
                    <a:pt x="344" y="113"/>
                  </a:cubicBezTo>
                  <a:cubicBezTo>
                    <a:pt x="344" y="113"/>
                    <a:pt x="345" y="113"/>
                    <a:pt x="345" y="113"/>
                  </a:cubicBezTo>
                  <a:cubicBezTo>
                    <a:pt x="346" y="114"/>
                    <a:pt x="346" y="115"/>
                    <a:pt x="347" y="115"/>
                  </a:cubicBezTo>
                  <a:cubicBezTo>
                    <a:pt x="348" y="116"/>
                    <a:pt x="350" y="115"/>
                    <a:pt x="351" y="116"/>
                  </a:cubicBezTo>
                  <a:cubicBezTo>
                    <a:pt x="352" y="116"/>
                    <a:pt x="352" y="118"/>
                    <a:pt x="352" y="118"/>
                  </a:cubicBezTo>
                  <a:cubicBezTo>
                    <a:pt x="351" y="119"/>
                    <a:pt x="350" y="119"/>
                    <a:pt x="348" y="120"/>
                  </a:cubicBezTo>
                  <a:cubicBezTo>
                    <a:pt x="347" y="120"/>
                    <a:pt x="346" y="119"/>
                    <a:pt x="344" y="120"/>
                  </a:cubicBezTo>
                  <a:cubicBezTo>
                    <a:pt x="344" y="120"/>
                    <a:pt x="344" y="120"/>
                    <a:pt x="344" y="120"/>
                  </a:cubicBezTo>
                  <a:cubicBezTo>
                    <a:pt x="346" y="121"/>
                    <a:pt x="349" y="121"/>
                    <a:pt x="352" y="121"/>
                  </a:cubicBezTo>
                  <a:cubicBezTo>
                    <a:pt x="353" y="121"/>
                    <a:pt x="353" y="121"/>
                    <a:pt x="353" y="122"/>
                  </a:cubicBezTo>
                  <a:cubicBezTo>
                    <a:pt x="354" y="123"/>
                    <a:pt x="353" y="125"/>
                    <a:pt x="354" y="126"/>
                  </a:cubicBezTo>
                  <a:cubicBezTo>
                    <a:pt x="354" y="127"/>
                    <a:pt x="354" y="128"/>
                    <a:pt x="354" y="129"/>
                  </a:cubicBezTo>
                  <a:cubicBezTo>
                    <a:pt x="353" y="130"/>
                    <a:pt x="352" y="131"/>
                    <a:pt x="350" y="131"/>
                  </a:cubicBezTo>
                  <a:cubicBezTo>
                    <a:pt x="350" y="129"/>
                    <a:pt x="349" y="129"/>
                    <a:pt x="348" y="128"/>
                  </a:cubicBezTo>
                  <a:cubicBezTo>
                    <a:pt x="347" y="128"/>
                    <a:pt x="347" y="128"/>
                    <a:pt x="346" y="129"/>
                  </a:cubicBezTo>
                  <a:cubicBezTo>
                    <a:pt x="346" y="130"/>
                    <a:pt x="345" y="130"/>
                    <a:pt x="345" y="129"/>
                  </a:cubicBezTo>
                  <a:cubicBezTo>
                    <a:pt x="342" y="127"/>
                    <a:pt x="340" y="126"/>
                    <a:pt x="338" y="124"/>
                  </a:cubicBezTo>
                  <a:cubicBezTo>
                    <a:pt x="338" y="124"/>
                    <a:pt x="337" y="123"/>
                    <a:pt x="337" y="123"/>
                  </a:cubicBezTo>
                  <a:cubicBezTo>
                    <a:pt x="337" y="124"/>
                    <a:pt x="337" y="124"/>
                    <a:pt x="337" y="124"/>
                  </a:cubicBezTo>
                  <a:cubicBezTo>
                    <a:pt x="338" y="126"/>
                    <a:pt x="339" y="127"/>
                    <a:pt x="340" y="128"/>
                  </a:cubicBezTo>
                  <a:cubicBezTo>
                    <a:pt x="341" y="129"/>
                    <a:pt x="342" y="130"/>
                    <a:pt x="342" y="130"/>
                  </a:cubicBezTo>
                  <a:cubicBezTo>
                    <a:pt x="342" y="131"/>
                    <a:pt x="343" y="131"/>
                    <a:pt x="343" y="132"/>
                  </a:cubicBezTo>
                  <a:cubicBezTo>
                    <a:pt x="343" y="132"/>
                    <a:pt x="344" y="132"/>
                    <a:pt x="344" y="133"/>
                  </a:cubicBezTo>
                  <a:cubicBezTo>
                    <a:pt x="345" y="134"/>
                    <a:pt x="345" y="135"/>
                    <a:pt x="345" y="137"/>
                  </a:cubicBezTo>
                  <a:cubicBezTo>
                    <a:pt x="345" y="138"/>
                    <a:pt x="345" y="138"/>
                    <a:pt x="345" y="139"/>
                  </a:cubicBezTo>
                  <a:cubicBezTo>
                    <a:pt x="347" y="140"/>
                    <a:pt x="349" y="140"/>
                    <a:pt x="351" y="139"/>
                  </a:cubicBezTo>
                  <a:cubicBezTo>
                    <a:pt x="352" y="139"/>
                    <a:pt x="353" y="138"/>
                    <a:pt x="353" y="139"/>
                  </a:cubicBezTo>
                  <a:cubicBezTo>
                    <a:pt x="354" y="140"/>
                    <a:pt x="355" y="141"/>
                    <a:pt x="354" y="143"/>
                  </a:cubicBezTo>
                  <a:cubicBezTo>
                    <a:pt x="354" y="143"/>
                    <a:pt x="353" y="144"/>
                    <a:pt x="352" y="144"/>
                  </a:cubicBezTo>
                  <a:cubicBezTo>
                    <a:pt x="351" y="145"/>
                    <a:pt x="350" y="145"/>
                    <a:pt x="349" y="145"/>
                  </a:cubicBezTo>
                  <a:cubicBezTo>
                    <a:pt x="347" y="144"/>
                    <a:pt x="346" y="142"/>
                    <a:pt x="343" y="141"/>
                  </a:cubicBezTo>
                  <a:cubicBezTo>
                    <a:pt x="341" y="141"/>
                    <a:pt x="339" y="140"/>
                    <a:pt x="337" y="141"/>
                  </a:cubicBezTo>
                  <a:cubicBezTo>
                    <a:pt x="336" y="141"/>
                    <a:pt x="335" y="142"/>
                    <a:pt x="335" y="143"/>
                  </a:cubicBezTo>
                  <a:cubicBezTo>
                    <a:pt x="335" y="145"/>
                    <a:pt x="334" y="147"/>
                    <a:pt x="335" y="148"/>
                  </a:cubicBezTo>
                  <a:cubicBezTo>
                    <a:pt x="335" y="148"/>
                    <a:pt x="335" y="149"/>
                    <a:pt x="335" y="149"/>
                  </a:cubicBezTo>
                  <a:cubicBezTo>
                    <a:pt x="336" y="149"/>
                    <a:pt x="337" y="149"/>
                    <a:pt x="337" y="149"/>
                  </a:cubicBezTo>
                  <a:cubicBezTo>
                    <a:pt x="338" y="149"/>
                    <a:pt x="338" y="148"/>
                    <a:pt x="339" y="147"/>
                  </a:cubicBezTo>
                  <a:cubicBezTo>
                    <a:pt x="340" y="147"/>
                    <a:pt x="340" y="147"/>
                    <a:pt x="341" y="147"/>
                  </a:cubicBezTo>
                  <a:cubicBezTo>
                    <a:pt x="341" y="148"/>
                    <a:pt x="341" y="150"/>
                    <a:pt x="342" y="150"/>
                  </a:cubicBezTo>
                  <a:cubicBezTo>
                    <a:pt x="343" y="151"/>
                    <a:pt x="345" y="150"/>
                    <a:pt x="346" y="150"/>
                  </a:cubicBezTo>
                  <a:cubicBezTo>
                    <a:pt x="346" y="152"/>
                    <a:pt x="346" y="154"/>
                    <a:pt x="346" y="155"/>
                  </a:cubicBezTo>
                  <a:cubicBezTo>
                    <a:pt x="346" y="156"/>
                    <a:pt x="345" y="156"/>
                    <a:pt x="344" y="156"/>
                  </a:cubicBezTo>
                  <a:cubicBezTo>
                    <a:pt x="341" y="157"/>
                    <a:pt x="339" y="156"/>
                    <a:pt x="336" y="156"/>
                  </a:cubicBezTo>
                  <a:cubicBezTo>
                    <a:pt x="334" y="159"/>
                    <a:pt x="330" y="158"/>
                    <a:pt x="327" y="157"/>
                  </a:cubicBezTo>
                  <a:cubicBezTo>
                    <a:pt x="325" y="156"/>
                    <a:pt x="324" y="155"/>
                    <a:pt x="323" y="154"/>
                  </a:cubicBezTo>
                  <a:cubicBezTo>
                    <a:pt x="322" y="152"/>
                    <a:pt x="320" y="151"/>
                    <a:pt x="319" y="152"/>
                  </a:cubicBezTo>
                  <a:cubicBezTo>
                    <a:pt x="318" y="153"/>
                    <a:pt x="318" y="154"/>
                    <a:pt x="317" y="155"/>
                  </a:cubicBezTo>
                  <a:cubicBezTo>
                    <a:pt x="314" y="155"/>
                    <a:pt x="311" y="155"/>
                    <a:pt x="309" y="157"/>
                  </a:cubicBezTo>
                  <a:cubicBezTo>
                    <a:pt x="309" y="157"/>
                    <a:pt x="309" y="157"/>
                    <a:pt x="309" y="158"/>
                  </a:cubicBezTo>
                  <a:cubicBezTo>
                    <a:pt x="309" y="158"/>
                    <a:pt x="310" y="158"/>
                    <a:pt x="311" y="158"/>
                  </a:cubicBezTo>
                  <a:cubicBezTo>
                    <a:pt x="312" y="158"/>
                    <a:pt x="312" y="157"/>
                    <a:pt x="313" y="157"/>
                  </a:cubicBezTo>
                  <a:cubicBezTo>
                    <a:pt x="315" y="156"/>
                    <a:pt x="317" y="156"/>
                    <a:pt x="319" y="157"/>
                  </a:cubicBezTo>
                  <a:cubicBezTo>
                    <a:pt x="320" y="157"/>
                    <a:pt x="321" y="157"/>
                    <a:pt x="322" y="158"/>
                  </a:cubicBezTo>
                  <a:cubicBezTo>
                    <a:pt x="322" y="158"/>
                    <a:pt x="323" y="158"/>
                    <a:pt x="323" y="158"/>
                  </a:cubicBezTo>
                  <a:cubicBezTo>
                    <a:pt x="323" y="159"/>
                    <a:pt x="323" y="159"/>
                    <a:pt x="323" y="159"/>
                  </a:cubicBezTo>
                  <a:cubicBezTo>
                    <a:pt x="319" y="159"/>
                    <a:pt x="315" y="159"/>
                    <a:pt x="311" y="160"/>
                  </a:cubicBezTo>
                  <a:cubicBezTo>
                    <a:pt x="310" y="160"/>
                    <a:pt x="310" y="160"/>
                    <a:pt x="310" y="161"/>
                  </a:cubicBezTo>
                  <a:cubicBezTo>
                    <a:pt x="311" y="161"/>
                    <a:pt x="312" y="161"/>
                    <a:pt x="312" y="162"/>
                  </a:cubicBezTo>
                  <a:cubicBezTo>
                    <a:pt x="312" y="163"/>
                    <a:pt x="310" y="162"/>
                    <a:pt x="309" y="163"/>
                  </a:cubicBezTo>
                  <a:cubicBezTo>
                    <a:pt x="309" y="163"/>
                    <a:pt x="309" y="164"/>
                    <a:pt x="309" y="164"/>
                  </a:cubicBezTo>
                  <a:cubicBezTo>
                    <a:pt x="311" y="164"/>
                    <a:pt x="313" y="165"/>
                    <a:pt x="314" y="167"/>
                  </a:cubicBezTo>
                  <a:cubicBezTo>
                    <a:pt x="314" y="167"/>
                    <a:pt x="314" y="168"/>
                    <a:pt x="314" y="168"/>
                  </a:cubicBezTo>
                  <a:cubicBezTo>
                    <a:pt x="314" y="169"/>
                    <a:pt x="313" y="169"/>
                    <a:pt x="312" y="169"/>
                  </a:cubicBezTo>
                  <a:cubicBezTo>
                    <a:pt x="312" y="170"/>
                    <a:pt x="312" y="170"/>
                    <a:pt x="312" y="171"/>
                  </a:cubicBezTo>
                  <a:cubicBezTo>
                    <a:pt x="314" y="171"/>
                    <a:pt x="316" y="170"/>
                    <a:pt x="318" y="171"/>
                  </a:cubicBezTo>
                  <a:cubicBezTo>
                    <a:pt x="319" y="171"/>
                    <a:pt x="320" y="173"/>
                    <a:pt x="321" y="173"/>
                  </a:cubicBezTo>
                  <a:cubicBezTo>
                    <a:pt x="323" y="174"/>
                    <a:pt x="325" y="174"/>
                    <a:pt x="328" y="176"/>
                  </a:cubicBezTo>
                  <a:cubicBezTo>
                    <a:pt x="328" y="176"/>
                    <a:pt x="329" y="177"/>
                    <a:pt x="328" y="178"/>
                  </a:cubicBezTo>
                  <a:cubicBezTo>
                    <a:pt x="328" y="179"/>
                    <a:pt x="326" y="179"/>
                    <a:pt x="326" y="181"/>
                  </a:cubicBezTo>
                  <a:cubicBezTo>
                    <a:pt x="327" y="181"/>
                    <a:pt x="328" y="182"/>
                    <a:pt x="328" y="181"/>
                  </a:cubicBezTo>
                  <a:cubicBezTo>
                    <a:pt x="329" y="180"/>
                    <a:pt x="330" y="179"/>
                    <a:pt x="330" y="180"/>
                  </a:cubicBezTo>
                  <a:cubicBezTo>
                    <a:pt x="331" y="181"/>
                    <a:pt x="331" y="183"/>
                    <a:pt x="331" y="184"/>
                  </a:cubicBezTo>
                  <a:cubicBezTo>
                    <a:pt x="331" y="184"/>
                    <a:pt x="331" y="185"/>
                    <a:pt x="332" y="184"/>
                  </a:cubicBezTo>
                  <a:cubicBezTo>
                    <a:pt x="332" y="184"/>
                    <a:pt x="333" y="183"/>
                    <a:pt x="334" y="183"/>
                  </a:cubicBezTo>
                  <a:cubicBezTo>
                    <a:pt x="334" y="184"/>
                    <a:pt x="334" y="184"/>
                    <a:pt x="334" y="185"/>
                  </a:cubicBezTo>
                  <a:cubicBezTo>
                    <a:pt x="335" y="186"/>
                    <a:pt x="334" y="187"/>
                    <a:pt x="335" y="189"/>
                  </a:cubicBezTo>
                  <a:cubicBezTo>
                    <a:pt x="335" y="190"/>
                    <a:pt x="336" y="191"/>
                    <a:pt x="336" y="192"/>
                  </a:cubicBezTo>
                  <a:cubicBezTo>
                    <a:pt x="337" y="193"/>
                    <a:pt x="337" y="194"/>
                    <a:pt x="338" y="195"/>
                  </a:cubicBezTo>
                  <a:cubicBezTo>
                    <a:pt x="338" y="196"/>
                    <a:pt x="338" y="197"/>
                    <a:pt x="337" y="197"/>
                  </a:cubicBezTo>
                  <a:cubicBezTo>
                    <a:pt x="336" y="198"/>
                    <a:pt x="335" y="198"/>
                    <a:pt x="335" y="198"/>
                  </a:cubicBezTo>
                  <a:cubicBezTo>
                    <a:pt x="334" y="198"/>
                    <a:pt x="332" y="199"/>
                    <a:pt x="332" y="198"/>
                  </a:cubicBezTo>
                  <a:cubicBezTo>
                    <a:pt x="330" y="197"/>
                    <a:pt x="331" y="195"/>
                    <a:pt x="331" y="194"/>
                  </a:cubicBezTo>
                  <a:cubicBezTo>
                    <a:pt x="330" y="193"/>
                    <a:pt x="329" y="193"/>
                    <a:pt x="329" y="193"/>
                  </a:cubicBezTo>
                  <a:cubicBezTo>
                    <a:pt x="328" y="194"/>
                    <a:pt x="328" y="195"/>
                    <a:pt x="328" y="196"/>
                  </a:cubicBezTo>
                  <a:cubicBezTo>
                    <a:pt x="328" y="197"/>
                    <a:pt x="327" y="197"/>
                    <a:pt x="327" y="197"/>
                  </a:cubicBezTo>
                  <a:cubicBezTo>
                    <a:pt x="326" y="198"/>
                    <a:pt x="325" y="198"/>
                    <a:pt x="324" y="198"/>
                  </a:cubicBezTo>
                  <a:cubicBezTo>
                    <a:pt x="323" y="197"/>
                    <a:pt x="323" y="197"/>
                    <a:pt x="323" y="197"/>
                  </a:cubicBezTo>
                  <a:cubicBezTo>
                    <a:pt x="320" y="196"/>
                    <a:pt x="318" y="195"/>
                    <a:pt x="317" y="192"/>
                  </a:cubicBezTo>
                  <a:cubicBezTo>
                    <a:pt x="317" y="192"/>
                    <a:pt x="317" y="191"/>
                    <a:pt x="317" y="191"/>
                  </a:cubicBezTo>
                  <a:cubicBezTo>
                    <a:pt x="316" y="189"/>
                    <a:pt x="316" y="188"/>
                    <a:pt x="315" y="187"/>
                  </a:cubicBezTo>
                  <a:cubicBezTo>
                    <a:pt x="314" y="183"/>
                    <a:pt x="309" y="185"/>
                    <a:pt x="306" y="185"/>
                  </a:cubicBezTo>
                  <a:cubicBezTo>
                    <a:pt x="305" y="185"/>
                    <a:pt x="306" y="188"/>
                    <a:pt x="306" y="189"/>
                  </a:cubicBezTo>
                  <a:cubicBezTo>
                    <a:pt x="307" y="191"/>
                    <a:pt x="307" y="193"/>
                    <a:pt x="306" y="195"/>
                  </a:cubicBezTo>
                  <a:cubicBezTo>
                    <a:pt x="306" y="196"/>
                    <a:pt x="306" y="196"/>
                    <a:pt x="305" y="196"/>
                  </a:cubicBezTo>
                  <a:cubicBezTo>
                    <a:pt x="305" y="196"/>
                    <a:pt x="305" y="196"/>
                    <a:pt x="305" y="196"/>
                  </a:cubicBezTo>
                  <a:cubicBezTo>
                    <a:pt x="302" y="196"/>
                    <a:pt x="299" y="196"/>
                    <a:pt x="295" y="197"/>
                  </a:cubicBezTo>
                  <a:cubicBezTo>
                    <a:pt x="294" y="197"/>
                    <a:pt x="292" y="197"/>
                    <a:pt x="290" y="197"/>
                  </a:cubicBezTo>
                  <a:cubicBezTo>
                    <a:pt x="290" y="197"/>
                    <a:pt x="290" y="196"/>
                    <a:pt x="290" y="196"/>
                  </a:cubicBezTo>
                  <a:cubicBezTo>
                    <a:pt x="291" y="194"/>
                    <a:pt x="292" y="193"/>
                    <a:pt x="294" y="192"/>
                  </a:cubicBezTo>
                  <a:cubicBezTo>
                    <a:pt x="294" y="191"/>
                    <a:pt x="295" y="191"/>
                    <a:pt x="296" y="191"/>
                  </a:cubicBezTo>
                  <a:cubicBezTo>
                    <a:pt x="299" y="190"/>
                    <a:pt x="301" y="190"/>
                    <a:pt x="304" y="190"/>
                  </a:cubicBezTo>
                  <a:cubicBezTo>
                    <a:pt x="302" y="189"/>
                    <a:pt x="302" y="189"/>
                    <a:pt x="302" y="189"/>
                  </a:cubicBezTo>
                  <a:cubicBezTo>
                    <a:pt x="301" y="189"/>
                    <a:pt x="300" y="189"/>
                    <a:pt x="299" y="190"/>
                  </a:cubicBezTo>
                  <a:cubicBezTo>
                    <a:pt x="296" y="191"/>
                    <a:pt x="294" y="189"/>
                    <a:pt x="292" y="190"/>
                  </a:cubicBezTo>
                  <a:cubicBezTo>
                    <a:pt x="290" y="191"/>
                    <a:pt x="289" y="194"/>
                    <a:pt x="288" y="196"/>
                  </a:cubicBezTo>
                  <a:cubicBezTo>
                    <a:pt x="287" y="197"/>
                    <a:pt x="288" y="198"/>
                    <a:pt x="288" y="199"/>
                  </a:cubicBezTo>
                  <a:cubicBezTo>
                    <a:pt x="289" y="199"/>
                    <a:pt x="290" y="199"/>
                    <a:pt x="292" y="198"/>
                  </a:cubicBezTo>
                  <a:cubicBezTo>
                    <a:pt x="293" y="198"/>
                    <a:pt x="294" y="198"/>
                    <a:pt x="295" y="198"/>
                  </a:cubicBezTo>
                  <a:cubicBezTo>
                    <a:pt x="295" y="198"/>
                    <a:pt x="296" y="198"/>
                    <a:pt x="296" y="198"/>
                  </a:cubicBezTo>
                  <a:cubicBezTo>
                    <a:pt x="296" y="198"/>
                    <a:pt x="296" y="199"/>
                    <a:pt x="296" y="199"/>
                  </a:cubicBezTo>
                  <a:cubicBezTo>
                    <a:pt x="295" y="199"/>
                    <a:pt x="294" y="200"/>
                    <a:pt x="293" y="200"/>
                  </a:cubicBezTo>
                  <a:cubicBezTo>
                    <a:pt x="291" y="201"/>
                    <a:pt x="291" y="201"/>
                    <a:pt x="291" y="201"/>
                  </a:cubicBezTo>
                  <a:cubicBezTo>
                    <a:pt x="290" y="202"/>
                    <a:pt x="292" y="204"/>
                    <a:pt x="294" y="203"/>
                  </a:cubicBezTo>
                  <a:cubicBezTo>
                    <a:pt x="295" y="203"/>
                    <a:pt x="295" y="201"/>
                    <a:pt x="296" y="200"/>
                  </a:cubicBezTo>
                  <a:cubicBezTo>
                    <a:pt x="298" y="200"/>
                    <a:pt x="301" y="200"/>
                    <a:pt x="302" y="200"/>
                  </a:cubicBezTo>
                  <a:cubicBezTo>
                    <a:pt x="303" y="200"/>
                    <a:pt x="304" y="199"/>
                    <a:pt x="305" y="199"/>
                  </a:cubicBezTo>
                  <a:cubicBezTo>
                    <a:pt x="308" y="198"/>
                    <a:pt x="308" y="198"/>
                    <a:pt x="308" y="198"/>
                  </a:cubicBezTo>
                  <a:cubicBezTo>
                    <a:pt x="312" y="198"/>
                    <a:pt x="316" y="200"/>
                    <a:pt x="319" y="202"/>
                  </a:cubicBezTo>
                  <a:cubicBezTo>
                    <a:pt x="323" y="202"/>
                    <a:pt x="326" y="201"/>
                    <a:pt x="330" y="202"/>
                  </a:cubicBezTo>
                  <a:cubicBezTo>
                    <a:pt x="331" y="203"/>
                    <a:pt x="329" y="204"/>
                    <a:pt x="328" y="204"/>
                  </a:cubicBezTo>
                  <a:cubicBezTo>
                    <a:pt x="324" y="206"/>
                    <a:pt x="320" y="206"/>
                    <a:pt x="317" y="210"/>
                  </a:cubicBezTo>
                  <a:cubicBezTo>
                    <a:pt x="316" y="210"/>
                    <a:pt x="316" y="211"/>
                    <a:pt x="315" y="211"/>
                  </a:cubicBezTo>
                  <a:cubicBezTo>
                    <a:pt x="314" y="212"/>
                    <a:pt x="312" y="211"/>
                    <a:pt x="311" y="212"/>
                  </a:cubicBezTo>
                  <a:cubicBezTo>
                    <a:pt x="309" y="213"/>
                    <a:pt x="308" y="214"/>
                    <a:pt x="306" y="215"/>
                  </a:cubicBezTo>
                  <a:lnTo>
                    <a:pt x="304" y="21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1" name="Freeform 92"/>
            <p:cNvSpPr>
              <a:spLocks/>
            </p:cNvSpPr>
            <p:nvPr/>
          </p:nvSpPr>
          <p:spPr bwMode="auto">
            <a:xfrm>
              <a:off x="7352856" y="4517131"/>
              <a:ext cx="7248" cy="6044"/>
            </a:xfrm>
            <a:custGeom>
              <a:avLst/>
              <a:gdLst>
                <a:gd name="T0" fmla="*/ 3961001 w 6"/>
                <a:gd name="T1" fmla="*/ 2243220 h 6"/>
                <a:gd name="T2" fmla="*/ 727531 w 6"/>
                <a:gd name="T3" fmla="*/ 727531 h 6"/>
                <a:gd name="T4" fmla="*/ 727531 w 6"/>
                <a:gd name="T5" fmla="*/ 2243220 h 6"/>
                <a:gd name="T6" fmla="*/ 2970751 w 6"/>
                <a:gd name="T7" fmla="*/ 4688532 h 6"/>
                <a:gd name="T8" fmla="*/ 3961001 w 6"/>
                <a:gd name="T9" fmla="*/ 4688532 h 6"/>
                <a:gd name="T10" fmla="*/ 3961001 w 6"/>
                <a:gd name="T11" fmla="*/ 224322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5" y="3"/>
                  </a:moveTo>
                  <a:cubicBezTo>
                    <a:pt x="4" y="2"/>
                    <a:pt x="3" y="0"/>
                    <a:pt x="1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2" y="4"/>
                    <a:pt x="3" y="5"/>
                    <a:pt x="4" y="6"/>
                  </a:cubicBezTo>
                  <a:cubicBezTo>
                    <a:pt x="4" y="6"/>
                    <a:pt x="5" y="6"/>
                    <a:pt x="5" y="6"/>
                  </a:cubicBezTo>
                  <a:cubicBezTo>
                    <a:pt x="5" y="5"/>
                    <a:pt x="6" y="4"/>
                    <a:pt x="5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2" name="Freeform 93"/>
            <p:cNvSpPr>
              <a:spLocks/>
            </p:cNvSpPr>
            <p:nvPr/>
          </p:nvSpPr>
          <p:spPr bwMode="auto">
            <a:xfrm>
              <a:off x="7318057" y="4547347"/>
              <a:ext cx="16674" cy="12088"/>
            </a:xfrm>
            <a:custGeom>
              <a:avLst/>
              <a:gdLst>
                <a:gd name="T0" fmla="*/ 6432919 w 13"/>
                <a:gd name="T1" fmla="*/ 2007625 h 11"/>
                <a:gd name="T2" fmla="*/ 4467808 w 13"/>
                <a:gd name="T3" fmla="*/ 2007625 h 11"/>
                <a:gd name="T4" fmla="*/ 3419068 w 13"/>
                <a:gd name="T5" fmla="*/ 0 h 11"/>
                <a:gd name="T6" fmla="*/ 1481596 w 13"/>
                <a:gd name="T7" fmla="*/ 0 h 11"/>
                <a:gd name="T8" fmla="*/ 0 w 13"/>
                <a:gd name="T9" fmla="*/ 2007625 h 11"/>
                <a:gd name="T10" fmla="*/ 0 w 13"/>
                <a:gd name="T11" fmla="*/ 7630664 h 11"/>
                <a:gd name="T12" fmla="*/ 642025 w 13"/>
                <a:gd name="T13" fmla="*/ 9698926 h 11"/>
                <a:gd name="T14" fmla="*/ 1936050 w 13"/>
                <a:gd name="T15" fmla="*/ 10341118 h 11"/>
                <a:gd name="T16" fmla="*/ 4467808 w 13"/>
                <a:gd name="T17" fmla="*/ 8480159 h 11"/>
                <a:gd name="T18" fmla="*/ 7890157 w 13"/>
                <a:gd name="T19" fmla="*/ 5595820 h 11"/>
                <a:gd name="T20" fmla="*/ 7890157 w 13"/>
                <a:gd name="T21" fmla="*/ 2894074 h 11"/>
                <a:gd name="T22" fmla="*/ 6432919 w 13"/>
                <a:gd name="T23" fmla="*/ 2007625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"/>
                <a:gd name="T37" fmla="*/ 0 h 11"/>
                <a:gd name="T38" fmla="*/ 13 w 13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" h="11">
                  <a:moveTo>
                    <a:pt x="10" y="2"/>
                  </a:moveTo>
                  <a:cubicBezTo>
                    <a:pt x="9" y="1"/>
                    <a:pt x="8" y="2"/>
                    <a:pt x="7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0" y="9"/>
                    <a:pt x="1" y="9"/>
                    <a:pt x="1" y="10"/>
                  </a:cubicBezTo>
                  <a:cubicBezTo>
                    <a:pt x="1" y="11"/>
                    <a:pt x="2" y="11"/>
                    <a:pt x="3" y="11"/>
                  </a:cubicBezTo>
                  <a:cubicBezTo>
                    <a:pt x="4" y="10"/>
                    <a:pt x="5" y="10"/>
                    <a:pt x="7" y="9"/>
                  </a:cubicBezTo>
                  <a:cubicBezTo>
                    <a:pt x="8" y="9"/>
                    <a:pt x="10" y="7"/>
                    <a:pt x="12" y="6"/>
                  </a:cubicBezTo>
                  <a:cubicBezTo>
                    <a:pt x="13" y="5"/>
                    <a:pt x="13" y="4"/>
                    <a:pt x="12" y="3"/>
                  </a:cubicBezTo>
                  <a:cubicBezTo>
                    <a:pt x="12" y="2"/>
                    <a:pt x="11" y="2"/>
                    <a:pt x="10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3" name="Freeform 94"/>
            <p:cNvSpPr>
              <a:spLocks/>
            </p:cNvSpPr>
            <p:nvPr/>
          </p:nvSpPr>
          <p:spPr bwMode="auto">
            <a:xfrm>
              <a:off x="7341980" y="4486914"/>
              <a:ext cx="57995" cy="45325"/>
            </a:xfrm>
            <a:custGeom>
              <a:avLst/>
              <a:gdLst>
                <a:gd name="T0" fmla="*/ 29289959 w 43"/>
                <a:gd name="T1" fmla="*/ 2648104 h 42"/>
                <a:gd name="T2" fmla="*/ 26279736 w 43"/>
                <a:gd name="T3" fmla="*/ 1947959 h 42"/>
                <a:gd name="T4" fmla="*/ 19803122 w 43"/>
                <a:gd name="T5" fmla="*/ 826407 h 42"/>
                <a:gd name="T6" fmla="*/ 10153565 w 43"/>
                <a:gd name="T7" fmla="*/ 2648104 h 42"/>
                <a:gd name="T8" fmla="*/ 5870964 w 43"/>
                <a:gd name="T9" fmla="*/ 9297268 h 42"/>
                <a:gd name="T10" fmla="*/ 5870964 w 43"/>
                <a:gd name="T11" fmla="*/ 9969094 h 42"/>
                <a:gd name="T12" fmla="*/ 8065642 w 43"/>
                <a:gd name="T13" fmla="*/ 12766088 h 42"/>
                <a:gd name="T14" fmla="*/ 4973994 w 43"/>
                <a:gd name="T15" fmla="*/ 17326120 h 42"/>
                <a:gd name="T16" fmla="*/ 0 w 43"/>
                <a:gd name="T17" fmla="*/ 17326120 h 42"/>
                <a:gd name="T18" fmla="*/ 0 w 43"/>
                <a:gd name="T19" fmla="*/ 18182008 h 42"/>
                <a:gd name="T20" fmla="*/ 883979 w 43"/>
                <a:gd name="T21" fmla="*/ 19269273 h 42"/>
                <a:gd name="T22" fmla="*/ 883979 w 43"/>
                <a:gd name="T23" fmla="*/ 20120347 h 42"/>
                <a:gd name="T24" fmla="*/ 2096880 w 43"/>
                <a:gd name="T25" fmla="*/ 23498565 h 42"/>
                <a:gd name="T26" fmla="*/ 3012174 w 43"/>
                <a:gd name="T27" fmla="*/ 24685188 h 42"/>
                <a:gd name="T28" fmla="*/ 4973994 w 43"/>
                <a:gd name="T29" fmla="*/ 23498565 h 42"/>
                <a:gd name="T30" fmla="*/ 8952672 w 43"/>
                <a:gd name="T31" fmla="*/ 23498565 h 42"/>
                <a:gd name="T32" fmla="*/ 11078719 w 43"/>
                <a:gd name="T33" fmla="*/ 25511584 h 42"/>
                <a:gd name="T34" fmla="*/ 11798772 w 43"/>
                <a:gd name="T35" fmla="*/ 24685188 h 42"/>
                <a:gd name="T36" fmla="*/ 15201842 w 43"/>
                <a:gd name="T37" fmla="*/ 24685188 h 42"/>
                <a:gd name="T38" fmla="*/ 16948973 w 43"/>
                <a:gd name="T39" fmla="*/ 27333805 h 42"/>
                <a:gd name="T40" fmla="*/ 19132446 w 43"/>
                <a:gd name="T41" fmla="*/ 28094992 h 42"/>
                <a:gd name="T42" fmla="*/ 19132446 w 43"/>
                <a:gd name="T43" fmla="*/ 28921406 h 42"/>
                <a:gd name="T44" fmla="*/ 16948973 w 43"/>
                <a:gd name="T45" fmla="*/ 30864540 h 42"/>
                <a:gd name="T46" fmla="*/ 16948973 w 43"/>
                <a:gd name="T47" fmla="*/ 32039415 h 42"/>
                <a:gd name="T48" fmla="*/ 16028829 w 43"/>
                <a:gd name="T49" fmla="*/ 32648180 h 42"/>
                <a:gd name="T50" fmla="*/ 16028829 w 43"/>
                <a:gd name="T51" fmla="*/ 33474537 h 42"/>
                <a:gd name="T52" fmla="*/ 23198179 w 43"/>
                <a:gd name="T53" fmla="*/ 34681073 h 42"/>
                <a:gd name="T54" fmla="*/ 27176842 w 43"/>
                <a:gd name="T55" fmla="*/ 37455335 h 42"/>
                <a:gd name="T56" fmla="*/ 27176842 w 43"/>
                <a:gd name="T57" fmla="*/ 37455335 h 42"/>
                <a:gd name="T58" fmla="*/ 27987775 w 43"/>
                <a:gd name="T59" fmla="*/ 35422498 h 42"/>
                <a:gd name="T60" fmla="*/ 31390133 w 43"/>
                <a:gd name="T61" fmla="*/ 34681073 h 42"/>
                <a:gd name="T62" fmla="*/ 35164284 w 43"/>
                <a:gd name="T63" fmla="*/ 37455335 h 42"/>
                <a:gd name="T64" fmla="*/ 35164284 w 43"/>
                <a:gd name="T65" fmla="*/ 34681073 h 42"/>
                <a:gd name="T66" fmla="*/ 37356249 w 43"/>
                <a:gd name="T67" fmla="*/ 34681073 h 42"/>
                <a:gd name="T68" fmla="*/ 38021858 w 43"/>
                <a:gd name="T69" fmla="*/ 35422498 h 42"/>
                <a:gd name="T70" fmla="*/ 38021858 w 43"/>
                <a:gd name="T71" fmla="*/ 35422498 h 42"/>
                <a:gd name="T72" fmla="*/ 41101697 w 43"/>
                <a:gd name="T73" fmla="*/ 36268825 h 42"/>
                <a:gd name="T74" fmla="*/ 42309604 w 43"/>
                <a:gd name="T75" fmla="*/ 35422498 h 42"/>
                <a:gd name="T76" fmla="*/ 43229900 w 43"/>
                <a:gd name="T77" fmla="*/ 34681073 h 42"/>
                <a:gd name="T78" fmla="*/ 29289959 w 43"/>
                <a:gd name="T79" fmla="*/ 23498565 h 42"/>
                <a:gd name="T80" fmla="*/ 27987775 w 43"/>
                <a:gd name="T81" fmla="*/ 20744537 h 42"/>
                <a:gd name="T82" fmla="*/ 27987775 w 43"/>
                <a:gd name="T83" fmla="*/ 9297268 h 42"/>
                <a:gd name="T84" fmla="*/ 30024814 w 43"/>
                <a:gd name="T85" fmla="*/ 5415918 h 42"/>
                <a:gd name="T86" fmla="*/ 30024814 w 43"/>
                <a:gd name="T87" fmla="*/ 3468116 h 42"/>
                <a:gd name="T88" fmla="*/ 29289959 w 43"/>
                <a:gd name="T89" fmla="*/ 2648104 h 4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"/>
                <a:gd name="T136" fmla="*/ 0 h 42"/>
                <a:gd name="T137" fmla="*/ 43 w 43"/>
                <a:gd name="T138" fmla="*/ 42 h 4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" h="42">
                  <a:moveTo>
                    <a:pt x="29" y="3"/>
                  </a:moveTo>
                  <a:cubicBezTo>
                    <a:pt x="28" y="3"/>
                    <a:pt x="27" y="2"/>
                    <a:pt x="26" y="2"/>
                  </a:cubicBezTo>
                  <a:cubicBezTo>
                    <a:pt x="24" y="2"/>
                    <a:pt x="22" y="1"/>
                    <a:pt x="20" y="1"/>
                  </a:cubicBezTo>
                  <a:cubicBezTo>
                    <a:pt x="17" y="1"/>
                    <a:pt x="12" y="0"/>
                    <a:pt x="10" y="3"/>
                  </a:cubicBezTo>
                  <a:cubicBezTo>
                    <a:pt x="9" y="5"/>
                    <a:pt x="8" y="8"/>
                    <a:pt x="6" y="10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7" y="12"/>
                    <a:pt x="8" y="13"/>
                    <a:pt x="8" y="14"/>
                  </a:cubicBezTo>
                  <a:cubicBezTo>
                    <a:pt x="7" y="16"/>
                    <a:pt x="6" y="17"/>
                    <a:pt x="5" y="19"/>
                  </a:cubicBezTo>
                  <a:cubicBezTo>
                    <a:pt x="4" y="20"/>
                    <a:pt x="1" y="19"/>
                    <a:pt x="0" y="19"/>
                  </a:cubicBezTo>
                  <a:cubicBezTo>
                    <a:pt x="0" y="19"/>
                    <a:pt x="0" y="20"/>
                    <a:pt x="0" y="20"/>
                  </a:cubicBezTo>
                  <a:cubicBezTo>
                    <a:pt x="0" y="20"/>
                    <a:pt x="1" y="21"/>
                    <a:pt x="1" y="21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2" y="24"/>
                    <a:pt x="2" y="25"/>
                    <a:pt x="2" y="26"/>
                  </a:cubicBezTo>
                  <a:cubicBezTo>
                    <a:pt x="2" y="27"/>
                    <a:pt x="3" y="27"/>
                    <a:pt x="3" y="27"/>
                  </a:cubicBezTo>
                  <a:cubicBezTo>
                    <a:pt x="4" y="27"/>
                    <a:pt x="4" y="27"/>
                    <a:pt x="5" y="26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0" y="27"/>
                    <a:pt x="11" y="28"/>
                  </a:cubicBezTo>
                  <a:cubicBezTo>
                    <a:pt x="11" y="28"/>
                    <a:pt x="12" y="28"/>
                    <a:pt x="12" y="27"/>
                  </a:cubicBezTo>
                  <a:cubicBezTo>
                    <a:pt x="13" y="27"/>
                    <a:pt x="14" y="27"/>
                    <a:pt x="15" y="27"/>
                  </a:cubicBezTo>
                  <a:cubicBezTo>
                    <a:pt x="16" y="28"/>
                    <a:pt x="16" y="29"/>
                    <a:pt x="17" y="30"/>
                  </a:cubicBezTo>
                  <a:cubicBezTo>
                    <a:pt x="18" y="30"/>
                    <a:pt x="18" y="31"/>
                    <a:pt x="19" y="31"/>
                  </a:cubicBezTo>
                  <a:cubicBezTo>
                    <a:pt x="19" y="31"/>
                    <a:pt x="19" y="31"/>
                    <a:pt x="19" y="32"/>
                  </a:cubicBezTo>
                  <a:cubicBezTo>
                    <a:pt x="18" y="31"/>
                    <a:pt x="16" y="32"/>
                    <a:pt x="17" y="34"/>
                  </a:cubicBezTo>
                  <a:cubicBezTo>
                    <a:pt x="17" y="34"/>
                    <a:pt x="18" y="35"/>
                    <a:pt x="17" y="35"/>
                  </a:cubicBezTo>
                  <a:cubicBezTo>
                    <a:pt x="17" y="35"/>
                    <a:pt x="16" y="36"/>
                    <a:pt x="16" y="36"/>
                  </a:cubicBezTo>
                  <a:cubicBezTo>
                    <a:pt x="16" y="36"/>
                    <a:pt x="16" y="37"/>
                    <a:pt x="16" y="37"/>
                  </a:cubicBezTo>
                  <a:cubicBezTo>
                    <a:pt x="18" y="37"/>
                    <a:pt x="21" y="38"/>
                    <a:pt x="23" y="38"/>
                  </a:cubicBezTo>
                  <a:cubicBezTo>
                    <a:pt x="24" y="39"/>
                    <a:pt x="25" y="40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8" y="40"/>
                    <a:pt x="27" y="39"/>
                    <a:pt x="28" y="39"/>
                  </a:cubicBezTo>
                  <a:cubicBezTo>
                    <a:pt x="28" y="38"/>
                    <a:pt x="30" y="39"/>
                    <a:pt x="31" y="38"/>
                  </a:cubicBezTo>
                  <a:cubicBezTo>
                    <a:pt x="32" y="40"/>
                    <a:pt x="33" y="42"/>
                    <a:pt x="35" y="41"/>
                  </a:cubicBezTo>
                  <a:cubicBezTo>
                    <a:pt x="35" y="40"/>
                    <a:pt x="34" y="39"/>
                    <a:pt x="35" y="38"/>
                  </a:cubicBezTo>
                  <a:cubicBezTo>
                    <a:pt x="36" y="37"/>
                    <a:pt x="36" y="37"/>
                    <a:pt x="37" y="38"/>
                  </a:cubicBezTo>
                  <a:cubicBezTo>
                    <a:pt x="37" y="38"/>
                    <a:pt x="37" y="39"/>
                    <a:pt x="38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9" y="40"/>
                    <a:pt x="40" y="40"/>
                    <a:pt x="41" y="40"/>
                  </a:cubicBezTo>
                  <a:cubicBezTo>
                    <a:pt x="42" y="40"/>
                    <a:pt x="42" y="39"/>
                    <a:pt x="42" y="39"/>
                  </a:cubicBezTo>
                  <a:cubicBezTo>
                    <a:pt x="43" y="39"/>
                    <a:pt x="43" y="38"/>
                    <a:pt x="43" y="38"/>
                  </a:cubicBezTo>
                  <a:cubicBezTo>
                    <a:pt x="37" y="35"/>
                    <a:pt x="34" y="30"/>
                    <a:pt x="29" y="26"/>
                  </a:cubicBezTo>
                  <a:cubicBezTo>
                    <a:pt x="29" y="26"/>
                    <a:pt x="28" y="24"/>
                    <a:pt x="28" y="23"/>
                  </a:cubicBezTo>
                  <a:cubicBezTo>
                    <a:pt x="28" y="19"/>
                    <a:pt x="28" y="14"/>
                    <a:pt x="28" y="10"/>
                  </a:cubicBezTo>
                  <a:cubicBezTo>
                    <a:pt x="29" y="9"/>
                    <a:pt x="30" y="8"/>
                    <a:pt x="30" y="6"/>
                  </a:cubicBezTo>
                  <a:cubicBezTo>
                    <a:pt x="31" y="6"/>
                    <a:pt x="31" y="5"/>
                    <a:pt x="30" y="4"/>
                  </a:cubicBezTo>
                  <a:lnTo>
                    <a:pt x="29" y="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4" name="Freeform 95"/>
            <p:cNvSpPr>
              <a:spLocks/>
            </p:cNvSpPr>
            <p:nvPr/>
          </p:nvSpPr>
          <p:spPr bwMode="auto">
            <a:xfrm>
              <a:off x="7357932" y="4433127"/>
              <a:ext cx="129044" cy="56203"/>
            </a:xfrm>
            <a:custGeom>
              <a:avLst/>
              <a:gdLst>
                <a:gd name="T0" fmla="*/ 63070360 w 96"/>
                <a:gd name="T1" fmla="*/ 16316660 h 52"/>
                <a:gd name="T2" fmla="*/ 58233748 w 96"/>
                <a:gd name="T3" fmla="*/ 18219601 h 52"/>
                <a:gd name="T4" fmla="*/ 53311936 w 96"/>
                <a:gd name="T5" fmla="*/ 21998307 h 52"/>
                <a:gd name="T6" fmla="*/ 49711565 w 96"/>
                <a:gd name="T7" fmla="*/ 24020975 h 52"/>
                <a:gd name="T8" fmla="*/ 44786499 w 96"/>
                <a:gd name="T9" fmla="*/ 25884917 h 52"/>
                <a:gd name="T10" fmla="*/ 42924041 w 96"/>
                <a:gd name="T11" fmla="*/ 25884917 h 52"/>
                <a:gd name="T12" fmla="*/ 41179433 w 96"/>
                <a:gd name="T13" fmla="*/ 29663759 h 52"/>
                <a:gd name="T14" fmla="*/ 35196273 w 96"/>
                <a:gd name="T15" fmla="*/ 31791129 h 52"/>
                <a:gd name="T16" fmla="*/ 30766047 w 96"/>
                <a:gd name="T17" fmla="*/ 36571664 h 52"/>
                <a:gd name="T18" fmla="*/ 28683247 w 96"/>
                <a:gd name="T19" fmla="*/ 40130025 h 52"/>
                <a:gd name="T20" fmla="*/ 24627496 w 96"/>
                <a:gd name="T21" fmla="*/ 42240969 h 52"/>
                <a:gd name="T22" fmla="*/ 23038270 w 96"/>
                <a:gd name="T23" fmla="*/ 46353710 h 52"/>
                <a:gd name="T24" fmla="*/ 16257796 w 96"/>
                <a:gd name="T25" fmla="*/ 49116100 h 52"/>
                <a:gd name="T26" fmla="*/ 9743062 w 96"/>
                <a:gd name="T27" fmla="*/ 47883186 h 52"/>
                <a:gd name="T28" fmla="*/ 2017470 w 96"/>
                <a:gd name="T29" fmla="*/ 47027825 h 52"/>
                <a:gd name="T30" fmla="*/ 4770476 w 96"/>
                <a:gd name="T31" fmla="*/ 46353710 h 52"/>
                <a:gd name="T32" fmla="*/ 0 w 96"/>
                <a:gd name="T33" fmla="*/ 45119963 h 52"/>
                <a:gd name="T34" fmla="*/ 5622275 w 96"/>
                <a:gd name="T35" fmla="*/ 41357678 h 52"/>
                <a:gd name="T36" fmla="*/ 8529993 w 96"/>
                <a:gd name="T37" fmla="*/ 36571664 h 52"/>
                <a:gd name="T38" fmla="*/ 8529993 w 96"/>
                <a:gd name="T39" fmla="*/ 35704117 h 52"/>
                <a:gd name="T40" fmla="*/ 14147832 w 96"/>
                <a:gd name="T41" fmla="*/ 32422516 h 52"/>
                <a:gd name="T42" fmla="*/ 11280189 w 96"/>
                <a:gd name="T43" fmla="*/ 29663759 h 52"/>
                <a:gd name="T44" fmla="*/ 9743062 w 96"/>
                <a:gd name="T45" fmla="*/ 25250180 h 52"/>
                <a:gd name="T46" fmla="*/ 11280189 w 96"/>
                <a:gd name="T47" fmla="*/ 26784633 h 52"/>
                <a:gd name="T48" fmla="*/ 18152905 w 96"/>
                <a:gd name="T49" fmla="*/ 24020975 h 52"/>
                <a:gd name="T50" fmla="*/ 21873420 w 96"/>
                <a:gd name="T51" fmla="*/ 25250180 h 52"/>
                <a:gd name="T52" fmla="*/ 23038270 w 96"/>
                <a:gd name="T53" fmla="*/ 19075104 h 52"/>
                <a:gd name="T54" fmla="*/ 31435546 w 96"/>
                <a:gd name="T55" fmla="*/ 16316660 h 52"/>
                <a:gd name="T56" fmla="*/ 34306055 w 96"/>
                <a:gd name="T57" fmla="*/ 14239871 h 52"/>
                <a:gd name="T58" fmla="*/ 39967631 w 96"/>
                <a:gd name="T59" fmla="*/ 13440154 h 52"/>
                <a:gd name="T60" fmla="*/ 50561756 w 96"/>
                <a:gd name="T61" fmla="*/ 11323590 h 52"/>
                <a:gd name="T62" fmla="*/ 53311936 w 96"/>
                <a:gd name="T63" fmla="*/ 13440154 h 52"/>
                <a:gd name="T64" fmla="*/ 57436032 w 96"/>
                <a:gd name="T65" fmla="*/ 10674878 h 52"/>
                <a:gd name="T66" fmla="*/ 62201631 w 96"/>
                <a:gd name="T67" fmla="*/ 11323590 h 52"/>
                <a:gd name="T68" fmla="*/ 65080671 w 96"/>
                <a:gd name="T69" fmla="*/ 9794092 h 52"/>
                <a:gd name="T70" fmla="*/ 68716151 w 96"/>
                <a:gd name="T71" fmla="*/ 6898101 h 52"/>
                <a:gd name="T72" fmla="*/ 71583879 w 96"/>
                <a:gd name="T73" fmla="*/ 5682019 h 52"/>
                <a:gd name="T74" fmla="*/ 74331940 w 96"/>
                <a:gd name="T75" fmla="*/ 2023861 h 52"/>
                <a:gd name="T76" fmla="*/ 86131301 w 96"/>
                <a:gd name="T77" fmla="*/ 855616 h 52"/>
                <a:gd name="T78" fmla="*/ 91753636 w 96"/>
                <a:gd name="T79" fmla="*/ 4787209 h 52"/>
                <a:gd name="T80" fmla="*/ 88847204 w 96"/>
                <a:gd name="T81" fmla="*/ 10674878 h 52"/>
                <a:gd name="T82" fmla="*/ 80474690 w 96"/>
                <a:gd name="T83" fmla="*/ 12540778 h 52"/>
                <a:gd name="T84" fmla="*/ 68716151 w 96"/>
                <a:gd name="T85" fmla="*/ 15461195 h 5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6"/>
                <a:gd name="T130" fmla="*/ 0 h 52"/>
                <a:gd name="T131" fmla="*/ 96 w 96"/>
                <a:gd name="T132" fmla="*/ 52 h 5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6" h="52">
                  <a:moveTo>
                    <a:pt x="72" y="16"/>
                  </a:moveTo>
                  <a:cubicBezTo>
                    <a:pt x="70" y="16"/>
                    <a:pt x="68" y="17"/>
                    <a:pt x="66" y="17"/>
                  </a:cubicBezTo>
                  <a:cubicBezTo>
                    <a:pt x="65" y="18"/>
                    <a:pt x="64" y="17"/>
                    <a:pt x="63" y="18"/>
                  </a:cubicBezTo>
                  <a:cubicBezTo>
                    <a:pt x="62" y="18"/>
                    <a:pt x="62" y="19"/>
                    <a:pt x="61" y="19"/>
                  </a:cubicBezTo>
                  <a:cubicBezTo>
                    <a:pt x="61" y="20"/>
                    <a:pt x="61" y="20"/>
                    <a:pt x="60" y="21"/>
                  </a:cubicBezTo>
                  <a:cubicBezTo>
                    <a:pt x="59" y="22"/>
                    <a:pt x="58" y="23"/>
                    <a:pt x="56" y="23"/>
                  </a:cubicBezTo>
                  <a:cubicBezTo>
                    <a:pt x="55" y="24"/>
                    <a:pt x="54" y="24"/>
                    <a:pt x="53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2" y="26"/>
                    <a:pt x="52" y="27"/>
                    <a:pt x="51" y="27"/>
                  </a:cubicBezTo>
                  <a:cubicBezTo>
                    <a:pt x="50" y="27"/>
                    <a:pt x="48" y="27"/>
                    <a:pt x="47" y="27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6" y="28"/>
                    <a:pt x="46" y="28"/>
                    <a:pt x="45" y="27"/>
                  </a:cubicBezTo>
                  <a:cubicBezTo>
                    <a:pt x="45" y="27"/>
                    <a:pt x="44" y="27"/>
                    <a:pt x="44" y="27"/>
                  </a:cubicBezTo>
                  <a:cubicBezTo>
                    <a:pt x="43" y="28"/>
                    <a:pt x="44" y="30"/>
                    <a:pt x="43" y="31"/>
                  </a:cubicBezTo>
                  <a:cubicBezTo>
                    <a:pt x="42" y="32"/>
                    <a:pt x="41" y="33"/>
                    <a:pt x="39" y="34"/>
                  </a:cubicBezTo>
                  <a:cubicBezTo>
                    <a:pt x="39" y="34"/>
                    <a:pt x="38" y="34"/>
                    <a:pt x="37" y="33"/>
                  </a:cubicBezTo>
                  <a:cubicBezTo>
                    <a:pt x="37" y="33"/>
                    <a:pt x="36" y="33"/>
                    <a:pt x="35" y="33"/>
                  </a:cubicBezTo>
                  <a:cubicBezTo>
                    <a:pt x="34" y="35"/>
                    <a:pt x="33" y="36"/>
                    <a:pt x="32" y="38"/>
                  </a:cubicBezTo>
                  <a:cubicBezTo>
                    <a:pt x="32" y="39"/>
                    <a:pt x="31" y="39"/>
                    <a:pt x="31" y="40"/>
                  </a:cubicBezTo>
                  <a:cubicBezTo>
                    <a:pt x="31" y="41"/>
                    <a:pt x="31" y="42"/>
                    <a:pt x="30" y="42"/>
                  </a:cubicBezTo>
                  <a:cubicBezTo>
                    <a:pt x="29" y="42"/>
                    <a:pt x="27" y="42"/>
                    <a:pt x="26" y="42"/>
                  </a:cubicBezTo>
                  <a:cubicBezTo>
                    <a:pt x="26" y="42"/>
                    <a:pt x="26" y="43"/>
                    <a:pt x="26" y="44"/>
                  </a:cubicBezTo>
                  <a:cubicBezTo>
                    <a:pt x="27" y="45"/>
                    <a:pt x="27" y="46"/>
                    <a:pt x="26" y="47"/>
                  </a:cubicBezTo>
                  <a:cubicBezTo>
                    <a:pt x="26" y="48"/>
                    <a:pt x="25" y="47"/>
                    <a:pt x="24" y="48"/>
                  </a:cubicBezTo>
                  <a:cubicBezTo>
                    <a:pt x="23" y="49"/>
                    <a:pt x="23" y="51"/>
                    <a:pt x="22" y="52"/>
                  </a:cubicBezTo>
                  <a:cubicBezTo>
                    <a:pt x="20" y="52"/>
                    <a:pt x="19" y="52"/>
                    <a:pt x="17" y="51"/>
                  </a:cubicBezTo>
                  <a:cubicBezTo>
                    <a:pt x="16" y="51"/>
                    <a:pt x="16" y="52"/>
                    <a:pt x="15" y="51"/>
                  </a:cubicBezTo>
                  <a:cubicBezTo>
                    <a:pt x="13" y="51"/>
                    <a:pt x="12" y="50"/>
                    <a:pt x="10" y="50"/>
                  </a:cubicBezTo>
                  <a:cubicBezTo>
                    <a:pt x="7" y="50"/>
                    <a:pt x="5" y="50"/>
                    <a:pt x="2" y="50"/>
                  </a:cubicBezTo>
                  <a:cubicBezTo>
                    <a:pt x="2" y="50"/>
                    <a:pt x="2" y="49"/>
                    <a:pt x="2" y="49"/>
                  </a:cubicBezTo>
                  <a:cubicBezTo>
                    <a:pt x="3" y="48"/>
                    <a:pt x="5" y="50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3" y="48"/>
                    <a:pt x="1" y="48"/>
                    <a:pt x="0" y="47"/>
                  </a:cubicBezTo>
                  <a:cubicBezTo>
                    <a:pt x="0" y="47"/>
                    <a:pt x="0" y="46"/>
                    <a:pt x="1" y="45"/>
                  </a:cubicBezTo>
                  <a:cubicBezTo>
                    <a:pt x="3" y="45"/>
                    <a:pt x="4" y="44"/>
                    <a:pt x="6" y="43"/>
                  </a:cubicBezTo>
                  <a:cubicBezTo>
                    <a:pt x="7" y="42"/>
                    <a:pt x="8" y="42"/>
                    <a:pt x="8" y="41"/>
                  </a:cubicBezTo>
                  <a:cubicBezTo>
                    <a:pt x="9" y="40"/>
                    <a:pt x="9" y="39"/>
                    <a:pt x="9" y="38"/>
                  </a:cubicBezTo>
                  <a:cubicBezTo>
                    <a:pt x="9" y="38"/>
                    <a:pt x="8" y="38"/>
                    <a:pt x="9" y="38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6"/>
                    <a:pt x="10" y="34"/>
                    <a:pt x="11" y="34"/>
                  </a:cubicBezTo>
                  <a:cubicBezTo>
                    <a:pt x="12" y="34"/>
                    <a:pt x="14" y="35"/>
                    <a:pt x="15" y="34"/>
                  </a:cubicBezTo>
                  <a:cubicBezTo>
                    <a:pt x="15" y="34"/>
                    <a:pt x="16" y="33"/>
                    <a:pt x="15" y="33"/>
                  </a:cubicBezTo>
                  <a:cubicBezTo>
                    <a:pt x="14" y="32"/>
                    <a:pt x="13" y="32"/>
                    <a:pt x="12" y="31"/>
                  </a:cubicBezTo>
                  <a:cubicBezTo>
                    <a:pt x="12" y="30"/>
                    <a:pt x="11" y="30"/>
                    <a:pt x="11" y="30"/>
                  </a:cubicBezTo>
                  <a:cubicBezTo>
                    <a:pt x="10" y="29"/>
                    <a:pt x="9" y="27"/>
                    <a:pt x="10" y="26"/>
                  </a:cubicBezTo>
                  <a:cubicBezTo>
                    <a:pt x="10" y="26"/>
                    <a:pt x="11" y="26"/>
                    <a:pt x="11" y="26"/>
                  </a:cubicBezTo>
                  <a:cubicBezTo>
                    <a:pt x="12" y="26"/>
                    <a:pt x="11" y="27"/>
                    <a:pt x="12" y="28"/>
                  </a:cubicBezTo>
                  <a:cubicBezTo>
                    <a:pt x="13" y="28"/>
                    <a:pt x="15" y="28"/>
                    <a:pt x="16" y="27"/>
                  </a:cubicBezTo>
                  <a:cubicBezTo>
                    <a:pt x="17" y="27"/>
                    <a:pt x="18" y="26"/>
                    <a:pt x="19" y="25"/>
                  </a:cubicBezTo>
                  <a:cubicBezTo>
                    <a:pt x="19" y="25"/>
                    <a:pt x="20" y="25"/>
                    <a:pt x="21" y="25"/>
                  </a:cubicBezTo>
                  <a:cubicBezTo>
                    <a:pt x="22" y="25"/>
                    <a:pt x="22" y="26"/>
                    <a:pt x="23" y="26"/>
                  </a:cubicBezTo>
                  <a:cubicBezTo>
                    <a:pt x="24" y="25"/>
                    <a:pt x="23" y="23"/>
                    <a:pt x="23" y="22"/>
                  </a:cubicBezTo>
                  <a:cubicBezTo>
                    <a:pt x="24" y="21"/>
                    <a:pt x="24" y="20"/>
                    <a:pt x="24" y="20"/>
                  </a:cubicBezTo>
                  <a:cubicBezTo>
                    <a:pt x="25" y="20"/>
                    <a:pt x="27" y="21"/>
                    <a:pt x="28" y="20"/>
                  </a:cubicBezTo>
                  <a:cubicBezTo>
                    <a:pt x="29" y="19"/>
                    <a:pt x="31" y="18"/>
                    <a:pt x="33" y="17"/>
                  </a:cubicBezTo>
                  <a:cubicBezTo>
                    <a:pt x="33" y="17"/>
                    <a:pt x="34" y="16"/>
                    <a:pt x="35" y="15"/>
                  </a:cubicBezTo>
                  <a:cubicBezTo>
                    <a:pt x="35" y="15"/>
                    <a:pt x="35" y="15"/>
                    <a:pt x="36" y="15"/>
                  </a:cubicBezTo>
                  <a:cubicBezTo>
                    <a:pt x="37" y="14"/>
                    <a:pt x="38" y="12"/>
                    <a:pt x="40" y="13"/>
                  </a:cubicBezTo>
                  <a:cubicBezTo>
                    <a:pt x="40" y="14"/>
                    <a:pt x="41" y="14"/>
                    <a:pt x="42" y="14"/>
                  </a:cubicBezTo>
                  <a:cubicBezTo>
                    <a:pt x="43" y="13"/>
                    <a:pt x="44" y="12"/>
                    <a:pt x="45" y="12"/>
                  </a:cubicBezTo>
                  <a:cubicBezTo>
                    <a:pt x="47" y="11"/>
                    <a:pt x="50" y="11"/>
                    <a:pt x="53" y="12"/>
                  </a:cubicBezTo>
                  <a:cubicBezTo>
                    <a:pt x="54" y="12"/>
                    <a:pt x="54" y="13"/>
                    <a:pt x="54" y="13"/>
                  </a:cubicBezTo>
                  <a:cubicBezTo>
                    <a:pt x="55" y="14"/>
                    <a:pt x="55" y="14"/>
                    <a:pt x="56" y="14"/>
                  </a:cubicBezTo>
                  <a:cubicBezTo>
                    <a:pt x="55" y="13"/>
                    <a:pt x="56" y="12"/>
                    <a:pt x="57" y="12"/>
                  </a:cubicBezTo>
                  <a:cubicBezTo>
                    <a:pt x="58" y="11"/>
                    <a:pt x="59" y="12"/>
                    <a:pt x="60" y="11"/>
                  </a:cubicBezTo>
                  <a:cubicBezTo>
                    <a:pt x="61" y="11"/>
                    <a:pt x="62" y="10"/>
                    <a:pt x="62" y="11"/>
                  </a:cubicBezTo>
                  <a:cubicBezTo>
                    <a:pt x="63" y="12"/>
                    <a:pt x="64" y="12"/>
                    <a:pt x="65" y="12"/>
                  </a:cubicBezTo>
                  <a:cubicBezTo>
                    <a:pt x="65" y="11"/>
                    <a:pt x="65" y="11"/>
                    <a:pt x="66" y="11"/>
                  </a:cubicBezTo>
                  <a:cubicBezTo>
                    <a:pt x="67" y="11"/>
                    <a:pt x="68" y="10"/>
                    <a:pt x="68" y="10"/>
                  </a:cubicBezTo>
                  <a:cubicBezTo>
                    <a:pt x="69" y="9"/>
                    <a:pt x="68" y="9"/>
                    <a:pt x="69" y="8"/>
                  </a:cubicBezTo>
                  <a:cubicBezTo>
                    <a:pt x="69" y="7"/>
                    <a:pt x="71" y="7"/>
                    <a:pt x="72" y="7"/>
                  </a:cubicBezTo>
                  <a:cubicBezTo>
                    <a:pt x="72" y="7"/>
                    <a:pt x="72" y="7"/>
                    <a:pt x="72" y="7"/>
                  </a:cubicBezTo>
                  <a:cubicBezTo>
                    <a:pt x="73" y="6"/>
                    <a:pt x="75" y="7"/>
                    <a:pt x="75" y="6"/>
                  </a:cubicBezTo>
                  <a:cubicBezTo>
                    <a:pt x="76" y="5"/>
                    <a:pt x="75" y="4"/>
                    <a:pt x="76" y="3"/>
                  </a:cubicBezTo>
                  <a:cubicBezTo>
                    <a:pt x="76" y="3"/>
                    <a:pt x="77" y="2"/>
                    <a:pt x="78" y="2"/>
                  </a:cubicBezTo>
                  <a:cubicBezTo>
                    <a:pt x="80" y="2"/>
                    <a:pt x="82" y="1"/>
                    <a:pt x="83" y="1"/>
                  </a:cubicBezTo>
                  <a:cubicBezTo>
                    <a:pt x="86" y="0"/>
                    <a:pt x="88" y="0"/>
                    <a:pt x="90" y="1"/>
                  </a:cubicBezTo>
                  <a:cubicBezTo>
                    <a:pt x="92" y="1"/>
                    <a:pt x="94" y="0"/>
                    <a:pt x="95" y="2"/>
                  </a:cubicBezTo>
                  <a:cubicBezTo>
                    <a:pt x="96" y="2"/>
                    <a:pt x="96" y="4"/>
                    <a:pt x="96" y="5"/>
                  </a:cubicBezTo>
                  <a:cubicBezTo>
                    <a:pt x="96" y="5"/>
                    <a:pt x="95" y="6"/>
                    <a:pt x="95" y="6"/>
                  </a:cubicBezTo>
                  <a:cubicBezTo>
                    <a:pt x="95" y="8"/>
                    <a:pt x="95" y="10"/>
                    <a:pt x="93" y="11"/>
                  </a:cubicBezTo>
                  <a:cubicBezTo>
                    <a:pt x="92" y="11"/>
                    <a:pt x="91" y="11"/>
                    <a:pt x="90" y="12"/>
                  </a:cubicBezTo>
                  <a:cubicBezTo>
                    <a:pt x="88" y="13"/>
                    <a:pt x="86" y="12"/>
                    <a:pt x="84" y="13"/>
                  </a:cubicBezTo>
                  <a:cubicBezTo>
                    <a:pt x="81" y="15"/>
                    <a:pt x="77" y="15"/>
                    <a:pt x="73" y="15"/>
                  </a:cubicBezTo>
                  <a:cubicBezTo>
                    <a:pt x="73" y="15"/>
                    <a:pt x="72" y="16"/>
                    <a:pt x="72" y="16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5" name="Freeform 96"/>
            <p:cNvSpPr>
              <a:spLocks/>
            </p:cNvSpPr>
            <p:nvPr/>
          </p:nvSpPr>
          <p:spPr bwMode="auto">
            <a:xfrm>
              <a:off x="7409404" y="4531029"/>
              <a:ext cx="19573" cy="14504"/>
            </a:xfrm>
            <a:custGeom>
              <a:avLst/>
              <a:gdLst>
                <a:gd name="T0" fmla="*/ 15597639 w 15"/>
                <a:gd name="T1" fmla="*/ 6350665 h 13"/>
                <a:gd name="T2" fmla="*/ 12204942 w 15"/>
                <a:gd name="T3" fmla="*/ 3318681 h 13"/>
                <a:gd name="T4" fmla="*/ 9650299 w 15"/>
                <a:gd name="T5" fmla="*/ 3318681 h 13"/>
                <a:gd name="T6" fmla="*/ 6131151 w 15"/>
                <a:gd name="T7" fmla="*/ 0 h 13"/>
                <a:gd name="T8" fmla="*/ 3577445 w 15"/>
                <a:gd name="T9" fmla="*/ 0 h 13"/>
                <a:gd name="T10" fmla="*/ 2554647 w 15"/>
                <a:gd name="T11" fmla="*/ 2335724 h 13"/>
                <a:gd name="T12" fmla="*/ 2554647 w 15"/>
                <a:gd name="T13" fmla="*/ 2335724 h 13"/>
                <a:gd name="T14" fmla="*/ 1064436 w 15"/>
                <a:gd name="T15" fmla="*/ 6350665 h 13"/>
                <a:gd name="T16" fmla="*/ 8585866 w 15"/>
                <a:gd name="T17" fmla="*/ 9596174 h 13"/>
                <a:gd name="T18" fmla="*/ 13074693 w 15"/>
                <a:gd name="T19" fmla="*/ 14203962 h 13"/>
                <a:gd name="T20" fmla="*/ 14714756 w 15"/>
                <a:gd name="T21" fmla="*/ 14203962 h 13"/>
                <a:gd name="T22" fmla="*/ 18043546 w 15"/>
                <a:gd name="T23" fmla="*/ 10957538 h 13"/>
                <a:gd name="T24" fmla="*/ 18043546 w 15"/>
                <a:gd name="T25" fmla="*/ 7913775 h 13"/>
                <a:gd name="T26" fmla="*/ 15597639 w 15"/>
                <a:gd name="T27" fmla="*/ 5569804 h 13"/>
                <a:gd name="T28" fmla="*/ 15597639 w 15"/>
                <a:gd name="T29" fmla="*/ 6350665 h 1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5"/>
                <a:gd name="T46" fmla="*/ 0 h 13"/>
                <a:gd name="T47" fmla="*/ 15 w 15"/>
                <a:gd name="T48" fmla="*/ 13 h 1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5" h="13">
                  <a:moveTo>
                    <a:pt x="13" y="6"/>
                  </a:moveTo>
                  <a:cubicBezTo>
                    <a:pt x="12" y="5"/>
                    <a:pt x="11" y="4"/>
                    <a:pt x="10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7" y="2"/>
                    <a:pt x="7" y="1"/>
                    <a:pt x="5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3"/>
                    <a:pt x="0" y="5"/>
                    <a:pt x="1" y="6"/>
                  </a:cubicBezTo>
                  <a:cubicBezTo>
                    <a:pt x="2" y="7"/>
                    <a:pt x="4" y="8"/>
                    <a:pt x="7" y="9"/>
                  </a:cubicBezTo>
                  <a:cubicBezTo>
                    <a:pt x="9" y="9"/>
                    <a:pt x="10" y="12"/>
                    <a:pt x="11" y="13"/>
                  </a:cubicBezTo>
                  <a:cubicBezTo>
                    <a:pt x="11" y="13"/>
                    <a:pt x="12" y="13"/>
                    <a:pt x="12" y="13"/>
                  </a:cubicBezTo>
                  <a:cubicBezTo>
                    <a:pt x="13" y="12"/>
                    <a:pt x="14" y="11"/>
                    <a:pt x="15" y="10"/>
                  </a:cubicBezTo>
                  <a:cubicBezTo>
                    <a:pt x="15" y="9"/>
                    <a:pt x="15" y="8"/>
                    <a:pt x="15" y="7"/>
                  </a:cubicBezTo>
                  <a:cubicBezTo>
                    <a:pt x="15" y="6"/>
                    <a:pt x="14" y="6"/>
                    <a:pt x="13" y="5"/>
                  </a:cubicBezTo>
                  <a:cubicBezTo>
                    <a:pt x="13" y="5"/>
                    <a:pt x="13" y="5"/>
                    <a:pt x="13" y="6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6" name="Freeform 120"/>
            <p:cNvSpPr>
              <a:spLocks/>
            </p:cNvSpPr>
            <p:nvPr/>
          </p:nvSpPr>
          <p:spPr bwMode="auto">
            <a:xfrm>
              <a:off x="7046197" y="4405931"/>
              <a:ext cx="18850" cy="8460"/>
            </a:xfrm>
            <a:custGeom>
              <a:avLst/>
              <a:gdLst>
                <a:gd name="T0" fmla="*/ 6527726 w 14"/>
                <a:gd name="T1" fmla="*/ 896786 h 8"/>
                <a:gd name="T2" fmla="*/ 826407 w 14"/>
                <a:gd name="T3" fmla="*/ 2129866 h 8"/>
                <a:gd name="T4" fmla="*/ 826407 w 14"/>
                <a:gd name="T5" fmla="*/ 3065115 h 8"/>
                <a:gd name="T6" fmla="*/ 4591618 w 14"/>
                <a:gd name="T7" fmla="*/ 8176458 h 8"/>
                <a:gd name="T8" fmla="*/ 7350477 w 14"/>
                <a:gd name="T9" fmla="*/ 7279645 h 8"/>
                <a:gd name="T10" fmla="*/ 10823097 w 14"/>
                <a:gd name="T11" fmla="*/ 5955246 h 8"/>
                <a:gd name="T12" fmla="*/ 11919092 w 14"/>
                <a:gd name="T13" fmla="*/ 896786 h 8"/>
                <a:gd name="T14" fmla="*/ 6527726 w 14"/>
                <a:gd name="T15" fmla="*/ 896786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8"/>
                <a:gd name="T26" fmla="*/ 14 w 14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8">
                  <a:moveTo>
                    <a:pt x="7" y="1"/>
                  </a:moveTo>
                  <a:cubicBezTo>
                    <a:pt x="5" y="2"/>
                    <a:pt x="3" y="2"/>
                    <a:pt x="1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2" y="5"/>
                    <a:pt x="3" y="7"/>
                    <a:pt x="5" y="8"/>
                  </a:cubicBezTo>
                  <a:cubicBezTo>
                    <a:pt x="5" y="8"/>
                    <a:pt x="7" y="8"/>
                    <a:pt x="8" y="7"/>
                  </a:cubicBezTo>
                  <a:cubicBezTo>
                    <a:pt x="9" y="7"/>
                    <a:pt x="10" y="6"/>
                    <a:pt x="12" y="6"/>
                  </a:cubicBezTo>
                  <a:cubicBezTo>
                    <a:pt x="14" y="5"/>
                    <a:pt x="14" y="2"/>
                    <a:pt x="13" y="1"/>
                  </a:cubicBezTo>
                  <a:cubicBezTo>
                    <a:pt x="11" y="1"/>
                    <a:pt x="9" y="0"/>
                    <a:pt x="7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7" name="Freeform 121"/>
            <p:cNvSpPr>
              <a:spLocks/>
            </p:cNvSpPr>
            <p:nvPr/>
          </p:nvSpPr>
          <p:spPr bwMode="auto">
            <a:xfrm>
              <a:off x="7051272" y="4411370"/>
              <a:ext cx="34799" cy="18129"/>
            </a:xfrm>
            <a:custGeom>
              <a:avLst/>
              <a:gdLst>
                <a:gd name="T0" fmla="*/ 9343585 w 26"/>
                <a:gd name="T1" fmla="*/ 806887 h 17"/>
                <a:gd name="T2" fmla="*/ 2476837 w 26"/>
                <a:gd name="T3" fmla="*/ 3318400 h 17"/>
                <a:gd name="T4" fmla="*/ 1839936 w 26"/>
                <a:gd name="T5" fmla="*/ 3318400 h 17"/>
                <a:gd name="T6" fmla="*/ 1839936 w 26"/>
                <a:gd name="T7" fmla="*/ 7807999 h 17"/>
                <a:gd name="T8" fmla="*/ 0 w 26"/>
                <a:gd name="T9" fmla="*/ 11661007 h 17"/>
                <a:gd name="T10" fmla="*/ 5038211 w 26"/>
                <a:gd name="T11" fmla="*/ 12471472 h 17"/>
                <a:gd name="T12" fmla="*/ 7503662 w 26"/>
                <a:gd name="T13" fmla="*/ 13070851 h 17"/>
                <a:gd name="T14" fmla="*/ 11820412 w 26"/>
                <a:gd name="T15" fmla="*/ 11661007 h 17"/>
                <a:gd name="T16" fmla="*/ 11820412 w 26"/>
                <a:gd name="T17" fmla="*/ 14174003 h 17"/>
                <a:gd name="T18" fmla="*/ 13633585 w 26"/>
                <a:gd name="T19" fmla="*/ 13070851 h 17"/>
                <a:gd name="T20" fmla="*/ 16821088 w 26"/>
                <a:gd name="T21" fmla="*/ 13070851 h 17"/>
                <a:gd name="T22" fmla="*/ 19444641 w 26"/>
                <a:gd name="T23" fmla="*/ 10511040 h 17"/>
                <a:gd name="T24" fmla="*/ 21921488 w 26"/>
                <a:gd name="T25" fmla="*/ 7173119 h 17"/>
                <a:gd name="T26" fmla="*/ 14406455 w 26"/>
                <a:gd name="T27" fmla="*/ 6023953 h 17"/>
                <a:gd name="T28" fmla="*/ 14406455 w 26"/>
                <a:gd name="T29" fmla="*/ 6023953 h 17"/>
                <a:gd name="T30" fmla="*/ 12522682 w 26"/>
                <a:gd name="T31" fmla="*/ 4467192 h 17"/>
                <a:gd name="T32" fmla="*/ 12522682 w 26"/>
                <a:gd name="T33" fmla="*/ 806887 h 17"/>
                <a:gd name="T34" fmla="*/ 10127813 w 26"/>
                <a:gd name="T35" fmla="*/ 806887 h 17"/>
                <a:gd name="T36" fmla="*/ 9343585 w 26"/>
                <a:gd name="T37" fmla="*/ 806887 h 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6"/>
                <a:gd name="T58" fmla="*/ 0 h 17"/>
                <a:gd name="T59" fmla="*/ 26 w 26"/>
                <a:gd name="T60" fmla="*/ 17 h 1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6" h="17">
                  <a:moveTo>
                    <a:pt x="11" y="1"/>
                  </a:moveTo>
                  <a:cubicBezTo>
                    <a:pt x="9" y="2"/>
                    <a:pt x="6" y="4"/>
                    <a:pt x="3" y="4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1" y="6"/>
                    <a:pt x="2" y="8"/>
                    <a:pt x="2" y="9"/>
                  </a:cubicBezTo>
                  <a:cubicBezTo>
                    <a:pt x="0" y="10"/>
                    <a:pt x="0" y="12"/>
                    <a:pt x="0" y="13"/>
                  </a:cubicBezTo>
                  <a:cubicBezTo>
                    <a:pt x="1" y="14"/>
                    <a:pt x="4" y="14"/>
                    <a:pt x="6" y="14"/>
                  </a:cubicBezTo>
                  <a:cubicBezTo>
                    <a:pt x="7" y="14"/>
                    <a:pt x="8" y="15"/>
                    <a:pt x="9" y="15"/>
                  </a:cubicBezTo>
                  <a:cubicBezTo>
                    <a:pt x="10" y="14"/>
                    <a:pt x="12" y="12"/>
                    <a:pt x="14" y="13"/>
                  </a:cubicBezTo>
                  <a:cubicBezTo>
                    <a:pt x="14" y="14"/>
                    <a:pt x="14" y="15"/>
                    <a:pt x="14" y="16"/>
                  </a:cubicBezTo>
                  <a:cubicBezTo>
                    <a:pt x="15" y="17"/>
                    <a:pt x="15" y="16"/>
                    <a:pt x="16" y="15"/>
                  </a:cubicBezTo>
                  <a:cubicBezTo>
                    <a:pt x="17" y="14"/>
                    <a:pt x="19" y="15"/>
                    <a:pt x="20" y="15"/>
                  </a:cubicBezTo>
                  <a:cubicBezTo>
                    <a:pt x="21" y="14"/>
                    <a:pt x="22" y="12"/>
                    <a:pt x="23" y="12"/>
                  </a:cubicBezTo>
                  <a:cubicBezTo>
                    <a:pt x="24" y="11"/>
                    <a:pt x="26" y="10"/>
                    <a:pt x="26" y="8"/>
                  </a:cubicBezTo>
                  <a:cubicBezTo>
                    <a:pt x="23" y="7"/>
                    <a:pt x="20" y="8"/>
                    <a:pt x="17" y="7"/>
                  </a:cubicBezTo>
                  <a:cubicBezTo>
                    <a:pt x="18" y="7"/>
                    <a:pt x="17" y="7"/>
                    <a:pt x="17" y="7"/>
                  </a:cubicBezTo>
                  <a:cubicBezTo>
                    <a:pt x="16" y="7"/>
                    <a:pt x="15" y="6"/>
                    <a:pt x="15" y="5"/>
                  </a:cubicBezTo>
                  <a:cubicBezTo>
                    <a:pt x="14" y="4"/>
                    <a:pt x="15" y="2"/>
                    <a:pt x="15" y="1"/>
                  </a:cubicBezTo>
                  <a:cubicBezTo>
                    <a:pt x="14" y="0"/>
                    <a:pt x="13" y="0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8" name="Freeform 122"/>
            <p:cNvSpPr>
              <a:spLocks/>
            </p:cNvSpPr>
            <p:nvPr/>
          </p:nvSpPr>
          <p:spPr bwMode="auto">
            <a:xfrm>
              <a:off x="6959926" y="4382362"/>
              <a:ext cx="96419" cy="59828"/>
            </a:xfrm>
            <a:custGeom>
              <a:avLst/>
              <a:gdLst>
                <a:gd name="T0" fmla="*/ 56081975 w 72"/>
                <a:gd name="T1" fmla="*/ 12766089 h 56"/>
                <a:gd name="T2" fmla="*/ 51390619 w 72"/>
                <a:gd name="T3" fmla="*/ 10823097 h 56"/>
                <a:gd name="T4" fmla="*/ 45871591 w 72"/>
                <a:gd name="T5" fmla="*/ 6527726 h 56"/>
                <a:gd name="T6" fmla="*/ 43890374 w 72"/>
                <a:gd name="T7" fmla="*/ 4591618 h 56"/>
                <a:gd name="T8" fmla="*/ 38334634 w 72"/>
                <a:gd name="T9" fmla="*/ 1947959 h 56"/>
                <a:gd name="T10" fmla="*/ 33681736 w 72"/>
                <a:gd name="T11" fmla="*/ 826407 h 56"/>
                <a:gd name="T12" fmla="*/ 31608852 w 72"/>
                <a:gd name="T13" fmla="*/ 6527726 h 56"/>
                <a:gd name="T14" fmla="*/ 34316554 w 72"/>
                <a:gd name="T15" fmla="*/ 16148475 h 56"/>
                <a:gd name="T16" fmla="*/ 31608852 w 72"/>
                <a:gd name="T17" fmla="*/ 11919092 h 56"/>
                <a:gd name="T18" fmla="*/ 28785776 w 72"/>
                <a:gd name="T19" fmla="*/ 12766089 h 56"/>
                <a:gd name="T20" fmla="*/ 24107926 w 72"/>
                <a:gd name="T21" fmla="*/ 3468116 h 56"/>
                <a:gd name="T22" fmla="*/ 20558989 w 72"/>
                <a:gd name="T23" fmla="*/ 7350477 h 56"/>
                <a:gd name="T24" fmla="*/ 19784540 w 72"/>
                <a:gd name="T25" fmla="*/ 10823097 h 56"/>
                <a:gd name="T26" fmla="*/ 15729730 w 72"/>
                <a:gd name="T27" fmla="*/ 9297269 h 56"/>
                <a:gd name="T28" fmla="*/ 17710644 w 72"/>
                <a:gd name="T29" fmla="*/ 2769339 h 56"/>
                <a:gd name="T30" fmla="*/ 13898226 w 72"/>
                <a:gd name="T31" fmla="*/ 4591618 h 56"/>
                <a:gd name="T32" fmla="*/ 10210418 w 72"/>
                <a:gd name="T33" fmla="*/ 2769339 h 56"/>
                <a:gd name="T34" fmla="*/ 8379337 w 72"/>
                <a:gd name="T35" fmla="*/ 5415918 h 56"/>
                <a:gd name="T36" fmla="*/ 2821556 w 72"/>
                <a:gd name="T37" fmla="*/ 6527726 h 56"/>
                <a:gd name="T38" fmla="*/ 0 w 72"/>
                <a:gd name="T39" fmla="*/ 9297269 h 56"/>
                <a:gd name="T40" fmla="*/ 4679924 w 72"/>
                <a:gd name="T41" fmla="*/ 12766089 h 56"/>
                <a:gd name="T42" fmla="*/ 7500980 w 72"/>
                <a:gd name="T43" fmla="*/ 10823097 h 56"/>
                <a:gd name="T44" fmla="*/ 7500980 w 72"/>
                <a:gd name="T45" fmla="*/ 15386779 h 56"/>
                <a:gd name="T46" fmla="*/ 9573822 w 72"/>
                <a:gd name="T47" fmla="*/ 16148475 h 56"/>
                <a:gd name="T48" fmla="*/ 11049821 w 72"/>
                <a:gd name="T49" fmla="*/ 20744539 h 56"/>
                <a:gd name="T50" fmla="*/ 19784540 w 72"/>
                <a:gd name="T51" fmla="*/ 25511586 h 56"/>
                <a:gd name="T52" fmla="*/ 25303554 w 72"/>
                <a:gd name="T53" fmla="*/ 22742189 h 56"/>
                <a:gd name="T54" fmla="*/ 28785776 w 72"/>
                <a:gd name="T55" fmla="*/ 17326122 h 56"/>
                <a:gd name="T56" fmla="*/ 30767843 w 72"/>
                <a:gd name="T57" fmla="*/ 17326122 h 56"/>
                <a:gd name="T58" fmla="*/ 30767843 w 72"/>
                <a:gd name="T59" fmla="*/ 22742189 h 56"/>
                <a:gd name="T60" fmla="*/ 34316554 w 72"/>
                <a:gd name="T61" fmla="*/ 21914983 h 56"/>
                <a:gd name="T62" fmla="*/ 37139629 w 72"/>
                <a:gd name="T63" fmla="*/ 19269275 h 56"/>
                <a:gd name="T64" fmla="*/ 39118787 w 72"/>
                <a:gd name="T65" fmla="*/ 20120368 h 56"/>
                <a:gd name="T66" fmla="*/ 39118787 w 72"/>
                <a:gd name="T67" fmla="*/ 24685191 h 56"/>
                <a:gd name="T68" fmla="*/ 31608852 w 72"/>
                <a:gd name="T69" fmla="*/ 25511586 h 56"/>
                <a:gd name="T70" fmla="*/ 28123853 w 72"/>
                <a:gd name="T71" fmla="*/ 27333808 h 56"/>
                <a:gd name="T72" fmla="*/ 21259350 w 72"/>
                <a:gd name="T73" fmla="*/ 30091494 h 56"/>
                <a:gd name="T74" fmla="*/ 19784540 w 72"/>
                <a:gd name="T75" fmla="*/ 33474540 h 56"/>
                <a:gd name="T76" fmla="*/ 24107926 w 72"/>
                <a:gd name="T77" fmla="*/ 34687884 h 56"/>
                <a:gd name="T78" fmla="*/ 36297450 w 72"/>
                <a:gd name="T79" fmla="*/ 32648221 h 56"/>
                <a:gd name="T80" fmla="*/ 28785776 w 72"/>
                <a:gd name="T81" fmla="*/ 34687884 h 56"/>
                <a:gd name="T82" fmla="*/ 31608852 w 72"/>
                <a:gd name="T83" fmla="*/ 36268829 h 56"/>
                <a:gd name="T84" fmla="*/ 22604843 w 72"/>
                <a:gd name="T85" fmla="*/ 36268829 h 56"/>
                <a:gd name="T86" fmla="*/ 24107926 w 72"/>
                <a:gd name="T87" fmla="*/ 40840129 h 56"/>
                <a:gd name="T88" fmla="*/ 36297450 w 72"/>
                <a:gd name="T89" fmla="*/ 42857579 h 56"/>
                <a:gd name="T90" fmla="*/ 34316554 w 72"/>
                <a:gd name="T91" fmla="*/ 44657153 h 56"/>
                <a:gd name="T92" fmla="*/ 35513089 w 72"/>
                <a:gd name="T93" fmla="*/ 48187775 h 56"/>
                <a:gd name="T94" fmla="*/ 40316711 w 72"/>
                <a:gd name="T95" fmla="*/ 50837165 h 56"/>
                <a:gd name="T96" fmla="*/ 41182993 w 72"/>
                <a:gd name="T97" fmla="*/ 46240851 h 56"/>
                <a:gd name="T98" fmla="*/ 44639884 w 72"/>
                <a:gd name="T99" fmla="*/ 38890650 h 56"/>
                <a:gd name="T100" fmla="*/ 50195671 w 72"/>
                <a:gd name="T101" fmla="*/ 33474540 h 56"/>
                <a:gd name="T102" fmla="*/ 52225055 w 72"/>
                <a:gd name="T103" fmla="*/ 23498568 h 56"/>
                <a:gd name="T104" fmla="*/ 67115462 w 72"/>
                <a:gd name="T105" fmla="*/ 19269275 h 56"/>
                <a:gd name="T106" fmla="*/ 65283958 w 72"/>
                <a:gd name="T107" fmla="*/ 16148475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72"/>
                <a:gd name="T163" fmla="*/ 0 h 56"/>
                <a:gd name="T164" fmla="*/ 72 w 72"/>
                <a:gd name="T165" fmla="*/ 56 h 5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72" h="56">
                  <a:moveTo>
                    <a:pt x="63" y="15"/>
                  </a:moveTo>
                  <a:cubicBezTo>
                    <a:pt x="62" y="15"/>
                    <a:pt x="61" y="14"/>
                    <a:pt x="60" y="14"/>
                  </a:cubicBezTo>
                  <a:cubicBezTo>
                    <a:pt x="59" y="13"/>
                    <a:pt x="59" y="12"/>
                    <a:pt x="58" y="12"/>
                  </a:cubicBezTo>
                  <a:cubicBezTo>
                    <a:pt x="57" y="12"/>
                    <a:pt x="56" y="12"/>
                    <a:pt x="55" y="12"/>
                  </a:cubicBezTo>
                  <a:cubicBezTo>
                    <a:pt x="53" y="11"/>
                    <a:pt x="52" y="9"/>
                    <a:pt x="51" y="8"/>
                  </a:cubicBezTo>
                  <a:cubicBezTo>
                    <a:pt x="50" y="7"/>
                    <a:pt x="49" y="7"/>
                    <a:pt x="49" y="7"/>
                  </a:cubicBezTo>
                  <a:cubicBezTo>
                    <a:pt x="47" y="8"/>
                    <a:pt x="49" y="11"/>
                    <a:pt x="47" y="11"/>
                  </a:cubicBezTo>
                  <a:cubicBezTo>
                    <a:pt x="46" y="9"/>
                    <a:pt x="47" y="7"/>
                    <a:pt x="47" y="5"/>
                  </a:cubicBezTo>
                  <a:cubicBezTo>
                    <a:pt x="46" y="4"/>
                    <a:pt x="46" y="3"/>
                    <a:pt x="44" y="2"/>
                  </a:cubicBezTo>
                  <a:cubicBezTo>
                    <a:pt x="43" y="2"/>
                    <a:pt x="42" y="2"/>
                    <a:pt x="41" y="2"/>
                  </a:cubicBezTo>
                  <a:cubicBezTo>
                    <a:pt x="41" y="3"/>
                    <a:pt x="41" y="4"/>
                    <a:pt x="41" y="5"/>
                  </a:cubicBezTo>
                  <a:cubicBezTo>
                    <a:pt x="38" y="6"/>
                    <a:pt x="38" y="2"/>
                    <a:pt x="36" y="1"/>
                  </a:cubicBezTo>
                  <a:cubicBezTo>
                    <a:pt x="36" y="0"/>
                    <a:pt x="34" y="0"/>
                    <a:pt x="33" y="0"/>
                  </a:cubicBezTo>
                  <a:cubicBezTo>
                    <a:pt x="33" y="3"/>
                    <a:pt x="34" y="5"/>
                    <a:pt x="34" y="7"/>
                  </a:cubicBezTo>
                  <a:cubicBezTo>
                    <a:pt x="35" y="10"/>
                    <a:pt x="36" y="13"/>
                    <a:pt x="37" y="16"/>
                  </a:cubicBezTo>
                  <a:cubicBezTo>
                    <a:pt x="37" y="16"/>
                    <a:pt x="38" y="17"/>
                    <a:pt x="37" y="18"/>
                  </a:cubicBezTo>
                  <a:cubicBezTo>
                    <a:pt x="37" y="18"/>
                    <a:pt x="37" y="18"/>
                    <a:pt x="37" y="17"/>
                  </a:cubicBezTo>
                  <a:cubicBezTo>
                    <a:pt x="36" y="16"/>
                    <a:pt x="36" y="14"/>
                    <a:pt x="34" y="13"/>
                  </a:cubicBezTo>
                  <a:cubicBezTo>
                    <a:pt x="33" y="12"/>
                    <a:pt x="33" y="13"/>
                    <a:pt x="33" y="14"/>
                  </a:cubicBezTo>
                  <a:cubicBezTo>
                    <a:pt x="33" y="14"/>
                    <a:pt x="31" y="15"/>
                    <a:pt x="31" y="14"/>
                  </a:cubicBezTo>
                  <a:cubicBezTo>
                    <a:pt x="30" y="11"/>
                    <a:pt x="29" y="8"/>
                    <a:pt x="28" y="5"/>
                  </a:cubicBezTo>
                  <a:cubicBezTo>
                    <a:pt x="28" y="4"/>
                    <a:pt x="26" y="3"/>
                    <a:pt x="26" y="4"/>
                  </a:cubicBezTo>
                  <a:cubicBezTo>
                    <a:pt x="25" y="5"/>
                    <a:pt x="24" y="7"/>
                    <a:pt x="23" y="8"/>
                  </a:cubicBezTo>
                  <a:cubicBezTo>
                    <a:pt x="23" y="8"/>
                    <a:pt x="23" y="8"/>
                    <a:pt x="22" y="8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10"/>
                    <a:pt x="21" y="11"/>
                    <a:pt x="21" y="12"/>
                  </a:cubicBezTo>
                  <a:cubicBezTo>
                    <a:pt x="21" y="12"/>
                    <a:pt x="20" y="12"/>
                    <a:pt x="20" y="12"/>
                  </a:cubicBezTo>
                  <a:cubicBezTo>
                    <a:pt x="19" y="12"/>
                    <a:pt x="18" y="11"/>
                    <a:pt x="17" y="10"/>
                  </a:cubicBezTo>
                  <a:cubicBezTo>
                    <a:pt x="17" y="10"/>
                    <a:pt x="17" y="9"/>
                    <a:pt x="17" y="9"/>
                  </a:cubicBezTo>
                  <a:cubicBezTo>
                    <a:pt x="21" y="8"/>
                    <a:pt x="19" y="5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7" y="4"/>
                    <a:pt x="16" y="6"/>
                    <a:pt x="15" y="5"/>
                  </a:cubicBezTo>
                  <a:cubicBezTo>
                    <a:pt x="15" y="5"/>
                    <a:pt x="15" y="3"/>
                    <a:pt x="15" y="3"/>
                  </a:cubicBezTo>
                  <a:cubicBezTo>
                    <a:pt x="14" y="3"/>
                    <a:pt x="12" y="2"/>
                    <a:pt x="11" y="3"/>
                  </a:cubicBezTo>
                  <a:cubicBezTo>
                    <a:pt x="11" y="4"/>
                    <a:pt x="11" y="5"/>
                    <a:pt x="10" y="6"/>
                  </a:cubicBezTo>
                  <a:cubicBezTo>
                    <a:pt x="10" y="6"/>
                    <a:pt x="9" y="6"/>
                    <a:pt x="9" y="6"/>
                  </a:cubicBezTo>
                  <a:cubicBezTo>
                    <a:pt x="8" y="4"/>
                    <a:pt x="6" y="3"/>
                    <a:pt x="5" y="5"/>
                  </a:cubicBezTo>
                  <a:cubicBezTo>
                    <a:pt x="4" y="5"/>
                    <a:pt x="4" y="7"/>
                    <a:pt x="3" y="7"/>
                  </a:cubicBezTo>
                  <a:cubicBezTo>
                    <a:pt x="2" y="8"/>
                    <a:pt x="1" y="7"/>
                    <a:pt x="0" y="8"/>
                  </a:cubicBezTo>
                  <a:cubicBezTo>
                    <a:pt x="0" y="8"/>
                    <a:pt x="0" y="9"/>
                    <a:pt x="0" y="10"/>
                  </a:cubicBezTo>
                  <a:cubicBezTo>
                    <a:pt x="1" y="11"/>
                    <a:pt x="2" y="13"/>
                    <a:pt x="4" y="14"/>
                  </a:cubicBezTo>
                  <a:cubicBezTo>
                    <a:pt x="4" y="14"/>
                    <a:pt x="5" y="14"/>
                    <a:pt x="5" y="14"/>
                  </a:cubicBezTo>
                  <a:cubicBezTo>
                    <a:pt x="6" y="14"/>
                    <a:pt x="5" y="12"/>
                    <a:pt x="6" y="12"/>
                  </a:cubicBezTo>
                  <a:cubicBezTo>
                    <a:pt x="6" y="12"/>
                    <a:pt x="7" y="11"/>
                    <a:pt x="8" y="12"/>
                  </a:cubicBezTo>
                  <a:cubicBezTo>
                    <a:pt x="9" y="13"/>
                    <a:pt x="9" y="15"/>
                    <a:pt x="8" y="16"/>
                  </a:cubicBezTo>
                  <a:cubicBezTo>
                    <a:pt x="8" y="16"/>
                    <a:pt x="8" y="17"/>
                    <a:pt x="8" y="17"/>
                  </a:cubicBezTo>
                  <a:cubicBezTo>
                    <a:pt x="8" y="18"/>
                    <a:pt x="9" y="17"/>
                    <a:pt x="10" y="17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8" y="19"/>
                    <a:pt x="7" y="20"/>
                    <a:pt x="8" y="22"/>
                  </a:cubicBezTo>
                  <a:cubicBezTo>
                    <a:pt x="9" y="22"/>
                    <a:pt x="11" y="22"/>
                    <a:pt x="12" y="23"/>
                  </a:cubicBezTo>
                  <a:cubicBezTo>
                    <a:pt x="13" y="25"/>
                    <a:pt x="13" y="26"/>
                    <a:pt x="14" y="27"/>
                  </a:cubicBezTo>
                  <a:cubicBezTo>
                    <a:pt x="16" y="28"/>
                    <a:pt x="19" y="28"/>
                    <a:pt x="21" y="28"/>
                  </a:cubicBezTo>
                  <a:cubicBezTo>
                    <a:pt x="23" y="26"/>
                    <a:pt x="25" y="25"/>
                    <a:pt x="27" y="26"/>
                  </a:cubicBezTo>
                  <a:cubicBezTo>
                    <a:pt x="27" y="26"/>
                    <a:pt x="27" y="25"/>
                    <a:pt x="27" y="25"/>
                  </a:cubicBezTo>
                  <a:cubicBezTo>
                    <a:pt x="28" y="24"/>
                    <a:pt x="27" y="23"/>
                    <a:pt x="27" y="22"/>
                  </a:cubicBezTo>
                  <a:cubicBezTo>
                    <a:pt x="29" y="22"/>
                    <a:pt x="30" y="21"/>
                    <a:pt x="31" y="19"/>
                  </a:cubicBezTo>
                  <a:cubicBezTo>
                    <a:pt x="31" y="19"/>
                    <a:pt x="31" y="19"/>
                    <a:pt x="32" y="19"/>
                  </a:cubicBezTo>
                  <a:cubicBezTo>
                    <a:pt x="32" y="19"/>
                    <a:pt x="32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1"/>
                    <a:pt x="33" y="23"/>
                    <a:pt x="33" y="25"/>
                  </a:cubicBezTo>
                  <a:cubicBezTo>
                    <a:pt x="34" y="25"/>
                    <a:pt x="34" y="25"/>
                    <a:pt x="35" y="24"/>
                  </a:cubicBezTo>
                  <a:cubicBezTo>
                    <a:pt x="35" y="24"/>
                    <a:pt x="36" y="24"/>
                    <a:pt x="37" y="24"/>
                  </a:cubicBezTo>
                  <a:cubicBezTo>
                    <a:pt x="37" y="24"/>
                    <a:pt x="38" y="23"/>
                    <a:pt x="38" y="23"/>
                  </a:cubicBezTo>
                  <a:cubicBezTo>
                    <a:pt x="39" y="22"/>
                    <a:pt x="39" y="21"/>
                    <a:pt x="40" y="21"/>
                  </a:cubicBezTo>
                  <a:cubicBezTo>
                    <a:pt x="41" y="20"/>
                    <a:pt x="42" y="20"/>
                    <a:pt x="43" y="21"/>
                  </a:cubicBezTo>
                  <a:cubicBezTo>
                    <a:pt x="43" y="21"/>
                    <a:pt x="43" y="21"/>
                    <a:pt x="42" y="22"/>
                  </a:cubicBezTo>
                  <a:cubicBezTo>
                    <a:pt x="41" y="23"/>
                    <a:pt x="38" y="24"/>
                    <a:pt x="39" y="26"/>
                  </a:cubicBezTo>
                  <a:cubicBezTo>
                    <a:pt x="40" y="26"/>
                    <a:pt x="41" y="26"/>
                    <a:pt x="42" y="27"/>
                  </a:cubicBezTo>
                  <a:cubicBezTo>
                    <a:pt x="42" y="27"/>
                    <a:pt x="42" y="28"/>
                    <a:pt x="42" y="28"/>
                  </a:cubicBezTo>
                  <a:cubicBezTo>
                    <a:pt x="39" y="28"/>
                    <a:pt x="36" y="28"/>
                    <a:pt x="34" y="28"/>
                  </a:cubicBezTo>
                  <a:cubicBezTo>
                    <a:pt x="34" y="28"/>
                    <a:pt x="33" y="29"/>
                    <a:pt x="33" y="29"/>
                  </a:cubicBezTo>
                  <a:cubicBezTo>
                    <a:pt x="32" y="30"/>
                    <a:pt x="31" y="30"/>
                    <a:pt x="30" y="30"/>
                  </a:cubicBezTo>
                  <a:cubicBezTo>
                    <a:pt x="29" y="31"/>
                    <a:pt x="27" y="30"/>
                    <a:pt x="26" y="31"/>
                  </a:cubicBezTo>
                  <a:cubicBezTo>
                    <a:pt x="25" y="32"/>
                    <a:pt x="24" y="34"/>
                    <a:pt x="23" y="33"/>
                  </a:cubicBezTo>
                  <a:cubicBezTo>
                    <a:pt x="22" y="32"/>
                    <a:pt x="21" y="32"/>
                    <a:pt x="20" y="32"/>
                  </a:cubicBezTo>
                  <a:cubicBezTo>
                    <a:pt x="20" y="34"/>
                    <a:pt x="20" y="35"/>
                    <a:pt x="21" y="37"/>
                  </a:cubicBezTo>
                  <a:cubicBezTo>
                    <a:pt x="21" y="38"/>
                    <a:pt x="22" y="38"/>
                    <a:pt x="22" y="38"/>
                  </a:cubicBezTo>
                  <a:cubicBezTo>
                    <a:pt x="24" y="38"/>
                    <a:pt x="25" y="38"/>
                    <a:pt x="26" y="38"/>
                  </a:cubicBezTo>
                  <a:cubicBezTo>
                    <a:pt x="28" y="37"/>
                    <a:pt x="30" y="37"/>
                    <a:pt x="31" y="36"/>
                  </a:cubicBezTo>
                  <a:cubicBezTo>
                    <a:pt x="33" y="35"/>
                    <a:pt x="36" y="35"/>
                    <a:pt x="39" y="36"/>
                  </a:cubicBezTo>
                  <a:cubicBezTo>
                    <a:pt x="39" y="36"/>
                    <a:pt x="38" y="37"/>
                    <a:pt x="38" y="37"/>
                  </a:cubicBezTo>
                  <a:cubicBezTo>
                    <a:pt x="36" y="37"/>
                    <a:pt x="33" y="36"/>
                    <a:pt x="31" y="38"/>
                  </a:cubicBezTo>
                  <a:cubicBezTo>
                    <a:pt x="32" y="39"/>
                    <a:pt x="33" y="39"/>
                    <a:pt x="34" y="39"/>
                  </a:cubicBezTo>
                  <a:cubicBezTo>
                    <a:pt x="34" y="39"/>
                    <a:pt x="34" y="40"/>
                    <a:pt x="34" y="40"/>
                  </a:cubicBezTo>
                  <a:cubicBezTo>
                    <a:pt x="31" y="39"/>
                    <a:pt x="28" y="41"/>
                    <a:pt x="26" y="40"/>
                  </a:cubicBezTo>
                  <a:cubicBezTo>
                    <a:pt x="25" y="40"/>
                    <a:pt x="24" y="39"/>
                    <a:pt x="24" y="40"/>
                  </a:cubicBezTo>
                  <a:cubicBezTo>
                    <a:pt x="23" y="41"/>
                    <a:pt x="23" y="42"/>
                    <a:pt x="24" y="44"/>
                  </a:cubicBezTo>
                  <a:cubicBezTo>
                    <a:pt x="24" y="44"/>
                    <a:pt x="25" y="45"/>
                    <a:pt x="26" y="45"/>
                  </a:cubicBezTo>
                  <a:cubicBezTo>
                    <a:pt x="29" y="46"/>
                    <a:pt x="32" y="48"/>
                    <a:pt x="35" y="47"/>
                  </a:cubicBezTo>
                  <a:cubicBezTo>
                    <a:pt x="36" y="47"/>
                    <a:pt x="38" y="46"/>
                    <a:pt x="39" y="47"/>
                  </a:cubicBezTo>
                  <a:cubicBezTo>
                    <a:pt x="39" y="47"/>
                    <a:pt x="40" y="48"/>
                    <a:pt x="39" y="48"/>
                  </a:cubicBezTo>
                  <a:cubicBezTo>
                    <a:pt x="39" y="49"/>
                    <a:pt x="38" y="48"/>
                    <a:pt x="37" y="49"/>
                  </a:cubicBezTo>
                  <a:cubicBezTo>
                    <a:pt x="36" y="49"/>
                    <a:pt x="36" y="50"/>
                    <a:pt x="36" y="51"/>
                  </a:cubicBezTo>
                  <a:cubicBezTo>
                    <a:pt x="37" y="52"/>
                    <a:pt x="38" y="52"/>
                    <a:pt x="38" y="53"/>
                  </a:cubicBezTo>
                  <a:cubicBezTo>
                    <a:pt x="39" y="54"/>
                    <a:pt x="38" y="55"/>
                    <a:pt x="39" y="55"/>
                  </a:cubicBezTo>
                  <a:cubicBezTo>
                    <a:pt x="40" y="56"/>
                    <a:pt x="41" y="56"/>
                    <a:pt x="43" y="56"/>
                  </a:cubicBezTo>
                  <a:cubicBezTo>
                    <a:pt x="43" y="56"/>
                    <a:pt x="44" y="55"/>
                    <a:pt x="44" y="54"/>
                  </a:cubicBezTo>
                  <a:cubicBezTo>
                    <a:pt x="44" y="53"/>
                    <a:pt x="43" y="52"/>
                    <a:pt x="44" y="51"/>
                  </a:cubicBezTo>
                  <a:cubicBezTo>
                    <a:pt x="45" y="49"/>
                    <a:pt x="46" y="47"/>
                    <a:pt x="47" y="45"/>
                  </a:cubicBezTo>
                  <a:cubicBezTo>
                    <a:pt x="47" y="45"/>
                    <a:pt x="48" y="44"/>
                    <a:pt x="48" y="43"/>
                  </a:cubicBezTo>
                  <a:cubicBezTo>
                    <a:pt x="48" y="42"/>
                    <a:pt x="49" y="41"/>
                    <a:pt x="50" y="41"/>
                  </a:cubicBezTo>
                  <a:cubicBezTo>
                    <a:pt x="51" y="39"/>
                    <a:pt x="53" y="39"/>
                    <a:pt x="54" y="37"/>
                  </a:cubicBezTo>
                  <a:cubicBezTo>
                    <a:pt x="54" y="36"/>
                    <a:pt x="55" y="35"/>
                    <a:pt x="56" y="34"/>
                  </a:cubicBezTo>
                  <a:cubicBezTo>
                    <a:pt x="56" y="31"/>
                    <a:pt x="56" y="28"/>
                    <a:pt x="56" y="26"/>
                  </a:cubicBezTo>
                  <a:cubicBezTo>
                    <a:pt x="58" y="23"/>
                    <a:pt x="61" y="22"/>
                    <a:pt x="64" y="22"/>
                  </a:cubicBezTo>
                  <a:cubicBezTo>
                    <a:pt x="67" y="21"/>
                    <a:pt x="70" y="22"/>
                    <a:pt x="72" y="21"/>
                  </a:cubicBezTo>
                  <a:cubicBezTo>
                    <a:pt x="72" y="21"/>
                    <a:pt x="72" y="20"/>
                    <a:pt x="72" y="20"/>
                  </a:cubicBezTo>
                  <a:cubicBezTo>
                    <a:pt x="71" y="19"/>
                    <a:pt x="71" y="18"/>
                    <a:pt x="70" y="18"/>
                  </a:cubicBezTo>
                  <a:cubicBezTo>
                    <a:pt x="68" y="16"/>
                    <a:pt x="65" y="17"/>
                    <a:pt x="63" y="1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9" name="Freeform 123"/>
            <p:cNvSpPr>
              <a:spLocks/>
            </p:cNvSpPr>
            <p:nvPr/>
          </p:nvSpPr>
          <p:spPr bwMode="auto">
            <a:xfrm>
              <a:off x="7021549" y="4373299"/>
              <a:ext cx="81921" cy="25986"/>
            </a:xfrm>
            <a:custGeom>
              <a:avLst/>
              <a:gdLst>
                <a:gd name="T0" fmla="*/ 21202583 w 61"/>
                <a:gd name="T1" fmla="*/ 4351850 h 24"/>
                <a:gd name="T2" fmla="*/ 17670793 w 61"/>
                <a:gd name="T3" fmla="*/ 3065439 h 24"/>
                <a:gd name="T4" fmla="*/ 12157067 w 61"/>
                <a:gd name="T5" fmla="*/ 937382 h 24"/>
                <a:gd name="T6" fmla="*/ 12157067 w 61"/>
                <a:gd name="T7" fmla="*/ 5955246 h 24"/>
                <a:gd name="T8" fmla="*/ 9555170 w 61"/>
                <a:gd name="T9" fmla="*/ 3065439 h 24"/>
                <a:gd name="T10" fmla="*/ 8362260 w 61"/>
                <a:gd name="T11" fmla="*/ 3065439 h 24"/>
                <a:gd name="T12" fmla="*/ 7485545 w 61"/>
                <a:gd name="T13" fmla="*/ 8176465 h 24"/>
                <a:gd name="T14" fmla="*/ 6647739 w 61"/>
                <a:gd name="T15" fmla="*/ 7280415 h 24"/>
                <a:gd name="T16" fmla="*/ 837922 w 61"/>
                <a:gd name="T17" fmla="*/ 4351850 h 24"/>
                <a:gd name="T18" fmla="*/ 3542346 w 61"/>
                <a:gd name="T19" fmla="*/ 8176465 h 24"/>
                <a:gd name="T20" fmla="*/ 4669483 w 61"/>
                <a:gd name="T21" fmla="*/ 8176465 h 24"/>
                <a:gd name="T22" fmla="*/ 5509550 w 61"/>
                <a:gd name="T23" fmla="*/ 12557623 h 24"/>
                <a:gd name="T24" fmla="*/ 8362260 w 61"/>
                <a:gd name="T25" fmla="*/ 13463334 h 24"/>
                <a:gd name="T26" fmla="*/ 9555170 w 61"/>
                <a:gd name="T27" fmla="*/ 14143705 h 24"/>
                <a:gd name="T28" fmla="*/ 12157067 w 61"/>
                <a:gd name="T29" fmla="*/ 14143705 h 24"/>
                <a:gd name="T30" fmla="*/ 13864538 w 61"/>
                <a:gd name="T31" fmla="*/ 12557623 h 24"/>
                <a:gd name="T32" fmla="*/ 25156643 w 61"/>
                <a:gd name="T33" fmla="*/ 12557623 h 24"/>
                <a:gd name="T34" fmla="*/ 25156643 w 61"/>
                <a:gd name="T35" fmla="*/ 14143705 h 24"/>
                <a:gd name="T36" fmla="*/ 19740417 w 61"/>
                <a:gd name="T37" fmla="*/ 14143705 h 24"/>
                <a:gd name="T38" fmla="*/ 17670793 w 61"/>
                <a:gd name="T39" fmla="*/ 15581415 h 24"/>
                <a:gd name="T40" fmla="*/ 13006148 w 61"/>
                <a:gd name="T41" fmla="*/ 15581415 h 24"/>
                <a:gd name="T42" fmla="*/ 13006148 w 61"/>
                <a:gd name="T43" fmla="*/ 16353661 h 24"/>
                <a:gd name="T44" fmla="*/ 17670793 w 61"/>
                <a:gd name="T45" fmla="*/ 18521930 h 24"/>
                <a:gd name="T46" fmla="*/ 20515009 w 61"/>
                <a:gd name="T47" fmla="*/ 20751062 h 24"/>
                <a:gd name="T48" fmla="*/ 26871328 w 61"/>
                <a:gd name="T49" fmla="*/ 19419101 h 24"/>
                <a:gd name="T50" fmla="*/ 30703030 w 61"/>
                <a:gd name="T51" fmla="*/ 20751062 h 24"/>
                <a:gd name="T52" fmla="*/ 31542857 w 61"/>
                <a:gd name="T53" fmla="*/ 21639806 h 24"/>
                <a:gd name="T54" fmla="*/ 33519084 w 61"/>
                <a:gd name="T55" fmla="*/ 23798965 h 24"/>
                <a:gd name="T56" fmla="*/ 37045808 w 61"/>
                <a:gd name="T57" fmla="*/ 22349417 h 24"/>
                <a:gd name="T58" fmla="*/ 38249478 w 61"/>
                <a:gd name="T59" fmla="*/ 22349417 h 24"/>
                <a:gd name="T60" fmla="*/ 39024094 w 61"/>
                <a:gd name="T61" fmla="*/ 22349417 h 24"/>
                <a:gd name="T62" fmla="*/ 40217009 w 61"/>
                <a:gd name="T63" fmla="*/ 19419101 h 24"/>
                <a:gd name="T64" fmla="*/ 45735012 w 61"/>
                <a:gd name="T65" fmla="*/ 19419101 h 24"/>
                <a:gd name="T66" fmla="*/ 49213673 w 61"/>
                <a:gd name="T67" fmla="*/ 17290978 h 24"/>
                <a:gd name="T68" fmla="*/ 50051989 w 61"/>
                <a:gd name="T69" fmla="*/ 13463334 h 24"/>
                <a:gd name="T70" fmla="*/ 52121547 w 61"/>
                <a:gd name="T71" fmla="*/ 12557623 h 24"/>
                <a:gd name="T72" fmla="*/ 52121547 w 61"/>
                <a:gd name="T73" fmla="*/ 12557623 h 24"/>
                <a:gd name="T74" fmla="*/ 53248052 w 61"/>
                <a:gd name="T75" fmla="*/ 12557623 h 24"/>
                <a:gd name="T76" fmla="*/ 56786202 w 61"/>
                <a:gd name="T77" fmla="*/ 10335640 h 24"/>
                <a:gd name="T78" fmla="*/ 56786202 w 61"/>
                <a:gd name="T79" fmla="*/ 8176465 h 24"/>
                <a:gd name="T80" fmla="*/ 53248052 w 61"/>
                <a:gd name="T81" fmla="*/ 7280415 h 24"/>
                <a:gd name="T82" fmla="*/ 48428878 w 61"/>
                <a:gd name="T83" fmla="*/ 5955246 h 24"/>
                <a:gd name="T84" fmla="*/ 45735012 w 61"/>
                <a:gd name="T85" fmla="*/ 5287420 h 24"/>
                <a:gd name="T86" fmla="*/ 41714646 w 61"/>
                <a:gd name="T87" fmla="*/ 5287420 h 24"/>
                <a:gd name="T88" fmla="*/ 41093699 w 61"/>
                <a:gd name="T89" fmla="*/ 4351850 h 24"/>
                <a:gd name="T90" fmla="*/ 40217009 w 61"/>
                <a:gd name="T91" fmla="*/ 4351850 h 24"/>
                <a:gd name="T92" fmla="*/ 34228584 w 61"/>
                <a:gd name="T93" fmla="*/ 7280415 h 24"/>
                <a:gd name="T94" fmla="*/ 33519084 w 61"/>
                <a:gd name="T95" fmla="*/ 2226282 h 24"/>
                <a:gd name="T96" fmla="*/ 31542857 w 61"/>
                <a:gd name="T97" fmla="*/ 937382 h 24"/>
                <a:gd name="T98" fmla="*/ 30703030 w 61"/>
                <a:gd name="T99" fmla="*/ 2226282 h 24"/>
                <a:gd name="T100" fmla="*/ 29912815 w 61"/>
                <a:gd name="T101" fmla="*/ 3065439 h 24"/>
                <a:gd name="T102" fmla="*/ 29912815 w 61"/>
                <a:gd name="T103" fmla="*/ 9111497 h 24"/>
                <a:gd name="T104" fmla="*/ 26021587 w 61"/>
                <a:gd name="T105" fmla="*/ 5955246 h 24"/>
                <a:gd name="T106" fmla="*/ 21202583 w 61"/>
                <a:gd name="T107" fmla="*/ 4351850 h 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1"/>
                <a:gd name="T163" fmla="*/ 0 h 24"/>
                <a:gd name="T164" fmla="*/ 61 w 61"/>
                <a:gd name="T165" fmla="*/ 24 h 2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1" h="24">
                  <a:moveTo>
                    <a:pt x="23" y="4"/>
                  </a:moveTo>
                  <a:cubicBezTo>
                    <a:pt x="22" y="4"/>
                    <a:pt x="20" y="4"/>
                    <a:pt x="19" y="3"/>
                  </a:cubicBezTo>
                  <a:cubicBezTo>
                    <a:pt x="17" y="2"/>
                    <a:pt x="15" y="1"/>
                    <a:pt x="13" y="1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1" y="7"/>
                    <a:pt x="11" y="4"/>
                    <a:pt x="10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5"/>
                    <a:pt x="9" y="6"/>
                    <a:pt x="8" y="8"/>
                  </a:cubicBezTo>
                  <a:cubicBezTo>
                    <a:pt x="8" y="8"/>
                    <a:pt x="8" y="8"/>
                    <a:pt x="7" y="7"/>
                  </a:cubicBezTo>
                  <a:cubicBezTo>
                    <a:pt x="6" y="5"/>
                    <a:pt x="4" y="4"/>
                    <a:pt x="1" y="4"/>
                  </a:cubicBezTo>
                  <a:cubicBezTo>
                    <a:pt x="0" y="6"/>
                    <a:pt x="3" y="7"/>
                    <a:pt x="4" y="8"/>
                  </a:cubicBezTo>
                  <a:cubicBezTo>
                    <a:pt x="4" y="8"/>
                    <a:pt x="4" y="8"/>
                    <a:pt x="5" y="8"/>
                  </a:cubicBezTo>
                  <a:cubicBezTo>
                    <a:pt x="5" y="9"/>
                    <a:pt x="5" y="11"/>
                    <a:pt x="6" y="12"/>
                  </a:cubicBezTo>
                  <a:cubicBezTo>
                    <a:pt x="6" y="12"/>
                    <a:pt x="8" y="12"/>
                    <a:pt x="9" y="13"/>
                  </a:cubicBezTo>
                  <a:cubicBezTo>
                    <a:pt x="9" y="13"/>
                    <a:pt x="10" y="13"/>
                    <a:pt x="10" y="14"/>
                  </a:cubicBezTo>
                  <a:cubicBezTo>
                    <a:pt x="11" y="14"/>
                    <a:pt x="12" y="14"/>
                    <a:pt x="13" y="14"/>
                  </a:cubicBezTo>
                  <a:cubicBezTo>
                    <a:pt x="14" y="13"/>
                    <a:pt x="14" y="12"/>
                    <a:pt x="15" y="12"/>
                  </a:cubicBezTo>
                  <a:cubicBezTo>
                    <a:pt x="19" y="12"/>
                    <a:pt x="23" y="12"/>
                    <a:pt x="27" y="12"/>
                  </a:cubicBezTo>
                  <a:cubicBezTo>
                    <a:pt x="27" y="13"/>
                    <a:pt x="27" y="14"/>
                    <a:pt x="27" y="14"/>
                  </a:cubicBezTo>
                  <a:cubicBezTo>
                    <a:pt x="25" y="14"/>
                    <a:pt x="23" y="14"/>
                    <a:pt x="21" y="14"/>
                  </a:cubicBezTo>
                  <a:cubicBezTo>
                    <a:pt x="20" y="14"/>
                    <a:pt x="20" y="15"/>
                    <a:pt x="19" y="15"/>
                  </a:cubicBezTo>
                  <a:cubicBezTo>
                    <a:pt x="17" y="16"/>
                    <a:pt x="15" y="15"/>
                    <a:pt x="14" y="15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5" y="17"/>
                    <a:pt x="17" y="17"/>
                    <a:pt x="19" y="18"/>
                  </a:cubicBezTo>
                  <a:cubicBezTo>
                    <a:pt x="20" y="18"/>
                    <a:pt x="21" y="20"/>
                    <a:pt x="22" y="20"/>
                  </a:cubicBezTo>
                  <a:cubicBezTo>
                    <a:pt x="24" y="20"/>
                    <a:pt x="26" y="20"/>
                    <a:pt x="29" y="19"/>
                  </a:cubicBezTo>
                  <a:cubicBezTo>
                    <a:pt x="30" y="19"/>
                    <a:pt x="32" y="19"/>
                    <a:pt x="33" y="20"/>
                  </a:cubicBezTo>
                  <a:cubicBezTo>
                    <a:pt x="34" y="20"/>
                    <a:pt x="34" y="21"/>
                    <a:pt x="34" y="21"/>
                  </a:cubicBezTo>
                  <a:cubicBezTo>
                    <a:pt x="34" y="22"/>
                    <a:pt x="35" y="22"/>
                    <a:pt x="36" y="23"/>
                  </a:cubicBezTo>
                  <a:cubicBezTo>
                    <a:pt x="38" y="24"/>
                    <a:pt x="39" y="23"/>
                    <a:pt x="40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2" y="21"/>
                    <a:pt x="42" y="20"/>
                    <a:pt x="43" y="19"/>
                  </a:cubicBezTo>
                  <a:cubicBezTo>
                    <a:pt x="45" y="18"/>
                    <a:pt x="47" y="18"/>
                    <a:pt x="49" y="19"/>
                  </a:cubicBezTo>
                  <a:cubicBezTo>
                    <a:pt x="51" y="20"/>
                    <a:pt x="52" y="18"/>
                    <a:pt x="53" y="17"/>
                  </a:cubicBezTo>
                  <a:cubicBezTo>
                    <a:pt x="53" y="16"/>
                    <a:pt x="53" y="15"/>
                    <a:pt x="54" y="13"/>
                  </a:cubicBezTo>
                  <a:cubicBezTo>
                    <a:pt x="54" y="13"/>
                    <a:pt x="55" y="13"/>
                    <a:pt x="56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9" y="11"/>
                    <a:pt x="60" y="11"/>
                    <a:pt x="61" y="10"/>
                  </a:cubicBezTo>
                  <a:cubicBezTo>
                    <a:pt x="61" y="9"/>
                    <a:pt x="61" y="8"/>
                    <a:pt x="61" y="8"/>
                  </a:cubicBezTo>
                  <a:cubicBezTo>
                    <a:pt x="60" y="7"/>
                    <a:pt x="59" y="8"/>
                    <a:pt x="57" y="7"/>
                  </a:cubicBezTo>
                  <a:cubicBezTo>
                    <a:pt x="56" y="6"/>
                    <a:pt x="54" y="6"/>
                    <a:pt x="52" y="6"/>
                  </a:cubicBezTo>
                  <a:cubicBezTo>
                    <a:pt x="51" y="6"/>
                    <a:pt x="50" y="5"/>
                    <a:pt x="49" y="5"/>
                  </a:cubicBezTo>
                  <a:cubicBezTo>
                    <a:pt x="48" y="4"/>
                    <a:pt x="46" y="5"/>
                    <a:pt x="45" y="5"/>
                  </a:cubicBezTo>
                  <a:cubicBezTo>
                    <a:pt x="44" y="5"/>
                    <a:pt x="44" y="4"/>
                    <a:pt x="44" y="4"/>
                  </a:cubicBezTo>
                  <a:cubicBezTo>
                    <a:pt x="43" y="4"/>
                    <a:pt x="43" y="3"/>
                    <a:pt x="43" y="4"/>
                  </a:cubicBezTo>
                  <a:cubicBezTo>
                    <a:pt x="41" y="6"/>
                    <a:pt x="39" y="8"/>
                    <a:pt x="37" y="7"/>
                  </a:cubicBezTo>
                  <a:cubicBezTo>
                    <a:pt x="36" y="5"/>
                    <a:pt x="36" y="4"/>
                    <a:pt x="36" y="2"/>
                  </a:cubicBezTo>
                  <a:cubicBezTo>
                    <a:pt x="36" y="1"/>
                    <a:pt x="35" y="0"/>
                    <a:pt x="34" y="1"/>
                  </a:cubicBezTo>
                  <a:cubicBezTo>
                    <a:pt x="33" y="1"/>
                    <a:pt x="34" y="2"/>
                    <a:pt x="33" y="2"/>
                  </a:cubicBezTo>
                  <a:cubicBezTo>
                    <a:pt x="33" y="3"/>
                    <a:pt x="32" y="3"/>
                    <a:pt x="32" y="3"/>
                  </a:cubicBezTo>
                  <a:cubicBezTo>
                    <a:pt x="31" y="5"/>
                    <a:pt x="32" y="7"/>
                    <a:pt x="32" y="9"/>
                  </a:cubicBezTo>
                  <a:cubicBezTo>
                    <a:pt x="30" y="9"/>
                    <a:pt x="29" y="7"/>
                    <a:pt x="28" y="6"/>
                  </a:cubicBezTo>
                  <a:cubicBezTo>
                    <a:pt x="27" y="5"/>
                    <a:pt x="25" y="4"/>
                    <a:pt x="23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0" name="Freeform 128"/>
            <p:cNvSpPr>
              <a:spLocks/>
            </p:cNvSpPr>
            <p:nvPr/>
          </p:nvSpPr>
          <p:spPr bwMode="auto">
            <a:xfrm>
              <a:off x="6934552" y="4837427"/>
              <a:ext cx="121792" cy="102736"/>
            </a:xfrm>
            <a:custGeom>
              <a:avLst/>
              <a:gdLst>
                <a:gd name="T0" fmla="*/ 42712373 w 91"/>
                <a:gd name="T1" fmla="*/ 13640514 h 95"/>
                <a:gd name="T2" fmla="*/ 38284324 w 91"/>
                <a:gd name="T3" fmla="*/ 17849254 h 95"/>
                <a:gd name="T4" fmla="*/ 36872658 w 91"/>
                <a:gd name="T5" fmla="*/ 28478634 h 95"/>
                <a:gd name="T6" fmla="*/ 42712373 w 91"/>
                <a:gd name="T7" fmla="*/ 35106175 h 95"/>
                <a:gd name="T8" fmla="*/ 45396073 w 91"/>
                <a:gd name="T9" fmla="*/ 37200408 h 95"/>
                <a:gd name="T10" fmla="*/ 47978220 w 91"/>
                <a:gd name="T11" fmla="*/ 45079508 h 95"/>
                <a:gd name="T12" fmla="*/ 62817003 w 91"/>
                <a:gd name="T13" fmla="*/ 55049648 h 95"/>
                <a:gd name="T14" fmla="*/ 63914978 w 91"/>
                <a:gd name="T15" fmla="*/ 58008885 h 95"/>
                <a:gd name="T16" fmla="*/ 68021406 w 91"/>
                <a:gd name="T17" fmla="*/ 60808888 h 95"/>
                <a:gd name="T18" fmla="*/ 79578738 w 91"/>
                <a:gd name="T19" fmla="*/ 70756253 h 95"/>
                <a:gd name="T20" fmla="*/ 77037886 w 91"/>
                <a:gd name="T21" fmla="*/ 72371857 h 95"/>
                <a:gd name="T22" fmla="*/ 73716645 w 91"/>
                <a:gd name="T23" fmla="*/ 69572157 h 95"/>
                <a:gd name="T24" fmla="*/ 69884400 w 91"/>
                <a:gd name="T25" fmla="*/ 68689626 h 95"/>
                <a:gd name="T26" fmla="*/ 69143800 w 91"/>
                <a:gd name="T27" fmla="*/ 69572157 h 95"/>
                <a:gd name="T28" fmla="*/ 67389697 w 91"/>
                <a:gd name="T29" fmla="*/ 74466033 h 95"/>
                <a:gd name="T30" fmla="*/ 70711352 w 91"/>
                <a:gd name="T31" fmla="*/ 79542353 h 95"/>
                <a:gd name="T32" fmla="*/ 71855231 w 91"/>
                <a:gd name="T33" fmla="*/ 83146142 h 95"/>
                <a:gd name="T34" fmla="*/ 67389697 w 91"/>
                <a:gd name="T35" fmla="*/ 89499420 h 95"/>
                <a:gd name="T36" fmla="*/ 60272859 w 91"/>
                <a:gd name="T37" fmla="*/ 92315377 h 95"/>
                <a:gd name="T38" fmla="*/ 62162229 w 91"/>
                <a:gd name="T39" fmla="*/ 89499420 h 95"/>
                <a:gd name="T40" fmla="*/ 63914978 w 91"/>
                <a:gd name="T41" fmla="*/ 81589426 h 95"/>
                <a:gd name="T42" fmla="*/ 61358680 w 91"/>
                <a:gd name="T43" fmla="*/ 72371857 h 95"/>
                <a:gd name="T44" fmla="*/ 58875228 w 91"/>
                <a:gd name="T45" fmla="*/ 71649432 h 95"/>
                <a:gd name="T46" fmla="*/ 55044187 w 91"/>
                <a:gd name="T47" fmla="*/ 69572157 h 95"/>
                <a:gd name="T48" fmla="*/ 53145297 w 91"/>
                <a:gd name="T49" fmla="*/ 65886061 h 95"/>
                <a:gd name="T50" fmla="*/ 49861080 w 91"/>
                <a:gd name="T51" fmla="*/ 64489678 h 95"/>
                <a:gd name="T52" fmla="*/ 47978220 w 91"/>
                <a:gd name="T53" fmla="*/ 60808888 h 95"/>
                <a:gd name="T54" fmla="*/ 43792663 w 91"/>
                <a:gd name="T55" fmla="*/ 59624602 h 95"/>
                <a:gd name="T56" fmla="*/ 35728817 w 91"/>
                <a:gd name="T57" fmla="*/ 52088326 h 95"/>
                <a:gd name="T58" fmla="*/ 28924992 w 91"/>
                <a:gd name="T59" fmla="*/ 45986404 h 95"/>
                <a:gd name="T60" fmla="*/ 27871661 w 91"/>
                <a:gd name="T61" fmla="*/ 43024969 h 95"/>
                <a:gd name="T62" fmla="*/ 20850356 w 91"/>
                <a:gd name="T63" fmla="*/ 31441225 h 95"/>
                <a:gd name="T64" fmla="*/ 14049246 w 91"/>
                <a:gd name="T65" fmla="*/ 29374920 h 95"/>
                <a:gd name="T66" fmla="*/ 9609935 w 91"/>
                <a:gd name="T67" fmla="*/ 32306475 h 95"/>
                <a:gd name="T68" fmla="*/ 5974212 w 91"/>
                <a:gd name="T69" fmla="*/ 32306475 h 95"/>
                <a:gd name="T70" fmla="*/ 5230325 w 91"/>
                <a:gd name="T71" fmla="*/ 29374920 h 95"/>
                <a:gd name="T72" fmla="*/ 2540437 w 91"/>
                <a:gd name="T73" fmla="*/ 23608575 h 95"/>
                <a:gd name="T74" fmla="*/ 0 w 91"/>
                <a:gd name="T75" fmla="*/ 19416494 h 95"/>
                <a:gd name="T76" fmla="*/ 2540437 w 91"/>
                <a:gd name="T77" fmla="*/ 18666093 h 95"/>
                <a:gd name="T78" fmla="*/ 3284256 w 91"/>
                <a:gd name="T79" fmla="*/ 10840511 h 95"/>
                <a:gd name="T80" fmla="*/ 8866273 w 91"/>
                <a:gd name="T81" fmla="*/ 9968070 h 95"/>
                <a:gd name="T82" fmla="*/ 12993130 w 91"/>
                <a:gd name="T83" fmla="*/ 5759328 h 95"/>
                <a:gd name="T84" fmla="*/ 20106464 w 91"/>
                <a:gd name="T85" fmla="*/ 7008797 h 95"/>
                <a:gd name="T86" fmla="*/ 22599173 w 91"/>
                <a:gd name="T87" fmla="*/ 4854159 h 95"/>
                <a:gd name="T88" fmla="*/ 31615221 w 91"/>
                <a:gd name="T89" fmla="*/ 0 h 95"/>
                <a:gd name="T90" fmla="*/ 37673290 w 91"/>
                <a:gd name="T91" fmla="*/ 2959271 h 95"/>
                <a:gd name="T92" fmla="*/ 43792663 w 91"/>
                <a:gd name="T93" fmla="*/ 3671998 h 95"/>
                <a:gd name="T94" fmla="*/ 45396073 w 91"/>
                <a:gd name="T95" fmla="*/ 5759328 h 95"/>
                <a:gd name="T96" fmla="*/ 45396073 w 91"/>
                <a:gd name="T97" fmla="*/ 11496686 h 9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91"/>
                <a:gd name="T148" fmla="*/ 0 h 95"/>
                <a:gd name="T149" fmla="*/ 91 w 91"/>
                <a:gd name="T150" fmla="*/ 95 h 9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91" h="95">
                  <a:moveTo>
                    <a:pt x="52" y="12"/>
                  </a:moveTo>
                  <a:cubicBezTo>
                    <a:pt x="51" y="13"/>
                    <a:pt x="50" y="13"/>
                    <a:pt x="49" y="14"/>
                  </a:cubicBezTo>
                  <a:cubicBezTo>
                    <a:pt x="48" y="15"/>
                    <a:pt x="47" y="15"/>
                    <a:pt x="45" y="16"/>
                  </a:cubicBezTo>
                  <a:cubicBezTo>
                    <a:pt x="45" y="16"/>
                    <a:pt x="45" y="17"/>
                    <a:pt x="44" y="18"/>
                  </a:cubicBezTo>
                  <a:cubicBezTo>
                    <a:pt x="43" y="18"/>
                    <a:pt x="43" y="18"/>
                    <a:pt x="42" y="18"/>
                  </a:cubicBezTo>
                  <a:cubicBezTo>
                    <a:pt x="42" y="22"/>
                    <a:pt x="42" y="26"/>
                    <a:pt x="42" y="29"/>
                  </a:cubicBezTo>
                  <a:cubicBezTo>
                    <a:pt x="44" y="31"/>
                    <a:pt x="45" y="33"/>
                    <a:pt x="46" y="34"/>
                  </a:cubicBezTo>
                  <a:cubicBezTo>
                    <a:pt x="47" y="35"/>
                    <a:pt x="48" y="36"/>
                    <a:pt x="49" y="36"/>
                  </a:cubicBezTo>
                  <a:cubicBezTo>
                    <a:pt x="49" y="36"/>
                    <a:pt x="50" y="36"/>
                    <a:pt x="50" y="36"/>
                  </a:cubicBezTo>
                  <a:cubicBezTo>
                    <a:pt x="51" y="37"/>
                    <a:pt x="52" y="37"/>
                    <a:pt x="52" y="38"/>
                  </a:cubicBezTo>
                  <a:cubicBezTo>
                    <a:pt x="53" y="40"/>
                    <a:pt x="53" y="41"/>
                    <a:pt x="54" y="43"/>
                  </a:cubicBezTo>
                  <a:cubicBezTo>
                    <a:pt x="54" y="44"/>
                    <a:pt x="55" y="45"/>
                    <a:pt x="55" y="46"/>
                  </a:cubicBezTo>
                  <a:cubicBezTo>
                    <a:pt x="58" y="49"/>
                    <a:pt x="58" y="50"/>
                    <a:pt x="63" y="54"/>
                  </a:cubicBezTo>
                  <a:cubicBezTo>
                    <a:pt x="66" y="54"/>
                    <a:pt x="70" y="53"/>
                    <a:pt x="72" y="56"/>
                  </a:cubicBezTo>
                  <a:cubicBezTo>
                    <a:pt x="73" y="57"/>
                    <a:pt x="71" y="58"/>
                    <a:pt x="72" y="59"/>
                  </a:cubicBezTo>
                  <a:cubicBezTo>
                    <a:pt x="72" y="59"/>
                    <a:pt x="72" y="59"/>
                    <a:pt x="73" y="59"/>
                  </a:cubicBezTo>
                  <a:cubicBezTo>
                    <a:pt x="73" y="59"/>
                    <a:pt x="73" y="60"/>
                    <a:pt x="73" y="60"/>
                  </a:cubicBezTo>
                  <a:cubicBezTo>
                    <a:pt x="75" y="60"/>
                    <a:pt x="77" y="61"/>
                    <a:pt x="78" y="62"/>
                  </a:cubicBezTo>
                  <a:cubicBezTo>
                    <a:pt x="81" y="65"/>
                    <a:pt x="84" y="68"/>
                    <a:pt x="88" y="68"/>
                  </a:cubicBezTo>
                  <a:cubicBezTo>
                    <a:pt x="89" y="70"/>
                    <a:pt x="90" y="71"/>
                    <a:pt x="91" y="72"/>
                  </a:cubicBezTo>
                  <a:cubicBezTo>
                    <a:pt x="91" y="73"/>
                    <a:pt x="91" y="74"/>
                    <a:pt x="91" y="75"/>
                  </a:cubicBezTo>
                  <a:cubicBezTo>
                    <a:pt x="90" y="75"/>
                    <a:pt x="89" y="75"/>
                    <a:pt x="88" y="74"/>
                  </a:cubicBezTo>
                  <a:cubicBezTo>
                    <a:pt x="87" y="74"/>
                    <a:pt x="87" y="73"/>
                    <a:pt x="87" y="73"/>
                  </a:cubicBezTo>
                  <a:cubicBezTo>
                    <a:pt x="86" y="72"/>
                    <a:pt x="85" y="72"/>
                    <a:pt x="84" y="71"/>
                  </a:cubicBezTo>
                  <a:cubicBezTo>
                    <a:pt x="84" y="71"/>
                    <a:pt x="84" y="71"/>
                    <a:pt x="83" y="70"/>
                  </a:cubicBezTo>
                  <a:cubicBezTo>
                    <a:pt x="82" y="70"/>
                    <a:pt x="81" y="70"/>
                    <a:pt x="80" y="70"/>
                  </a:cubicBezTo>
                  <a:cubicBezTo>
                    <a:pt x="80" y="70"/>
                    <a:pt x="80" y="70"/>
                    <a:pt x="79" y="70"/>
                  </a:cubicBezTo>
                  <a:cubicBezTo>
                    <a:pt x="79" y="71"/>
                    <a:pt x="79" y="71"/>
                    <a:pt x="79" y="71"/>
                  </a:cubicBezTo>
                  <a:cubicBezTo>
                    <a:pt x="78" y="72"/>
                    <a:pt x="77" y="73"/>
                    <a:pt x="76" y="74"/>
                  </a:cubicBezTo>
                  <a:cubicBezTo>
                    <a:pt x="76" y="74"/>
                    <a:pt x="76" y="75"/>
                    <a:pt x="77" y="76"/>
                  </a:cubicBezTo>
                  <a:cubicBezTo>
                    <a:pt x="77" y="78"/>
                    <a:pt x="79" y="78"/>
                    <a:pt x="80" y="80"/>
                  </a:cubicBezTo>
                  <a:cubicBezTo>
                    <a:pt x="80" y="80"/>
                    <a:pt x="80" y="80"/>
                    <a:pt x="81" y="81"/>
                  </a:cubicBezTo>
                  <a:cubicBezTo>
                    <a:pt x="81" y="81"/>
                    <a:pt x="81" y="82"/>
                    <a:pt x="82" y="82"/>
                  </a:cubicBezTo>
                  <a:cubicBezTo>
                    <a:pt x="82" y="83"/>
                    <a:pt x="82" y="84"/>
                    <a:pt x="82" y="85"/>
                  </a:cubicBezTo>
                  <a:cubicBezTo>
                    <a:pt x="81" y="87"/>
                    <a:pt x="79" y="85"/>
                    <a:pt x="78" y="86"/>
                  </a:cubicBezTo>
                  <a:cubicBezTo>
                    <a:pt x="77" y="88"/>
                    <a:pt x="78" y="89"/>
                    <a:pt x="77" y="91"/>
                  </a:cubicBezTo>
                  <a:cubicBezTo>
                    <a:pt x="77" y="93"/>
                    <a:pt x="76" y="95"/>
                    <a:pt x="74" y="95"/>
                  </a:cubicBezTo>
                  <a:cubicBezTo>
                    <a:pt x="72" y="95"/>
                    <a:pt x="71" y="95"/>
                    <a:pt x="69" y="94"/>
                  </a:cubicBezTo>
                  <a:cubicBezTo>
                    <a:pt x="69" y="94"/>
                    <a:pt x="69" y="93"/>
                    <a:pt x="69" y="93"/>
                  </a:cubicBezTo>
                  <a:cubicBezTo>
                    <a:pt x="70" y="92"/>
                    <a:pt x="71" y="92"/>
                    <a:pt x="71" y="91"/>
                  </a:cubicBezTo>
                  <a:cubicBezTo>
                    <a:pt x="71" y="88"/>
                    <a:pt x="72" y="87"/>
                    <a:pt x="73" y="85"/>
                  </a:cubicBezTo>
                  <a:cubicBezTo>
                    <a:pt x="74" y="85"/>
                    <a:pt x="74" y="84"/>
                    <a:pt x="73" y="83"/>
                  </a:cubicBezTo>
                  <a:cubicBezTo>
                    <a:pt x="73" y="82"/>
                    <a:pt x="72" y="81"/>
                    <a:pt x="71" y="80"/>
                  </a:cubicBezTo>
                  <a:cubicBezTo>
                    <a:pt x="71" y="78"/>
                    <a:pt x="70" y="76"/>
                    <a:pt x="70" y="74"/>
                  </a:cubicBezTo>
                  <a:cubicBezTo>
                    <a:pt x="70" y="74"/>
                    <a:pt x="70" y="73"/>
                    <a:pt x="69" y="73"/>
                  </a:cubicBezTo>
                  <a:cubicBezTo>
                    <a:pt x="69" y="73"/>
                    <a:pt x="68" y="74"/>
                    <a:pt x="67" y="73"/>
                  </a:cubicBezTo>
                  <a:cubicBezTo>
                    <a:pt x="66" y="73"/>
                    <a:pt x="66" y="72"/>
                    <a:pt x="66" y="72"/>
                  </a:cubicBezTo>
                  <a:cubicBezTo>
                    <a:pt x="65" y="72"/>
                    <a:pt x="64" y="72"/>
                    <a:pt x="63" y="71"/>
                  </a:cubicBezTo>
                  <a:cubicBezTo>
                    <a:pt x="63" y="70"/>
                    <a:pt x="63" y="69"/>
                    <a:pt x="63" y="68"/>
                  </a:cubicBezTo>
                  <a:cubicBezTo>
                    <a:pt x="62" y="67"/>
                    <a:pt x="61" y="67"/>
                    <a:pt x="61" y="67"/>
                  </a:cubicBezTo>
                  <a:cubicBezTo>
                    <a:pt x="61" y="67"/>
                    <a:pt x="61" y="66"/>
                    <a:pt x="61" y="66"/>
                  </a:cubicBezTo>
                  <a:cubicBezTo>
                    <a:pt x="59" y="65"/>
                    <a:pt x="58" y="66"/>
                    <a:pt x="57" y="66"/>
                  </a:cubicBezTo>
                  <a:cubicBezTo>
                    <a:pt x="56" y="65"/>
                    <a:pt x="57" y="64"/>
                    <a:pt x="56" y="63"/>
                  </a:cubicBezTo>
                  <a:cubicBezTo>
                    <a:pt x="56" y="62"/>
                    <a:pt x="55" y="62"/>
                    <a:pt x="55" y="62"/>
                  </a:cubicBezTo>
                  <a:cubicBezTo>
                    <a:pt x="55" y="61"/>
                    <a:pt x="54" y="62"/>
                    <a:pt x="53" y="62"/>
                  </a:cubicBezTo>
                  <a:cubicBezTo>
                    <a:pt x="52" y="61"/>
                    <a:pt x="51" y="62"/>
                    <a:pt x="50" y="61"/>
                  </a:cubicBezTo>
                  <a:cubicBezTo>
                    <a:pt x="50" y="61"/>
                    <a:pt x="50" y="60"/>
                    <a:pt x="50" y="60"/>
                  </a:cubicBezTo>
                  <a:cubicBezTo>
                    <a:pt x="46" y="59"/>
                    <a:pt x="44" y="55"/>
                    <a:pt x="41" y="53"/>
                  </a:cubicBezTo>
                  <a:cubicBezTo>
                    <a:pt x="39" y="52"/>
                    <a:pt x="36" y="51"/>
                    <a:pt x="34" y="48"/>
                  </a:cubicBezTo>
                  <a:cubicBezTo>
                    <a:pt x="34" y="48"/>
                    <a:pt x="33" y="48"/>
                    <a:pt x="33" y="47"/>
                  </a:cubicBezTo>
                  <a:cubicBezTo>
                    <a:pt x="32" y="47"/>
                    <a:pt x="32" y="46"/>
                    <a:pt x="32" y="45"/>
                  </a:cubicBezTo>
                  <a:cubicBezTo>
                    <a:pt x="32" y="45"/>
                    <a:pt x="32" y="44"/>
                    <a:pt x="32" y="44"/>
                  </a:cubicBezTo>
                  <a:cubicBezTo>
                    <a:pt x="31" y="42"/>
                    <a:pt x="30" y="40"/>
                    <a:pt x="29" y="38"/>
                  </a:cubicBezTo>
                  <a:cubicBezTo>
                    <a:pt x="28" y="36"/>
                    <a:pt x="27" y="33"/>
                    <a:pt x="24" y="32"/>
                  </a:cubicBezTo>
                  <a:cubicBezTo>
                    <a:pt x="22" y="31"/>
                    <a:pt x="21" y="29"/>
                    <a:pt x="20" y="29"/>
                  </a:cubicBezTo>
                  <a:cubicBezTo>
                    <a:pt x="19" y="28"/>
                    <a:pt x="17" y="29"/>
                    <a:pt x="16" y="30"/>
                  </a:cubicBezTo>
                  <a:cubicBezTo>
                    <a:pt x="16" y="30"/>
                    <a:pt x="15" y="31"/>
                    <a:pt x="15" y="32"/>
                  </a:cubicBezTo>
                  <a:cubicBezTo>
                    <a:pt x="14" y="32"/>
                    <a:pt x="13" y="33"/>
                    <a:pt x="11" y="33"/>
                  </a:cubicBezTo>
                  <a:cubicBezTo>
                    <a:pt x="10" y="34"/>
                    <a:pt x="8" y="34"/>
                    <a:pt x="7" y="3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2"/>
                    <a:pt x="7" y="31"/>
                  </a:cubicBezTo>
                  <a:cubicBezTo>
                    <a:pt x="6" y="31"/>
                    <a:pt x="6" y="30"/>
                    <a:pt x="6" y="30"/>
                  </a:cubicBezTo>
                  <a:cubicBezTo>
                    <a:pt x="5" y="30"/>
                    <a:pt x="4" y="29"/>
                    <a:pt x="4" y="28"/>
                  </a:cubicBezTo>
                  <a:cubicBezTo>
                    <a:pt x="3" y="27"/>
                    <a:pt x="4" y="25"/>
                    <a:pt x="3" y="24"/>
                  </a:cubicBezTo>
                  <a:cubicBezTo>
                    <a:pt x="2" y="23"/>
                    <a:pt x="1" y="23"/>
                    <a:pt x="0" y="22"/>
                  </a:cubicBezTo>
                  <a:cubicBezTo>
                    <a:pt x="0" y="21"/>
                    <a:pt x="0" y="20"/>
                    <a:pt x="0" y="20"/>
                  </a:cubicBezTo>
                  <a:cubicBezTo>
                    <a:pt x="1" y="20"/>
                    <a:pt x="2" y="20"/>
                    <a:pt x="2" y="20"/>
                  </a:cubicBezTo>
                  <a:cubicBezTo>
                    <a:pt x="2" y="19"/>
                    <a:pt x="3" y="19"/>
                    <a:pt x="3" y="19"/>
                  </a:cubicBezTo>
                  <a:cubicBezTo>
                    <a:pt x="3" y="17"/>
                    <a:pt x="2" y="15"/>
                    <a:pt x="3" y="13"/>
                  </a:cubicBezTo>
                  <a:cubicBezTo>
                    <a:pt x="3" y="13"/>
                    <a:pt x="4" y="12"/>
                    <a:pt x="4" y="11"/>
                  </a:cubicBezTo>
                  <a:cubicBezTo>
                    <a:pt x="5" y="11"/>
                    <a:pt x="7" y="11"/>
                    <a:pt x="9" y="11"/>
                  </a:cubicBezTo>
                  <a:cubicBezTo>
                    <a:pt x="10" y="11"/>
                    <a:pt x="10" y="10"/>
                    <a:pt x="10" y="10"/>
                  </a:cubicBezTo>
                  <a:cubicBezTo>
                    <a:pt x="10" y="9"/>
                    <a:pt x="11" y="8"/>
                    <a:pt x="12" y="8"/>
                  </a:cubicBezTo>
                  <a:cubicBezTo>
                    <a:pt x="13" y="8"/>
                    <a:pt x="14" y="7"/>
                    <a:pt x="15" y="6"/>
                  </a:cubicBezTo>
                  <a:cubicBezTo>
                    <a:pt x="16" y="5"/>
                    <a:pt x="18" y="6"/>
                    <a:pt x="19" y="6"/>
                  </a:cubicBezTo>
                  <a:cubicBezTo>
                    <a:pt x="20" y="6"/>
                    <a:pt x="21" y="7"/>
                    <a:pt x="23" y="7"/>
                  </a:cubicBezTo>
                  <a:cubicBezTo>
                    <a:pt x="23" y="6"/>
                    <a:pt x="23" y="6"/>
                    <a:pt x="24" y="5"/>
                  </a:cubicBezTo>
                  <a:cubicBezTo>
                    <a:pt x="24" y="5"/>
                    <a:pt x="26" y="5"/>
                    <a:pt x="26" y="5"/>
                  </a:cubicBezTo>
                  <a:cubicBezTo>
                    <a:pt x="27" y="4"/>
                    <a:pt x="28" y="3"/>
                    <a:pt x="29" y="2"/>
                  </a:cubicBezTo>
                  <a:cubicBezTo>
                    <a:pt x="31" y="1"/>
                    <a:pt x="34" y="3"/>
                    <a:pt x="36" y="0"/>
                  </a:cubicBezTo>
                  <a:cubicBezTo>
                    <a:pt x="37" y="0"/>
                    <a:pt x="39" y="0"/>
                    <a:pt x="41" y="0"/>
                  </a:cubicBezTo>
                  <a:cubicBezTo>
                    <a:pt x="41" y="1"/>
                    <a:pt x="42" y="2"/>
                    <a:pt x="43" y="3"/>
                  </a:cubicBezTo>
                  <a:cubicBezTo>
                    <a:pt x="44" y="4"/>
                    <a:pt x="44" y="4"/>
                    <a:pt x="45" y="4"/>
                  </a:cubicBezTo>
                  <a:cubicBezTo>
                    <a:pt x="47" y="5"/>
                    <a:pt x="48" y="4"/>
                    <a:pt x="50" y="4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2" y="5"/>
                    <a:pt x="53" y="6"/>
                    <a:pt x="52" y="6"/>
                  </a:cubicBezTo>
                  <a:cubicBezTo>
                    <a:pt x="52" y="8"/>
                    <a:pt x="53" y="9"/>
                    <a:pt x="52" y="11"/>
                  </a:cubicBezTo>
                  <a:lnTo>
                    <a:pt x="52" y="12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1" name="Freeform 130"/>
            <p:cNvSpPr>
              <a:spLocks/>
            </p:cNvSpPr>
            <p:nvPr/>
          </p:nvSpPr>
          <p:spPr bwMode="auto">
            <a:xfrm>
              <a:off x="6994725" y="4937145"/>
              <a:ext cx="31175" cy="16317"/>
            </a:xfrm>
            <a:custGeom>
              <a:avLst/>
              <a:gdLst>
                <a:gd name="T0" fmla="*/ 17792257 w 23"/>
                <a:gd name="T1" fmla="*/ 7659284 h 15"/>
                <a:gd name="T2" fmla="*/ 18819769 w 23"/>
                <a:gd name="T3" fmla="*/ 727531 h 15"/>
                <a:gd name="T4" fmla="*/ 18819769 w 23"/>
                <a:gd name="T5" fmla="*/ 0 h 15"/>
                <a:gd name="T6" fmla="*/ 15292894 w 23"/>
                <a:gd name="T7" fmla="*/ 727531 h 15"/>
                <a:gd name="T8" fmla="*/ 13778124 w 23"/>
                <a:gd name="T9" fmla="*/ 1697572 h 15"/>
                <a:gd name="T10" fmla="*/ 5078724 w 23"/>
                <a:gd name="T11" fmla="*/ 1697572 h 15"/>
                <a:gd name="T12" fmla="*/ 0 w 23"/>
                <a:gd name="T13" fmla="*/ 1697572 h 15"/>
                <a:gd name="T14" fmla="*/ 789222 w 23"/>
                <a:gd name="T15" fmla="*/ 4688532 h 15"/>
                <a:gd name="T16" fmla="*/ 3227747 w 23"/>
                <a:gd name="T17" fmla="*/ 5234181 h 15"/>
                <a:gd name="T18" fmla="*/ 6988262 w 23"/>
                <a:gd name="T19" fmla="*/ 6931751 h 15"/>
                <a:gd name="T20" fmla="*/ 12713535 w 23"/>
                <a:gd name="T21" fmla="*/ 9242333 h 15"/>
                <a:gd name="T22" fmla="*/ 13778124 w 23"/>
                <a:gd name="T23" fmla="*/ 9902491 h 15"/>
                <a:gd name="T24" fmla="*/ 19630332 w 23"/>
                <a:gd name="T25" fmla="*/ 10939910 h 15"/>
                <a:gd name="T26" fmla="*/ 18819769 w 23"/>
                <a:gd name="T27" fmla="*/ 8614993 h 15"/>
                <a:gd name="T28" fmla="*/ 17792257 w 23"/>
                <a:gd name="T29" fmla="*/ 7659284 h 1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"/>
                <a:gd name="T46" fmla="*/ 0 h 15"/>
                <a:gd name="T47" fmla="*/ 23 w 23"/>
                <a:gd name="T48" fmla="*/ 15 h 1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" h="15">
                  <a:moveTo>
                    <a:pt x="21" y="10"/>
                  </a:moveTo>
                  <a:cubicBezTo>
                    <a:pt x="19" y="7"/>
                    <a:pt x="20" y="4"/>
                    <a:pt x="22" y="1"/>
                  </a:cubicBezTo>
                  <a:cubicBezTo>
                    <a:pt x="22" y="1"/>
                    <a:pt x="22" y="0"/>
                    <a:pt x="22" y="0"/>
                  </a:cubicBezTo>
                  <a:cubicBezTo>
                    <a:pt x="21" y="0"/>
                    <a:pt x="19" y="0"/>
                    <a:pt x="18" y="1"/>
                  </a:cubicBezTo>
                  <a:cubicBezTo>
                    <a:pt x="18" y="1"/>
                    <a:pt x="17" y="2"/>
                    <a:pt x="16" y="2"/>
                  </a:cubicBezTo>
                  <a:cubicBezTo>
                    <a:pt x="13" y="2"/>
                    <a:pt x="9" y="3"/>
                    <a:pt x="6" y="2"/>
                  </a:cubicBezTo>
                  <a:cubicBezTo>
                    <a:pt x="4" y="2"/>
                    <a:pt x="1" y="1"/>
                    <a:pt x="0" y="2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3" y="7"/>
                    <a:pt x="4" y="7"/>
                  </a:cubicBezTo>
                  <a:cubicBezTo>
                    <a:pt x="6" y="8"/>
                    <a:pt x="7" y="8"/>
                    <a:pt x="8" y="9"/>
                  </a:cubicBezTo>
                  <a:cubicBezTo>
                    <a:pt x="11" y="10"/>
                    <a:pt x="13" y="11"/>
                    <a:pt x="15" y="12"/>
                  </a:cubicBezTo>
                  <a:cubicBezTo>
                    <a:pt x="16" y="12"/>
                    <a:pt x="16" y="12"/>
                    <a:pt x="16" y="13"/>
                  </a:cubicBezTo>
                  <a:cubicBezTo>
                    <a:pt x="18" y="14"/>
                    <a:pt x="20" y="15"/>
                    <a:pt x="23" y="14"/>
                  </a:cubicBezTo>
                  <a:cubicBezTo>
                    <a:pt x="23" y="13"/>
                    <a:pt x="23" y="12"/>
                    <a:pt x="22" y="11"/>
                  </a:cubicBezTo>
                  <a:cubicBezTo>
                    <a:pt x="22" y="11"/>
                    <a:pt x="22" y="10"/>
                    <a:pt x="21" y="1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2" name="Freeform 131"/>
            <p:cNvSpPr>
              <a:spLocks/>
            </p:cNvSpPr>
            <p:nvPr/>
          </p:nvSpPr>
          <p:spPr bwMode="auto">
            <a:xfrm>
              <a:off x="7070845" y="4900280"/>
              <a:ext cx="63072" cy="56203"/>
            </a:xfrm>
            <a:custGeom>
              <a:avLst/>
              <a:gdLst>
                <a:gd name="T0" fmla="*/ 41943004 w 47"/>
                <a:gd name="T1" fmla="*/ 7702596 h 52"/>
                <a:gd name="T2" fmla="*/ 37279843 w 47"/>
                <a:gd name="T3" fmla="*/ 6898101 h 52"/>
                <a:gd name="T4" fmla="*/ 28237493 w 47"/>
                <a:gd name="T5" fmla="*/ 8558151 h 52"/>
                <a:gd name="T6" fmla="*/ 30073499 w 47"/>
                <a:gd name="T7" fmla="*/ 11323590 h 52"/>
                <a:gd name="T8" fmla="*/ 22667487 w 47"/>
                <a:gd name="T9" fmla="*/ 12540778 h 52"/>
                <a:gd name="T10" fmla="*/ 18640233 w 47"/>
                <a:gd name="T11" fmla="*/ 10674878 h 52"/>
                <a:gd name="T12" fmla="*/ 17759659 w 47"/>
                <a:gd name="T13" fmla="*/ 15461195 h 52"/>
                <a:gd name="T14" fmla="*/ 20626693 w 47"/>
                <a:gd name="T15" fmla="*/ 25250180 h 52"/>
                <a:gd name="T16" fmla="*/ 24173459 w 47"/>
                <a:gd name="T17" fmla="*/ 29663759 h 52"/>
                <a:gd name="T18" fmla="*/ 26160651 w 47"/>
                <a:gd name="T19" fmla="*/ 30917299 h 52"/>
                <a:gd name="T20" fmla="*/ 28237493 w 47"/>
                <a:gd name="T21" fmla="*/ 32422516 h 52"/>
                <a:gd name="T22" fmla="*/ 30914397 w 47"/>
                <a:gd name="T23" fmla="*/ 37454634 h 52"/>
                <a:gd name="T24" fmla="*/ 25383254 w 47"/>
                <a:gd name="T25" fmla="*/ 38595165 h 52"/>
                <a:gd name="T26" fmla="*/ 25383254 w 47"/>
                <a:gd name="T27" fmla="*/ 42240969 h 52"/>
                <a:gd name="T28" fmla="*/ 23330483 w 47"/>
                <a:gd name="T29" fmla="*/ 41357678 h 52"/>
                <a:gd name="T30" fmla="*/ 21467591 w 47"/>
                <a:gd name="T31" fmla="*/ 41357678 h 52"/>
                <a:gd name="T32" fmla="*/ 23330483 w 47"/>
                <a:gd name="T33" fmla="*/ 47883186 h 52"/>
                <a:gd name="T34" fmla="*/ 21467591 w 47"/>
                <a:gd name="T35" fmla="*/ 47027825 h 52"/>
                <a:gd name="T36" fmla="*/ 18640233 w 47"/>
                <a:gd name="T37" fmla="*/ 49907084 h 52"/>
                <a:gd name="T38" fmla="*/ 17133383 w 47"/>
                <a:gd name="T39" fmla="*/ 47027825 h 52"/>
                <a:gd name="T40" fmla="*/ 15147617 w 47"/>
                <a:gd name="T41" fmla="*/ 44264300 h 52"/>
                <a:gd name="T42" fmla="*/ 11077036 w 47"/>
                <a:gd name="T43" fmla="*/ 46353710 h 52"/>
                <a:gd name="T44" fmla="*/ 10235609 w 47"/>
                <a:gd name="T45" fmla="*/ 33682755 h 52"/>
                <a:gd name="T46" fmla="*/ 15785163 w 47"/>
                <a:gd name="T47" fmla="*/ 33682755 h 52"/>
                <a:gd name="T48" fmla="*/ 22667487 w 47"/>
                <a:gd name="T49" fmla="*/ 34487402 h 52"/>
                <a:gd name="T50" fmla="*/ 20626693 w 47"/>
                <a:gd name="T51" fmla="*/ 31791129 h 52"/>
                <a:gd name="T52" fmla="*/ 12226429 w 47"/>
                <a:gd name="T53" fmla="*/ 30917299 h 52"/>
                <a:gd name="T54" fmla="*/ 6683811 w 47"/>
                <a:gd name="T55" fmla="*/ 26784633 h 52"/>
                <a:gd name="T56" fmla="*/ 840908 w 47"/>
                <a:gd name="T57" fmla="*/ 19075104 h 52"/>
                <a:gd name="T58" fmla="*/ 0 w 47"/>
                <a:gd name="T59" fmla="*/ 15461195 h 52"/>
                <a:gd name="T60" fmla="*/ 840908 w 47"/>
                <a:gd name="T61" fmla="*/ 14239871 h 52"/>
                <a:gd name="T62" fmla="*/ 6683811 w 47"/>
                <a:gd name="T63" fmla="*/ 6898101 h 52"/>
                <a:gd name="T64" fmla="*/ 11077036 w 47"/>
                <a:gd name="T65" fmla="*/ 3618081 h 52"/>
                <a:gd name="T66" fmla="*/ 19837753 w 47"/>
                <a:gd name="T67" fmla="*/ 2023861 h 52"/>
                <a:gd name="T68" fmla="*/ 19837753 w 47"/>
                <a:gd name="T69" fmla="*/ 855616 h 52"/>
                <a:gd name="T70" fmla="*/ 28875172 w 47"/>
                <a:gd name="T71" fmla="*/ 855616 h 52"/>
                <a:gd name="T72" fmla="*/ 34407504 w 47"/>
                <a:gd name="T73" fmla="*/ 855616 h 52"/>
                <a:gd name="T74" fmla="*/ 43179666 w 47"/>
                <a:gd name="T75" fmla="*/ 855616 h 52"/>
                <a:gd name="T76" fmla="*/ 43179666 w 47"/>
                <a:gd name="T77" fmla="*/ 6898101 h 52"/>
                <a:gd name="T78" fmla="*/ 41943004 w 47"/>
                <a:gd name="T79" fmla="*/ 7702596 h 5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7"/>
                <a:gd name="T121" fmla="*/ 0 h 52"/>
                <a:gd name="T122" fmla="*/ 47 w 47"/>
                <a:gd name="T123" fmla="*/ 52 h 5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7" h="52">
                  <a:moveTo>
                    <a:pt x="45" y="8"/>
                  </a:moveTo>
                  <a:cubicBezTo>
                    <a:pt x="45" y="8"/>
                    <a:pt x="45" y="8"/>
                    <a:pt x="45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6"/>
                    <a:pt x="41" y="6"/>
                    <a:pt x="40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4" y="8"/>
                    <a:pt x="32" y="9"/>
                    <a:pt x="30" y="9"/>
                  </a:cubicBezTo>
                  <a:cubicBezTo>
                    <a:pt x="30" y="9"/>
                    <a:pt x="30" y="10"/>
                    <a:pt x="30" y="10"/>
                  </a:cubicBezTo>
                  <a:cubicBezTo>
                    <a:pt x="31" y="11"/>
                    <a:pt x="32" y="11"/>
                    <a:pt x="32" y="12"/>
                  </a:cubicBezTo>
                  <a:cubicBezTo>
                    <a:pt x="32" y="13"/>
                    <a:pt x="32" y="14"/>
                    <a:pt x="32" y="14"/>
                  </a:cubicBezTo>
                  <a:cubicBezTo>
                    <a:pt x="29" y="14"/>
                    <a:pt x="27" y="13"/>
                    <a:pt x="24" y="13"/>
                  </a:cubicBezTo>
                  <a:cubicBezTo>
                    <a:pt x="24" y="13"/>
                    <a:pt x="23" y="11"/>
                    <a:pt x="22" y="11"/>
                  </a:cubicBezTo>
                  <a:cubicBezTo>
                    <a:pt x="22" y="11"/>
                    <a:pt x="21" y="11"/>
                    <a:pt x="20" y="11"/>
                  </a:cubicBezTo>
                  <a:cubicBezTo>
                    <a:pt x="19" y="11"/>
                    <a:pt x="19" y="11"/>
                    <a:pt x="19" y="12"/>
                  </a:cubicBezTo>
                  <a:cubicBezTo>
                    <a:pt x="18" y="13"/>
                    <a:pt x="18" y="15"/>
                    <a:pt x="19" y="16"/>
                  </a:cubicBezTo>
                  <a:cubicBezTo>
                    <a:pt x="20" y="18"/>
                    <a:pt x="22" y="20"/>
                    <a:pt x="23" y="22"/>
                  </a:cubicBezTo>
                  <a:cubicBezTo>
                    <a:pt x="24" y="24"/>
                    <a:pt x="22" y="25"/>
                    <a:pt x="22" y="26"/>
                  </a:cubicBezTo>
                  <a:cubicBezTo>
                    <a:pt x="21" y="26"/>
                    <a:pt x="22" y="27"/>
                    <a:pt x="22" y="28"/>
                  </a:cubicBezTo>
                  <a:cubicBezTo>
                    <a:pt x="24" y="29"/>
                    <a:pt x="24" y="30"/>
                    <a:pt x="26" y="31"/>
                  </a:cubicBezTo>
                  <a:cubicBezTo>
                    <a:pt x="26" y="31"/>
                    <a:pt x="27" y="31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3"/>
                    <a:pt x="28" y="32"/>
                  </a:cubicBezTo>
                  <a:cubicBezTo>
                    <a:pt x="28" y="33"/>
                    <a:pt x="29" y="34"/>
                    <a:pt x="30" y="34"/>
                  </a:cubicBezTo>
                  <a:cubicBezTo>
                    <a:pt x="30" y="35"/>
                    <a:pt x="31" y="36"/>
                    <a:pt x="32" y="36"/>
                  </a:cubicBezTo>
                  <a:cubicBezTo>
                    <a:pt x="32" y="37"/>
                    <a:pt x="32" y="38"/>
                    <a:pt x="33" y="39"/>
                  </a:cubicBezTo>
                  <a:cubicBezTo>
                    <a:pt x="33" y="39"/>
                    <a:pt x="33" y="40"/>
                    <a:pt x="33" y="40"/>
                  </a:cubicBezTo>
                  <a:cubicBezTo>
                    <a:pt x="31" y="40"/>
                    <a:pt x="29" y="39"/>
                    <a:pt x="27" y="40"/>
                  </a:cubicBezTo>
                  <a:cubicBezTo>
                    <a:pt x="26" y="40"/>
                    <a:pt x="27" y="41"/>
                    <a:pt x="27" y="41"/>
                  </a:cubicBezTo>
                  <a:cubicBezTo>
                    <a:pt x="27" y="42"/>
                    <a:pt x="28" y="43"/>
                    <a:pt x="27" y="44"/>
                  </a:cubicBezTo>
                  <a:cubicBezTo>
                    <a:pt x="27" y="44"/>
                    <a:pt x="27" y="44"/>
                    <a:pt x="26" y="44"/>
                  </a:cubicBezTo>
                  <a:cubicBezTo>
                    <a:pt x="26" y="44"/>
                    <a:pt x="25" y="43"/>
                    <a:pt x="25" y="43"/>
                  </a:cubicBezTo>
                  <a:cubicBezTo>
                    <a:pt x="24" y="42"/>
                    <a:pt x="22" y="42"/>
                    <a:pt x="22" y="43"/>
                  </a:cubicBezTo>
                  <a:cubicBezTo>
                    <a:pt x="22" y="43"/>
                    <a:pt x="23" y="43"/>
                    <a:pt x="23" y="43"/>
                  </a:cubicBezTo>
                  <a:cubicBezTo>
                    <a:pt x="22" y="45"/>
                    <a:pt x="23" y="47"/>
                    <a:pt x="24" y="49"/>
                  </a:cubicBezTo>
                  <a:cubicBezTo>
                    <a:pt x="24" y="49"/>
                    <a:pt x="24" y="50"/>
                    <a:pt x="25" y="50"/>
                  </a:cubicBezTo>
                  <a:cubicBezTo>
                    <a:pt x="25" y="50"/>
                    <a:pt x="25" y="51"/>
                    <a:pt x="25" y="51"/>
                  </a:cubicBezTo>
                  <a:cubicBezTo>
                    <a:pt x="24" y="51"/>
                    <a:pt x="24" y="50"/>
                    <a:pt x="23" y="49"/>
                  </a:cubicBezTo>
                  <a:cubicBezTo>
                    <a:pt x="21" y="49"/>
                    <a:pt x="21" y="51"/>
                    <a:pt x="21" y="52"/>
                  </a:cubicBezTo>
                  <a:cubicBezTo>
                    <a:pt x="21" y="52"/>
                    <a:pt x="20" y="52"/>
                    <a:pt x="20" y="52"/>
                  </a:cubicBezTo>
                  <a:cubicBezTo>
                    <a:pt x="20" y="52"/>
                    <a:pt x="20" y="51"/>
                    <a:pt x="20" y="51"/>
                  </a:cubicBezTo>
                  <a:cubicBezTo>
                    <a:pt x="20" y="50"/>
                    <a:pt x="19" y="50"/>
                    <a:pt x="18" y="49"/>
                  </a:cubicBezTo>
                  <a:cubicBezTo>
                    <a:pt x="18" y="48"/>
                    <a:pt x="18" y="47"/>
                    <a:pt x="17" y="46"/>
                  </a:cubicBezTo>
                  <a:cubicBezTo>
                    <a:pt x="17" y="46"/>
                    <a:pt x="16" y="46"/>
                    <a:pt x="16" y="46"/>
                  </a:cubicBezTo>
                  <a:cubicBezTo>
                    <a:pt x="15" y="47"/>
                    <a:pt x="15" y="48"/>
                    <a:pt x="15" y="48"/>
                  </a:cubicBezTo>
                  <a:cubicBezTo>
                    <a:pt x="14" y="49"/>
                    <a:pt x="13" y="49"/>
                    <a:pt x="12" y="48"/>
                  </a:cubicBezTo>
                  <a:cubicBezTo>
                    <a:pt x="12" y="45"/>
                    <a:pt x="14" y="40"/>
                    <a:pt x="10" y="38"/>
                  </a:cubicBezTo>
                  <a:cubicBezTo>
                    <a:pt x="10" y="37"/>
                    <a:pt x="10" y="36"/>
                    <a:pt x="11" y="35"/>
                  </a:cubicBezTo>
                  <a:cubicBezTo>
                    <a:pt x="12" y="34"/>
                    <a:pt x="14" y="34"/>
                    <a:pt x="14" y="33"/>
                  </a:cubicBezTo>
                  <a:cubicBezTo>
                    <a:pt x="15" y="32"/>
                    <a:pt x="16" y="34"/>
                    <a:pt x="17" y="35"/>
                  </a:cubicBezTo>
                  <a:cubicBezTo>
                    <a:pt x="18" y="36"/>
                    <a:pt x="19" y="35"/>
                    <a:pt x="20" y="36"/>
                  </a:cubicBezTo>
                  <a:cubicBezTo>
                    <a:pt x="21" y="36"/>
                    <a:pt x="23" y="36"/>
                    <a:pt x="24" y="36"/>
                  </a:cubicBezTo>
                  <a:cubicBezTo>
                    <a:pt x="24" y="36"/>
                    <a:pt x="24" y="35"/>
                    <a:pt x="23" y="35"/>
                  </a:cubicBezTo>
                  <a:cubicBezTo>
                    <a:pt x="23" y="34"/>
                    <a:pt x="22" y="33"/>
                    <a:pt x="22" y="33"/>
                  </a:cubicBezTo>
                  <a:cubicBezTo>
                    <a:pt x="21" y="33"/>
                    <a:pt x="21" y="32"/>
                    <a:pt x="20" y="32"/>
                  </a:cubicBezTo>
                  <a:cubicBezTo>
                    <a:pt x="17" y="31"/>
                    <a:pt x="15" y="31"/>
                    <a:pt x="13" y="32"/>
                  </a:cubicBezTo>
                  <a:cubicBezTo>
                    <a:pt x="11" y="32"/>
                    <a:pt x="8" y="32"/>
                    <a:pt x="7" y="30"/>
                  </a:cubicBezTo>
                  <a:cubicBezTo>
                    <a:pt x="7" y="29"/>
                    <a:pt x="7" y="29"/>
                    <a:pt x="7" y="28"/>
                  </a:cubicBezTo>
                  <a:cubicBezTo>
                    <a:pt x="6" y="27"/>
                    <a:pt x="7" y="26"/>
                    <a:pt x="6" y="25"/>
                  </a:cubicBezTo>
                  <a:cubicBezTo>
                    <a:pt x="4" y="24"/>
                    <a:pt x="3" y="22"/>
                    <a:pt x="1" y="20"/>
                  </a:cubicBezTo>
                  <a:cubicBezTo>
                    <a:pt x="1" y="20"/>
                    <a:pt x="0" y="18"/>
                    <a:pt x="0" y="17"/>
                  </a:cubicBezTo>
                  <a:cubicBezTo>
                    <a:pt x="0" y="17"/>
                    <a:pt x="0" y="16"/>
                    <a:pt x="0" y="16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3"/>
                    <a:pt x="4" y="12"/>
                    <a:pt x="5" y="10"/>
                  </a:cubicBezTo>
                  <a:cubicBezTo>
                    <a:pt x="6" y="10"/>
                    <a:pt x="7" y="8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0" y="7"/>
                    <a:pt x="12" y="6"/>
                    <a:pt x="12" y="4"/>
                  </a:cubicBezTo>
                  <a:cubicBezTo>
                    <a:pt x="15" y="3"/>
                    <a:pt x="17" y="4"/>
                    <a:pt x="19" y="4"/>
                  </a:cubicBezTo>
                  <a:cubicBezTo>
                    <a:pt x="20" y="3"/>
                    <a:pt x="20" y="3"/>
                    <a:pt x="21" y="2"/>
                  </a:cubicBezTo>
                  <a:cubicBezTo>
                    <a:pt x="21" y="2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3" y="1"/>
                    <a:pt x="26" y="3"/>
                    <a:pt x="29" y="2"/>
                  </a:cubicBezTo>
                  <a:cubicBezTo>
                    <a:pt x="30" y="2"/>
                    <a:pt x="30" y="1"/>
                    <a:pt x="31" y="1"/>
                  </a:cubicBezTo>
                  <a:cubicBezTo>
                    <a:pt x="33" y="0"/>
                    <a:pt x="34" y="1"/>
                    <a:pt x="35" y="1"/>
                  </a:cubicBezTo>
                  <a:cubicBezTo>
                    <a:pt x="36" y="1"/>
                    <a:pt x="36" y="1"/>
                    <a:pt x="37" y="1"/>
                  </a:cubicBezTo>
                  <a:cubicBezTo>
                    <a:pt x="40" y="2"/>
                    <a:pt x="42" y="1"/>
                    <a:pt x="45" y="1"/>
                  </a:cubicBezTo>
                  <a:cubicBezTo>
                    <a:pt x="45" y="1"/>
                    <a:pt x="46" y="1"/>
                    <a:pt x="46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3"/>
                    <a:pt x="46" y="5"/>
                    <a:pt x="46" y="7"/>
                  </a:cubicBezTo>
                  <a:cubicBezTo>
                    <a:pt x="46" y="7"/>
                    <a:pt x="46" y="7"/>
                    <a:pt x="46" y="7"/>
                  </a:cubicBezTo>
                  <a:lnTo>
                    <a:pt x="45" y="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3" name="Freeform 132"/>
            <p:cNvSpPr>
              <a:spLocks/>
            </p:cNvSpPr>
            <p:nvPr/>
          </p:nvSpPr>
          <p:spPr bwMode="auto">
            <a:xfrm>
              <a:off x="7108543" y="4931707"/>
              <a:ext cx="13050" cy="8460"/>
            </a:xfrm>
            <a:custGeom>
              <a:avLst/>
              <a:gdLst>
                <a:gd name="T0" fmla="*/ 11470653 w 9"/>
                <a:gd name="T1" fmla="*/ 5955246 h 8"/>
                <a:gd name="T2" fmla="*/ 10015063 w 9"/>
                <a:gd name="T3" fmla="*/ 5058432 h 8"/>
                <a:gd name="T4" fmla="*/ 6550065 w 9"/>
                <a:gd name="T5" fmla="*/ 896786 h 8"/>
                <a:gd name="T6" fmla="*/ 1324701 w 9"/>
                <a:gd name="T7" fmla="*/ 896786 h 8"/>
                <a:gd name="T8" fmla="*/ 1324701 w 9"/>
                <a:gd name="T9" fmla="*/ 2129866 h 8"/>
                <a:gd name="T10" fmla="*/ 4692541 w 9"/>
                <a:gd name="T11" fmla="*/ 5058432 h 8"/>
                <a:gd name="T12" fmla="*/ 7915496 w 9"/>
                <a:gd name="T13" fmla="*/ 7279645 h 8"/>
                <a:gd name="T14" fmla="*/ 13330806 w 9"/>
                <a:gd name="T15" fmla="*/ 7279645 h 8"/>
                <a:gd name="T16" fmla="*/ 11470653 w 9"/>
                <a:gd name="T17" fmla="*/ 5955246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8"/>
                <a:gd name="T29" fmla="*/ 9 w 9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8">
                  <a:moveTo>
                    <a:pt x="7" y="6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5" y="4"/>
                    <a:pt x="5" y="2"/>
                    <a:pt x="4" y="1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2" y="2"/>
                    <a:pt x="3" y="4"/>
                    <a:pt x="3" y="5"/>
                  </a:cubicBezTo>
                  <a:cubicBezTo>
                    <a:pt x="4" y="5"/>
                    <a:pt x="4" y="6"/>
                    <a:pt x="5" y="7"/>
                  </a:cubicBezTo>
                  <a:cubicBezTo>
                    <a:pt x="6" y="7"/>
                    <a:pt x="7" y="8"/>
                    <a:pt x="8" y="7"/>
                  </a:cubicBezTo>
                  <a:cubicBezTo>
                    <a:pt x="9" y="7"/>
                    <a:pt x="8" y="6"/>
                    <a:pt x="7" y="6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4" name="Freeform 134"/>
            <p:cNvSpPr>
              <a:spLocks/>
            </p:cNvSpPr>
            <p:nvPr/>
          </p:nvSpPr>
          <p:spPr bwMode="auto">
            <a:xfrm>
              <a:off x="7108543" y="4966152"/>
              <a:ext cx="31900" cy="7856"/>
            </a:xfrm>
            <a:custGeom>
              <a:avLst/>
              <a:gdLst>
                <a:gd name="T0" fmla="*/ 23001672 w 23"/>
                <a:gd name="T1" fmla="*/ 4210842 h 7"/>
                <a:gd name="T2" fmla="*/ 20557243 w 23"/>
                <a:gd name="T3" fmla="*/ 4210842 h 7"/>
                <a:gd name="T4" fmla="*/ 19578018 w 23"/>
                <a:gd name="T5" fmla="*/ 2947589 h 7"/>
                <a:gd name="T6" fmla="*/ 15806866 w 23"/>
                <a:gd name="T7" fmla="*/ 1213713 h 7"/>
                <a:gd name="T8" fmla="*/ 13817923 w 23"/>
                <a:gd name="T9" fmla="*/ 2947589 h 7"/>
                <a:gd name="T10" fmla="*/ 9017967 w 23"/>
                <a:gd name="T11" fmla="*/ 2947589 h 7"/>
                <a:gd name="T12" fmla="*/ 1010505 w 23"/>
                <a:gd name="T13" fmla="*/ 1213713 h 7"/>
                <a:gd name="T14" fmla="*/ 1010505 w 23"/>
                <a:gd name="T15" fmla="*/ 4210842 h 7"/>
                <a:gd name="T16" fmla="*/ 2416425 w 23"/>
                <a:gd name="T17" fmla="*/ 4210842 h 7"/>
                <a:gd name="T18" fmla="*/ 8187175 w 23"/>
                <a:gd name="T19" fmla="*/ 5930334 h 7"/>
                <a:gd name="T20" fmla="*/ 12380864 w 23"/>
                <a:gd name="T21" fmla="*/ 7158428 h 7"/>
                <a:gd name="T22" fmla="*/ 13817923 w 23"/>
                <a:gd name="T23" fmla="*/ 10226328 h 7"/>
                <a:gd name="T24" fmla="*/ 15806866 w 23"/>
                <a:gd name="T25" fmla="*/ 8872004 h 7"/>
                <a:gd name="T26" fmla="*/ 20557243 w 23"/>
                <a:gd name="T27" fmla="*/ 8872004 h 7"/>
                <a:gd name="T28" fmla="*/ 20557243 w 23"/>
                <a:gd name="T29" fmla="*/ 8872004 h 7"/>
                <a:gd name="T30" fmla="*/ 23001672 w 23"/>
                <a:gd name="T31" fmla="*/ 8872004 h 7"/>
                <a:gd name="T32" fmla="*/ 25410422 w 23"/>
                <a:gd name="T33" fmla="*/ 8872004 h 7"/>
                <a:gd name="T34" fmla="*/ 25410422 w 23"/>
                <a:gd name="T35" fmla="*/ 5930334 h 7"/>
                <a:gd name="T36" fmla="*/ 23001672 w 23"/>
                <a:gd name="T37" fmla="*/ 5930334 h 7"/>
                <a:gd name="T38" fmla="*/ 23001672 w 23"/>
                <a:gd name="T39" fmla="*/ 4210842 h 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3"/>
                <a:gd name="T61" fmla="*/ 0 h 7"/>
                <a:gd name="T62" fmla="*/ 23 w 23"/>
                <a:gd name="T63" fmla="*/ 7 h 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3" h="7">
                  <a:moveTo>
                    <a:pt x="20" y="3"/>
                  </a:moveTo>
                  <a:cubicBezTo>
                    <a:pt x="20" y="3"/>
                    <a:pt x="19" y="4"/>
                    <a:pt x="18" y="3"/>
                  </a:cubicBezTo>
                  <a:cubicBezTo>
                    <a:pt x="18" y="3"/>
                    <a:pt x="17" y="2"/>
                    <a:pt x="17" y="2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3" y="1"/>
                    <a:pt x="13" y="2"/>
                    <a:pt x="12" y="2"/>
                  </a:cubicBezTo>
                  <a:cubicBezTo>
                    <a:pt x="11" y="2"/>
                    <a:pt x="9" y="2"/>
                    <a:pt x="8" y="2"/>
                  </a:cubicBezTo>
                  <a:cubicBezTo>
                    <a:pt x="6" y="0"/>
                    <a:pt x="4" y="0"/>
                    <a:pt x="1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4" y="4"/>
                    <a:pt x="5" y="3"/>
                    <a:pt x="7" y="4"/>
                  </a:cubicBezTo>
                  <a:cubicBezTo>
                    <a:pt x="8" y="4"/>
                    <a:pt x="10" y="4"/>
                    <a:pt x="11" y="5"/>
                  </a:cubicBezTo>
                  <a:cubicBezTo>
                    <a:pt x="11" y="5"/>
                    <a:pt x="11" y="6"/>
                    <a:pt x="12" y="7"/>
                  </a:cubicBezTo>
                  <a:cubicBezTo>
                    <a:pt x="13" y="7"/>
                    <a:pt x="13" y="7"/>
                    <a:pt x="14" y="6"/>
                  </a:cubicBezTo>
                  <a:cubicBezTo>
                    <a:pt x="15" y="6"/>
                    <a:pt x="17" y="6"/>
                    <a:pt x="18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9" y="6"/>
                    <a:pt x="20" y="6"/>
                    <a:pt x="20" y="6"/>
                  </a:cubicBezTo>
                  <a:cubicBezTo>
                    <a:pt x="21" y="6"/>
                    <a:pt x="21" y="6"/>
                    <a:pt x="22" y="6"/>
                  </a:cubicBezTo>
                  <a:cubicBezTo>
                    <a:pt x="23" y="5"/>
                    <a:pt x="22" y="4"/>
                    <a:pt x="22" y="4"/>
                  </a:cubicBezTo>
                  <a:cubicBezTo>
                    <a:pt x="22" y="4"/>
                    <a:pt x="21" y="4"/>
                    <a:pt x="20" y="4"/>
                  </a:cubicBezTo>
                  <a:lnTo>
                    <a:pt x="20" y="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5" name="Freeform 135"/>
            <p:cNvSpPr>
              <a:spLocks/>
            </p:cNvSpPr>
            <p:nvPr/>
          </p:nvSpPr>
          <p:spPr bwMode="auto">
            <a:xfrm>
              <a:off x="7152041" y="4955880"/>
              <a:ext cx="7248" cy="7253"/>
            </a:xfrm>
            <a:custGeom>
              <a:avLst/>
              <a:gdLst>
                <a:gd name="T0" fmla="*/ 3577445 w 5"/>
                <a:gd name="T1" fmla="*/ 1156064 h 7"/>
                <a:gd name="T2" fmla="*/ 1064436 w 5"/>
                <a:gd name="T3" fmla="*/ 3397424 h 7"/>
                <a:gd name="T4" fmla="*/ 2554647 w 5"/>
                <a:gd name="T5" fmla="*/ 3397424 h 7"/>
                <a:gd name="T6" fmla="*/ 5085394 w 5"/>
                <a:gd name="T7" fmla="*/ 2234466 h 7"/>
                <a:gd name="T8" fmla="*/ 5085394 w 5"/>
                <a:gd name="T9" fmla="*/ 505778 h 7"/>
                <a:gd name="T10" fmla="*/ 3577445 w 5"/>
                <a:gd name="T11" fmla="*/ 1156064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7"/>
                <a:gd name="T20" fmla="*/ 5 w 5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7">
                  <a:moveTo>
                    <a:pt x="3" y="2"/>
                  </a:moveTo>
                  <a:cubicBezTo>
                    <a:pt x="2" y="3"/>
                    <a:pt x="0" y="4"/>
                    <a:pt x="1" y="6"/>
                  </a:cubicBezTo>
                  <a:cubicBezTo>
                    <a:pt x="1" y="6"/>
                    <a:pt x="2" y="7"/>
                    <a:pt x="2" y="6"/>
                  </a:cubicBezTo>
                  <a:cubicBezTo>
                    <a:pt x="3" y="6"/>
                    <a:pt x="3" y="5"/>
                    <a:pt x="4" y="4"/>
                  </a:cubicBezTo>
                  <a:cubicBezTo>
                    <a:pt x="5" y="3"/>
                    <a:pt x="5" y="2"/>
                    <a:pt x="4" y="1"/>
                  </a:cubicBezTo>
                  <a:cubicBezTo>
                    <a:pt x="4" y="0"/>
                    <a:pt x="3" y="1"/>
                    <a:pt x="3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6" name="Freeform 136"/>
            <p:cNvSpPr>
              <a:spLocks/>
            </p:cNvSpPr>
            <p:nvPr/>
          </p:nvSpPr>
          <p:spPr bwMode="auto">
            <a:xfrm>
              <a:off x="6769987" y="4875501"/>
              <a:ext cx="132668" cy="85211"/>
            </a:xfrm>
            <a:custGeom>
              <a:avLst/>
              <a:gdLst>
                <a:gd name="T0" fmla="*/ 18036114 w 99"/>
                <a:gd name="T1" fmla="*/ 65193969 h 79"/>
                <a:gd name="T2" fmla="*/ 21764423 w 99"/>
                <a:gd name="T3" fmla="*/ 71114491 h 79"/>
                <a:gd name="T4" fmla="*/ 24442630 w 99"/>
                <a:gd name="T5" fmla="*/ 75963007 h 79"/>
                <a:gd name="T6" fmla="*/ 31262589 w 99"/>
                <a:gd name="T7" fmla="*/ 73025697 h 79"/>
                <a:gd name="T8" fmla="*/ 41744245 w 99"/>
                <a:gd name="T9" fmla="*/ 69716698 h 79"/>
                <a:gd name="T10" fmla="*/ 55073902 w 99"/>
                <a:gd name="T11" fmla="*/ 66066270 h 79"/>
                <a:gd name="T12" fmla="*/ 62662080 w 99"/>
                <a:gd name="T13" fmla="*/ 61229495 h 79"/>
                <a:gd name="T14" fmla="*/ 61811511 w 99"/>
                <a:gd name="T15" fmla="*/ 59103320 h 79"/>
                <a:gd name="T16" fmla="*/ 62662080 w 99"/>
                <a:gd name="T17" fmla="*/ 56196953 h 79"/>
                <a:gd name="T18" fmla="*/ 68254555 w 99"/>
                <a:gd name="T19" fmla="*/ 50471138 h 79"/>
                <a:gd name="T20" fmla="*/ 66254012 w 99"/>
                <a:gd name="T21" fmla="*/ 45639818 h 79"/>
                <a:gd name="T22" fmla="*/ 65404162 w 99"/>
                <a:gd name="T23" fmla="*/ 39856057 h 79"/>
                <a:gd name="T24" fmla="*/ 70999284 w 99"/>
                <a:gd name="T25" fmla="*/ 33974914 h 79"/>
                <a:gd name="T26" fmla="*/ 81584722 w 99"/>
                <a:gd name="T27" fmla="*/ 24261446 h 79"/>
                <a:gd name="T28" fmla="*/ 84223750 w 99"/>
                <a:gd name="T29" fmla="*/ 23426603 h 79"/>
                <a:gd name="T30" fmla="*/ 87180526 w 99"/>
                <a:gd name="T31" fmla="*/ 20416444 h 79"/>
                <a:gd name="T32" fmla="*/ 91914075 w 99"/>
                <a:gd name="T33" fmla="*/ 19280994 h 79"/>
                <a:gd name="T34" fmla="*/ 93075320 w 99"/>
                <a:gd name="T35" fmla="*/ 12691979 h 79"/>
                <a:gd name="T36" fmla="*/ 91196210 w 99"/>
                <a:gd name="T37" fmla="*/ 11408714 h 79"/>
                <a:gd name="T38" fmla="*/ 79848566 w 99"/>
                <a:gd name="T39" fmla="*/ 13557310 h 79"/>
                <a:gd name="T40" fmla="*/ 65404162 w 99"/>
                <a:gd name="T41" fmla="*/ 9896805 h 79"/>
                <a:gd name="T42" fmla="*/ 58931733 w 99"/>
                <a:gd name="T43" fmla="*/ 7831966 h 79"/>
                <a:gd name="T44" fmla="*/ 55073902 w 99"/>
                <a:gd name="T45" fmla="*/ 3643773 h 79"/>
                <a:gd name="T46" fmla="*/ 52177673 w 99"/>
                <a:gd name="T47" fmla="*/ 3643773 h 79"/>
                <a:gd name="T48" fmla="*/ 33265628 w 99"/>
                <a:gd name="T49" fmla="*/ 3643773 h 79"/>
                <a:gd name="T50" fmla="*/ 20915084 w 99"/>
                <a:gd name="T51" fmla="*/ 2036141 h 79"/>
                <a:gd name="T52" fmla="*/ 11216146 w 99"/>
                <a:gd name="T53" fmla="*/ 0 h 79"/>
                <a:gd name="T54" fmla="*/ 9698940 w 99"/>
                <a:gd name="T55" fmla="*/ 860188 h 79"/>
                <a:gd name="T56" fmla="*/ 6840539 w 99"/>
                <a:gd name="T57" fmla="*/ 2943801 h 79"/>
                <a:gd name="T58" fmla="*/ 849380 w 99"/>
                <a:gd name="T59" fmla="*/ 4819725 h 79"/>
                <a:gd name="T60" fmla="*/ 849380 w 99"/>
                <a:gd name="T61" fmla="*/ 9896805 h 79"/>
                <a:gd name="T62" fmla="*/ 2894074 w 99"/>
                <a:gd name="T63" fmla="*/ 11408714 h 79"/>
                <a:gd name="T64" fmla="*/ 2894074 w 99"/>
                <a:gd name="T65" fmla="*/ 16494421 h 79"/>
                <a:gd name="T66" fmla="*/ 7630664 w 99"/>
                <a:gd name="T67" fmla="*/ 16494421 h 79"/>
                <a:gd name="T68" fmla="*/ 12441474 w 99"/>
                <a:gd name="T69" fmla="*/ 18538950 h 79"/>
                <a:gd name="T70" fmla="*/ 18036114 w 99"/>
                <a:gd name="T71" fmla="*/ 17632933 h 79"/>
                <a:gd name="T72" fmla="*/ 20044018 w 99"/>
                <a:gd name="T73" fmla="*/ 20416444 h 79"/>
                <a:gd name="T74" fmla="*/ 20915084 w 99"/>
                <a:gd name="T75" fmla="*/ 23426603 h 79"/>
                <a:gd name="T76" fmla="*/ 18036114 w 99"/>
                <a:gd name="T77" fmla="*/ 34874881 h 79"/>
                <a:gd name="T78" fmla="*/ 14073923 w 99"/>
                <a:gd name="T79" fmla="*/ 41738706 h 79"/>
                <a:gd name="T80" fmla="*/ 15293852 w 99"/>
                <a:gd name="T81" fmla="*/ 51336735 h 79"/>
                <a:gd name="T82" fmla="*/ 13226484 w 99"/>
                <a:gd name="T83" fmla="*/ 63924226 h 7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9"/>
                <a:gd name="T127" fmla="*/ 0 h 79"/>
                <a:gd name="T128" fmla="*/ 99 w 99"/>
                <a:gd name="T129" fmla="*/ 79 h 7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9" h="79">
                  <a:moveTo>
                    <a:pt x="14" y="67"/>
                  </a:moveTo>
                  <a:cubicBezTo>
                    <a:pt x="16" y="66"/>
                    <a:pt x="17" y="66"/>
                    <a:pt x="19" y="67"/>
                  </a:cubicBezTo>
                  <a:cubicBezTo>
                    <a:pt x="21" y="67"/>
                    <a:pt x="22" y="70"/>
                    <a:pt x="22" y="72"/>
                  </a:cubicBezTo>
                  <a:cubicBezTo>
                    <a:pt x="22" y="72"/>
                    <a:pt x="23" y="73"/>
                    <a:pt x="23" y="73"/>
                  </a:cubicBezTo>
                  <a:cubicBezTo>
                    <a:pt x="24" y="75"/>
                    <a:pt x="24" y="75"/>
                    <a:pt x="25" y="77"/>
                  </a:cubicBezTo>
                  <a:cubicBezTo>
                    <a:pt x="25" y="77"/>
                    <a:pt x="26" y="78"/>
                    <a:pt x="26" y="78"/>
                  </a:cubicBezTo>
                  <a:cubicBezTo>
                    <a:pt x="27" y="78"/>
                    <a:pt x="28" y="79"/>
                    <a:pt x="29" y="79"/>
                  </a:cubicBezTo>
                  <a:cubicBezTo>
                    <a:pt x="30" y="78"/>
                    <a:pt x="31" y="76"/>
                    <a:pt x="33" y="75"/>
                  </a:cubicBezTo>
                  <a:cubicBezTo>
                    <a:pt x="35" y="73"/>
                    <a:pt x="37" y="72"/>
                    <a:pt x="39" y="71"/>
                  </a:cubicBezTo>
                  <a:cubicBezTo>
                    <a:pt x="40" y="71"/>
                    <a:pt x="42" y="71"/>
                    <a:pt x="44" y="72"/>
                  </a:cubicBezTo>
                  <a:cubicBezTo>
                    <a:pt x="48" y="73"/>
                    <a:pt x="52" y="71"/>
                    <a:pt x="56" y="72"/>
                  </a:cubicBezTo>
                  <a:cubicBezTo>
                    <a:pt x="57" y="71"/>
                    <a:pt x="57" y="69"/>
                    <a:pt x="58" y="68"/>
                  </a:cubicBezTo>
                  <a:cubicBezTo>
                    <a:pt x="59" y="67"/>
                    <a:pt x="59" y="65"/>
                    <a:pt x="60" y="64"/>
                  </a:cubicBezTo>
                  <a:cubicBezTo>
                    <a:pt x="62" y="63"/>
                    <a:pt x="64" y="64"/>
                    <a:pt x="66" y="63"/>
                  </a:cubicBezTo>
                  <a:cubicBezTo>
                    <a:pt x="67" y="63"/>
                    <a:pt x="67" y="62"/>
                    <a:pt x="67" y="62"/>
                  </a:cubicBezTo>
                  <a:cubicBezTo>
                    <a:pt x="66" y="62"/>
                    <a:pt x="66" y="61"/>
                    <a:pt x="65" y="61"/>
                  </a:cubicBezTo>
                  <a:cubicBezTo>
                    <a:pt x="65" y="60"/>
                    <a:pt x="65" y="59"/>
                    <a:pt x="65" y="58"/>
                  </a:cubicBezTo>
                  <a:cubicBezTo>
                    <a:pt x="65" y="58"/>
                    <a:pt x="66" y="58"/>
                    <a:pt x="66" y="58"/>
                  </a:cubicBezTo>
                  <a:cubicBezTo>
                    <a:pt x="66" y="56"/>
                    <a:pt x="68" y="54"/>
                    <a:pt x="70" y="53"/>
                  </a:cubicBezTo>
                  <a:cubicBezTo>
                    <a:pt x="70" y="53"/>
                    <a:pt x="71" y="53"/>
                    <a:pt x="72" y="52"/>
                  </a:cubicBezTo>
                  <a:cubicBezTo>
                    <a:pt x="72" y="51"/>
                    <a:pt x="71" y="50"/>
                    <a:pt x="71" y="49"/>
                  </a:cubicBezTo>
                  <a:cubicBezTo>
                    <a:pt x="70" y="49"/>
                    <a:pt x="70" y="48"/>
                    <a:pt x="70" y="47"/>
                  </a:cubicBezTo>
                  <a:cubicBezTo>
                    <a:pt x="70" y="46"/>
                    <a:pt x="69" y="45"/>
                    <a:pt x="69" y="44"/>
                  </a:cubicBezTo>
                  <a:cubicBezTo>
                    <a:pt x="68" y="43"/>
                    <a:pt x="68" y="42"/>
                    <a:pt x="69" y="41"/>
                  </a:cubicBezTo>
                  <a:cubicBezTo>
                    <a:pt x="70" y="39"/>
                    <a:pt x="72" y="38"/>
                    <a:pt x="73" y="36"/>
                  </a:cubicBezTo>
                  <a:cubicBezTo>
                    <a:pt x="74" y="36"/>
                    <a:pt x="75" y="35"/>
                    <a:pt x="75" y="35"/>
                  </a:cubicBezTo>
                  <a:cubicBezTo>
                    <a:pt x="76" y="34"/>
                    <a:pt x="77" y="33"/>
                    <a:pt x="77" y="33"/>
                  </a:cubicBezTo>
                  <a:cubicBezTo>
                    <a:pt x="79" y="29"/>
                    <a:pt x="82" y="26"/>
                    <a:pt x="86" y="25"/>
                  </a:cubicBezTo>
                  <a:cubicBezTo>
                    <a:pt x="87" y="25"/>
                    <a:pt x="87" y="25"/>
                    <a:pt x="88" y="24"/>
                  </a:cubicBezTo>
                  <a:cubicBezTo>
                    <a:pt x="88" y="24"/>
                    <a:pt x="89" y="24"/>
                    <a:pt x="89" y="24"/>
                  </a:cubicBezTo>
                  <a:cubicBezTo>
                    <a:pt x="89" y="24"/>
                    <a:pt x="90" y="24"/>
                    <a:pt x="90" y="24"/>
                  </a:cubicBezTo>
                  <a:cubicBezTo>
                    <a:pt x="91" y="23"/>
                    <a:pt x="91" y="22"/>
                    <a:pt x="92" y="21"/>
                  </a:cubicBezTo>
                  <a:cubicBezTo>
                    <a:pt x="93" y="21"/>
                    <a:pt x="94" y="21"/>
                    <a:pt x="95" y="21"/>
                  </a:cubicBezTo>
                  <a:cubicBezTo>
                    <a:pt x="96" y="20"/>
                    <a:pt x="97" y="20"/>
                    <a:pt x="97" y="20"/>
                  </a:cubicBezTo>
                  <a:cubicBezTo>
                    <a:pt x="98" y="18"/>
                    <a:pt x="97" y="17"/>
                    <a:pt x="98" y="16"/>
                  </a:cubicBezTo>
                  <a:cubicBezTo>
                    <a:pt x="98" y="15"/>
                    <a:pt x="99" y="14"/>
                    <a:pt x="98" y="13"/>
                  </a:cubicBezTo>
                  <a:cubicBezTo>
                    <a:pt x="98" y="12"/>
                    <a:pt x="97" y="12"/>
                    <a:pt x="97" y="12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4" y="13"/>
                    <a:pt x="92" y="13"/>
                    <a:pt x="90" y="14"/>
                  </a:cubicBezTo>
                  <a:cubicBezTo>
                    <a:pt x="88" y="14"/>
                    <a:pt x="86" y="14"/>
                    <a:pt x="84" y="14"/>
                  </a:cubicBezTo>
                  <a:cubicBezTo>
                    <a:pt x="82" y="13"/>
                    <a:pt x="80" y="12"/>
                    <a:pt x="78" y="12"/>
                  </a:cubicBezTo>
                  <a:cubicBezTo>
                    <a:pt x="75" y="11"/>
                    <a:pt x="72" y="11"/>
                    <a:pt x="69" y="10"/>
                  </a:cubicBezTo>
                  <a:cubicBezTo>
                    <a:pt x="67" y="10"/>
                    <a:pt x="65" y="9"/>
                    <a:pt x="64" y="9"/>
                  </a:cubicBezTo>
                  <a:cubicBezTo>
                    <a:pt x="63" y="9"/>
                    <a:pt x="62" y="8"/>
                    <a:pt x="62" y="8"/>
                  </a:cubicBezTo>
                  <a:cubicBezTo>
                    <a:pt x="61" y="7"/>
                    <a:pt x="60" y="7"/>
                    <a:pt x="60" y="6"/>
                  </a:cubicBezTo>
                  <a:cubicBezTo>
                    <a:pt x="59" y="5"/>
                    <a:pt x="58" y="5"/>
                    <a:pt x="58" y="4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6" y="4"/>
                    <a:pt x="56" y="4"/>
                    <a:pt x="55" y="4"/>
                  </a:cubicBezTo>
                  <a:cubicBezTo>
                    <a:pt x="52" y="5"/>
                    <a:pt x="48" y="4"/>
                    <a:pt x="44" y="4"/>
                  </a:cubicBezTo>
                  <a:cubicBezTo>
                    <a:pt x="41" y="4"/>
                    <a:pt x="38" y="4"/>
                    <a:pt x="35" y="4"/>
                  </a:cubicBezTo>
                  <a:cubicBezTo>
                    <a:pt x="33" y="3"/>
                    <a:pt x="32" y="3"/>
                    <a:pt x="30" y="3"/>
                  </a:cubicBezTo>
                  <a:cubicBezTo>
                    <a:pt x="28" y="1"/>
                    <a:pt x="25" y="2"/>
                    <a:pt x="22" y="2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6" y="1"/>
                    <a:pt x="14" y="1"/>
                    <a:pt x="12" y="0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10" y="0"/>
                    <a:pt x="10" y="0"/>
                    <a:pt x="10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7" y="2"/>
                    <a:pt x="8" y="3"/>
                    <a:pt x="7" y="3"/>
                  </a:cubicBezTo>
                  <a:cubicBezTo>
                    <a:pt x="6" y="4"/>
                    <a:pt x="5" y="4"/>
                    <a:pt x="4" y="5"/>
                  </a:cubicBezTo>
                  <a:cubicBezTo>
                    <a:pt x="3" y="5"/>
                    <a:pt x="2" y="5"/>
                    <a:pt x="1" y="5"/>
                  </a:cubicBezTo>
                  <a:cubicBezTo>
                    <a:pt x="1" y="6"/>
                    <a:pt x="0" y="7"/>
                    <a:pt x="0" y="9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0"/>
                    <a:pt x="1" y="10"/>
                    <a:pt x="1" y="11"/>
                  </a:cubicBezTo>
                  <a:cubicBezTo>
                    <a:pt x="2" y="11"/>
                    <a:pt x="3" y="12"/>
                    <a:pt x="3" y="12"/>
                  </a:cubicBezTo>
                  <a:cubicBezTo>
                    <a:pt x="3" y="13"/>
                    <a:pt x="3" y="14"/>
                    <a:pt x="3" y="16"/>
                  </a:cubicBezTo>
                  <a:cubicBezTo>
                    <a:pt x="3" y="16"/>
                    <a:pt x="3" y="17"/>
                    <a:pt x="3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5" y="17"/>
                    <a:pt x="6" y="16"/>
                    <a:pt x="8" y="17"/>
                  </a:cubicBezTo>
                  <a:cubicBezTo>
                    <a:pt x="8" y="17"/>
                    <a:pt x="8" y="18"/>
                    <a:pt x="9" y="18"/>
                  </a:cubicBezTo>
                  <a:cubicBezTo>
                    <a:pt x="10" y="20"/>
                    <a:pt x="11" y="18"/>
                    <a:pt x="13" y="19"/>
                  </a:cubicBezTo>
                  <a:cubicBezTo>
                    <a:pt x="14" y="20"/>
                    <a:pt x="15" y="19"/>
                    <a:pt x="16" y="18"/>
                  </a:cubicBezTo>
                  <a:cubicBezTo>
                    <a:pt x="16" y="18"/>
                    <a:pt x="18" y="19"/>
                    <a:pt x="19" y="18"/>
                  </a:cubicBezTo>
                  <a:cubicBezTo>
                    <a:pt x="19" y="18"/>
                    <a:pt x="20" y="18"/>
                    <a:pt x="21" y="18"/>
                  </a:cubicBezTo>
                  <a:cubicBezTo>
                    <a:pt x="21" y="19"/>
                    <a:pt x="21" y="20"/>
                    <a:pt x="21" y="21"/>
                  </a:cubicBezTo>
                  <a:cubicBezTo>
                    <a:pt x="21" y="21"/>
                    <a:pt x="22" y="21"/>
                    <a:pt x="22" y="22"/>
                  </a:cubicBezTo>
                  <a:cubicBezTo>
                    <a:pt x="22" y="22"/>
                    <a:pt x="22" y="23"/>
                    <a:pt x="22" y="24"/>
                  </a:cubicBezTo>
                  <a:cubicBezTo>
                    <a:pt x="21" y="25"/>
                    <a:pt x="20" y="27"/>
                    <a:pt x="19" y="28"/>
                  </a:cubicBezTo>
                  <a:cubicBezTo>
                    <a:pt x="18" y="31"/>
                    <a:pt x="19" y="33"/>
                    <a:pt x="19" y="36"/>
                  </a:cubicBezTo>
                  <a:cubicBezTo>
                    <a:pt x="18" y="37"/>
                    <a:pt x="19" y="38"/>
                    <a:pt x="18" y="40"/>
                  </a:cubicBezTo>
                  <a:cubicBezTo>
                    <a:pt x="17" y="41"/>
                    <a:pt x="16" y="42"/>
                    <a:pt x="15" y="43"/>
                  </a:cubicBezTo>
                  <a:cubicBezTo>
                    <a:pt x="15" y="44"/>
                    <a:pt x="16" y="46"/>
                    <a:pt x="17" y="46"/>
                  </a:cubicBezTo>
                  <a:cubicBezTo>
                    <a:pt x="17" y="49"/>
                    <a:pt x="17" y="51"/>
                    <a:pt x="16" y="53"/>
                  </a:cubicBezTo>
                  <a:cubicBezTo>
                    <a:pt x="15" y="55"/>
                    <a:pt x="16" y="57"/>
                    <a:pt x="15" y="59"/>
                  </a:cubicBezTo>
                  <a:cubicBezTo>
                    <a:pt x="14" y="61"/>
                    <a:pt x="14" y="63"/>
                    <a:pt x="14" y="66"/>
                  </a:cubicBezTo>
                  <a:lnTo>
                    <a:pt x="14" y="67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7" name="Freeform 140"/>
            <p:cNvSpPr>
              <a:spLocks/>
            </p:cNvSpPr>
            <p:nvPr/>
          </p:nvSpPr>
          <p:spPr bwMode="auto">
            <a:xfrm>
              <a:off x="6766362" y="4893028"/>
              <a:ext cx="33347" cy="56809"/>
            </a:xfrm>
            <a:custGeom>
              <a:avLst/>
              <a:gdLst>
                <a:gd name="T0" fmla="*/ 15644591 w 25"/>
                <a:gd name="T1" fmla="*/ 46596156 h 53"/>
                <a:gd name="T2" fmla="*/ 12953021 w 25"/>
                <a:gd name="T3" fmla="*/ 47777703 h 53"/>
                <a:gd name="T4" fmla="*/ 12117629 w 25"/>
                <a:gd name="T5" fmla="*/ 48640344 h 53"/>
                <a:gd name="T6" fmla="*/ 10975465 w 25"/>
                <a:gd name="T7" fmla="*/ 47777703 h 53"/>
                <a:gd name="T8" fmla="*/ 9524393 w 25"/>
                <a:gd name="T9" fmla="*/ 47777703 h 53"/>
                <a:gd name="T10" fmla="*/ 8295957 w 25"/>
                <a:gd name="T11" fmla="*/ 48640344 h 53"/>
                <a:gd name="T12" fmla="*/ 5488568 w 25"/>
                <a:gd name="T13" fmla="*/ 47777703 h 53"/>
                <a:gd name="T14" fmla="*/ 6629066 w 25"/>
                <a:gd name="T15" fmla="*/ 44025101 h 53"/>
                <a:gd name="T16" fmla="*/ 6629066 w 25"/>
                <a:gd name="T17" fmla="*/ 40380309 h 53"/>
                <a:gd name="T18" fmla="*/ 5488568 w 25"/>
                <a:gd name="T19" fmla="*/ 39183621 h 53"/>
                <a:gd name="T20" fmla="*/ 5488568 w 25"/>
                <a:gd name="T21" fmla="*/ 37740697 h 53"/>
                <a:gd name="T22" fmla="*/ 4650620 w 25"/>
                <a:gd name="T23" fmla="*/ 33735471 h 53"/>
                <a:gd name="T24" fmla="*/ 3515237 w 25"/>
                <a:gd name="T25" fmla="*/ 32292396 h 53"/>
                <a:gd name="T26" fmla="*/ 2808927 w 25"/>
                <a:gd name="T27" fmla="*/ 32967604 h 53"/>
                <a:gd name="T28" fmla="*/ 835001 w 25"/>
                <a:gd name="T29" fmla="*/ 32292396 h 53"/>
                <a:gd name="T30" fmla="*/ 835001 w 25"/>
                <a:gd name="T31" fmla="*/ 26338794 h 53"/>
                <a:gd name="T32" fmla="*/ 2808927 w 25"/>
                <a:gd name="T33" fmla="*/ 25710908 h 53"/>
                <a:gd name="T34" fmla="*/ 5488568 w 25"/>
                <a:gd name="T35" fmla="*/ 20975834 h 53"/>
                <a:gd name="T36" fmla="*/ 6629066 w 25"/>
                <a:gd name="T37" fmla="*/ 19431358 h 53"/>
                <a:gd name="T38" fmla="*/ 4650620 w 25"/>
                <a:gd name="T39" fmla="*/ 18314169 h 53"/>
                <a:gd name="T40" fmla="*/ 5488568 w 25"/>
                <a:gd name="T41" fmla="*/ 12861086 h 53"/>
                <a:gd name="T42" fmla="*/ 6629066 w 25"/>
                <a:gd name="T43" fmla="*/ 6581986 h 53"/>
                <a:gd name="T44" fmla="*/ 5488568 w 25"/>
                <a:gd name="T45" fmla="*/ 830962 h 53"/>
                <a:gd name="T46" fmla="*/ 6629066 w 25"/>
                <a:gd name="T47" fmla="*/ 830962 h 53"/>
                <a:gd name="T48" fmla="*/ 10144084 w 25"/>
                <a:gd name="T49" fmla="*/ 830962 h 53"/>
                <a:gd name="T50" fmla="*/ 10975465 w 25"/>
                <a:gd name="T51" fmla="*/ 1959816 h 53"/>
                <a:gd name="T52" fmla="*/ 14926566 w 25"/>
                <a:gd name="T53" fmla="*/ 2790762 h 53"/>
                <a:gd name="T54" fmla="*/ 17606647 w 25"/>
                <a:gd name="T55" fmla="*/ 1959816 h 53"/>
                <a:gd name="T56" fmla="*/ 20413475 w 25"/>
                <a:gd name="T57" fmla="*/ 1959816 h 53"/>
                <a:gd name="T58" fmla="*/ 22477568 w 25"/>
                <a:gd name="T59" fmla="*/ 1959816 h 53"/>
                <a:gd name="T60" fmla="*/ 22477568 w 25"/>
                <a:gd name="T61" fmla="*/ 4622207 h 53"/>
                <a:gd name="T62" fmla="*/ 23108688 w 25"/>
                <a:gd name="T63" fmla="*/ 5453100 h 53"/>
                <a:gd name="T64" fmla="*/ 23108688 w 25"/>
                <a:gd name="T65" fmla="*/ 7412977 h 53"/>
                <a:gd name="T66" fmla="*/ 20413475 w 25"/>
                <a:gd name="T67" fmla="*/ 10901426 h 53"/>
                <a:gd name="T68" fmla="*/ 20413475 w 25"/>
                <a:gd name="T69" fmla="*/ 18314169 h 53"/>
                <a:gd name="T70" fmla="*/ 19578455 w 25"/>
                <a:gd name="T71" fmla="*/ 22068928 h 53"/>
                <a:gd name="T72" fmla="*/ 16480852 w 25"/>
                <a:gd name="T73" fmla="*/ 24879587 h 53"/>
                <a:gd name="T74" fmla="*/ 18442993 w 25"/>
                <a:gd name="T75" fmla="*/ 27515152 h 53"/>
                <a:gd name="T76" fmla="*/ 17606647 w 25"/>
                <a:gd name="T77" fmla="*/ 33735471 h 53"/>
                <a:gd name="T78" fmla="*/ 16480852 w 25"/>
                <a:gd name="T79" fmla="*/ 39183621 h 53"/>
                <a:gd name="T80" fmla="*/ 15644591 w 25"/>
                <a:gd name="T81" fmla="*/ 45828647 h 53"/>
                <a:gd name="T82" fmla="*/ 15644591 w 25"/>
                <a:gd name="T83" fmla="*/ 46596156 h 5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5"/>
                <a:gd name="T127" fmla="*/ 0 h 53"/>
                <a:gd name="T128" fmla="*/ 25 w 25"/>
                <a:gd name="T129" fmla="*/ 53 h 5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5" h="53">
                  <a:moveTo>
                    <a:pt x="17" y="51"/>
                  </a:moveTo>
                  <a:cubicBezTo>
                    <a:pt x="16" y="51"/>
                    <a:pt x="15" y="52"/>
                    <a:pt x="14" y="52"/>
                  </a:cubicBezTo>
                  <a:cubicBezTo>
                    <a:pt x="14" y="53"/>
                    <a:pt x="13" y="53"/>
                    <a:pt x="13" y="53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1" y="51"/>
                    <a:pt x="10" y="51"/>
                    <a:pt x="10" y="52"/>
                  </a:cubicBezTo>
                  <a:cubicBezTo>
                    <a:pt x="9" y="52"/>
                    <a:pt x="9" y="52"/>
                    <a:pt x="9" y="53"/>
                  </a:cubicBezTo>
                  <a:cubicBezTo>
                    <a:pt x="8" y="53"/>
                    <a:pt x="6" y="53"/>
                    <a:pt x="6" y="52"/>
                  </a:cubicBezTo>
                  <a:cubicBezTo>
                    <a:pt x="6" y="51"/>
                    <a:pt x="6" y="50"/>
                    <a:pt x="7" y="48"/>
                  </a:cubicBezTo>
                  <a:cubicBezTo>
                    <a:pt x="8" y="47"/>
                    <a:pt x="7" y="46"/>
                    <a:pt x="7" y="44"/>
                  </a:cubicBezTo>
                  <a:cubicBezTo>
                    <a:pt x="7" y="44"/>
                    <a:pt x="6" y="43"/>
                    <a:pt x="6" y="43"/>
                  </a:cubicBezTo>
                  <a:cubicBezTo>
                    <a:pt x="6" y="42"/>
                    <a:pt x="6" y="41"/>
                    <a:pt x="6" y="41"/>
                  </a:cubicBezTo>
                  <a:cubicBezTo>
                    <a:pt x="5" y="39"/>
                    <a:pt x="6" y="38"/>
                    <a:pt x="5" y="37"/>
                  </a:cubicBezTo>
                  <a:cubicBezTo>
                    <a:pt x="5" y="36"/>
                    <a:pt x="5" y="35"/>
                    <a:pt x="4" y="35"/>
                  </a:cubicBezTo>
                  <a:cubicBezTo>
                    <a:pt x="4" y="34"/>
                    <a:pt x="3" y="35"/>
                    <a:pt x="3" y="36"/>
                  </a:cubicBezTo>
                  <a:cubicBezTo>
                    <a:pt x="2" y="36"/>
                    <a:pt x="1" y="35"/>
                    <a:pt x="1" y="35"/>
                  </a:cubicBezTo>
                  <a:cubicBezTo>
                    <a:pt x="1" y="33"/>
                    <a:pt x="0" y="31"/>
                    <a:pt x="1" y="29"/>
                  </a:cubicBezTo>
                  <a:cubicBezTo>
                    <a:pt x="1" y="28"/>
                    <a:pt x="2" y="28"/>
                    <a:pt x="3" y="28"/>
                  </a:cubicBezTo>
                  <a:cubicBezTo>
                    <a:pt x="4" y="27"/>
                    <a:pt x="5" y="25"/>
                    <a:pt x="6" y="23"/>
                  </a:cubicBezTo>
                  <a:cubicBezTo>
                    <a:pt x="7" y="23"/>
                    <a:pt x="7" y="22"/>
                    <a:pt x="7" y="21"/>
                  </a:cubicBezTo>
                  <a:cubicBezTo>
                    <a:pt x="6" y="20"/>
                    <a:pt x="6" y="20"/>
                    <a:pt x="5" y="20"/>
                  </a:cubicBezTo>
                  <a:cubicBezTo>
                    <a:pt x="5" y="18"/>
                    <a:pt x="6" y="16"/>
                    <a:pt x="6" y="14"/>
                  </a:cubicBezTo>
                  <a:cubicBezTo>
                    <a:pt x="7" y="12"/>
                    <a:pt x="7" y="9"/>
                    <a:pt x="7" y="7"/>
                  </a:cubicBezTo>
                  <a:cubicBezTo>
                    <a:pt x="6" y="5"/>
                    <a:pt x="6" y="3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9" y="0"/>
                    <a:pt x="11" y="1"/>
                  </a:cubicBezTo>
                  <a:cubicBezTo>
                    <a:pt x="11" y="1"/>
                    <a:pt x="11" y="2"/>
                    <a:pt x="12" y="2"/>
                  </a:cubicBezTo>
                  <a:cubicBezTo>
                    <a:pt x="13" y="4"/>
                    <a:pt x="14" y="2"/>
                    <a:pt x="16" y="3"/>
                  </a:cubicBezTo>
                  <a:cubicBezTo>
                    <a:pt x="17" y="4"/>
                    <a:pt x="18" y="3"/>
                    <a:pt x="19" y="2"/>
                  </a:cubicBezTo>
                  <a:cubicBezTo>
                    <a:pt x="19" y="2"/>
                    <a:pt x="21" y="3"/>
                    <a:pt x="22" y="2"/>
                  </a:cubicBezTo>
                  <a:cubicBezTo>
                    <a:pt x="22" y="2"/>
                    <a:pt x="23" y="2"/>
                    <a:pt x="24" y="2"/>
                  </a:cubicBezTo>
                  <a:cubicBezTo>
                    <a:pt x="24" y="3"/>
                    <a:pt x="24" y="4"/>
                    <a:pt x="24" y="5"/>
                  </a:cubicBezTo>
                  <a:cubicBezTo>
                    <a:pt x="24" y="5"/>
                    <a:pt x="25" y="5"/>
                    <a:pt x="25" y="6"/>
                  </a:cubicBezTo>
                  <a:cubicBezTo>
                    <a:pt x="25" y="6"/>
                    <a:pt x="25" y="7"/>
                    <a:pt x="25" y="8"/>
                  </a:cubicBezTo>
                  <a:cubicBezTo>
                    <a:pt x="24" y="9"/>
                    <a:pt x="23" y="11"/>
                    <a:pt x="22" y="12"/>
                  </a:cubicBezTo>
                  <a:cubicBezTo>
                    <a:pt x="21" y="15"/>
                    <a:pt x="22" y="17"/>
                    <a:pt x="22" y="20"/>
                  </a:cubicBezTo>
                  <a:cubicBezTo>
                    <a:pt x="21" y="21"/>
                    <a:pt x="22" y="22"/>
                    <a:pt x="21" y="24"/>
                  </a:cubicBezTo>
                  <a:cubicBezTo>
                    <a:pt x="20" y="25"/>
                    <a:pt x="19" y="26"/>
                    <a:pt x="18" y="27"/>
                  </a:cubicBezTo>
                  <a:cubicBezTo>
                    <a:pt x="18" y="28"/>
                    <a:pt x="19" y="30"/>
                    <a:pt x="20" y="30"/>
                  </a:cubicBezTo>
                  <a:cubicBezTo>
                    <a:pt x="20" y="33"/>
                    <a:pt x="20" y="35"/>
                    <a:pt x="19" y="37"/>
                  </a:cubicBezTo>
                  <a:cubicBezTo>
                    <a:pt x="18" y="39"/>
                    <a:pt x="19" y="41"/>
                    <a:pt x="18" y="43"/>
                  </a:cubicBezTo>
                  <a:cubicBezTo>
                    <a:pt x="17" y="45"/>
                    <a:pt x="17" y="47"/>
                    <a:pt x="17" y="50"/>
                  </a:cubicBezTo>
                  <a:lnTo>
                    <a:pt x="17" y="51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8" name="Freeform 157"/>
            <p:cNvSpPr>
              <a:spLocks/>
            </p:cNvSpPr>
            <p:nvPr/>
          </p:nvSpPr>
          <p:spPr bwMode="auto">
            <a:xfrm>
              <a:off x="7131743" y="4540095"/>
              <a:ext cx="369005" cy="365020"/>
            </a:xfrm>
            <a:custGeom>
              <a:avLst/>
              <a:gdLst>
                <a:gd name="T0" fmla="*/ 157040035 w 274"/>
                <a:gd name="T1" fmla="*/ 217040031 h 337"/>
                <a:gd name="T2" fmla="*/ 150281542 w 274"/>
                <a:gd name="T3" fmla="*/ 226152201 h 337"/>
                <a:gd name="T4" fmla="*/ 142774380 w 274"/>
                <a:gd name="T5" fmla="*/ 246813387 h 337"/>
                <a:gd name="T6" fmla="*/ 154339146 w 274"/>
                <a:gd name="T7" fmla="*/ 262006333 h 337"/>
                <a:gd name="T8" fmla="*/ 155181285 w 274"/>
                <a:gd name="T9" fmla="*/ 315476804 h 337"/>
                <a:gd name="T10" fmla="*/ 140063442 w 274"/>
                <a:gd name="T11" fmla="*/ 302391608 h 337"/>
                <a:gd name="T12" fmla="*/ 120619750 w 274"/>
                <a:gd name="T13" fmla="*/ 297628421 h 337"/>
                <a:gd name="T14" fmla="*/ 98205564 w 274"/>
                <a:gd name="T15" fmla="*/ 292913911 h 337"/>
                <a:gd name="T16" fmla="*/ 78403387 w 274"/>
                <a:gd name="T17" fmla="*/ 279806342 h 337"/>
                <a:gd name="T18" fmla="*/ 82246490 w 274"/>
                <a:gd name="T19" fmla="*/ 264640303 h 337"/>
                <a:gd name="T20" fmla="*/ 83086588 w 274"/>
                <a:gd name="T21" fmla="*/ 257093036 h 337"/>
                <a:gd name="T22" fmla="*/ 94146675 w 274"/>
                <a:gd name="T23" fmla="*/ 238422898 h 337"/>
                <a:gd name="T24" fmla="*/ 81102935 w 274"/>
                <a:gd name="T25" fmla="*/ 228173483 h 337"/>
                <a:gd name="T26" fmla="*/ 60463984 w 274"/>
                <a:gd name="T27" fmla="*/ 215838690 h 337"/>
                <a:gd name="T28" fmla="*/ 54276097 w 274"/>
                <a:gd name="T29" fmla="*/ 210348229 h 337"/>
                <a:gd name="T30" fmla="*/ 33710867 w 274"/>
                <a:gd name="T31" fmla="*/ 206644889 h 337"/>
                <a:gd name="T32" fmla="*/ 38366677 w 274"/>
                <a:gd name="T33" fmla="*/ 192319199 h 337"/>
                <a:gd name="T34" fmla="*/ 28164578 w 274"/>
                <a:gd name="T35" fmla="*/ 179222061 h 337"/>
                <a:gd name="T36" fmla="*/ 8384703 w 274"/>
                <a:gd name="T37" fmla="*/ 163390878 h 337"/>
                <a:gd name="T38" fmla="*/ 2823151 w 274"/>
                <a:gd name="T39" fmla="*/ 144671648 h 337"/>
                <a:gd name="T40" fmla="*/ 13041753 w 274"/>
                <a:gd name="T41" fmla="*/ 121958418 h 337"/>
                <a:gd name="T42" fmla="*/ 6666343 w 274"/>
                <a:gd name="T43" fmla="*/ 114385451 h 337"/>
                <a:gd name="T44" fmla="*/ 15116232 w 274"/>
                <a:gd name="T45" fmla="*/ 101297383 h 337"/>
                <a:gd name="T46" fmla="*/ 17106432 w 274"/>
                <a:gd name="T47" fmla="*/ 73158373 h 337"/>
                <a:gd name="T48" fmla="*/ 12201683 w 274"/>
                <a:gd name="T49" fmla="*/ 49643644 h 337"/>
                <a:gd name="T50" fmla="*/ 6666343 w 274"/>
                <a:gd name="T51" fmla="*/ 24221511 h 337"/>
                <a:gd name="T52" fmla="*/ 11058458 w 274"/>
                <a:gd name="T53" fmla="*/ 3563664 h 337"/>
                <a:gd name="T54" fmla="*/ 24129339 w 274"/>
                <a:gd name="T55" fmla="*/ 5551559 h 337"/>
                <a:gd name="T56" fmla="*/ 41854119 w 274"/>
                <a:gd name="T57" fmla="*/ 9616047 h 337"/>
                <a:gd name="T58" fmla="*/ 79601895 w 274"/>
                <a:gd name="T59" fmla="*/ 27081856 h 337"/>
                <a:gd name="T60" fmla="*/ 75580239 w 274"/>
                <a:gd name="T61" fmla="*/ 46081269 h 337"/>
                <a:gd name="T62" fmla="*/ 30019568 w 274"/>
                <a:gd name="T63" fmla="*/ 35825798 h 337"/>
                <a:gd name="T64" fmla="*/ 40393656 w 274"/>
                <a:gd name="T65" fmla="*/ 44929398 h 337"/>
                <a:gd name="T66" fmla="*/ 46751406 w 274"/>
                <a:gd name="T67" fmla="*/ 66828886 h 337"/>
                <a:gd name="T68" fmla="*/ 64483240 w 274"/>
                <a:gd name="T69" fmla="*/ 75876696 h 337"/>
                <a:gd name="T70" fmla="*/ 54276097 w 274"/>
                <a:gd name="T71" fmla="*/ 63967822 h 337"/>
                <a:gd name="T72" fmla="*/ 68034126 w 274"/>
                <a:gd name="T73" fmla="*/ 63967822 h 337"/>
                <a:gd name="T74" fmla="*/ 85161899 w 274"/>
                <a:gd name="T75" fmla="*/ 67670557 h 337"/>
                <a:gd name="T76" fmla="*/ 88621128 w 274"/>
                <a:gd name="T77" fmla="*/ 47584116 h 337"/>
                <a:gd name="T78" fmla="*/ 105599760 w 274"/>
                <a:gd name="T79" fmla="*/ 48951290 h 337"/>
                <a:gd name="T80" fmla="*/ 104365228 w 274"/>
                <a:gd name="T81" fmla="*/ 17161371 h 337"/>
                <a:gd name="T82" fmla="*/ 113106997 w 274"/>
                <a:gd name="T83" fmla="*/ 27081856 h 337"/>
                <a:gd name="T84" fmla="*/ 124164213 w 274"/>
                <a:gd name="T85" fmla="*/ 38547370 h 337"/>
                <a:gd name="T86" fmla="*/ 136512103 w 274"/>
                <a:gd name="T87" fmla="*/ 27081856 h 337"/>
                <a:gd name="T88" fmla="*/ 157826711 w 274"/>
                <a:gd name="T89" fmla="*/ 17161371 h 337"/>
                <a:gd name="T90" fmla="*/ 166175897 w 274"/>
                <a:gd name="T91" fmla="*/ 18665097 h 337"/>
                <a:gd name="T92" fmla="*/ 171710512 w 274"/>
                <a:gd name="T93" fmla="*/ 20724365 h 337"/>
                <a:gd name="T94" fmla="*/ 187964958 w 274"/>
                <a:gd name="T95" fmla="*/ 17161371 h 337"/>
                <a:gd name="T96" fmla="*/ 201093858 w 274"/>
                <a:gd name="T97" fmla="*/ 17822197 h 337"/>
                <a:gd name="T98" fmla="*/ 213924891 w 274"/>
                <a:gd name="T99" fmla="*/ 13966035 h 337"/>
                <a:gd name="T100" fmla="*/ 230761165 w 274"/>
                <a:gd name="T101" fmla="*/ 2833087 h 337"/>
                <a:gd name="T102" fmla="*/ 237428455 w 274"/>
                <a:gd name="T103" fmla="*/ 187632958 h 337"/>
                <a:gd name="T104" fmla="*/ 240963094 w 274"/>
                <a:gd name="T105" fmla="*/ 197898850 h 337"/>
                <a:gd name="T106" fmla="*/ 240963094 w 274"/>
                <a:gd name="T107" fmla="*/ 212980536 h 337"/>
                <a:gd name="T108" fmla="*/ 221534741 w 274"/>
                <a:gd name="T109" fmla="*/ 215838690 h 337"/>
                <a:gd name="T110" fmla="*/ 199023459 w 274"/>
                <a:gd name="T111" fmla="*/ 221390072 h 337"/>
                <a:gd name="T112" fmla="*/ 185974806 w 274"/>
                <a:gd name="T113" fmla="*/ 210984348 h 33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74"/>
                <a:gd name="T172" fmla="*/ 0 h 337"/>
                <a:gd name="T173" fmla="*/ 274 w 274"/>
                <a:gd name="T174" fmla="*/ 337 h 33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74" h="337">
                  <a:moveTo>
                    <a:pt x="182" y="225"/>
                  </a:moveTo>
                  <a:cubicBezTo>
                    <a:pt x="180" y="225"/>
                    <a:pt x="179" y="225"/>
                    <a:pt x="178" y="226"/>
                  </a:cubicBezTo>
                  <a:cubicBezTo>
                    <a:pt x="177" y="226"/>
                    <a:pt x="177" y="227"/>
                    <a:pt x="176" y="229"/>
                  </a:cubicBezTo>
                  <a:cubicBezTo>
                    <a:pt x="176" y="229"/>
                    <a:pt x="175" y="230"/>
                    <a:pt x="175" y="230"/>
                  </a:cubicBezTo>
                  <a:cubicBezTo>
                    <a:pt x="173" y="230"/>
                    <a:pt x="172" y="230"/>
                    <a:pt x="171" y="230"/>
                  </a:cubicBezTo>
                  <a:cubicBezTo>
                    <a:pt x="170" y="229"/>
                    <a:pt x="169" y="229"/>
                    <a:pt x="168" y="230"/>
                  </a:cubicBezTo>
                  <a:cubicBezTo>
                    <a:pt x="168" y="230"/>
                    <a:pt x="168" y="231"/>
                    <a:pt x="168" y="231"/>
                  </a:cubicBezTo>
                  <a:cubicBezTo>
                    <a:pt x="168" y="231"/>
                    <a:pt x="169" y="232"/>
                    <a:pt x="169" y="232"/>
                  </a:cubicBezTo>
                  <a:cubicBezTo>
                    <a:pt x="169" y="233"/>
                    <a:pt x="169" y="235"/>
                    <a:pt x="169" y="235"/>
                  </a:cubicBezTo>
                  <a:cubicBezTo>
                    <a:pt x="167" y="235"/>
                    <a:pt x="165" y="235"/>
                    <a:pt x="164" y="237"/>
                  </a:cubicBezTo>
                  <a:cubicBezTo>
                    <a:pt x="164" y="237"/>
                    <a:pt x="164" y="237"/>
                    <a:pt x="164" y="238"/>
                  </a:cubicBezTo>
                  <a:cubicBezTo>
                    <a:pt x="164" y="238"/>
                    <a:pt x="164" y="239"/>
                    <a:pt x="164" y="240"/>
                  </a:cubicBezTo>
                  <a:cubicBezTo>
                    <a:pt x="165" y="241"/>
                    <a:pt x="165" y="242"/>
                    <a:pt x="165" y="243"/>
                  </a:cubicBezTo>
                  <a:cubicBezTo>
                    <a:pt x="163" y="244"/>
                    <a:pt x="162" y="242"/>
                    <a:pt x="161" y="241"/>
                  </a:cubicBezTo>
                  <a:cubicBezTo>
                    <a:pt x="159" y="239"/>
                    <a:pt x="157" y="238"/>
                    <a:pt x="155" y="239"/>
                  </a:cubicBezTo>
                  <a:cubicBezTo>
                    <a:pt x="154" y="239"/>
                    <a:pt x="154" y="241"/>
                    <a:pt x="153" y="242"/>
                  </a:cubicBezTo>
                  <a:cubicBezTo>
                    <a:pt x="152" y="243"/>
                    <a:pt x="152" y="245"/>
                    <a:pt x="152" y="246"/>
                  </a:cubicBezTo>
                  <a:cubicBezTo>
                    <a:pt x="151" y="247"/>
                    <a:pt x="151" y="249"/>
                    <a:pt x="152" y="250"/>
                  </a:cubicBezTo>
                  <a:cubicBezTo>
                    <a:pt x="152" y="251"/>
                    <a:pt x="152" y="252"/>
                    <a:pt x="151" y="253"/>
                  </a:cubicBezTo>
                  <a:cubicBezTo>
                    <a:pt x="149" y="255"/>
                    <a:pt x="151" y="258"/>
                    <a:pt x="151" y="261"/>
                  </a:cubicBezTo>
                  <a:cubicBezTo>
                    <a:pt x="151" y="262"/>
                    <a:pt x="153" y="262"/>
                    <a:pt x="153" y="263"/>
                  </a:cubicBezTo>
                  <a:cubicBezTo>
                    <a:pt x="154" y="264"/>
                    <a:pt x="154" y="265"/>
                    <a:pt x="155" y="266"/>
                  </a:cubicBezTo>
                  <a:cubicBezTo>
                    <a:pt x="155" y="267"/>
                    <a:pt x="156" y="267"/>
                    <a:pt x="157" y="267"/>
                  </a:cubicBezTo>
                  <a:cubicBezTo>
                    <a:pt x="158" y="268"/>
                    <a:pt x="159" y="267"/>
                    <a:pt x="160" y="268"/>
                  </a:cubicBezTo>
                  <a:cubicBezTo>
                    <a:pt x="161" y="269"/>
                    <a:pt x="162" y="270"/>
                    <a:pt x="163" y="270"/>
                  </a:cubicBezTo>
                  <a:cubicBezTo>
                    <a:pt x="164" y="271"/>
                    <a:pt x="166" y="272"/>
                    <a:pt x="167" y="273"/>
                  </a:cubicBezTo>
                  <a:cubicBezTo>
                    <a:pt x="167" y="274"/>
                    <a:pt x="167" y="275"/>
                    <a:pt x="167" y="276"/>
                  </a:cubicBezTo>
                  <a:cubicBezTo>
                    <a:pt x="166" y="278"/>
                    <a:pt x="165" y="278"/>
                    <a:pt x="165" y="279"/>
                  </a:cubicBezTo>
                  <a:cubicBezTo>
                    <a:pt x="165" y="280"/>
                    <a:pt x="165" y="282"/>
                    <a:pt x="164" y="283"/>
                  </a:cubicBezTo>
                  <a:cubicBezTo>
                    <a:pt x="163" y="284"/>
                    <a:pt x="162" y="285"/>
                    <a:pt x="162" y="286"/>
                  </a:cubicBezTo>
                  <a:cubicBezTo>
                    <a:pt x="161" y="288"/>
                    <a:pt x="161" y="290"/>
                    <a:pt x="162" y="292"/>
                  </a:cubicBezTo>
                  <a:cubicBezTo>
                    <a:pt x="162" y="292"/>
                    <a:pt x="162" y="292"/>
                    <a:pt x="163" y="292"/>
                  </a:cubicBezTo>
                  <a:cubicBezTo>
                    <a:pt x="170" y="327"/>
                    <a:pt x="170" y="327"/>
                    <a:pt x="170" y="327"/>
                  </a:cubicBezTo>
                  <a:cubicBezTo>
                    <a:pt x="169" y="329"/>
                    <a:pt x="168" y="330"/>
                    <a:pt x="167" y="332"/>
                  </a:cubicBezTo>
                  <a:cubicBezTo>
                    <a:pt x="167" y="333"/>
                    <a:pt x="167" y="335"/>
                    <a:pt x="166" y="336"/>
                  </a:cubicBezTo>
                  <a:cubicBezTo>
                    <a:pt x="166" y="337"/>
                    <a:pt x="166" y="336"/>
                    <a:pt x="166" y="336"/>
                  </a:cubicBezTo>
                  <a:cubicBezTo>
                    <a:pt x="164" y="335"/>
                    <a:pt x="163" y="333"/>
                    <a:pt x="162" y="332"/>
                  </a:cubicBezTo>
                  <a:cubicBezTo>
                    <a:pt x="161" y="332"/>
                    <a:pt x="161" y="332"/>
                    <a:pt x="161" y="332"/>
                  </a:cubicBezTo>
                  <a:cubicBezTo>
                    <a:pt x="160" y="331"/>
                    <a:pt x="159" y="331"/>
                    <a:pt x="159" y="330"/>
                  </a:cubicBezTo>
                  <a:cubicBezTo>
                    <a:pt x="158" y="330"/>
                    <a:pt x="157" y="330"/>
                    <a:pt x="157" y="330"/>
                  </a:cubicBezTo>
                  <a:cubicBezTo>
                    <a:pt x="156" y="328"/>
                    <a:pt x="153" y="326"/>
                    <a:pt x="151" y="324"/>
                  </a:cubicBezTo>
                  <a:cubicBezTo>
                    <a:pt x="150" y="324"/>
                    <a:pt x="150" y="323"/>
                    <a:pt x="150" y="322"/>
                  </a:cubicBezTo>
                  <a:cubicBezTo>
                    <a:pt x="149" y="322"/>
                    <a:pt x="149" y="321"/>
                    <a:pt x="149" y="321"/>
                  </a:cubicBezTo>
                  <a:cubicBezTo>
                    <a:pt x="147" y="321"/>
                    <a:pt x="145" y="322"/>
                    <a:pt x="143" y="321"/>
                  </a:cubicBezTo>
                  <a:cubicBezTo>
                    <a:pt x="142" y="320"/>
                    <a:pt x="142" y="320"/>
                    <a:pt x="141" y="320"/>
                  </a:cubicBezTo>
                  <a:cubicBezTo>
                    <a:pt x="141" y="320"/>
                    <a:pt x="140" y="320"/>
                    <a:pt x="139" y="320"/>
                  </a:cubicBezTo>
                  <a:cubicBezTo>
                    <a:pt x="138" y="321"/>
                    <a:pt x="138" y="322"/>
                    <a:pt x="137" y="322"/>
                  </a:cubicBezTo>
                  <a:cubicBezTo>
                    <a:pt x="136" y="322"/>
                    <a:pt x="135" y="322"/>
                    <a:pt x="134" y="322"/>
                  </a:cubicBezTo>
                  <a:cubicBezTo>
                    <a:pt x="132" y="320"/>
                    <a:pt x="131" y="318"/>
                    <a:pt x="129" y="317"/>
                  </a:cubicBezTo>
                  <a:cubicBezTo>
                    <a:pt x="128" y="317"/>
                    <a:pt x="126" y="317"/>
                    <a:pt x="124" y="317"/>
                  </a:cubicBezTo>
                  <a:cubicBezTo>
                    <a:pt x="124" y="316"/>
                    <a:pt x="123" y="316"/>
                    <a:pt x="123" y="315"/>
                  </a:cubicBezTo>
                  <a:cubicBezTo>
                    <a:pt x="122" y="315"/>
                    <a:pt x="121" y="315"/>
                    <a:pt x="121" y="315"/>
                  </a:cubicBezTo>
                  <a:cubicBezTo>
                    <a:pt x="119" y="314"/>
                    <a:pt x="117" y="315"/>
                    <a:pt x="116" y="314"/>
                  </a:cubicBezTo>
                  <a:cubicBezTo>
                    <a:pt x="114" y="314"/>
                    <a:pt x="113" y="313"/>
                    <a:pt x="112" y="312"/>
                  </a:cubicBezTo>
                  <a:cubicBezTo>
                    <a:pt x="110" y="311"/>
                    <a:pt x="108" y="312"/>
                    <a:pt x="106" y="312"/>
                  </a:cubicBezTo>
                  <a:cubicBezTo>
                    <a:pt x="105" y="312"/>
                    <a:pt x="105" y="312"/>
                    <a:pt x="105" y="312"/>
                  </a:cubicBezTo>
                  <a:cubicBezTo>
                    <a:pt x="104" y="311"/>
                    <a:pt x="104" y="311"/>
                    <a:pt x="103" y="310"/>
                  </a:cubicBezTo>
                  <a:cubicBezTo>
                    <a:pt x="102" y="309"/>
                    <a:pt x="101" y="308"/>
                    <a:pt x="100" y="307"/>
                  </a:cubicBezTo>
                  <a:cubicBezTo>
                    <a:pt x="98" y="306"/>
                    <a:pt x="97" y="305"/>
                    <a:pt x="95" y="304"/>
                  </a:cubicBezTo>
                  <a:cubicBezTo>
                    <a:pt x="94" y="303"/>
                    <a:pt x="92" y="302"/>
                    <a:pt x="90" y="301"/>
                  </a:cubicBezTo>
                  <a:cubicBezTo>
                    <a:pt x="89" y="300"/>
                    <a:pt x="88" y="300"/>
                    <a:pt x="86" y="300"/>
                  </a:cubicBezTo>
                  <a:cubicBezTo>
                    <a:pt x="86" y="300"/>
                    <a:pt x="85" y="299"/>
                    <a:pt x="84" y="298"/>
                  </a:cubicBezTo>
                  <a:cubicBezTo>
                    <a:pt x="84" y="298"/>
                    <a:pt x="84" y="298"/>
                    <a:pt x="84" y="298"/>
                  </a:cubicBezTo>
                  <a:cubicBezTo>
                    <a:pt x="83" y="298"/>
                    <a:pt x="82" y="297"/>
                    <a:pt x="82" y="296"/>
                  </a:cubicBezTo>
                  <a:cubicBezTo>
                    <a:pt x="81" y="295"/>
                    <a:pt x="82" y="294"/>
                    <a:pt x="81" y="293"/>
                  </a:cubicBezTo>
                  <a:cubicBezTo>
                    <a:pt x="83" y="293"/>
                    <a:pt x="84" y="294"/>
                    <a:pt x="85" y="293"/>
                  </a:cubicBezTo>
                  <a:cubicBezTo>
                    <a:pt x="85" y="293"/>
                    <a:pt x="86" y="293"/>
                    <a:pt x="86" y="292"/>
                  </a:cubicBezTo>
                  <a:cubicBezTo>
                    <a:pt x="86" y="290"/>
                    <a:pt x="87" y="288"/>
                    <a:pt x="88" y="286"/>
                  </a:cubicBezTo>
                  <a:cubicBezTo>
                    <a:pt x="88" y="286"/>
                    <a:pt x="89" y="285"/>
                    <a:pt x="89" y="285"/>
                  </a:cubicBezTo>
                  <a:cubicBezTo>
                    <a:pt x="89" y="284"/>
                    <a:pt x="89" y="282"/>
                    <a:pt x="88" y="282"/>
                  </a:cubicBezTo>
                  <a:cubicBezTo>
                    <a:pt x="87" y="281"/>
                    <a:pt x="88" y="280"/>
                    <a:pt x="88" y="280"/>
                  </a:cubicBezTo>
                  <a:cubicBezTo>
                    <a:pt x="89" y="280"/>
                    <a:pt x="90" y="280"/>
                    <a:pt x="91" y="279"/>
                  </a:cubicBezTo>
                  <a:cubicBezTo>
                    <a:pt x="91" y="278"/>
                    <a:pt x="91" y="277"/>
                    <a:pt x="92" y="277"/>
                  </a:cubicBezTo>
                  <a:cubicBezTo>
                    <a:pt x="94" y="275"/>
                    <a:pt x="96" y="276"/>
                    <a:pt x="97" y="274"/>
                  </a:cubicBezTo>
                  <a:cubicBezTo>
                    <a:pt x="97" y="274"/>
                    <a:pt x="97" y="273"/>
                    <a:pt x="97" y="273"/>
                  </a:cubicBezTo>
                  <a:cubicBezTo>
                    <a:pt x="96" y="273"/>
                    <a:pt x="95" y="273"/>
                    <a:pt x="93" y="274"/>
                  </a:cubicBezTo>
                  <a:cubicBezTo>
                    <a:pt x="92" y="274"/>
                    <a:pt x="90" y="274"/>
                    <a:pt x="89" y="274"/>
                  </a:cubicBezTo>
                  <a:cubicBezTo>
                    <a:pt x="89" y="273"/>
                    <a:pt x="89" y="273"/>
                    <a:pt x="89" y="273"/>
                  </a:cubicBezTo>
                  <a:cubicBezTo>
                    <a:pt x="89" y="270"/>
                    <a:pt x="90" y="268"/>
                    <a:pt x="92" y="266"/>
                  </a:cubicBezTo>
                  <a:cubicBezTo>
                    <a:pt x="94" y="265"/>
                    <a:pt x="96" y="266"/>
                    <a:pt x="98" y="265"/>
                  </a:cubicBezTo>
                  <a:cubicBezTo>
                    <a:pt x="99" y="265"/>
                    <a:pt x="100" y="264"/>
                    <a:pt x="100" y="263"/>
                  </a:cubicBezTo>
                  <a:cubicBezTo>
                    <a:pt x="101" y="262"/>
                    <a:pt x="101" y="261"/>
                    <a:pt x="101" y="260"/>
                  </a:cubicBezTo>
                  <a:cubicBezTo>
                    <a:pt x="100" y="259"/>
                    <a:pt x="99" y="258"/>
                    <a:pt x="100" y="257"/>
                  </a:cubicBezTo>
                  <a:cubicBezTo>
                    <a:pt x="101" y="256"/>
                    <a:pt x="102" y="255"/>
                    <a:pt x="101" y="254"/>
                  </a:cubicBezTo>
                  <a:cubicBezTo>
                    <a:pt x="101" y="253"/>
                    <a:pt x="100" y="253"/>
                    <a:pt x="99" y="252"/>
                  </a:cubicBezTo>
                  <a:cubicBezTo>
                    <a:pt x="98" y="252"/>
                    <a:pt x="98" y="251"/>
                    <a:pt x="98" y="251"/>
                  </a:cubicBezTo>
                  <a:cubicBezTo>
                    <a:pt x="98" y="250"/>
                    <a:pt x="98" y="249"/>
                    <a:pt x="98" y="248"/>
                  </a:cubicBezTo>
                  <a:cubicBezTo>
                    <a:pt x="99" y="247"/>
                    <a:pt x="99" y="247"/>
                    <a:pt x="99" y="247"/>
                  </a:cubicBezTo>
                  <a:cubicBezTo>
                    <a:pt x="98" y="246"/>
                    <a:pt x="96" y="247"/>
                    <a:pt x="95" y="246"/>
                  </a:cubicBezTo>
                  <a:cubicBezTo>
                    <a:pt x="93" y="244"/>
                    <a:pt x="92" y="242"/>
                    <a:pt x="90" y="242"/>
                  </a:cubicBezTo>
                  <a:cubicBezTo>
                    <a:pt x="89" y="244"/>
                    <a:pt x="88" y="243"/>
                    <a:pt x="87" y="243"/>
                  </a:cubicBezTo>
                  <a:cubicBezTo>
                    <a:pt x="86" y="243"/>
                    <a:pt x="85" y="242"/>
                    <a:pt x="84" y="241"/>
                  </a:cubicBezTo>
                  <a:cubicBezTo>
                    <a:pt x="83" y="240"/>
                    <a:pt x="83" y="239"/>
                    <a:pt x="82" y="239"/>
                  </a:cubicBezTo>
                  <a:cubicBezTo>
                    <a:pt x="80" y="238"/>
                    <a:pt x="79" y="239"/>
                    <a:pt x="77" y="238"/>
                  </a:cubicBezTo>
                  <a:cubicBezTo>
                    <a:pt x="76" y="240"/>
                    <a:pt x="74" y="240"/>
                    <a:pt x="72" y="239"/>
                  </a:cubicBezTo>
                  <a:cubicBezTo>
                    <a:pt x="71" y="239"/>
                    <a:pt x="70" y="238"/>
                    <a:pt x="70" y="237"/>
                  </a:cubicBezTo>
                  <a:cubicBezTo>
                    <a:pt x="68" y="236"/>
                    <a:pt x="67" y="238"/>
                    <a:pt x="66" y="236"/>
                  </a:cubicBezTo>
                  <a:cubicBezTo>
                    <a:pt x="65" y="234"/>
                    <a:pt x="66" y="232"/>
                    <a:pt x="65" y="230"/>
                  </a:cubicBezTo>
                  <a:cubicBezTo>
                    <a:pt x="65" y="229"/>
                    <a:pt x="64" y="228"/>
                    <a:pt x="64" y="228"/>
                  </a:cubicBezTo>
                  <a:cubicBezTo>
                    <a:pt x="63" y="228"/>
                    <a:pt x="62" y="228"/>
                    <a:pt x="62" y="228"/>
                  </a:cubicBezTo>
                  <a:cubicBezTo>
                    <a:pt x="61" y="228"/>
                    <a:pt x="60" y="229"/>
                    <a:pt x="59" y="230"/>
                  </a:cubicBezTo>
                  <a:cubicBezTo>
                    <a:pt x="58" y="230"/>
                    <a:pt x="57" y="230"/>
                    <a:pt x="57" y="230"/>
                  </a:cubicBezTo>
                  <a:cubicBezTo>
                    <a:pt x="57" y="230"/>
                    <a:pt x="56" y="229"/>
                    <a:pt x="56" y="229"/>
                  </a:cubicBezTo>
                  <a:cubicBezTo>
                    <a:pt x="56" y="228"/>
                    <a:pt x="56" y="227"/>
                    <a:pt x="56" y="226"/>
                  </a:cubicBezTo>
                  <a:cubicBezTo>
                    <a:pt x="57" y="226"/>
                    <a:pt x="57" y="225"/>
                    <a:pt x="58" y="224"/>
                  </a:cubicBezTo>
                  <a:cubicBezTo>
                    <a:pt x="58" y="224"/>
                    <a:pt x="58" y="223"/>
                    <a:pt x="58" y="223"/>
                  </a:cubicBezTo>
                  <a:cubicBezTo>
                    <a:pt x="57" y="221"/>
                    <a:pt x="56" y="220"/>
                    <a:pt x="55" y="219"/>
                  </a:cubicBezTo>
                  <a:cubicBezTo>
                    <a:pt x="55" y="219"/>
                    <a:pt x="54" y="218"/>
                    <a:pt x="54" y="218"/>
                  </a:cubicBezTo>
                  <a:cubicBezTo>
                    <a:pt x="52" y="217"/>
                    <a:pt x="51" y="218"/>
                    <a:pt x="50" y="218"/>
                  </a:cubicBezTo>
                  <a:cubicBezTo>
                    <a:pt x="47" y="217"/>
                    <a:pt x="45" y="217"/>
                    <a:pt x="43" y="218"/>
                  </a:cubicBezTo>
                  <a:cubicBezTo>
                    <a:pt x="42" y="218"/>
                    <a:pt x="42" y="219"/>
                    <a:pt x="41" y="220"/>
                  </a:cubicBezTo>
                  <a:cubicBezTo>
                    <a:pt x="39" y="221"/>
                    <a:pt x="37" y="220"/>
                    <a:pt x="36" y="220"/>
                  </a:cubicBezTo>
                  <a:cubicBezTo>
                    <a:pt x="36" y="220"/>
                    <a:pt x="35" y="219"/>
                    <a:pt x="35" y="219"/>
                  </a:cubicBezTo>
                  <a:cubicBezTo>
                    <a:pt x="35" y="216"/>
                    <a:pt x="35" y="212"/>
                    <a:pt x="35" y="209"/>
                  </a:cubicBezTo>
                  <a:cubicBezTo>
                    <a:pt x="35" y="208"/>
                    <a:pt x="36" y="208"/>
                    <a:pt x="37" y="208"/>
                  </a:cubicBezTo>
                  <a:cubicBezTo>
                    <a:pt x="37" y="209"/>
                    <a:pt x="37" y="209"/>
                    <a:pt x="38" y="209"/>
                  </a:cubicBezTo>
                  <a:cubicBezTo>
                    <a:pt x="38" y="210"/>
                    <a:pt x="39" y="210"/>
                    <a:pt x="39" y="210"/>
                  </a:cubicBezTo>
                  <a:cubicBezTo>
                    <a:pt x="39" y="209"/>
                    <a:pt x="40" y="209"/>
                    <a:pt x="40" y="209"/>
                  </a:cubicBezTo>
                  <a:cubicBezTo>
                    <a:pt x="42" y="208"/>
                    <a:pt x="41" y="206"/>
                    <a:pt x="41" y="205"/>
                  </a:cubicBezTo>
                  <a:cubicBezTo>
                    <a:pt x="40" y="204"/>
                    <a:pt x="38" y="203"/>
                    <a:pt x="38" y="202"/>
                  </a:cubicBezTo>
                  <a:cubicBezTo>
                    <a:pt x="37" y="201"/>
                    <a:pt x="38" y="199"/>
                    <a:pt x="37" y="198"/>
                  </a:cubicBezTo>
                  <a:cubicBezTo>
                    <a:pt x="37" y="198"/>
                    <a:pt x="37" y="198"/>
                    <a:pt x="36" y="198"/>
                  </a:cubicBezTo>
                  <a:cubicBezTo>
                    <a:pt x="36" y="197"/>
                    <a:pt x="35" y="198"/>
                    <a:pt x="34" y="197"/>
                  </a:cubicBezTo>
                  <a:cubicBezTo>
                    <a:pt x="33" y="197"/>
                    <a:pt x="33" y="197"/>
                    <a:pt x="32" y="196"/>
                  </a:cubicBezTo>
                  <a:cubicBezTo>
                    <a:pt x="32" y="195"/>
                    <a:pt x="32" y="194"/>
                    <a:pt x="32" y="193"/>
                  </a:cubicBezTo>
                  <a:cubicBezTo>
                    <a:pt x="31" y="192"/>
                    <a:pt x="30" y="191"/>
                    <a:pt x="30" y="191"/>
                  </a:cubicBezTo>
                  <a:cubicBezTo>
                    <a:pt x="27" y="189"/>
                    <a:pt x="29" y="185"/>
                    <a:pt x="28" y="182"/>
                  </a:cubicBezTo>
                  <a:cubicBezTo>
                    <a:pt x="28" y="181"/>
                    <a:pt x="26" y="179"/>
                    <a:pt x="25" y="178"/>
                  </a:cubicBezTo>
                  <a:cubicBezTo>
                    <a:pt x="24" y="178"/>
                    <a:pt x="24" y="178"/>
                    <a:pt x="23" y="178"/>
                  </a:cubicBezTo>
                  <a:cubicBezTo>
                    <a:pt x="23" y="178"/>
                    <a:pt x="23" y="179"/>
                    <a:pt x="22" y="179"/>
                  </a:cubicBezTo>
                  <a:cubicBezTo>
                    <a:pt x="20" y="179"/>
                    <a:pt x="19" y="180"/>
                    <a:pt x="18" y="179"/>
                  </a:cubicBezTo>
                  <a:cubicBezTo>
                    <a:pt x="17" y="178"/>
                    <a:pt x="18" y="176"/>
                    <a:pt x="17" y="175"/>
                  </a:cubicBezTo>
                  <a:cubicBezTo>
                    <a:pt x="14" y="174"/>
                    <a:pt x="11" y="175"/>
                    <a:pt x="9" y="174"/>
                  </a:cubicBezTo>
                  <a:cubicBezTo>
                    <a:pt x="8" y="171"/>
                    <a:pt x="5" y="170"/>
                    <a:pt x="4" y="168"/>
                  </a:cubicBezTo>
                  <a:cubicBezTo>
                    <a:pt x="4" y="166"/>
                    <a:pt x="4" y="164"/>
                    <a:pt x="5" y="162"/>
                  </a:cubicBezTo>
                  <a:cubicBezTo>
                    <a:pt x="5" y="162"/>
                    <a:pt x="4" y="162"/>
                    <a:pt x="4" y="161"/>
                  </a:cubicBezTo>
                  <a:cubicBezTo>
                    <a:pt x="4" y="161"/>
                    <a:pt x="4" y="161"/>
                    <a:pt x="4" y="161"/>
                  </a:cubicBezTo>
                  <a:cubicBezTo>
                    <a:pt x="3" y="160"/>
                    <a:pt x="2" y="159"/>
                    <a:pt x="2" y="158"/>
                  </a:cubicBezTo>
                  <a:cubicBezTo>
                    <a:pt x="1" y="157"/>
                    <a:pt x="2" y="157"/>
                    <a:pt x="2" y="156"/>
                  </a:cubicBezTo>
                  <a:cubicBezTo>
                    <a:pt x="2" y="155"/>
                    <a:pt x="3" y="155"/>
                    <a:pt x="3" y="154"/>
                  </a:cubicBezTo>
                  <a:cubicBezTo>
                    <a:pt x="4" y="154"/>
                    <a:pt x="4" y="153"/>
                    <a:pt x="5" y="152"/>
                  </a:cubicBezTo>
                  <a:cubicBezTo>
                    <a:pt x="6" y="151"/>
                    <a:pt x="3" y="150"/>
                    <a:pt x="2" y="149"/>
                  </a:cubicBezTo>
                  <a:cubicBezTo>
                    <a:pt x="2" y="146"/>
                    <a:pt x="2" y="143"/>
                    <a:pt x="2" y="140"/>
                  </a:cubicBezTo>
                  <a:cubicBezTo>
                    <a:pt x="4" y="139"/>
                    <a:pt x="6" y="137"/>
                    <a:pt x="6" y="134"/>
                  </a:cubicBezTo>
                  <a:cubicBezTo>
                    <a:pt x="5" y="134"/>
                    <a:pt x="5" y="134"/>
                    <a:pt x="5" y="134"/>
                  </a:cubicBezTo>
                  <a:cubicBezTo>
                    <a:pt x="6" y="134"/>
                    <a:pt x="5" y="132"/>
                    <a:pt x="5" y="131"/>
                  </a:cubicBezTo>
                  <a:cubicBezTo>
                    <a:pt x="8" y="131"/>
                    <a:pt x="11" y="132"/>
                    <a:pt x="14" y="130"/>
                  </a:cubicBezTo>
                  <a:cubicBezTo>
                    <a:pt x="16" y="130"/>
                    <a:pt x="19" y="130"/>
                    <a:pt x="21" y="129"/>
                  </a:cubicBezTo>
                  <a:cubicBezTo>
                    <a:pt x="21" y="129"/>
                    <a:pt x="21" y="128"/>
                    <a:pt x="21" y="128"/>
                  </a:cubicBezTo>
                  <a:cubicBezTo>
                    <a:pt x="20" y="127"/>
                    <a:pt x="19" y="125"/>
                    <a:pt x="17" y="125"/>
                  </a:cubicBezTo>
                  <a:cubicBezTo>
                    <a:pt x="15" y="124"/>
                    <a:pt x="14" y="125"/>
                    <a:pt x="12" y="124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10" y="123"/>
                    <a:pt x="10" y="122"/>
                    <a:pt x="9" y="122"/>
                  </a:cubicBezTo>
                  <a:cubicBezTo>
                    <a:pt x="8" y="121"/>
                    <a:pt x="8" y="121"/>
                    <a:pt x="7" y="122"/>
                  </a:cubicBezTo>
                  <a:cubicBezTo>
                    <a:pt x="6" y="122"/>
                    <a:pt x="5" y="122"/>
                    <a:pt x="4" y="122"/>
                  </a:cubicBezTo>
                  <a:cubicBezTo>
                    <a:pt x="4" y="121"/>
                    <a:pt x="4" y="121"/>
                    <a:pt x="4" y="121"/>
                  </a:cubicBezTo>
                  <a:cubicBezTo>
                    <a:pt x="4" y="120"/>
                    <a:pt x="4" y="120"/>
                    <a:pt x="4" y="119"/>
                  </a:cubicBezTo>
                  <a:cubicBezTo>
                    <a:pt x="5" y="119"/>
                    <a:pt x="6" y="118"/>
                    <a:pt x="7" y="118"/>
                  </a:cubicBezTo>
                  <a:cubicBezTo>
                    <a:pt x="8" y="117"/>
                    <a:pt x="9" y="116"/>
                    <a:pt x="10" y="115"/>
                  </a:cubicBezTo>
                  <a:cubicBezTo>
                    <a:pt x="11" y="114"/>
                    <a:pt x="11" y="113"/>
                    <a:pt x="12" y="112"/>
                  </a:cubicBezTo>
                  <a:cubicBezTo>
                    <a:pt x="13" y="110"/>
                    <a:pt x="15" y="109"/>
                    <a:pt x="16" y="108"/>
                  </a:cubicBezTo>
                  <a:cubicBezTo>
                    <a:pt x="17" y="107"/>
                    <a:pt x="17" y="106"/>
                    <a:pt x="18" y="105"/>
                  </a:cubicBezTo>
                  <a:cubicBezTo>
                    <a:pt x="20" y="101"/>
                    <a:pt x="23" y="98"/>
                    <a:pt x="25" y="94"/>
                  </a:cubicBezTo>
                  <a:cubicBezTo>
                    <a:pt x="26" y="93"/>
                    <a:pt x="26" y="91"/>
                    <a:pt x="26" y="89"/>
                  </a:cubicBezTo>
                  <a:cubicBezTo>
                    <a:pt x="23" y="88"/>
                    <a:pt x="21" y="86"/>
                    <a:pt x="19" y="84"/>
                  </a:cubicBezTo>
                  <a:cubicBezTo>
                    <a:pt x="19" y="84"/>
                    <a:pt x="18" y="84"/>
                    <a:pt x="17" y="84"/>
                  </a:cubicBezTo>
                  <a:cubicBezTo>
                    <a:pt x="16" y="83"/>
                    <a:pt x="16" y="81"/>
                    <a:pt x="16" y="80"/>
                  </a:cubicBezTo>
                  <a:cubicBezTo>
                    <a:pt x="16" y="79"/>
                    <a:pt x="18" y="79"/>
                    <a:pt x="18" y="78"/>
                  </a:cubicBezTo>
                  <a:cubicBezTo>
                    <a:pt x="18" y="77"/>
                    <a:pt x="18" y="76"/>
                    <a:pt x="18" y="76"/>
                  </a:cubicBezTo>
                  <a:cubicBezTo>
                    <a:pt x="17" y="75"/>
                    <a:pt x="16" y="75"/>
                    <a:pt x="15" y="75"/>
                  </a:cubicBezTo>
                  <a:cubicBezTo>
                    <a:pt x="14" y="74"/>
                    <a:pt x="14" y="72"/>
                    <a:pt x="13" y="71"/>
                  </a:cubicBezTo>
                  <a:cubicBezTo>
                    <a:pt x="13" y="70"/>
                    <a:pt x="13" y="70"/>
                    <a:pt x="12" y="69"/>
                  </a:cubicBezTo>
                  <a:cubicBezTo>
                    <a:pt x="12" y="68"/>
                    <a:pt x="12" y="67"/>
                    <a:pt x="12" y="66"/>
                  </a:cubicBezTo>
                  <a:cubicBezTo>
                    <a:pt x="12" y="64"/>
                    <a:pt x="12" y="62"/>
                    <a:pt x="12" y="60"/>
                  </a:cubicBezTo>
                  <a:cubicBezTo>
                    <a:pt x="13" y="58"/>
                    <a:pt x="14" y="56"/>
                    <a:pt x="13" y="53"/>
                  </a:cubicBezTo>
                  <a:cubicBezTo>
                    <a:pt x="12" y="49"/>
                    <a:pt x="8" y="46"/>
                    <a:pt x="6" y="42"/>
                  </a:cubicBezTo>
                  <a:cubicBezTo>
                    <a:pt x="6" y="41"/>
                    <a:pt x="6" y="40"/>
                    <a:pt x="6" y="39"/>
                  </a:cubicBezTo>
                  <a:cubicBezTo>
                    <a:pt x="6" y="38"/>
                    <a:pt x="7" y="37"/>
                    <a:pt x="7" y="36"/>
                  </a:cubicBezTo>
                  <a:cubicBezTo>
                    <a:pt x="8" y="36"/>
                    <a:pt x="8" y="35"/>
                    <a:pt x="8" y="35"/>
                  </a:cubicBezTo>
                  <a:cubicBezTo>
                    <a:pt x="9" y="34"/>
                    <a:pt x="9" y="34"/>
                    <a:pt x="10" y="33"/>
                  </a:cubicBezTo>
                  <a:cubicBezTo>
                    <a:pt x="11" y="32"/>
                    <a:pt x="11" y="31"/>
                    <a:pt x="10" y="30"/>
                  </a:cubicBezTo>
                  <a:cubicBezTo>
                    <a:pt x="10" y="28"/>
                    <a:pt x="8" y="27"/>
                    <a:pt x="7" y="26"/>
                  </a:cubicBezTo>
                  <a:cubicBezTo>
                    <a:pt x="6" y="24"/>
                    <a:pt x="3" y="25"/>
                    <a:pt x="2" y="24"/>
                  </a:cubicBezTo>
                  <a:cubicBezTo>
                    <a:pt x="0" y="23"/>
                    <a:pt x="1" y="21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18"/>
                    <a:pt x="0" y="16"/>
                    <a:pt x="1" y="14"/>
                  </a:cubicBezTo>
                  <a:cubicBezTo>
                    <a:pt x="1" y="14"/>
                    <a:pt x="2" y="13"/>
                    <a:pt x="2" y="13"/>
                  </a:cubicBezTo>
                  <a:cubicBezTo>
                    <a:pt x="3" y="12"/>
                    <a:pt x="3" y="12"/>
                    <a:pt x="4" y="11"/>
                  </a:cubicBezTo>
                  <a:cubicBezTo>
                    <a:pt x="7" y="9"/>
                    <a:pt x="10" y="7"/>
                    <a:pt x="12" y="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6" y="4"/>
                    <a:pt x="19" y="5"/>
                    <a:pt x="22" y="3"/>
                  </a:cubicBezTo>
                  <a:cubicBezTo>
                    <a:pt x="22" y="3"/>
                    <a:pt x="23" y="2"/>
                    <a:pt x="23" y="1"/>
                  </a:cubicBezTo>
                  <a:cubicBezTo>
                    <a:pt x="26" y="1"/>
                    <a:pt x="29" y="2"/>
                    <a:pt x="32" y="3"/>
                  </a:cubicBezTo>
                  <a:cubicBezTo>
                    <a:pt x="32" y="3"/>
                    <a:pt x="32" y="4"/>
                    <a:pt x="31" y="5"/>
                  </a:cubicBezTo>
                  <a:cubicBezTo>
                    <a:pt x="29" y="5"/>
                    <a:pt x="28" y="5"/>
                    <a:pt x="26" y="5"/>
                  </a:cubicBezTo>
                  <a:cubicBezTo>
                    <a:pt x="26" y="5"/>
                    <a:pt x="26" y="6"/>
                    <a:pt x="26" y="6"/>
                  </a:cubicBezTo>
                  <a:cubicBezTo>
                    <a:pt x="27" y="7"/>
                    <a:pt x="29" y="7"/>
                    <a:pt x="31" y="7"/>
                  </a:cubicBezTo>
                  <a:cubicBezTo>
                    <a:pt x="31" y="7"/>
                    <a:pt x="31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3" y="8"/>
                    <a:pt x="33" y="9"/>
                    <a:pt x="34" y="9"/>
                  </a:cubicBezTo>
                  <a:cubicBezTo>
                    <a:pt x="35" y="10"/>
                    <a:pt x="36" y="10"/>
                    <a:pt x="36" y="9"/>
                  </a:cubicBezTo>
                  <a:cubicBezTo>
                    <a:pt x="38" y="9"/>
                    <a:pt x="41" y="9"/>
                    <a:pt x="43" y="9"/>
                  </a:cubicBezTo>
                  <a:cubicBezTo>
                    <a:pt x="44" y="9"/>
                    <a:pt x="45" y="10"/>
                    <a:pt x="45" y="10"/>
                  </a:cubicBezTo>
                  <a:cubicBezTo>
                    <a:pt x="50" y="11"/>
                    <a:pt x="55" y="12"/>
                    <a:pt x="59" y="14"/>
                  </a:cubicBezTo>
                  <a:cubicBezTo>
                    <a:pt x="61" y="14"/>
                    <a:pt x="62" y="16"/>
                    <a:pt x="64" y="17"/>
                  </a:cubicBezTo>
                  <a:cubicBezTo>
                    <a:pt x="66" y="18"/>
                    <a:pt x="69" y="20"/>
                    <a:pt x="71" y="22"/>
                  </a:cubicBezTo>
                  <a:cubicBezTo>
                    <a:pt x="72" y="22"/>
                    <a:pt x="73" y="22"/>
                    <a:pt x="74" y="23"/>
                  </a:cubicBezTo>
                  <a:cubicBezTo>
                    <a:pt x="74" y="23"/>
                    <a:pt x="75" y="24"/>
                    <a:pt x="76" y="25"/>
                  </a:cubicBezTo>
                  <a:cubicBezTo>
                    <a:pt x="78" y="25"/>
                    <a:pt x="80" y="24"/>
                    <a:pt x="81" y="25"/>
                  </a:cubicBezTo>
                  <a:cubicBezTo>
                    <a:pt x="83" y="26"/>
                    <a:pt x="84" y="27"/>
                    <a:pt x="85" y="29"/>
                  </a:cubicBezTo>
                  <a:cubicBezTo>
                    <a:pt x="85" y="29"/>
                    <a:pt x="86" y="30"/>
                    <a:pt x="87" y="30"/>
                  </a:cubicBezTo>
                  <a:cubicBezTo>
                    <a:pt x="88" y="30"/>
                    <a:pt x="88" y="30"/>
                    <a:pt x="89" y="31"/>
                  </a:cubicBezTo>
                  <a:cubicBezTo>
                    <a:pt x="91" y="33"/>
                    <a:pt x="92" y="36"/>
                    <a:pt x="90" y="38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90" y="40"/>
                    <a:pt x="90" y="40"/>
                    <a:pt x="90" y="41"/>
                  </a:cubicBezTo>
                  <a:cubicBezTo>
                    <a:pt x="89" y="42"/>
                    <a:pt x="89" y="44"/>
                    <a:pt x="87" y="45"/>
                  </a:cubicBezTo>
                  <a:cubicBezTo>
                    <a:pt x="85" y="46"/>
                    <a:pt x="83" y="47"/>
                    <a:pt x="81" y="49"/>
                  </a:cubicBezTo>
                  <a:cubicBezTo>
                    <a:pt x="77" y="49"/>
                    <a:pt x="72" y="50"/>
                    <a:pt x="68" y="48"/>
                  </a:cubicBezTo>
                  <a:cubicBezTo>
                    <a:pt x="66" y="47"/>
                    <a:pt x="64" y="47"/>
                    <a:pt x="62" y="46"/>
                  </a:cubicBezTo>
                  <a:cubicBezTo>
                    <a:pt x="59" y="46"/>
                    <a:pt x="56" y="46"/>
                    <a:pt x="54" y="46"/>
                  </a:cubicBezTo>
                  <a:cubicBezTo>
                    <a:pt x="52" y="45"/>
                    <a:pt x="51" y="44"/>
                    <a:pt x="50" y="44"/>
                  </a:cubicBezTo>
                  <a:cubicBezTo>
                    <a:pt x="48" y="43"/>
                    <a:pt x="45" y="44"/>
                    <a:pt x="44" y="43"/>
                  </a:cubicBezTo>
                  <a:cubicBezTo>
                    <a:pt x="42" y="42"/>
                    <a:pt x="39" y="43"/>
                    <a:pt x="37" y="42"/>
                  </a:cubicBezTo>
                  <a:cubicBezTo>
                    <a:pt x="35" y="41"/>
                    <a:pt x="35" y="38"/>
                    <a:pt x="32" y="38"/>
                  </a:cubicBezTo>
                  <a:cubicBezTo>
                    <a:pt x="31" y="38"/>
                    <a:pt x="30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9"/>
                    <a:pt x="32" y="39"/>
                    <a:pt x="32" y="40"/>
                  </a:cubicBezTo>
                  <a:cubicBezTo>
                    <a:pt x="32" y="41"/>
                    <a:pt x="33" y="41"/>
                    <a:pt x="33" y="42"/>
                  </a:cubicBezTo>
                  <a:cubicBezTo>
                    <a:pt x="35" y="43"/>
                    <a:pt x="37" y="44"/>
                    <a:pt x="38" y="45"/>
                  </a:cubicBezTo>
                  <a:cubicBezTo>
                    <a:pt x="39" y="47"/>
                    <a:pt x="39" y="48"/>
                    <a:pt x="40" y="48"/>
                  </a:cubicBezTo>
                  <a:cubicBezTo>
                    <a:pt x="41" y="48"/>
                    <a:pt x="42" y="48"/>
                    <a:pt x="43" y="48"/>
                  </a:cubicBezTo>
                  <a:cubicBezTo>
                    <a:pt x="44" y="49"/>
                    <a:pt x="45" y="49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7" y="51"/>
                    <a:pt x="48" y="52"/>
                    <a:pt x="49" y="54"/>
                  </a:cubicBezTo>
                  <a:cubicBezTo>
                    <a:pt x="49" y="55"/>
                    <a:pt x="49" y="56"/>
                    <a:pt x="49" y="56"/>
                  </a:cubicBezTo>
                  <a:cubicBezTo>
                    <a:pt x="49" y="57"/>
                    <a:pt x="48" y="57"/>
                    <a:pt x="48" y="58"/>
                  </a:cubicBezTo>
                  <a:cubicBezTo>
                    <a:pt x="47" y="61"/>
                    <a:pt x="48" y="64"/>
                    <a:pt x="50" y="66"/>
                  </a:cubicBezTo>
                  <a:cubicBezTo>
                    <a:pt x="50" y="68"/>
                    <a:pt x="50" y="70"/>
                    <a:pt x="50" y="71"/>
                  </a:cubicBezTo>
                  <a:cubicBezTo>
                    <a:pt x="50" y="72"/>
                    <a:pt x="51" y="72"/>
                    <a:pt x="52" y="73"/>
                  </a:cubicBezTo>
                  <a:cubicBezTo>
                    <a:pt x="53" y="73"/>
                    <a:pt x="54" y="73"/>
                    <a:pt x="56" y="73"/>
                  </a:cubicBezTo>
                  <a:cubicBezTo>
                    <a:pt x="57" y="74"/>
                    <a:pt x="57" y="75"/>
                    <a:pt x="58" y="76"/>
                  </a:cubicBezTo>
                  <a:cubicBezTo>
                    <a:pt x="59" y="77"/>
                    <a:pt x="60" y="78"/>
                    <a:pt x="61" y="79"/>
                  </a:cubicBezTo>
                  <a:cubicBezTo>
                    <a:pt x="63" y="79"/>
                    <a:pt x="64" y="79"/>
                    <a:pt x="65" y="79"/>
                  </a:cubicBezTo>
                  <a:cubicBezTo>
                    <a:pt x="66" y="80"/>
                    <a:pt x="66" y="80"/>
                    <a:pt x="67" y="81"/>
                  </a:cubicBezTo>
                  <a:cubicBezTo>
                    <a:pt x="68" y="81"/>
                    <a:pt x="68" y="81"/>
                    <a:pt x="69" y="81"/>
                  </a:cubicBezTo>
                  <a:cubicBezTo>
                    <a:pt x="70" y="81"/>
                    <a:pt x="70" y="80"/>
                    <a:pt x="71" y="80"/>
                  </a:cubicBezTo>
                  <a:cubicBezTo>
                    <a:pt x="71" y="80"/>
                    <a:pt x="73" y="80"/>
                    <a:pt x="73" y="80"/>
                  </a:cubicBezTo>
                  <a:cubicBezTo>
                    <a:pt x="73" y="79"/>
                    <a:pt x="73" y="78"/>
                    <a:pt x="73" y="77"/>
                  </a:cubicBezTo>
                  <a:cubicBezTo>
                    <a:pt x="71" y="76"/>
                    <a:pt x="72" y="74"/>
                    <a:pt x="71" y="74"/>
                  </a:cubicBezTo>
                  <a:cubicBezTo>
                    <a:pt x="69" y="73"/>
                    <a:pt x="68" y="74"/>
                    <a:pt x="66" y="74"/>
                  </a:cubicBezTo>
                  <a:cubicBezTo>
                    <a:pt x="63" y="72"/>
                    <a:pt x="62" y="70"/>
                    <a:pt x="59" y="68"/>
                  </a:cubicBezTo>
                  <a:cubicBezTo>
                    <a:pt x="59" y="68"/>
                    <a:pt x="58" y="68"/>
                    <a:pt x="58" y="68"/>
                  </a:cubicBezTo>
                  <a:cubicBezTo>
                    <a:pt x="58" y="67"/>
                    <a:pt x="58" y="67"/>
                    <a:pt x="58" y="67"/>
                  </a:cubicBezTo>
                  <a:cubicBezTo>
                    <a:pt x="59" y="66"/>
                    <a:pt x="61" y="67"/>
                    <a:pt x="62" y="66"/>
                  </a:cubicBezTo>
                  <a:cubicBezTo>
                    <a:pt x="62" y="65"/>
                    <a:pt x="62" y="63"/>
                    <a:pt x="62" y="61"/>
                  </a:cubicBezTo>
                  <a:cubicBezTo>
                    <a:pt x="63" y="61"/>
                    <a:pt x="65" y="61"/>
                    <a:pt x="66" y="62"/>
                  </a:cubicBezTo>
                  <a:cubicBezTo>
                    <a:pt x="67" y="63"/>
                    <a:pt x="68" y="64"/>
                    <a:pt x="69" y="64"/>
                  </a:cubicBezTo>
                  <a:cubicBezTo>
                    <a:pt x="70" y="65"/>
                    <a:pt x="71" y="65"/>
                    <a:pt x="72" y="65"/>
                  </a:cubicBezTo>
                  <a:cubicBezTo>
                    <a:pt x="73" y="66"/>
                    <a:pt x="73" y="67"/>
                    <a:pt x="73" y="68"/>
                  </a:cubicBezTo>
                  <a:cubicBezTo>
                    <a:pt x="74" y="68"/>
                    <a:pt x="75" y="68"/>
                    <a:pt x="75" y="67"/>
                  </a:cubicBezTo>
                  <a:cubicBezTo>
                    <a:pt x="76" y="67"/>
                    <a:pt x="76" y="67"/>
                    <a:pt x="77" y="67"/>
                  </a:cubicBezTo>
                  <a:cubicBezTo>
                    <a:pt x="78" y="68"/>
                    <a:pt x="80" y="69"/>
                    <a:pt x="81" y="70"/>
                  </a:cubicBezTo>
                  <a:cubicBezTo>
                    <a:pt x="82" y="71"/>
                    <a:pt x="84" y="70"/>
                    <a:pt x="84" y="70"/>
                  </a:cubicBezTo>
                  <a:cubicBezTo>
                    <a:pt x="84" y="69"/>
                    <a:pt x="85" y="69"/>
                    <a:pt x="86" y="70"/>
                  </a:cubicBezTo>
                  <a:cubicBezTo>
                    <a:pt x="87" y="70"/>
                    <a:pt x="88" y="71"/>
                    <a:pt x="89" y="72"/>
                  </a:cubicBezTo>
                  <a:cubicBezTo>
                    <a:pt x="90" y="72"/>
                    <a:pt x="91" y="72"/>
                    <a:pt x="91" y="72"/>
                  </a:cubicBezTo>
                  <a:cubicBezTo>
                    <a:pt x="92" y="71"/>
                    <a:pt x="92" y="69"/>
                    <a:pt x="91" y="68"/>
                  </a:cubicBezTo>
                  <a:cubicBezTo>
                    <a:pt x="91" y="67"/>
                    <a:pt x="90" y="66"/>
                    <a:pt x="90" y="65"/>
                  </a:cubicBezTo>
                  <a:cubicBezTo>
                    <a:pt x="89" y="64"/>
                    <a:pt x="88" y="63"/>
                    <a:pt x="88" y="63"/>
                  </a:cubicBezTo>
                  <a:cubicBezTo>
                    <a:pt x="86" y="62"/>
                    <a:pt x="84" y="61"/>
                    <a:pt x="83" y="60"/>
                  </a:cubicBezTo>
                  <a:cubicBezTo>
                    <a:pt x="83" y="59"/>
                    <a:pt x="83" y="58"/>
                    <a:pt x="84" y="57"/>
                  </a:cubicBezTo>
                  <a:cubicBezTo>
                    <a:pt x="85" y="56"/>
                    <a:pt x="86" y="55"/>
                    <a:pt x="87" y="55"/>
                  </a:cubicBezTo>
                  <a:cubicBezTo>
                    <a:pt x="90" y="53"/>
                    <a:pt x="92" y="52"/>
                    <a:pt x="95" y="51"/>
                  </a:cubicBezTo>
                  <a:cubicBezTo>
                    <a:pt x="96" y="50"/>
                    <a:pt x="97" y="49"/>
                    <a:pt x="97" y="48"/>
                  </a:cubicBezTo>
                  <a:cubicBezTo>
                    <a:pt x="97" y="47"/>
                    <a:pt x="98" y="47"/>
                    <a:pt x="98" y="46"/>
                  </a:cubicBezTo>
                  <a:cubicBezTo>
                    <a:pt x="98" y="45"/>
                    <a:pt x="100" y="45"/>
                    <a:pt x="101" y="45"/>
                  </a:cubicBezTo>
                  <a:cubicBezTo>
                    <a:pt x="102" y="46"/>
                    <a:pt x="102" y="47"/>
                    <a:pt x="104" y="47"/>
                  </a:cubicBezTo>
                  <a:cubicBezTo>
                    <a:pt x="107" y="48"/>
                    <a:pt x="109" y="49"/>
                    <a:pt x="111" y="51"/>
                  </a:cubicBezTo>
                  <a:cubicBezTo>
                    <a:pt x="112" y="51"/>
                    <a:pt x="112" y="52"/>
                    <a:pt x="112" y="52"/>
                  </a:cubicBezTo>
                  <a:cubicBezTo>
                    <a:pt x="113" y="52"/>
                    <a:pt x="113" y="52"/>
                    <a:pt x="113" y="52"/>
                  </a:cubicBezTo>
                  <a:cubicBezTo>
                    <a:pt x="114" y="48"/>
                    <a:pt x="114" y="44"/>
                    <a:pt x="113" y="40"/>
                  </a:cubicBezTo>
                  <a:cubicBezTo>
                    <a:pt x="113" y="39"/>
                    <a:pt x="111" y="39"/>
                    <a:pt x="111" y="38"/>
                  </a:cubicBezTo>
                  <a:cubicBezTo>
                    <a:pt x="110" y="37"/>
                    <a:pt x="111" y="36"/>
                    <a:pt x="111" y="35"/>
                  </a:cubicBezTo>
                  <a:cubicBezTo>
                    <a:pt x="112" y="30"/>
                    <a:pt x="110" y="26"/>
                    <a:pt x="110" y="22"/>
                  </a:cubicBezTo>
                  <a:cubicBezTo>
                    <a:pt x="109" y="20"/>
                    <a:pt x="107" y="19"/>
                    <a:pt x="104" y="18"/>
                  </a:cubicBezTo>
                  <a:cubicBezTo>
                    <a:pt x="103" y="17"/>
                    <a:pt x="103" y="16"/>
                    <a:pt x="103" y="15"/>
                  </a:cubicBezTo>
                  <a:cubicBezTo>
                    <a:pt x="106" y="15"/>
                    <a:pt x="109" y="18"/>
                    <a:pt x="112" y="18"/>
                  </a:cubicBezTo>
                  <a:cubicBezTo>
                    <a:pt x="113" y="18"/>
                    <a:pt x="114" y="18"/>
                    <a:pt x="115" y="18"/>
                  </a:cubicBezTo>
                  <a:cubicBezTo>
                    <a:pt x="116" y="17"/>
                    <a:pt x="118" y="16"/>
                    <a:pt x="119" y="17"/>
                  </a:cubicBezTo>
                  <a:cubicBezTo>
                    <a:pt x="120" y="17"/>
                    <a:pt x="120" y="18"/>
                    <a:pt x="121" y="18"/>
                  </a:cubicBezTo>
                  <a:cubicBezTo>
                    <a:pt x="122" y="19"/>
                    <a:pt x="122" y="20"/>
                    <a:pt x="123" y="21"/>
                  </a:cubicBezTo>
                  <a:cubicBezTo>
                    <a:pt x="124" y="23"/>
                    <a:pt x="126" y="25"/>
                    <a:pt x="128" y="27"/>
                  </a:cubicBezTo>
                  <a:cubicBezTo>
                    <a:pt x="129" y="27"/>
                    <a:pt x="128" y="28"/>
                    <a:pt x="127" y="29"/>
                  </a:cubicBezTo>
                  <a:cubicBezTo>
                    <a:pt x="125" y="29"/>
                    <a:pt x="123" y="28"/>
                    <a:pt x="121" y="29"/>
                  </a:cubicBezTo>
                  <a:cubicBezTo>
                    <a:pt x="120" y="29"/>
                    <a:pt x="120" y="31"/>
                    <a:pt x="120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9" y="33"/>
                    <a:pt x="119" y="34"/>
                    <a:pt x="119" y="34"/>
                  </a:cubicBezTo>
                  <a:cubicBezTo>
                    <a:pt x="121" y="36"/>
                    <a:pt x="122" y="38"/>
                    <a:pt x="124" y="41"/>
                  </a:cubicBezTo>
                  <a:cubicBezTo>
                    <a:pt x="124" y="41"/>
                    <a:pt x="124" y="42"/>
                    <a:pt x="125" y="42"/>
                  </a:cubicBezTo>
                  <a:cubicBezTo>
                    <a:pt x="127" y="43"/>
                    <a:pt x="129" y="43"/>
                    <a:pt x="131" y="42"/>
                  </a:cubicBezTo>
                  <a:cubicBezTo>
                    <a:pt x="131" y="42"/>
                    <a:pt x="132" y="42"/>
                    <a:pt x="133" y="41"/>
                  </a:cubicBezTo>
                  <a:cubicBezTo>
                    <a:pt x="134" y="41"/>
                    <a:pt x="135" y="41"/>
                    <a:pt x="136" y="41"/>
                  </a:cubicBezTo>
                  <a:cubicBezTo>
                    <a:pt x="137" y="40"/>
                    <a:pt x="137" y="40"/>
                    <a:pt x="138" y="39"/>
                  </a:cubicBezTo>
                  <a:cubicBezTo>
                    <a:pt x="138" y="37"/>
                    <a:pt x="138" y="35"/>
                    <a:pt x="139" y="34"/>
                  </a:cubicBezTo>
                  <a:cubicBezTo>
                    <a:pt x="139" y="33"/>
                    <a:pt x="140" y="32"/>
                    <a:pt x="141" y="32"/>
                  </a:cubicBezTo>
                  <a:cubicBezTo>
                    <a:pt x="142" y="32"/>
                    <a:pt x="142" y="32"/>
                    <a:pt x="143" y="32"/>
                  </a:cubicBezTo>
                  <a:cubicBezTo>
                    <a:pt x="143" y="32"/>
                    <a:pt x="144" y="31"/>
                    <a:pt x="144" y="30"/>
                  </a:cubicBezTo>
                  <a:cubicBezTo>
                    <a:pt x="144" y="30"/>
                    <a:pt x="145" y="29"/>
                    <a:pt x="146" y="29"/>
                  </a:cubicBezTo>
                  <a:cubicBezTo>
                    <a:pt x="147" y="28"/>
                    <a:pt x="148" y="29"/>
                    <a:pt x="149" y="28"/>
                  </a:cubicBezTo>
                  <a:cubicBezTo>
                    <a:pt x="151" y="26"/>
                    <a:pt x="152" y="25"/>
                    <a:pt x="154" y="24"/>
                  </a:cubicBezTo>
                  <a:cubicBezTo>
                    <a:pt x="155" y="23"/>
                    <a:pt x="155" y="22"/>
                    <a:pt x="156" y="22"/>
                  </a:cubicBezTo>
                  <a:cubicBezTo>
                    <a:pt x="157" y="21"/>
                    <a:pt x="158" y="22"/>
                    <a:pt x="159" y="22"/>
                  </a:cubicBezTo>
                  <a:cubicBezTo>
                    <a:pt x="161" y="22"/>
                    <a:pt x="163" y="21"/>
                    <a:pt x="164" y="20"/>
                  </a:cubicBezTo>
                  <a:cubicBezTo>
                    <a:pt x="165" y="19"/>
                    <a:pt x="166" y="19"/>
                    <a:pt x="167" y="19"/>
                  </a:cubicBezTo>
                  <a:cubicBezTo>
                    <a:pt x="167" y="19"/>
                    <a:pt x="168" y="18"/>
                    <a:pt x="169" y="18"/>
                  </a:cubicBezTo>
                  <a:cubicBezTo>
                    <a:pt x="170" y="17"/>
                    <a:pt x="170" y="17"/>
                    <a:pt x="171" y="16"/>
                  </a:cubicBezTo>
                  <a:cubicBezTo>
                    <a:pt x="173" y="15"/>
                    <a:pt x="175" y="14"/>
                    <a:pt x="177" y="13"/>
                  </a:cubicBezTo>
                  <a:cubicBezTo>
                    <a:pt x="179" y="12"/>
                    <a:pt x="180" y="12"/>
                    <a:pt x="181" y="13"/>
                  </a:cubicBezTo>
                  <a:cubicBezTo>
                    <a:pt x="182" y="13"/>
                    <a:pt x="181" y="14"/>
                    <a:pt x="181" y="14"/>
                  </a:cubicBezTo>
                  <a:cubicBezTo>
                    <a:pt x="180" y="14"/>
                    <a:pt x="179" y="14"/>
                    <a:pt x="178" y="15"/>
                  </a:cubicBezTo>
                  <a:cubicBezTo>
                    <a:pt x="177" y="15"/>
                    <a:pt x="177" y="16"/>
                    <a:pt x="178" y="17"/>
                  </a:cubicBezTo>
                  <a:cubicBezTo>
                    <a:pt x="179" y="18"/>
                    <a:pt x="178" y="19"/>
                    <a:pt x="178" y="20"/>
                  </a:cubicBezTo>
                  <a:cubicBezTo>
                    <a:pt x="177" y="20"/>
                    <a:pt x="176" y="20"/>
                    <a:pt x="175" y="20"/>
                  </a:cubicBezTo>
                  <a:cubicBezTo>
                    <a:pt x="175" y="21"/>
                    <a:pt x="175" y="21"/>
                    <a:pt x="175" y="21"/>
                  </a:cubicBezTo>
                  <a:cubicBezTo>
                    <a:pt x="176" y="22"/>
                    <a:pt x="178" y="21"/>
                    <a:pt x="179" y="22"/>
                  </a:cubicBezTo>
                  <a:cubicBezTo>
                    <a:pt x="180" y="23"/>
                    <a:pt x="179" y="24"/>
                    <a:pt x="180" y="25"/>
                  </a:cubicBezTo>
                  <a:cubicBezTo>
                    <a:pt x="180" y="25"/>
                    <a:pt x="180" y="25"/>
                    <a:pt x="181" y="25"/>
                  </a:cubicBezTo>
                  <a:cubicBezTo>
                    <a:pt x="181" y="24"/>
                    <a:pt x="182" y="23"/>
                    <a:pt x="182" y="22"/>
                  </a:cubicBezTo>
                  <a:cubicBezTo>
                    <a:pt x="183" y="21"/>
                    <a:pt x="184" y="21"/>
                    <a:pt x="184" y="22"/>
                  </a:cubicBezTo>
                  <a:cubicBezTo>
                    <a:pt x="184" y="22"/>
                    <a:pt x="184" y="23"/>
                    <a:pt x="185" y="23"/>
                  </a:cubicBezTo>
                  <a:cubicBezTo>
                    <a:pt x="185" y="23"/>
                    <a:pt x="186" y="23"/>
                    <a:pt x="186" y="23"/>
                  </a:cubicBezTo>
                  <a:cubicBezTo>
                    <a:pt x="186" y="22"/>
                    <a:pt x="186" y="20"/>
                    <a:pt x="186" y="19"/>
                  </a:cubicBezTo>
                  <a:cubicBezTo>
                    <a:pt x="187" y="18"/>
                    <a:pt x="189" y="17"/>
                    <a:pt x="191" y="17"/>
                  </a:cubicBezTo>
                  <a:cubicBezTo>
                    <a:pt x="192" y="16"/>
                    <a:pt x="194" y="17"/>
                    <a:pt x="195" y="16"/>
                  </a:cubicBezTo>
                  <a:cubicBezTo>
                    <a:pt x="197" y="16"/>
                    <a:pt x="199" y="16"/>
                    <a:pt x="200" y="18"/>
                  </a:cubicBezTo>
                  <a:cubicBezTo>
                    <a:pt x="200" y="18"/>
                    <a:pt x="201" y="18"/>
                    <a:pt x="201" y="18"/>
                  </a:cubicBezTo>
                  <a:cubicBezTo>
                    <a:pt x="202" y="18"/>
                    <a:pt x="202" y="17"/>
                    <a:pt x="202" y="17"/>
                  </a:cubicBezTo>
                  <a:cubicBezTo>
                    <a:pt x="203" y="17"/>
                    <a:pt x="204" y="16"/>
                    <a:pt x="204" y="16"/>
                  </a:cubicBezTo>
                  <a:cubicBezTo>
                    <a:pt x="205" y="16"/>
                    <a:pt x="206" y="15"/>
                    <a:pt x="207" y="15"/>
                  </a:cubicBezTo>
                  <a:cubicBezTo>
                    <a:pt x="208" y="14"/>
                    <a:pt x="209" y="14"/>
                    <a:pt x="211" y="13"/>
                  </a:cubicBezTo>
                  <a:cubicBezTo>
                    <a:pt x="212" y="12"/>
                    <a:pt x="214" y="13"/>
                    <a:pt x="215" y="15"/>
                  </a:cubicBezTo>
                  <a:cubicBezTo>
                    <a:pt x="215" y="15"/>
                    <a:pt x="216" y="16"/>
                    <a:pt x="216" y="16"/>
                  </a:cubicBezTo>
                  <a:cubicBezTo>
                    <a:pt x="216" y="17"/>
                    <a:pt x="216" y="18"/>
                    <a:pt x="215" y="19"/>
                  </a:cubicBezTo>
                  <a:cubicBezTo>
                    <a:pt x="215" y="19"/>
                    <a:pt x="215" y="20"/>
                    <a:pt x="215" y="21"/>
                  </a:cubicBezTo>
                  <a:cubicBezTo>
                    <a:pt x="215" y="22"/>
                    <a:pt x="216" y="22"/>
                    <a:pt x="216" y="22"/>
                  </a:cubicBezTo>
                  <a:cubicBezTo>
                    <a:pt x="218" y="22"/>
                    <a:pt x="219" y="22"/>
                    <a:pt x="220" y="22"/>
                  </a:cubicBezTo>
                  <a:cubicBezTo>
                    <a:pt x="220" y="22"/>
                    <a:pt x="220" y="21"/>
                    <a:pt x="220" y="20"/>
                  </a:cubicBezTo>
                  <a:cubicBezTo>
                    <a:pt x="220" y="19"/>
                    <a:pt x="221" y="19"/>
                    <a:pt x="221" y="19"/>
                  </a:cubicBezTo>
                  <a:cubicBezTo>
                    <a:pt x="224" y="19"/>
                    <a:pt x="227" y="18"/>
                    <a:pt x="229" y="16"/>
                  </a:cubicBezTo>
                  <a:cubicBezTo>
                    <a:pt x="229" y="16"/>
                    <a:pt x="229" y="15"/>
                    <a:pt x="229" y="15"/>
                  </a:cubicBezTo>
                  <a:cubicBezTo>
                    <a:pt x="228" y="14"/>
                    <a:pt x="226" y="13"/>
                    <a:pt x="226" y="12"/>
                  </a:cubicBezTo>
                  <a:cubicBezTo>
                    <a:pt x="224" y="9"/>
                    <a:pt x="222" y="7"/>
                    <a:pt x="220" y="7"/>
                  </a:cubicBezTo>
                  <a:cubicBezTo>
                    <a:pt x="220" y="5"/>
                    <a:pt x="220" y="5"/>
                    <a:pt x="221" y="4"/>
                  </a:cubicBezTo>
                  <a:cubicBezTo>
                    <a:pt x="222" y="3"/>
                    <a:pt x="224" y="4"/>
                    <a:pt x="224" y="3"/>
                  </a:cubicBezTo>
                  <a:cubicBezTo>
                    <a:pt x="224" y="2"/>
                    <a:pt x="224" y="1"/>
                    <a:pt x="225" y="1"/>
                  </a:cubicBezTo>
                  <a:cubicBezTo>
                    <a:pt x="227" y="0"/>
                    <a:pt x="230" y="0"/>
                    <a:pt x="232" y="2"/>
                  </a:cubicBezTo>
                  <a:cubicBezTo>
                    <a:pt x="237" y="3"/>
                    <a:pt x="242" y="2"/>
                    <a:pt x="247" y="3"/>
                  </a:cubicBezTo>
                  <a:cubicBezTo>
                    <a:pt x="248" y="3"/>
                    <a:pt x="249" y="3"/>
                    <a:pt x="250" y="4"/>
                  </a:cubicBezTo>
                  <a:cubicBezTo>
                    <a:pt x="274" y="119"/>
                    <a:pt x="274" y="119"/>
                    <a:pt x="274" y="119"/>
                  </a:cubicBezTo>
                  <a:cubicBezTo>
                    <a:pt x="264" y="198"/>
                    <a:pt x="264" y="198"/>
                    <a:pt x="264" y="198"/>
                  </a:cubicBezTo>
                  <a:cubicBezTo>
                    <a:pt x="263" y="198"/>
                    <a:pt x="262" y="199"/>
                    <a:pt x="261" y="199"/>
                  </a:cubicBezTo>
                  <a:cubicBezTo>
                    <a:pt x="260" y="199"/>
                    <a:pt x="259" y="199"/>
                    <a:pt x="259" y="199"/>
                  </a:cubicBezTo>
                  <a:cubicBezTo>
                    <a:pt x="258" y="198"/>
                    <a:pt x="255" y="197"/>
                    <a:pt x="254" y="199"/>
                  </a:cubicBezTo>
                  <a:cubicBezTo>
                    <a:pt x="254" y="199"/>
                    <a:pt x="254" y="199"/>
                    <a:pt x="254" y="200"/>
                  </a:cubicBezTo>
                  <a:cubicBezTo>
                    <a:pt x="253" y="201"/>
                    <a:pt x="253" y="201"/>
                    <a:pt x="252" y="202"/>
                  </a:cubicBezTo>
                  <a:cubicBezTo>
                    <a:pt x="252" y="203"/>
                    <a:pt x="252" y="204"/>
                    <a:pt x="252" y="204"/>
                  </a:cubicBezTo>
                  <a:cubicBezTo>
                    <a:pt x="253" y="205"/>
                    <a:pt x="253" y="205"/>
                    <a:pt x="254" y="206"/>
                  </a:cubicBezTo>
                  <a:cubicBezTo>
                    <a:pt x="255" y="207"/>
                    <a:pt x="257" y="206"/>
                    <a:pt x="258" y="207"/>
                  </a:cubicBezTo>
                  <a:cubicBezTo>
                    <a:pt x="259" y="208"/>
                    <a:pt x="259" y="209"/>
                    <a:pt x="259" y="210"/>
                  </a:cubicBezTo>
                  <a:cubicBezTo>
                    <a:pt x="259" y="210"/>
                    <a:pt x="259" y="211"/>
                    <a:pt x="258" y="211"/>
                  </a:cubicBezTo>
                  <a:cubicBezTo>
                    <a:pt x="258" y="211"/>
                    <a:pt x="258" y="211"/>
                    <a:pt x="258" y="211"/>
                  </a:cubicBezTo>
                  <a:cubicBezTo>
                    <a:pt x="257" y="211"/>
                    <a:pt x="255" y="210"/>
                    <a:pt x="254" y="211"/>
                  </a:cubicBezTo>
                  <a:cubicBezTo>
                    <a:pt x="252" y="212"/>
                    <a:pt x="251" y="213"/>
                    <a:pt x="249" y="213"/>
                  </a:cubicBezTo>
                  <a:cubicBezTo>
                    <a:pt x="249" y="215"/>
                    <a:pt x="250" y="217"/>
                    <a:pt x="252" y="217"/>
                  </a:cubicBezTo>
                  <a:cubicBezTo>
                    <a:pt x="252" y="219"/>
                    <a:pt x="250" y="220"/>
                    <a:pt x="249" y="221"/>
                  </a:cubicBezTo>
                  <a:cubicBezTo>
                    <a:pt x="248" y="221"/>
                    <a:pt x="249" y="222"/>
                    <a:pt x="249" y="222"/>
                  </a:cubicBezTo>
                  <a:cubicBezTo>
                    <a:pt x="249" y="223"/>
                    <a:pt x="250" y="225"/>
                    <a:pt x="251" y="225"/>
                  </a:cubicBezTo>
                  <a:cubicBezTo>
                    <a:pt x="254" y="226"/>
                    <a:pt x="257" y="225"/>
                    <a:pt x="258" y="227"/>
                  </a:cubicBezTo>
                  <a:cubicBezTo>
                    <a:pt x="258" y="229"/>
                    <a:pt x="258" y="231"/>
                    <a:pt x="257" y="233"/>
                  </a:cubicBezTo>
                  <a:cubicBezTo>
                    <a:pt x="257" y="234"/>
                    <a:pt x="256" y="236"/>
                    <a:pt x="255" y="236"/>
                  </a:cubicBezTo>
                  <a:cubicBezTo>
                    <a:pt x="254" y="236"/>
                    <a:pt x="253" y="236"/>
                    <a:pt x="252" y="236"/>
                  </a:cubicBezTo>
                  <a:cubicBezTo>
                    <a:pt x="251" y="236"/>
                    <a:pt x="250" y="235"/>
                    <a:pt x="250" y="235"/>
                  </a:cubicBezTo>
                  <a:cubicBezTo>
                    <a:pt x="248" y="234"/>
                    <a:pt x="246" y="235"/>
                    <a:pt x="244" y="234"/>
                  </a:cubicBezTo>
                  <a:cubicBezTo>
                    <a:pt x="242" y="234"/>
                    <a:pt x="241" y="232"/>
                    <a:pt x="240" y="231"/>
                  </a:cubicBezTo>
                  <a:cubicBezTo>
                    <a:pt x="240" y="230"/>
                    <a:pt x="238" y="230"/>
                    <a:pt x="237" y="230"/>
                  </a:cubicBezTo>
                  <a:cubicBezTo>
                    <a:pt x="235" y="230"/>
                    <a:pt x="234" y="231"/>
                    <a:pt x="232" y="232"/>
                  </a:cubicBezTo>
                  <a:cubicBezTo>
                    <a:pt x="231" y="232"/>
                    <a:pt x="229" y="232"/>
                    <a:pt x="228" y="232"/>
                  </a:cubicBezTo>
                  <a:cubicBezTo>
                    <a:pt x="227" y="231"/>
                    <a:pt x="226" y="231"/>
                    <a:pt x="226" y="231"/>
                  </a:cubicBezTo>
                  <a:cubicBezTo>
                    <a:pt x="225" y="230"/>
                    <a:pt x="223" y="230"/>
                    <a:pt x="222" y="230"/>
                  </a:cubicBezTo>
                  <a:cubicBezTo>
                    <a:pt x="220" y="231"/>
                    <a:pt x="219" y="233"/>
                    <a:pt x="218" y="234"/>
                  </a:cubicBezTo>
                  <a:cubicBezTo>
                    <a:pt x="218" y="235"/>
                    <a:pt x="218" y="236"/>
                    <a:pt x="217" y="236"/>
                  </a:cubicBezTo>
                  <a:cubicBezTo>
                    <a:pt x="216" y="238"/>
                    <a:pt x="214" y="237"/>
                    <a:pt x="213" y="236"/>
                  </a:cubicBezTo>
                  <a:cubicBezTo>
                    <a:pt x="212" y="235"/>
                    <a:pt x="211" y="234"/>
                    <a:pt x="210" y="232"/>
                  </a:cubicBezTo>
                  <a:cubicBezTo>
                    <a:pt x="210" y="232"/>
                    <a:pt x="209" y="232"/>
                    <a:pt x="209" y="232"/>
                  </a:cubicBezTo>
                  <a:cubicBezTo>
                    <a:pt x="208" y="233"/>
                    <a:pt x="208" y="235"/>
                    <a:pt x="207" y="236"/>
                  </a:cubicBezTo>
                  <a:cubicBezTo>
                    <a:pt x="207" y="236"/>
                    <a:pt x="206" y="236"/>
                    <a:pt x="205" y="236"/>
                  </a:cubicBezTo>
                  <a:cubicBezTo>
                    <a:pt x="204" y="235"/>
                    <a:pt x="204" y="233"/>
                    <a:pt x="203" y="232"/>
                  </a:cubicBezTo>
                  <a:cubicBezTo>
                    <a:pt x="201" y="230"/>
                    <a:pt x="200" y="229"/>
                    <a:pt x="199" y="227"/>
                  </a:cubicBezTo>
                  <a:cubicBezTo>
                    <a:pt x="199" y="226"/>
                    <a:pt x="199" y="226"/>
                    <a:pt x="199" y="225"/>
                  </a:cubicBezTo>
                  <a:cubicBezTo>
                    <a:pt x="198" y="224"/>
                    <a:pt x="196" y="225"/>
                    <a:pt x="195" y="225"/>
                  </a:cubicBezTo>
                  <a:cubicBezTo>
                    <a:pt x="195" y="225"/>
                    <a:pt x="195" y="225"/>
                    <a:pt x="195" y="225"/>
                  </a:cubicBezTo>
                  <a:cubicBezTo>
                    <a:pt x="194" y="225"/>
                    <a:pt x="194" y="225"/>
                    <a:pt x="193" y="225"/>
                  </a:cubicBezTo>
                  <a:cubicBezTo>
                    <a:pt x="193" y="225"/>
                    <a:pt x="192" y="226"/>
                    <a:pt x="192" y="226"/>
                  </a:cubicBezTo>
                  <a:cubicBezTo>
                    <a:pt x="190" y="227"/>
                    <a:pt x="188" y="226"/>
                    <a:pt x="186" y="226"/>
                  </a:cubicBezTo>
                  <a:cubicBezTo>
                    <a:pt x="185" y="225"/>
                    <a:pt x="183" y="225"/>
                    <a:pt x="182" y="22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9" name="Freeform 167"/>
            <p:cNvSpPr>
              <a:spLocks/>
            </p:cNvSpPr>
            <p:nvPr/>
          </p:nvSpPr>
          <p:spPr bwMode="auto">
            <a:xfrm>
              <a:off x="8498298" y="5436328"/>
              <a:ext cx="2174" cy="3626"/>
            </a:xfrm>
            <a:custGeom>
              <a:avLst/>
              <a:gdLst>
                <a:gd name="T0" fmla="*/ 131072 w 2"/>
                <a:gd name="T1" fmla="*/ 727531 h 3"/>
                <a:gd name="T2" fmla="*/ 65536 w 2"/>
                <a:gd name="T3" fmla="*/ 727531 h 3"/>
                <a:gd name="T4" fmla="*/ 0 w 2"/>
                <a:gd name="T5" fmla="*/ 0 h 3"/>
                <a:gd name="T6" fmla="*/ 0 w 2"/>
                <a:gd name="T7" fmla="*/ 1697572 h 3"/>
                <a:gd name="T8" fmla="*/ 131072 w 2"/>
                <a:gd name="T9" fmla="*/ 2243220 h 3"/>
                <a:gd name="T10" fmla="*/ 131072 w 2"/>
                <a:gd name="T11" fmla="*/ 727531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3"/>
                <a:gd name="T20" fmla="*/ 2 w 2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3">
                  <a:moveTo>
                    <a:pt x="2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2" y="2"/>
                    <a:pt x="2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0" name="Freeform 168"/>
            <p:cNvSpPr>
              <a:spLocks/>
            </p:cNvSpPr>
            <p:nvPr/>
          </p:nvSpPr>
          <p:spPr bwMode="auto">
            <a:xfrm>
              <a:off x="8506997" y="5435119"/>
              <a:ext cx="2899" cy="1210"/>
            </a:xfrm>
            <a:custGeom>
              <a:avLst/>
              <a:gdLst>
                <a:gd name="T0" fmla="*/ 2497529 w 2"/>
                <a:gd name="T1" fmla="*/ 0 h 1"/>
                <a:gd name="T2" fmla="*/ 0 w 2"/>
                <a:gd name="T3" fmla="*/ 43046679 h 1"/>
                <a:gd name="T4" fmla="*/ 4450654 w 2"/>
                <a:gd name="T5" fmla="*/ 43046679 h 1"/>
                <a:gd name="T6" fmla="*/ 4450654 w 2"/>
                <a:gd name="T7" fmla="*/ 0 h 1"/>
                <a:gd name="T8" fmla="*/ 2497529 w 2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1"/>
                <a:gd name="T17" fmla="*/ 2 w 2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1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1" name="Freeform 169"/>
            <p:cNvSpPr>
              <a:spLocks/>
            </p:cNvSpPr>
            <p:nvPr/>
          </p:nvSpPr>
          <p:spPr bwMode="auto">
            <a:xfrm>
              <a:off x="8368528" y="5349908"/>
              <a:ext cx="100769" cy="79169"/>
            </a:xfrm>
            <a:custGeom>
              <a:avLst/>
              <a:gdLst>
                <a:gd name="T0" fmla="*/ 16480841 w 75"/>
                <a:gd name="T1" fmla="*/ 52493153 h 73"/>
                <a:gd name="T2" fmla="*/ 15644589 w 75"/>
                <a:gd name="T3" fmla="*/ 48563449 h 73"/>
                <a:gd name="T4" fmla="*/ 13821179 w 75"/>
                <a:gd name="T5" fmla="*/ 46016229 h 73"/>
                <a:gd name="T6" fmla="*/ 20413454 w 75"/>
                <a:gd name="T7" fmla="*/ 45172874 h 73"/>
                <a:gd name="T8" fmla="*/ 25070638 w 75"/>
                <a:gd name="T9" fmla="*/ 40628004 h 73"/>
                <a:gd name="T10" fmla="*/ 32617972 w 75"/>
                <a:gd name="T11" fmla="*/ 42563413 h 73"/>
                <a:gd name="T12" fmla="*/ 38036473 w 75"/>
                <a:gd name="T13" fmla="*/ 46016229 h 73"/>
                <a:gd name="T14" fmla="*/ 39573285 w 75"/>
                <a:gd name="T15" fmla="*/ 47941535 h 73"/>
                <a:gd name="T16" fmla="*/ 42780609 w 75"/>
                <a:gd name="T17" fmla="*/ 53943645 h 73"/>
                <a:gd name="T18" fmla="*/ 46205137 w 75"/>
                <a:gd name="T19" fmla="*/ 57870973 h 73"/>
                <a:gd name="T20" fmla="*/ 49885830 w 75"/>
                <a:gd name="T21" fmla="*/ 61238892 h 73"/>
                <a:gd name="T22" fmla="*/ 51847801 w 75"/>
                <a:gd name="T23" fmla="*/ 61238892 h 73"/>
                <a:gd name="T24" fmla="*/ 69464193 w 75"/>
                <a:gd name="T25" fmla="*/ 65189631 h 73"/>
                <a:gd name="T26" fmla="*/ 64656478 w 75"/>
                <a:gd name="T27" fmla="*/ 60417251 h 73"/>
                <a:gd name="T28" fmla="*/ 64656478 w 75"/>
                <a:gd name="T29" fmla="*/ 58493151 h 73"/>
                <a:gd name="T30" fmla="*/ 61128865 w 75"/>
                <a:gd name="T31" fmla="*/ 55946798 h 73"/>
                <a:gd name="T32" fmla="*/ 60029898 w 75"/>
                <a:gd name="T33" fmla="*/ 52493153 h 73"/>
                <a:gd name="T34" fmla="*/ 54536463 w 75"/>
                <a:gd name="T35" fmla="*/ 50552579 h 73"/>
                <a:gd name="T36" fmla="*/ 51847801 w 75"/>
                <a:gd name="T37" fmla="*/ 44083233 h 73"/>
                <a:gd name="T38" fmla="*/ 48175718 w 75"/>
                <a:gd name="T39" fmla="*/ 40628004 h 73"/>
                <a:gd name="T40" fmla="*/ 45582437 w 75"/>
                <a:gd name="T41" fmla="*/ 32486168 h 73"/>
                <a:gd name="T42" fmla="*/ 51076024 w 75"/>
                <a:gd name="T43" fmla="*/ 31385143 h 73"/>
                <a:gd name="T44" fmla="*/ 41551521 w 75"/>
                <a:gd name="T45" fmla="*/ 24561524 h 73"/>
                <a:gd name="T46" fmla="*/ 36921213 w 75"/>
                <a:gd name="T47" fmla="*/ 21804153 h 73"/>
                <a:gd name="T48" fmla="*/ 35226658 w 75"/>
                <a:gd name="T49" fmla="*/ 15254202 h 73"/>
                <a:gd name="T50" fmla="*/ 30569096 w 75"/>
                <a:gd name="T51" fmla="*/ 11854730 h 73"/>
                <a:gd name="T52" fmla="*/ 28597590 w 75"/>
                <a:gd name="T53" fmla="*/ 10773911 h 73"/>
                <a:gd name="T54" fmla="*/ 23108686 w 75"/>
                <a:gd name="T55" fmla="*/ 7940768 h 73"/>
                <a:gd name="T56" fmla="*/ 18442963 w 75"/>
                <a:gd name="T57" fmla="*/ 5393058 h 73"/>
                <a:gd name="T58" fmla="*/ 10975463 w 75"/>
                <a:gd name="T59" fmla="*/ 3370210 h 73"/>
                <a:gd name="T60" fmla="*/ 1970602 w 75"/>
                <a:gd name="T61" fmla="*/ 0 h 73"/>
                <a:gd name="T62" fmla="*/ 0 w 75"/>
                <a:gd name="T63" fmla="*/ 50552579 h 7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5"/>
                <a:gd name="T97" fmla="*/ 0 h 73"/>
                <a:gd name="T98" fmla="*/ 75 w 75"/>
                <a:gd name="T99" fmla="*/ 73 h 7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5" h="73">
                  <a:moveTo>
                    <a:pt x="1" y="59"/>
                  </a:moveTo>
                  <a:cubicBezTo>
                    <a:pt x="6" y="59"/>
                    <a:pt x="12" y="59"/>
                    <a:pt x="18" y="58"/>
                  </a:cubicBezTo>
                  <a:cubicBezTo>
                    <a:pt x="19" y="58"/>
                    <a:pt x="20" y="56"/>
                    <a:pt x="19" y="55"/>
                  </a:cubicBezTo>
                  <a:cubicBezTo>
                    <a:pt x="19" y="54"/>
                    <a:pt x="18" y="54"/>
                    <a:pt x="17" y="54"/>
                  </a:cubicBezTo>
                  <a:cubicBezTo>
                    <a:pt x="16" y="54"/>
                    <a:pt x="16" y="53"/>
                    <a:pt x="15" y="52"/>
                  </a:cubicBezTo>
                  <a:cubicBezTo>
                    <a:pt x="15" y="52"/>
                    <a:pt x="14" y="51"/>
                    <a:pt x="15" y="51"/>
                  </a:cubicBezTo>
                  <a:cubicBezTo>
                    <a:pt x="17" y="51"/>
                    <a:pt x="19" y="52"/>
                    <a:pt x="21" y="51"/>
                  </a:cubicBezTo>
                  <a:cubicBezTo>
                    <a:pt x="21" y="51"/>
                    <a:pt x="22" y="50"/>
                    <a:pt x="22" y="50"/>
                  </a:cubicBezTo>
                  <a:cubicBezTo>
                    <a:pt x="23" y="49"/>
                    <a:pt x="23" y="47"/>
                    <a:pt x="24" y="46"/>
                  </a:cubicBezTo>
                  <a:cubicBezTo>
                    <a:pt x="25" y="45"/>
                    <a:pt x="26" y="45"/>
                    <a:pt x="27" y="45"/>
                  </a:cubicBezTo>
                  <a:cubicBezTo>
                    <a:pt x="29" y="45"/>
                    <a:pt x="31" y="45"/>
                    <a:pt x="32" y="46"/>
                  </a:cubicBezTo>
                  <a:cubicBezTo>
                    <a:pt x="33" y="46"/>
                    <a:pt x="34" y="47"/>
                    <a:pt x="35" y="47"/>
                  </a:cubicBezTo>
                  <a:cubicBezTo>
                    <a:pt x="36" y="47"/>
                    <a:pt x="36" y="47"/>
                    <a:pt x="36" y="48"/>
                  </a:cubicBezTo>
                  <a:cubicBezTo>
                    <a:pt x="38" y="48"/>
                    <a:pt x="40" y="49"/>
                    <a:pt x="41" y="51"/>
                  </a:cubicBezTo>
                  <a:cubicBezTo>
                    <a:pt x="41" y="51"/>
                    <a:pt x="42" y="51"/>
                    <a:pt x="42" y="52"/>
                  </a:cubicBezTo>
                  <a:cubicBezTo>
                    <a:pt x="42" y="52"/>
                    <a:pt x="43" y="53"/>
                    <a:pt x="43" y="53"/>
                  </a:cubicBezTo>
                  <a:cubicBezTo>
                    <a:pt x="43" y="55"/>
                    <a:pt x="43" y="56"/>
                    <a:pt x="43" y="57"/>
                  </a:cubicBezTo>
                  <a:cubicBezTo>
                    <a:pt x="44" y="59"/>
                    <a:pt x="45" y="59"/>
                    <a:pt x="46" y="60"/>
                  </a:cubicBezTo>
                  <a:cubicBezTo>
                    <a:pt x="47" y="60"/>
                    <a:pt x="48" y="61"/>
                    <a:pt x="49" y="62"/>
                  </a:cubicBezTo>
                  <a:cubicBezTo>
                    <a:pt x="50" y="63"/>
                    <a:pt x="50" y="63"/>
                    <a:pt x="50" y="64"/>
                  </a:cubicBezTo>
                  <a:cubicBezTo>
                    <a:pt x="50" y="65"/>
                    <a:pt x="50" y="66"/>
                    <a:pt x="51" y="66"/>
                  </a:cubicBezTo>
                  <a:cubicBezTo>
                    <a:pt x="52" y="67"/>
                    <a:pt x="53" y="67"/>
                    <a:pt x="54" y="68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5" y="68"/>
                    <a:pt x="56" y="68"/>
                    <a:pt x="56" y="68"/>
                  </a:cubicBezTo>
                  <a:cubicBezTo>
                    <a:pt x="61" y="69"/>
                    <a:pt x="66" y="69"/>
                    <a:pt x="71" y="71"/>
                  </a:cubicBezTo>
                  <a:cubicBezTo>
                    <a:pt x="72" y="72"/>
                    <a:pt x="73" y="73"/>
                    <a:pt x="75" y="72"/>
                  </a:cubicBezTo>
                  <a:cubicBezTo>
                    <a:pt x="75" y="71"/>
                    <a:pt x="75" y="70"/>
                    <a:pt x="75" y="70"/>
                  </a:cubicBezTo>
                  <a:cubicBezTo>
                    <a:pt x="74" y="68"/>
                    <a:pt x="71" y="68"/>
                    <a:pt x="70" y="67"/>
                  </a:cubicBezTo>
                  <a:cubicBezTo>
                    <a:pt x="70" y="67"/>
                    <a:pt x="69" y="66"/>
                    <a:pt x="69" y="66"/>
                  </a:cubicBezTo>
                  <a:cubicBezTo>
                    <a:pt x="70" y="66"/>
                    <a:pt x="71" y="65"/>
                    <a:pt x="70" y="65"/>
                  </a:cubicBezTo>
                  <a:cubicBezTo>
                    <a:pt x="70" y="64"/>
                    <a:pt x="68" y="64"/>
                    <a:pt x="68" y="64"/>
                  </a:cubicBezTo>
                  <a:cubicBezTo>
                    <a:pt x="67" y="64"/>
                    <a:pt x="67" y="63"/>
                    <a:pt x="66" y="62"/>
                  </a:cubicBezTo>
                  <a:cubicBezTo>
                    <a:pt x="65" y="61"/>
                    <a:pt x="66" y="60"/>
                    <a:pt x="65" y="59"/>
                  </a:cubicBezTo>
                  <a:cubicBezTo>
                    <a:pt x="65" y="59"/>
                    <a:pt x="65" y="58"/>
                    <a:pt x="65" y="58"/>
                  </a:cubicBezTo>
                  <a:cubicBezTo>
                    <a:pt x="63" y="57"/>
                    <a:pt x="61" y="58"/>
                    <a:pt x="60" y="57"/>
                  </a:cubicBezTo>
                  <a:cubicBezTo>
                    <a:pt x="60" y="57"/>
                    <a:pt x="59" y="57"/>
                    <a:pt x="59" y="56"/>
                  </a:cubicBezTo>
                  <a:cubicBezTo>
                    <a:pt x="59" y="55"/>
                    <a:pt x="58" y="55"/>
                    <a:pt x="58" y="54"/>
                  </a:cubicBezTo>
                  <a:cubicBezTo>
                    <a:pt x="57" y="53"/>
                    <a:pt x="58" y="50"/>
                    <a:pt x="56" y="49"/>
                  </a:cubicBezTo>
                  <a:cubicBezTo>
                    <a:pt x="54" y="49"/>
                    <a:pt x="53" y="47"/>
                    <a:pt x="52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51" y="42"/>
                    <a:pt x="49" y="41"/>
                    <a:pt x="49" y="39"/>
                  </a:cubicBezTo>
                  <a:cubicBezTo>
                    <a:pt x="48" y="38"/>
                    <a:pt x="48" y="37"/>
                    <a:pt x="49" y="36"/>
                  </a:cubicBezTo>
                  <a:cubicBezTo>
                    <a:pt x="50" y="35"/>
                    <a:pt x="52" y="36"/>
                    <a:pt x="54" y="36"/>
                  </a:cubicBezTo>
                  <a:cubicBezTo>
                    <a:pt x="54" y="36"/>
                    <a:pt x="54" y="35"/>
                    <a:pt x="55" y="35"/>
                  </a:cubicBezTo>
                  <a:cubicBezTo>
                    <a:pt x="55" y="33"/>
                    <a:pt x="54" y="32"/>
                    <a:pt x="54" y="31"/>
                  </a:cubicBezTo>
                  <a:cubicBezTo>
                    <a:pt x="52" y="29"/>
                    <a:pt x="48" y="29"/>
                    <a:pt x="45" y="27"/>
                  </a:cubicBezTo>
                  <a:cubicBezTo>
                    <a:pt x="43" y="27"/>
                    <a:pt x="42" y="26"/>
                    <a:pt x="41" y="24"/>
                  </a:cubicBezTo>
                  <a:cubicBezTo>
                    <a:pt x="41" y="24"/>
                    <a:pt x="41" y="24"/>
                    <a:pt x="40" y="24"/>
                  </a:cubicBezTo>
                  <a:cubicBezTo>
                    <a:pt x="40" y="24"/>
                    <a:pt x="40" y="24"/>
                    <a:pt x="39" y="23"/>
                  </a:cubicBezTo>
                  <a:cubicBezTo>
                    <a:pt x="39" y="21"/>
                    <a:pt x="39" y="19"/>
                    <a:pt x="38" y="17"/>
                  </a:cubicBezTo>
                  <a:cubicBezTo>
                    <a:pt x="37" y="16"/>
                    <a:pt x="36" y="16"/>
                    <a:pt x="35" y="14"/>
                  </a:cubicBezTo>
                  <a:cubicBezTo>
                    <a:pt x="34" y="14"/>
                    <a:pt x="34" y="14"/>
                    <a:pt x="33" y="13"/>
                  </a:cubicBezTo>
                  <a:cubicBezTo>
                    <a:pt x="33" y="13"/>
                    <a:pt x="32" y="13"/>
                    <a:pt x="32" y="1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0" y="11"/>
                    <a:pt x="31" y="10"/>
                    <a:pt x="30" y="10"/>
                  </a:cubicBezTo>
                  <a:cubicBezTo>
                    <a:pt x="28" y="9"/>
                    <a:pt x="27" y="9"/>
                    <a:pt x="25" y="9"/>
                  </a:cubicBezTo>
                  <a:cubicBezTo>
                    <a:pt x="24" y="8"/>
                    <a:pt x="23" y="8"/>
                    <a:pt x="22" y="7"/>
                  </a:cubicBezTo>
                  <a:cubicBezTo>
                    <a:pt x="21" y="7"/>
                    <a:pt x="20" y="6"/>
                    <a:pt x="20" y="6"/>
                  </a:cubicBezTo>
                  <a:cubicBezTo>
                    <a:pt x="18" y="5"/>
                    <a:pt x="16" y="6"/>
                    <a:pt x="14" y="5"/>
                  </a:cubicBezTo>
                  <a:cubicBezTo>
                    <a:pt x="13" y="5"/>
                    <a:pt x="13" y="4"/>
                    <a:pt x="12" y="4"/>
                  </a:cubicBezTo>
                  <a:cubicBezTo>
                    <a:pt x="10" y="4"/>
                    <a:pt x="9" y="2"/>
                    <a:pt x="6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0" y="56"/>
                    <a:pt x="0" y="56"/>
                    <a:pt x="0" y="56"/>
                  </a:cubicBezTo>
                  <a:lnTo>
                    <a:pt x="1" y="59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2" name="Freeform 170"/>
            <p:cNvSpPr>
              <a:spLocks/>
            </p:cNvSpPr>
            <p:nvPr/>
          </p:nvSpPr>
          <p:spPr bwMode="auto">
            <a:xfrm>
              <a:off x="8473647" y="5421219"/>
              <a:ext cx="3624" cy="3626"/>
            </a:xfrm>
            <a:custGeom>
              <a:avLst/>
              <a:gdLst>
                <a:gd name="T0" fmla="*/ 727531 w 3"/>
                <a:gd name="T1" fmla="*/ 0 h 3"/>
                <a:gd name="T2" fmla="*/ 0 w 3"/>
                <a:gd name="T3" fmla="*/ 1697572 h 3"/>
                <a:gd name="T4" fmla="*/ 1697572 w 3"/>
                <a:gd name="T5" fmla="*/ 0 h 3"/>
                <a:gd name="T6" fmla="*/ 727531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1" y="3"/>
                    <a:pt x="3" y="1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3" name="Freeform 171"/>
            <p:cNvSpPr>
              <a:spLocks/>
            </p:cNvSpPr>
            <p:nvPr/>
          </p:nvSpPr>
          <p:spPr bwMode="auto">
            <a:xfrm>
              <a:off x="8430150" y="5342052"/>
              <a:ext cx="8699" cy="3022"/>
            </a:xfrm>
            <a:custGeom>
              <a:avLst/>
              <a:gdLst>
                <a:gd name="T0" fmla="*/ 7438980 w 6"/>
                <a:gd name="T1" fmla="*/ 0 h 3"/>
                <a:gd name="T2" fmla="*/ 2975593 w 6"/>
                <a:gd name="T3" fmla="*/ 0 h 3"/>
                <a:gd name="T4" fmla="*/ 2975593 w 6"/>
                <a:gd name="T5" fmla="*/ 1697572 h 3"/>
                <a:gd name="T6" fmla="*/ 13878121 w 6"/>
                <a:gd name="T7" fmla="*/ 1697572 h 3"/>
                <a:gd name="T8" fmla="*/ 13878121 w 6"/>
                <a:gd name="T9" fmla="*/ 727531 h 3"/>
                <a:gd name="T10" fmla="*/ 7438980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1"/>
                    <a:pt x="1" y="2"/>
                  </a:cubicBezTo>
                  <a:cubicBezTo>
                    <a:pt x="2" y="3"/>
                    <a:pt x="4" y="2"/>
                    <a:pt x="6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5" y="0"/>
                    <a:pt x="4" y="1"/>
                    <a:pt x="3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4" name="Freeform 172"/>
            <p:cNvSpPr>
              <a:spLocks/>
            </p:cNvSpPr>
            <p:nvPr/>
          </p:nvSpPr>
          <p:spPr bwMode="auto">
            <a:xfrm>
              <a:off x="8459149" y="5333592"/>
              <a:ext cx="6524" cy="4232"/>
            </a:xfrm>
            <a:custGeom>
              <a:avLst/>
              <a:gdLst>
                <a:gd name="T0" fmla="*/ 6243820 w 4"/>
                <a:gd name="T1" fmla="*/ 4450654 h 4"/>
                <a:gd name="T2" fmla="*/ 4450654 w 4"/>
                <a:gd name="T3" fmla="*/ 2497529 h 4"/>
                <a:gd name="T4" fmla="*/ 2497529 w 4"/>
                <a:gd name="T5" fmla="*/ 4450654 h 4"/>
                <a:gd name="T6" fmla="*/ 6243820 w 4"/>
                <a:gd name="T7" fmla="*/ 6243820 h 4"/>
                <a:gd name="T8" fmla="*/ 6243820 w 4"/>
                <a:gd name="T9" fmla="*/ 445065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3" y="2"/>
                  </a:moveTo>
                  <a:cubicBezTo>
                    <a:pt x="3" y="1"/>
                    <a:pt x="3" y="1"/>
                    <a:pt x="2" y="1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3" y="3"/>
                    <a:pt x="4" y="2"/>
                    <a:pt x="3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5" name="Freeform 173"/>
            <p:cNvSpPr>
              <a:spLocks/>
            </p:cNvSpPr>
            <p:nvPr/>
          </p:nvSpPr>
          <p:spPr bwMode="auto">
            <a:xfrm>
              <a:off x="8465672" y="5345074"/>
              <a:ext cx="7248" cy="4232"/>
            </a:xfrm>
            <a:custGeom>
              <a:avLst/>
              <a:gdLst>
                <a:gd name="T0" fmla="*/ 2554647 w 5"/>
                <a:gd name="T1" fmla="*/ 7221760 h 3"/>
                <a:gd name="T2" fmla="*/ 1064436 w 5"/>
                <a:gd name="T3" fmla="*/ 19258026 h 3"/>
                <a:gd name="T4" fmla="*/ 5085394 w 5"/>
                <a:gd name="T5" fmla="*/ 19258026 h 3"/>
                <a:gd name="T6" fmla="*/ 5085394 w 5"/>
                <a:gd name="T7" fmla="*/ 7221760 h 3"/>
                <a:gd name="T8" fmla="*/ 2554647 w 5"/>
                <a:gd name="T9" fmla="*/ 722176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2" y="1"/>
                  </a:move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3" y="3"/>
                    <a:pt x="4" y="3"/>
                  </a:cubicBezTo>
                  <a:cubicBezTo>
                    <a:pt x="4" y="3"/>
                    <a:pt x="5" y="2"/>
                    <a:pt x="4" y="1"/>
                  </a:cubicBezTo>
                  <a:cubicBezTo>
                    <a:pt x="4" y="0"/>
                    <a:pt x="3" y="1"/>
                    <a:pt x="2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6" name="Freeform 174"/>
            <p:cNvSpPr>
              <a:spLocks/>
            </p:cNvSpPr>
            <p:nvPr/>
          </p:nvSpPr>
          <p:spPr bwMode="auto">
            <a:xfrm>
              <a:off x="8475823" y="5349303"/>
              <a:ext cx="24648" cy="19942"/>
            </a:xfrm>
            <a:custGeom>
              <a:avLst/>
              <a:gdLst>
                <a:gd name="T0" fmla="*/ 10939908 w 18"/>
                <a:gd name="T1" fmla="*/ 7376632 h 19"/>
                <a:gd name="T2" fmla="*/ 8614987 w 18"/>
                <a:gd name="T3" fmla="*/ 5620625 h 19"/>
                <a:gd name="T4" fmla="*/ 3961001 w 18"/>
                <a:gd name="T5" fmla="*/ 2045643 h 19"/>
                <a:gd name="T6" fmla="*/ 1697572 w 18"/>
                <a:gd name="T7" fmla="*/ 670752 h 19"/>
                <a:gd name="T8" fmla="*/ 0 w 18"/>
                <a:gd name="T9" fmla="*/ 0 h 19"/>
                <a:gd name="T10" fmla="*/ 0 w 18"/>
                <a:gd name="T11" fmla="*/ 670752 h 19"/>
                <a:gd name="T12" fmla="*/ 8614987 w 18"/>
                <a:gd name="T13" fmla="*/ 6779427 h 19"/>
                <a:gd name="T14" fmla="*/ 9902490 w 18"/>
                <a:gd name="T15" fmla="*/ 8823513 h 19"/>
                <a:gd name="T16" fmla="*/ 11620009 w 18"/>
                <a:gd name="T17" fmla="*/ 12399237 h 19"/>
                <a:gd name="T18" fmla="*/ 13184928 w 18"/>
                <a:gd name="T19" fmla="*/ 12399237 h 19"/>
                <a:gd name="T20" fmla="*/ 13184928 w 18"/>
                <a:gd name="T21" fmla="*/ 12399237 h 19"/>
                <a:gd name="T22" fmla="*/ 13184928 w 18"/>
                <a:gd name="T23" fmla="*/ 9422159 h 19"/>
                <a:gd name="T24" fmla="*/ 10939908 w 18"/>
                <a:gd name="T25" fmla="*/ 7376632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8"/>
                <a:gd name="T40" fmla="*/ 0 h 19"/>
                <a:gd name="T41" fmla="*/ 18 w 18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8" h="19">
                  <a:moveTo>
                    <a:pt x="14" y="11"/>
                  </a:moveTo>
                  <a:cubicBezTo>
                    <a:pt x="13" y="10"/>
                    <a:pt x="13" y="9"/>
                    <a:pt x="11" y="8"/>
                  </a:cubicBezTo>
                  <a:cubicBezTo>
                    <a:pt x="9" y="7"/>
                    <a:pt x="7" y="5"/>
                    <a:pt x="5" y="3"/>
                  </a:cubicBezTo>
                  <a:cubicBezTo>
                    <a:pt x="4" y="2"/>
                    <a:pt x="3" y="1"/>
                    <a:pt x="2" y="1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3" y="4"/>
                    <a:pt x="8" y="6"/>
                    <a:pt x="11" y="10"/>
                  </a:cubicBezTo>
                  <a:cubicBezTo>
                    <a:pt x="11" y="11"/>
                    <a:pt x="12" y="12"/>
                    <a:pt x="13" y="13"/>
                  </a:cubicBezTo>
                  <a:cubicBezTo>
                    <a:pt x="14" y="15"/>
                    <a:pt x="14" y="17"/>
                    <a:pt x="15" y="18"/>
                  </a:cubicBezTo>
                  <a:cubicBezTo>
                    <a:pt x="15" y="19"/>
                    <a:pt x="16" y="19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8" y="16"/>
                    <a:pt x="18" y="15"/>
                    <a:pt x="17" y="14"/>
                  </a:cubicBezTo>
                  <a:cubicBezTo>
                    <a:pt x="17" y="13"/>
                    <a:pt x="16" y="12"/>
                    <a:pt x="14" y="1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7" name="Freeform 175"/>
            <p:cNvSpPr>
              <a:spLocks/>
            </p:cNvSpPr>
            <p:nvPr/>
          </p:nvSpPr>
          <p:spPr bwMode="auto">
            <a:xfrm>
              <a:off x="8448999" y="5365016"/>
              <a:ext cx="42047" cy="19339"/>
            </a:xfrm>
            <a:custGeom>
              <a:avLst/>
              <a:gdLst>
                <a:gd name="T0" fmla="*/ 32206539 w 31"/>
                <a:gd name="T1" fmla="*/ 0 h 18"/>
                <a:gd name="T2" fmla="*/ 28853739 w 31"/>
                <a:gd name="T3" fmla="*/ 0 h 18"/>
                <a:gd name="T4" fmla="*/ 27862635 w 31"/>
                <a:gd name="T5" fmla="*/ 3961001 h 18"/>
                <a:gd name="T6" fmla="*/ 24751676 w 31"/>
                <a:gd name="T7" fmla="*/ 4688532 h 18"/>
                <a:gd name="T8" fmla="*/ 23201725 w 31"/>
                <a:gd name="T9" fmla="*/ 6931749 h 18"/>
                <a:gd name="T10" fmla="*/ 20088589 w 31"/>
                <a:gd name="T11" fmla="*/ 8614987 h 18"/>
                <a:gd name="T12" fmla="*/ 16735831 w 31"/>
                <a:gd name="T13" fmla="*/ 8614987 h 18"/>
                <a:gd name="T14" fmla="*/ 14483816 w 31"/>
                <a:gd name="T15" fmla="*/ 6931749 h 18"/>
                <a:gd name="T16" fmla="*/ 13491930 w 31"/>
                <a:gd name="T17" fmla="*/ 6931749 h 18"/>
                <a:gd name="T18" fmla="*/ 13491930 w 31"/>
                <a:gd name="T19" fmla="*/ 7659273 h 18"/>
                <a:gd name="T20" fmla="*/ 991891 w 31"/>
                <a:gd name="T21" fmla="*/ 8614987 h 18"/>
                <a:gd name="T22" fmla="*/ 0 w 31"/>
                <a:gd name="T23" fmla="*/ 9902490 h 18"/>
                <a:gd name="T24" fmla="*/ 3356989 w 31"/>
                <a:gd name="T25" fmla="*/ 12213086 h 18"/>
                <a:gd name="T26" fmla="*/ 8735528 w 31"/>
                <a:gd name="T27" fmla="*/ 12213086 h 18"/>
                <a:gd name="T28" fmla="*/ 12087381 w 31"/>
                <a:gd name="T29" fmla="*/ 13906432 h 18"/>
                <a:gd name="T30" fmla="*/ 19128895 w 31"/>
                <a:gd name="T31" fmla="*/ 13184928 h 18"/>
                <a:gd name="T32" fmla="*/ 22456359 w 31"/>
                <a:gd name="T33" fmla="*/ 12213086 h 18"/>
                <a:gd name="T34" fmla="*/ 31221490 w 31"/>
                <a:gd name="T35" fmla="*/ 8614987 h 18"/>
                <a:gd name="T36" fmla="*/ 31221490 w 31"/>
                <a:gd name="T37" fmla="*/ 6931749 h 18"/>
                <a:gd name="T38" fmla="*/ 31221490 w 31"/>
                <a:gd name="T39" fmla="*/ 5234180 h 18"/>
                <a:gd name="T40" fmla="*/ 33587484 w 31"/>
                <a:gd name="T41" fmla="*/ 2243220 h 18"/>
                <a:gd name="T42" fmla="*/ 33587484 w 31"/>
                <a:gd name="T43" fmla="*/ 0 h 18"/>
                <a:gd name="T44" fmla="*/ 32206539 w 31"/>
                <a:gd name="T45" fmla="*/ 0 h 1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1"/>
                <a:gd name="T70" fmla="*/ 0 h 18"/>
                <a:gd name="T71" fmla="*/ 31 w 31"/>
                <a:gd name="T72" fmla="*/ 18 h 1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1" h="18">
                  <a:moveTo>
                    <a:pt x="29" y="0"/>
                  </a:moveTo>
                  <a:cubicBezTo>
                    <a:pt x="28" y="0"/>
                    <a:pt x="27" y="0"/>
                    <a:pt x="26" y="0"/>
                  </a:cubicBezTo>
                  <a:cubicBezTo>
                    <a:pt x="25" y="1"/>
                    <a:pt x="25" y="3"/>
                    <a:pt x="25" y="5"/>
                  </a:cubicBezTo>
                  <a:cubicBezTo>
                    <a:pt x="24" y="6"/>
                    <a:pt x="23" y="5"/>
                    <a:pt x="22" y="6"/>
                  </a:cubicBezTo>
                  <a:cubicBezTo>
                    <a:pt x="21" y="7"/>
                    <a:pt x="22" y="8"/>
                    <a:pt x="21" y="9"/>
                  </a:cubicBezTo>
                  <a:cubicBezTo>
                    <a:pt x="20" y="10"/>
                    <a:pt x="19" y="11"/>
                    <a:pt x="18" y="11"/>
                  </a:cubicBezTo>
                  <a:cubicBezTo>
                    <a:pt x="17" y="12"/>
                    <a:pt x="16" y="11"/>
                    <a:pt x="15" y="11"/>
                  </a:cubicBezTo>
                  <a:cubicBezTo>
                    <a:pt x="14" y="11"/>
                    <a:pt x="14" y="10"/>
                    <a:pt x="13" y="9"/>
                  </a:cubicBezTo>
                  <a:cubicBezTo>
                    <a:pt x="13" y="9"/>
                    <a:pt x="13" y="9"/>
                    <a:pt x="12" y="9"/>
                  </a:cubicBezTo>
                  <a:cubicBezTo>
                    <a:pt x="12" y="9"/>
                    <a:pt x="12" y="10"/>
                    <a:pt x="12" y="10"/>
                  </a:cubicBezTo>
                  <a:cubicBezTo>
                    <a:pt x="8" y="11"/>
                    <a:pt x="4" y="10"/>
                    <a:pt x="1" y="11"/>
                  </a:cubicBezTo>
                  <a:cubicBezTo>
                    <a:pt x="0" y="11"/>
                    <a:pt x="0" y="13"/>
                    <a:pt x="0" y="13"/>
                  </a:cubicBezTo>
                  <a:cubicBezTo>
                    <a:pt x="1" y="14"/>
                    <a:pt x="2" y="15"/>
                    <a:pt x="3" y="16"/>
                  </a:cubicBezTo>
                  <a:cubicBezTo>
                    <a:pt x="5" y="16"/>
                    <a:pt x="6" y="16"/>
                    <a:pt x="8" y="16"/>
                  </a:cubicBezTo>
                  <a:cubicBezTo>
                    <a:pt x="9" y="17"/>
                    <a:pt x="10" y="18"/>
                    <a:pt x="11" y="18"/>
                  </a:cubicBezTo>
                  <a:cubicBezTo>
                    <a:pt x="13" y="18"/>
                    <a:pt x="15" y="17"/>
                    <a:pt x="17" y="17"/>
                  </a:cubicBezTo>
                  <a:cubicBezTo>
                    <a:pt x="18" y="17"/>
                    <a:pt x="19" y="17"/>
                    <a:pt x="20" y="16"/>
                  </a:cubicBezTo>
                  <a:cubicBezTo>
                    <a:pt x="23" y="15"/>
                    <a:pt x="25" y="12"/>
                    <a:pt x="28" y="11"/>
                  </a:cubicBezTo>
                  <a:cubicBezTo>
                    <a:pt x="29" y="11"/>
                    <a:pt x="29" y="10"/>
                    <a:pt x="28" y="9"/>
                  </a:cubicBezTo>
                  <a:cubicBezTo>
                    <a:pt x="28" y="8"/>
                    <a:pt x="28" y="7"/>
                    <a:pt x="28" y="7"/>
                  </a:cubicBezTo>
                  <a:cubicBezTo>
                    <a:pt x="29" y="5"/>
                    <a:pt x="29" y="4"/>
                    <a:pt x="30" y="3"/>
                  </a:cubicBezTo>
                  <a:cubicBezTo>
                    <a:pt x="30" y="2"/>
                    <a:pt x="31" y="1"/>
                    <a:pt x="30" y="0"/>
                  </a:cubicBezTo>
                  <a:cubicBezTo>
                    <a:pt x="30" y="0"/>
                    <a:pt x="29" y="1"/>
                    <a:pt x="29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8" name="Freeform 176"/>
            <p:cNvSpPr>
              <a:spLocks/>
            </p:cNvSpPr>
            <p:nvPr/>
          </p:nvSpPr>
          <p:spPr bwMode="auto">
            <a:xfrm>
              <a:off x="8520769" y="5367435"/>
              <a:ext cx="3624" cy="1812"/>
            </a:xfrm>
            <a:custGeom>
              <a:avLst/>
              <a:gdLst>
                <a:gd name="T0" fmla="*/ 1697572 w 3"/>
                <a:gd name="T1" fmla="*/ 65536 h 2"/>
                <a:gd name="T2" fmla="*/ 0 w 3"/>
                <a:gd name="T3" fmla="*/ 131072 h 2"/>
                <a:gd name="T4" fmla="*/ 1697572 w 3"/>
                <a:gd name="T5" fmla="*/ 131072 h 2"/>
                <a:gd name="T6" fmla="*/ 1697572 w 3"/>
                <a:gd name="T7" fmla="*/ 65536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2" y="1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3" y="2"/>
                    <a:pt x="2" y="1"/>
                    <a:pt x="2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9" name="Freeform 177"/>
            <p:cNvSpPr>
              <a:spLocks/>
            </p:cNvSpPr>
            <p:nvPr/>
          </p:nvSpPr>
          <p:spPr bwMode="auto">
            <a:xfrm>
              <a:off x="8514971" y="5371664"/>
              <a:ext cx="2177" cy="1812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4450654 h 2"/>
                <a:gd name="T4" fmla="*/ 43046679 w 1"/>
                <a:gd name="T5" fmla="*/ 4450654 h 2"/>
                <a:gd name="T6" fmla="*/ 43046679 w 1"/>
                <a:gd name="T7" fmla="*/ 2497529 h 2"/>
                <a:gd name="T8" fmla="*/ 0 w 1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0"/>
                    <a:pt x="1" y="1"/>
                    <a:pt x="0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0" name="Freeform 178"/>
            <p:cNvSpPr>
              <a:spLocks/>
            </p:cNvSpPr>
            <p:nvPr/>
          </p:nvSpPr>
          <p:spPr bwMode="auto">
            <a:xfrm>
              <a:off x="8514971" y="5376498"/>
              <a:ext cx="15226" cy="15109"/>
            </a:xfrm>
            <a:custGeom>
              <a:avLst/>
              <a:gdLst>
                <a:gd name="T0" fmla="*/ 7630664 w 11"/>
                <a:gd name="T1" fmla="*/ 6350665 h 13"/>
                <a:gd name="T2" fmla="*/ 5595820 w 11"/>
                <a:gd name="T3" fmla="*/ 5569804 h 13"/>
                <a:gd name="T4" fmla="*/ 3587761 w 11"/>
                <a:gd name="T5" fmla="*/ 4595099 h 13"/>
                <a:gd name="T6" fmla="*/ 3587761 w 11"/>
                <a:gd name="T7" fmla="*/ 0 h 13"/>
                <a:gd name="T8" fmla="*/ 849380 w 11"/>
                <a:gd name="T9" fmla="*/ 979497 h 13"/>
                <a:gd name="T10" fmla="*/ 849380 w 11"/>
                <a:gd name="T11" fmla="*/ 4595099 h 13"/>
                <a:gd name="T12" fmla="*/ 3587761 w 11"/>
                <a:gd name="T13" fmla="*/ 7913775 h 13"/>
                <a:gd name="T14" fmla="*/ 3587761 w 11"/>
                <a:gd name="T15" fmla="*/ 11938254 h 13"/>
                <a:gd name="T16" fmla="*/ 7630664 w 11"/>
                <a:gd name="T17" fmla="*/ 13281841 h 13"/>
                <a:gd name="T18" fmla="*/ 9698926 w 11"/>
                <a:gd name="T19" fmla="*/ 8621839 h 13"/>
                <a:gd name="T20" fmla="*/ 7630664 w 11"/>
                <a:gd name="T21" fmla="*/ 6350665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13"/>
                <a:gd name="T35" fmla="*/ 11 w 11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13">
                  <a:moveTo>
                    <a:pt x="8" y="6"/>
                  </a:moveTo>
                  <a:cubicBezTo>
                    <a:pt x="8" y="6"/>
                    <a:pt x="7" y="6"/>
                    <a:pt x="6" y="5"/>
                  </a:cubicBezTo>
                  <a:cubicBezTo>
                    <a:pt x="6" y="5"/>
                    <a:pt x="5" y="5"/>
                    <a:pt x="4" y="4"/>
                  </a:cubicBezTo>
                  <a:cubicBezTo>
                    <a:pt x="4" y="3"/>
                    <a:pt x="5" y="1"/>
                    <a:pt x="4" y="0"/>
                  </a:cubicBezTo>
                  <a:cubicBezTo>
                    <a:pt x="3" y="0"/>
                    <a:pt x="1" y="0"/>
                    <a:pt x="1" y="1"/>
                  </a:cubicBezTo>
                  <a:cubicBezTo>
                    <a:pt x="0" y="2"/>
                    <a:pt x="1" y="3"/>
                    <a:pt x="1" y="4"/>
                  </a:cubicBezTo>
                  <a:cubicBezTo>
                    <a:pt x="1" y="6"/>
                    <a:pt x="3" y="6"/>
                    <a:pt x="4" y="7"/>
                  </a:cubicBezTo>
                  <a:cubicBezTo>
                    <a:pt x="4" y="8"/>
                    <a:pt x="3" y="10"/>
                    <a:pt x="4" y="11"/>
                  </a:cubicBezTo>
                  <a:cubicBezTo>
                    <a:pt x="5" y="12"/>
                    <a:pt x="6" y="13"/>
                    <a:pt x="8" y="12"/>
                  </a:cubicBezTo>
                  <a:cubicBezTo>
                    <a:pt x="8" y="10"/>
                    <a:pt x="11" y="10"/>
                    <a:pt x="10" y="8"/>
                  </a:cubicBezTo>
                  <a:cubicBezTo>
                    <a:pt x="10" y="7"/>
                    <a:pt x="9" y="7"/>
                    <a:pt x="8" y="6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1" name="Freeform 179"/>
            <p:cNvSpPr>
              <a:spLocks/>
            </p:cNvSpPr>
            <p:nvPr/>
          </p:nvSpPr>
          <p:spPr bwMode="auto">
            <a:xfrm>
              <a:off x="8569343" y="5437537"/>
              <a:ext cx="3624" cy="2418"/>
            </a:xfrm>
            <a:custGeom>
              <a:avLst/>
              <a:gdLst>
                <a:gd name="T0" fmla="*/ 1697572 w 3"/>
                <a:gd name="T1" fmla="*/ 0 h 2"/>
                <a:gd name="T2" fmla="*/ 727531 w 3"/>
                <a:gd name="T3" fmla="*/ 2497529 h 2"/>
                <a:gd name="T4" fmla="*/ 2243220 w 3"/>
                <a:gd name="T5" fmla="*/ 2497529 h 2"/>
                <a:gd name="T6" fmla="*/ 2243220 w 3"/>
                <a:gd name="T7" fmla="*/ 0 h 2"/>
                <a:gd name="T8" fmla="*/ 1697572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1" y="0"/>
                    <a:pt x="0" y="0"/>
                    <a:pt x="1" y="1"/>
                  </a:cubicBezTo>
                  <a:cubicBezTo>
                    <a:pt x="1" y="2"/>
                    <a:pt x="2" y="2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2" name="Freeform 180"/>
            <p:cNvSpPr>
              <a:spLocks/>
            </p:cNvSpPr>
            <p:nvPr/>
          </p:nvSpPr>
          <p:spPr bwMode="auto">
            <a:xfrm>
              <a:off x="8349681" y="5739706"/>
              <a:ext cx="36246" cy="33842"/>
            </a:xfrm>
            <a:custGeom>
              <a:avLst/>
              <a:gdLst>
                <a:gd name="T0" fmla="*/ 14590763 w 27"/>
                <a:gd name="T1" fmla="*/ 2596311 h 31"/>
                <a:gd name="T2" fmla="*/ 14590763 w 27"/>
                <a:gd name="T3" fmla="*/ 3344312 h 31"/>
                <a:gd name="T4" fmla="*/ 10939910 w 27"/>
                <a:gd name="T5" fmla="*/ 4509328 h 31"/>
                <a:gd name="T6" fmla="*/ 8614989 w 27"/>
                <a:gd name="T7" fmla="*/ 3344312 h 31"/>
                <a:gd name="T8" fmla="*/ 5234181 w 27"/>
                <a:gd name="T9" fmla="*/ 813185 h 31"/>
                <a:gd name="T10" fmla="*/ 1697572 w 27"/>
                <a:gd name="T11" fmla="*/ 813185 h 31"/>
                <a:gd name="T12" fmla="*/ 727531 w 27"/>
                <a:gd name="T13" fmla="*/ 2596311 h 31"/>
                <a:gd name="T14" fmla="*/ 727531 w 27"/>
                <a:gd name="T15" fmla="*/ 9852626 h 31"/>
                <a:gd name="T16" fmla="*/ 1697572 w 27"/>
                <a:gd name="T17" fmla="*/ 15128078 h 31"/>
                <a:gd name="T18" fmla="*/ 1697572 w 27"/>
                <a:gd name="T19" fmla="*/ 18545099 h 31"/>
                <a:gd name="T20" fmla="*/ 2970751 w 27"/>
                <a:gd name="T21" fmla="*/ 24361375 h 31"/>
                <a:gd name="T22" fmla="*/ 4688532 w 27"/>
                <a:gd name="T23" fmla="*/ 25817776 h 31"/>
                <a:gd name="T24" fmla="*/ 6253185 w 27"/>
                <a:gd name="T25" fmla="*/ 25817776 h 31"/>
                <a:gd name="T26" fmla="*/ 8614989 w 27"/>
                <a:gd name="T27" fmla="*/ 26893598 h 31"/>
                <a:gd name="T28" fmla="*/ 13184930 w 27"/>
                <a:gd name="T29" fmla="*/ 22384253 h 31"/>
                <a:gd name="T30" fmla="*/ 15628443 w 27"/>
                <a:gd name="T31" fmla="*/ 21634510 h 31"/>
                <a:gd name="T32" fmla="*/ 16174079 w 27"/>
                <a:gd name="T33" fmla="*/ 15964809 h 31"/>
                <a:gd name="T34" fmla="*/ 19144831 w 27"/>
                <a:gd name="T35" fmla="*/ 12593830 h 31"/>
                <a:gd name="T36" fmla="*/ 20101633 w 27"/>
                <a:gd name="T37" fmla="*/ 9852626 h 31"/>
                <a:gd name="T38" fmla="*/ 20837921 w 27"/>
                <a:gd name="T39" fmla="*/ 5348066 h 31"/>
                <a:gd name="T40" fmla="*/ 20837921 w 27"/>
                <a:gd name="T41" fmla="*/ 1914920 h 31"/>
                <a:gd name="T42" fmla="*/ 17871662 w 27"/>
                <a:gd name="T43" fmla="*/ 1914920 h 31"/>
                <a:gd name="T44" fmla="*/ 14590763 w 27"/>
                <a:gd name="T45" fmla="*/ 2596311 h 3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7"/>
                <a:gd name="T70" fmla="*/ 0 h 31"/>
                <a:gd name="T71" fmla="*/ 27 w 27"/>
                <a:gd name="T72" fmla="*/ 31 h 3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7" h="31">
                  <a:moveTo>
                    <a:pt x="19" y="3"/>
                  </a:moveTo>
                  <a:cubicBezTo>
                    <a:pt x="19" y="3"/>
                    <a:pt x="19" y="4"/>
                    <a:pt x="19" y="4"/>
                  </a:cubicBezTo>
                  <a:cubicBezTo>
                    <a:pt x="17" y="5"/>
                    <a:pt x="16" y="4"/>
                    <a:pt x="14" y="5"/>
                  </a:cubicBezTo>
                  <a:cubicBezTo>
                    <a:pt x="13" y="5"/>
                    <a:pt x="11" y="5"/>
                    <a:pt x="11" y="4"/>
                  </a:cubicBezTo>
                  <a:cubicBezTo>
                    <a:pt x="10" y="3"/>
                    <a:pt x="8" y="2"/>
                    <a:pt x="7" y="1"/>
                  </a:cubicBezTo>
                  <a:cubicBezTo>
                    <a:pt x="5" y="0"/>
                    <a:pt x="3" y="1"/>
                    <a:pt x="2" y="1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5"/>
                    <a:pt x="0" y="8"/>
                    <a:pt x="1" y="11"/>
                  </a:cubicBezTo>
                  <a:cubicBezTo>
                    <a:pt x="2" y="13"/>
                    <a:pt x="3" y="15"/>
                    <a:pt x="2" y="17"/>
                  </a:cubicBezTo>
                  <a:cubicBezTo>
                    <a:pt x="2" y="18"/>
                    <a:pt x="1" y="20"/>
                    <a:pt x="2" y="21"/>
                  </a:cubicBezTo>
                  <a:cubicBezTo>
                    <a:pt x="3" y="23"/>
                    <a:pt x="3" y="25"/>
                    <a:pt x="4" y="27"/>
                  </a:cubicBezTo>
                  <a:cubicBezTo>
                    <a:pt x="4" y="28"/>
                    <a:pt x="5" y="30"/>
                    <a:pt x="6" y="29"/>
                  </a:cubicBezTo>
                  <a:cubicBezTo>
                    <a:pt x="7" y="29"/>
                    <a:pt x="8" y="29"/>
                    <a:pt x="8" y="29"/>
                  </a:cubicBezTo>
                  <a:cubicBezTo>
                    <a:pt x="9" y="30"/>
                    <a:pt x="10" y="31"/>
                    <a:pt x="11" y="30"/>
                  </a:cubicBezTo>
                  <a:cubicBezTo>
                    <a:pt x="13" y="28"/>
                    <a:pt x="14" y="26"/>
                    <a:pt x="17" y="25"/>
                  </a:cubicBezTo>
                  <a:cubicBezTo>
                    <a:pt x="18" y="24"/>
                    <a:pt x="19" y="25"/>
                    <a:pt x="20" y="24"/>
                  </a:cubicBezTo>
                  <a:cubicBezTo>
                    <a:pt x="22" y="23"/>
                    <a:pt x="20" y="20"/>
                    <a:pt x="21" y="18"/>
                  </a:cubicBezTo>
                  <a:cubicBezTo>
                    <a:pt x="22" y="16"/>
                    <a:pt x="24" y="15"/>
                    <a:pt x="25" y="14"/>
                  </a:cubicBezTo>
                  <a:cubicBezTo>
                    <a:pt x="25" y="13"/>
                    <a:pt x="26" y="12"/>
                    <a:pt x="26" y="11"/>
                  </a:cubicBezTo>
                  <a:cubicBezTo>
                    <a:pt x="26" y="9"/>
                    <a:pt x="26" y="8"/>
                    <a:pt x="27" y="6"/>
                  </a:cubicBezTo>
                  <a:cubicBezTo>
                    <a:pt x="27" y="5"/>
                    <a:pt x="27" y="3"/>
                    <a:pt x="27" y="2"/>
                  </a:cubicBezTo>
                  <a:cubicBezTo>
                    <a:pt x="26" y="1"/>
                    <a:pt x="24" y="2"/>
                    <a:pt x="23" y="2"/>
                  </a:cubicBezTo>
                  <a:cubicBezTo>
                    <a:pt x="22" y="3"/>
                    <a:pt x="20" y="2"/>
                    <a:pt x="19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3" name="Freeform 181"/>
            <p:cNvSpPr>
              <a:spLocks/>
            </p:cNvSpPr>
            <p:nvPr/>
          </p:nvSpPr>
          <p:spPr bwMode="auto">
            <a:xfrm>
              <a:off x="8384476" y="5727619"/>
              <a:ext cx="7248" cy="10273"/>
            </a:xfrm>
            <a:custGeom>
              <a:avLst/>
              <a:gdLst>
                <a:gd name="T0" fmla="*/ 2554647 w 5"/>
                <a:gd name="T1" fmla="*/ 7915496 h 9"/>
                <a:gd name="T2" fmla="*/ 3577445 w 5"/>
                <a:gd name="T3" fmla="*/ 10015063 h 9"/>
                <a:gd name="T4" fmla="*/ 5085394 w 5"/>
                <a:gd name="T5" fmla="*/ 13330806 h 9"/>
                <a:gd name="T6" fmla="*/ 6131150 w 5"/>
                <a:gd name="T7" fmla="*/ 14708563 h 9"/>
                <a:gd name="T8" fmla="*/ 5085394 w 5"/>
                <a:gd name="T9" fmla="*/ 10015063 h 9"/>
                <a:gd name="T10" fmla="*/ 5085394 w 5"/>
                <a:gd name="T11" fmla="*/ 3238158 h 9"/>
                <a:gd name="T12" fmla="*/ 1064436 w 5"/>
                <a:gd name="T13" fmla="*/ 1324701 h 9"/>
                <a:gd name="T14" fmla="*/ 0 w 5"/>
                <a:gd name="T15" fmla="*/ 3238158 h 9"/>
                <a:gd name="T16" fmla="*/ 2554647 w 5"/>
                <a:gd name="T17" fmla="*/ 7915496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9"/>
                <a:gd name="T29" fmla="*/ 5 w 5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9">
                  <a:moveTo>
                    <a:pt x="2" y="5"/>
                  </a:moveTo>
                  <a:cubicBezTo>
                    <a:pt x="2" y="6"/>
                    <a:pt x="3" y="6"/>
                    <a:pt x="3" y="6"/>
                  </a:cubicBezTo>
                  <a:cubicBezTo>
                    <a:pt x="3" y="7"/>
                    <a:pt x="3" y="7"/>
                    <a:pt x="4" y="8"/>
                  </a:cubicBezTo>
                  <a:cubicBezTo>
                    <a:pt x="4" y="8"/>
                    <a:pt x="4" y="9"/>
                    <a:pt x="5" y="9"/>
                  </a:cubicBezTo>
                  <a:cubicBezTo>
                    <a:pt x="5" y="8"/>
                    <a:pt x="5" y="7"/>
                    <a:pt x="4" y="6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1"/>
                    <a:pt x="2" y="0"/>
                    <a:pt x="1" y="1"/>
                  </a:cubicBezTo>
                  <a:cubicBezTo>
                    <a:pt x="1" y="1"/>
                    <a:pt x="1" y="2"/>
                    <a:pt x="0" y="2"/>
                  </a:cubicBezTo>
                  <a:cubicBezTo>
                    <a:pt x="0" y="3"/>
                    <a:pt x="1" y="4"/>
                    <a:pt x="2" y="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4" name="Freeform 182"/>
            <p:cNvSpPr>
              <a:spLocks/>
            </p:cNvSpPr>
            <p:nvPr/>
          </p:nvSpPr>
          <p:spPr bwMode="auto">
            <a:xfrm>
              <a:off x="8343880" y="5727619"/>
              <a:ext cx="3624" cy="6647"/>
            </a:xfrm>
            <a:custGeom>
              <a:avLst/>
              <a:gdLst>
                <a:gd name="T0" fmla="*/ 1697572 w 3"/>
                <a:gd name="T1" fmla="*/ 727531 h 6"/>
                <a:gd name="T2" fmla="*/ 0 w 3"/>
                <a:gd name="T3" fmla="*/ 4688532 h 6"/>
                <a:gd name="T4" fmla="*/ 2243220 w 3"/>
                <a:gd name="T5" fmla="*/ 0 h 6"/>
                <a:gd name="T6" fmla="*/ 1697572 w 3"/>
                <a:gd name="T7" fmla="*/ 727531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6"/>
                <a:gd name="T14" fmla="*/ 3 w 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6">
                  <a:moveTo>
                    <a:pt x="2" y="1"/>
                  </a:moveTo>
                  <a:cubicBezTo>
                    <a:pt x="1" y="2"/>
                    <a:pt x="0" y="4"/>
                    <a:pt x="0" y="6"/>
                  </a:cubicBezTo>
                  <a:cubicBezTo>
                    <a:pt x="3" y="6"/>
                    <a:pt x="3" y="2"/>
                    <a:pt x="3" y="0"/>
                  </a:cubicBezTo>
                  <a:cubicBezTo>
                    <a:pt x="3" y="0"/>
                    <a:pt x="2" y="0"/>
                    <a:pt x="2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5" name="Freeform 183"/>
            <p:cNvSpPr>
              <a:spLocks/>
            </p:cNvSpPr>
            <p:nvPr/>
          </p:nvSpPr>
          <p:spPr bwMode="auto">
            <a:xfrm>
              <a:off x="8053169" y="5430285"/>
              <a:ext cx="422654" cy="291292"/>
            </a:xfrm>
            <a:custGeom>
              <a:avLst/>
              <a:gdLst>
                <a:gd name="T0" fmla="*/ 257120878 w 314"/>
                <a:gd name="T1" fmla="*/ 224041193 h 269"/>
                <a:gd name="T2" fmla="*/ 281713906 w 314"/>
                <a:gd name="T3" fmla="*/ 189859645 h 269"/>
                <a:gd name="T4" fmla="*/ 294864447 w 314"/>
                <a:gd name="T5" fmla="*/ 149615072 h 269"/>
                <a:gd name="T6" fmla="*/ 292017588 w 314"/>
                <a:gd name="T7" fmla="*/ 118958098 h 269"/>
                <a:gd name="T8" fmla="*/ 276828995 w 314"/>
                <a:gd name="T9" fmla="*/ 98448656 h 269"/>
                <a:gd name="T10" fmla="*/ 272375560 w 314"/>
                <a:gd name="T11" fmla="*/ 86589788 h 269"/>
                <a:gd name="T12" fmla="*/ 264791700 w 314"/>
                <a:gd name="T13" fmla="*/ 77874042 h 269"/>
                <a:gd name="T14" fmla="*/ 253242138 w 314"/>
                <a:gd name="T15" fmla="*/ 66232576 h 269"/>
                <a:gd name="T16" fmla="*/ 248394432 w 314"/>
                <a:gd name="T17" fmla="*/ 40205500 h 269"/>
                <a:gd name="T18" fmla="*/ 237992749 w 314"/>
                <a:gd name="T19" fmla="*/ 23172693 h 269"/>
                <a:gd name="T20" fmla="*/ 233627334 w 314"/>
                <a:gd name="T21" fmla="*/ 2815614 h 269"/>
                <a:gd name="T22" fmla="*/ 224798047 w 314"/>
                <a:gd name="T23" fmla="*/ 13861477 h 269"/>
                <a:gd name="T24" fmla="*/ 223311553 w 314"/>
                <a:gd name="T25" fmla="*/ 35339193 h 269"/>
                <a:gd name="T26" fmla="*/ 203185420 w 314"/>
                <a:gd name="T27" fmla="*/ 55893968 h 269"/>
                <a:gd name="T28" fmla="*/ 189905724 w 314"/>
                <a:gd name="T29" fmla="*/ 45724606 h 269"/>
                <a:gd name="T30" fmla="*/ 176756241 w 314"/>
                <a:gd name="T31" fmla="*/ 33510922 h 269"/>
                <a:gd name="T32" fmla="*/ 184324525 w 314"/>
                <a:gd name="T33" fmla="*/ 19733511 h 269"/>
                <a:gd name="T34" fmla="*/ 183185418 w 314"/>
                <a:gd name="T35" fmla="*/ 14970465 h 269"/>
                <a:gd name="T36" fmla="*/ 172868276 w 314"/>
                <a:gd name="T37" fmla="*/ 12147214 h 269"/>
                <a:gd name="T38" fmla="*/ 157987637 w 314"/>
                <a:gd name="T39" fmla="*/ 6646523 h 269"/>
                <a:gd name="T40" fmla="*/ 157987637 w 314"/>
                <a:gd name="T41" fmla="*/ 12147214 h 269"/>
                <a:gd name="T42" fmla="*/ 137969260 w 314"/>
                <a:gd name="T43" fmla="*/ 18505303 h 269"/>
                <a:gd name="T44" fmla="*/ 131181579 w 314"/>
                <a:gd name="T45" fmla="*/ 28674632 h 269"/>
                <a:gd name="T46" fmla="*/ 132388515 w 314"/>
                <a:gd name="T47" fmla="*/ 35339193 h 269"/>
                <a:gd name="T48" fmla="*/ 124780986 w 314"/>
                <a:gd name="T49" fmla="*/ 35339193 h 269"/>
                <a:gd name="T50" fmla="*/ 117993683 w 314"/>
                <a:gd name="T51" fmla="*/ 32721313 h 269"/>
                <a:gd name="T52" fmla="*/ 105956689 w 314"/>
                <a:gd name="T53" fmla="*/ 28674632 h 269"/>
                <a:gd name="T54" fmla="*/ 99224587 w 314"/>
                <a:gd name="T55" fmla="*/ 34221593 h 269"/>
                <a:gd name="T56" fmla="*/ 92771439 w 314"/>
                <a:gd name="T57" fmla="*/ 41705025 h 269"/>
                <a:gd name="T58" fmla="*/ 85984136 w 314"/>
                <a:gd name="T59" fmla="*/ 46582805 h 269"/>
                <a:gd name="T60" fmla="*/ 82471160 w 314"/>
                <a:gd name="T61" fmla="*/ 51226678 h 269"/>
                <a:gd name="T62" fmla="*/ 74799828 w 314"/>
                <a:gd name="T63" fmla="*/ 58737860 h 269"/>
                <a:gd name="T64" fmla="*/ 60455849 w 314"/>
                <a:gd name="T65" fmla="*/ 77874042 h 269"/>
                <a:gd name="T66" fmla="*/ 34900197 w 314"/>
                <a:gd name="T67" fmla="*/ 85447336 h 269"/>
                <a:gd name="T68" fmla="*/ 25583744 w 314"/>
                <a:gd name="T69" fmla="*/ 88260786 h 269"/>
                <a:gd name="T70" fmla="*/ 15256266 w 314"/>
                <a:gd name="T71" fmla="*/ 95783413 h 269"/>
                <a:gd name="T72" fmla="*/ 12395852 w 314"/>
                <a:gd name="T73" fmla="*/ 93807766 h 269"/>
                <a:gd name="T74" fmla="*/ 5581022 w 314"/>
                <a:gd name="T75" fmla="*/ 116104310 h 269"/>
                <a:gd name="T76" fmla="*/ 9675239 w 314"/>
                <a:gd name="T77" fmla="*/ 131106205 h 269"/>
                <a:gd name="T78" fmla="*/ 3577118 w 314"/>
                <a:gd name="T79" fmla="*/ 128511667 h 269"/>
                <a:gd name="T80" fmla="*/ 2003750 w 314"/>
                <a:gd name="T81" fmla="*/ 134645056 h 269"/>
                <a:gd name="T82" fmla="*/ 8452934 w 314"/>
                <a:gd name="T83" fmla="*/ 155155556 h 269"/>
                <a:gd name="T84" fmla="*/ 13188270 w 314"/>
                <a:gd name="T85" fmla="*/ 185878135 h 269"/>
                <a:gd name="T86" fmla="*/ 5581022 w 314"/>
                <a:gd name="T87" fmla="*/ 200868548 h 269"/>
                <a:gd name="T88" fmla="*/ 26440266 w 314"/>
                <a:gd name="T89" fmla="*/ 213865032 h 269"/>
                <a:gd name="T90" fmla="*/ 55513507 w 314"/>
                <a:gd name="T91" fmla="*/ 202845857 h 269"/>
                <a:gd name="T92" fmla="*/ 70063734 w 314"/>
                <a:gd name="T93" fmla="*/ 198885951 h 269"/>
                <a:gd name="T94" fmla="*/ 98351428 w 314"/>
                <a:gd name="T95" fmla="*/ 189859645 h 269"/>
                <a:gd name="T96" fmla="*/ 116479436 w 314"/>
                <a:gd name="T97" fmla="*/ 183196652 h 269"/>
                <a:gd name="T98" fmla="*/ 139971695 w 314"/>
                <a:gd name="T99" fmla="*/ 186736410 h 269"/>
                <a:gd name="T100" fmla="*/ 150532175 w 314"/>
                <a:gd name="T101" fmla="*/ 198024958 h 269"/>
                <a:gd name="T102" fmla="*/ 156737221 w 314"/>
                <a:gd name="T103" fmla="*/ 211049543 h 269"/>
                <a:gd name="T104" fmla="*/ 169289437 w 314"/>
                <a:gd name="T105" fmla="*/ 196197669 h 269"/>
                <a:gd name="T106" fmla="*/ 168443425 w 314"/>
                <a:gd name="T107" fmla="*/ 207218960 h 269"/>
                <a:gd name="T108" fmla="*/ 170017636 w 314"/>
                <a:gd name="T109" fmla="*/ 213032291 h 269"/>
                <a:gd name="T110" fmla="*/ 176087326 w 314"/>
                <a:gd name="T111" fmla="*/ 211049543 h 269"/>
                <a:gd name="T112" fmla="*/ 177601194 w 314"/>
                <a:gd name="T113" fmla="*/ 219372883 h 269"/>
                <a:gd name="T114" fmla="*/ 180473461 w 314"/>
                <a:gd name="T115" fmla="*/ 234426899 h 269"/>
                <a:gd name="T116" fmla="*/ 192840904 w 314"/>
                <a:gd name="T117" fmla="*/ 243422083 h 269"/>
                <a:gd name="T118" fmla="*/ 215703948 w 314"/>
                <a:gd name="T119" fmla="*/ 240564141 h 269"/>
                <a:gd name="T120" fmla="*/ 221953911 w 314"/>
                <a:gd name="T121" fmla="*/ 249278320 h 269"/>
                <a:gd name="T122" fmla="*/ 235142109 w 314"/>
                <a:gd name="T123" fmla="*/ 239944872 h 26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4"/>
                <a:gd name="T187" fmla="*/ 0 h 269"/>
                <a:gd name="T188" fmla="*/ 314 w 314"/>
                <a:gd name="T189" fmla="*/ 269 h 26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4" h="269">
                  <a:moveTo>
                    <a:pt x="249" y="259"/>
                  </a:moveTo>
                  <a:cubicBezTo>
                    <a:pt x="251" y="257"/>
                    <a:pt x="254" y="258"/>
                    <a:pt x="256" y="257"/>
                  </a:cubicBezTo>
                  <a:cubicBezTo>
                    <a:pt x="257" y="257"/>
                    <a:pt x="258" y="257"/>
                    <a:pt x="259" y="256"/>
                  </a:cubicBezTo>
                  <a:cubicBezTo>
                    <a:pt x="261" y="256"/>
                    <a:pt x="264" y="256"/>
                    <a:pt x="266" y="255"/>
                  </a:cubicBezTo>
                  <a:cubicBezTo>
                    <a:pt x="268" y="252"/>
                    <a:pt x="269" y="248"/>
                    <a:pt x="270" y="244"/>
                  </a:cubicBezTo>
                  <a:cubicBezTo>
                    <a:pt x="271" y="243"/>
                    <a:pt x="272" y="242"/>
                    <a:pt x="272" y="241"/>
                  </a:cubicBezTo>
                  <a:cubicBezTo>
                    <a:pt x="273" y="237"/>
                    <a:pt x="274" y="234"/>
                    <a:pt x="277" y="232"/>
                  </a:cubicBezTo>
                  <a:cubicBezTo>
                    <a:pt x="279" y="229"/>
                    <a:pt x="280" y="227"/>
                    <a:pt x="281" y="224"/>
                  </a:cubicBezTo>
                  <a:cubicBezTo>
                    <a:pt x="283" y="221"/>
                    <a:pt x="287" y="219"/>
                    <a:pt x="287" y="215"/>
                  </a:cubicBezTo>
                  <a:cubicBezTo>
                    <a:pt x="288" y="213"/>
                    <a:pt x="289" y="212"/>
                    <a:pt x="290" y="210"/>
                  </a:cubicBezTo>
                  <a:cubicBezTo>
                    <a:pt x="292" y="208"/>
                    <a:pt x="294" y="207"/>
                    <a:pt x="296" y="206"/>
                  </a:cubicBezTo>
                  <a:cubicBezTo>
                    <a:pt x="297" y="205"/>
                    <a:pt x="297" y="205"/>
                    <a:pt x="298" y="204"/>
                  </a:cubicBezTo>
                  <a:cubicBezTo>
                    <a:pt x="301" y="199"/>
                    <a:pt x="303" y="195"/>
                    <a:pt x="305" y="190"/>
                  </a:cubicBezTo>
                  <a:cubicBezTo>
                    <a:pt x="305" y="189"/>
                    <a:pt x="305" y="187"/>
                    <a:pt x="305" y="185"/>
                  </a:cubicBezTo>
                  <a:cubicBezTo>
                    <a:pt x="307" y="181"/>
                    <a:pt x="309" y="177"/>
                    <a:pt x="310" y="173"/>
                  </a:cubicBezTo>
                  <a:cubicBezTo>
                    <a:pt x="310" y="172"/>
                    <a:pt x="311" y="171"/>
                    <a:pt x="311" y="170"/>
                  </a:cubicBezTo>
                  <a:cubicBezTo>
                    <a:pt x="312" y="169"/>
                    <a:pt x="312" y="167"/>
                    <a:pt x="312" y="165"/>
                  </a:cubicBezTo>
                  <a:cubicBezTo>
                    <a:pt x="312" y="164"/>
                    <a:pt x="312" y="162"/>
                    <a:pt x="312" y="161"/>
                  </a:cubicBezTo>
                  <a:cubicBezTo>
                    <a:pt x="312" y="156"/>
                    <a:pt x="313" y="151"/>
                    <a:pt x="313" y="147"/>
                  </a:cubicBezTo>
                  <a:cubicBezTo>
                    <a:pt x="313" y="145"/>
                    <a:pt x="313" y="143"/>
                    <a:pt x="314" y="142"/>
                  </a:cubicBezTo>
                  <a:cubicBezTo>
                    <a:pt x="314" y="141"/>
                    <a:pt x="314" y="140"/>
                    <a:pt x="314" y="140"/>
                  </a:cubicBezTo>
                  <a:cubicBezTo>
                    <a:pt x="313" y="138"/>
                    <a:pt x="312" y="137"/>
                    <a:pt x="311" y="136"/>
                  </a:cubicBezTo>
                  <a:cubicBezTo>
                    <a:pt x="311" y="135"/>
                    <a:pt x="312" y="134"/>
                    <a:pt x="311" y="133"/>
                  </a:cubicBezTo>
                  <a:cubicBezTo>
                    <a:pt x="310" y="131"/>
                    <a:pt x="310" y="130"/>
                    <a:pt x="309" y="128"/>
                  </a:cubicBezTo>
                  <a:cubicBezTo>
                    <a:pt x="307" y="125"/>
                    <a:pt x="304" y="122"/>
                    <a:pt x="301" y="120"/>
                  </a:cubicBezTo>
                  <a:cubicBezTo>
                    <a:pt x="301" y="119"/>
                    <a:pt x="300" y="118"/>
                    <a:pt x="300" y="118"/>
                  </a:cubicBezTo>
                  <a:cubicBezTo>
                    <a:pt x="300" y="118"/>
                    <a:pt x="300" y="118"/>
                    <a:pt x="300" y="118"/>
                  </a:cubicBezTo>
                  <a:cubicBezTo>
                    <a:pt x="298" y="115"/>
                    <a:pt x="300" y="112"/>
                    <a:pt x="298" y="109"/>
                  </a:cubicBezTo>
                  <a:cubicBezTo>
                    <a:pt x="297" y="108"/>
                    <a:pt x="296" y="107"/>
                    <a:pt x="295" y="106"/>
                  </a:cubicBezTo>
                  <a:cubicBezTo>
                    <a:pt x="294" y="106"/>
                    <a:pt x="294" y="106"/>
                    <a:pt x="293" y="106"/>
                  </a:cubicBezTo>
                  <a:cubicBezTo>
                    <a:pt x="292" y="107"/>
                    <a:pt x="293" y="108"/>
                    <a:pt x="293" y="108"/>
                  </a:cubicBezTo>
                  <a:cubicBezTo>
                    <a:pt x="292" y="109"/>
                    <a:pt x="291" y="109"/>
                    <a:pt x="291" y="108"/>
                  </a:cubicBezTo>
                  <a:cubicBezTo>
                    <a:pt x="289" y="107"/>
                    <a:pt x="290" y="106"/>
                    <a:pt x="289" y="104"/>
                  </a:cubicBezTo>
                  <a:cubicBezTo>
                    <a:pt x="288" y="102"/>
                    <a:pt x="289" y="100"/>
                    <a:pt x="289" y="98"/>
                  </a:cubicBezTo>
                  <a:cubicBezTo>
                    <a:pt x="288" y="96"/>
                    <a:pt x="288" y="95"/>
                    <a:pt x="288" y="93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88" y="92"/>
                    <a:pt x="287" y="91"/>
                    <a:pt x="287" y="91"/>
                  </a:cubicBezTo>
                  <a:cubicBezTo>
                    <a:pt x="286" y="90"/>
                    <a:pt x="285" y="90"/>
                    <a:pt x="285" y="90"/>
                  </a:cubicBezTo>
                  <a:cubicBezTo>
                    <a:pt x="285" y="89"/>
                    <a:pt x="285" y="89"/>
                    <a:pt x="285" y="89"/>
                  </a:cubicBezTo>
                  <a:cubicBezTo>
                    <a:pt x="285" y="89"/>
                    <a:pt x="286" y="89"/>
                    <a:pt x="286" y="88"/>
                  </a:cubicBezTo>
                  <a:cubicBezTo>
                    <a:pt x="286" y="87"/>
                    <a:pt x="286" y="87"/>
                    <a:pt x="286" y="86"/>
                  </a:cubicBezTo>
                  <a:cubicBezTo>
                    <a:pt x="284" y="85"/>
                    <a:pt x="282" y="85"/>
                    <a:pt x="280" y="84"/>
                  </a:cubicBezTo>
                  <a:cubicBezTo>
                    <a:pt x="279" y="84"/>
                    <a:pt x="279" y="83"/>
                    <a:pt x="278" y="82"/>
                  </a:cubicBezTo>
                  <a:cubicBezTo>
                    <a:pt x="277" y="81"/>
                    <a:pt x="277" y="80"/>
                    <a:pt x="276" y="79"/>
                  </a:cubicBezTo>
                  <a:cubicBezTo>
                    <a:pt x="276" y="79"/>
                    <a:pt x="274" y="78"/>
                    <a:pt x="274" y="77"/>
                  </a:cubicBezTo>
                  <a:cubicBezTo>
                    <a:pt x="273" y="77"/>
                    <a:pt x="272" y="77"/>
                    <a:pt x="272" y="77"/>
                  </a:cubicBezTo>
                  <a:cubicBezTo>
                    <a:pt x="271" y="78"/>
                    <a:pt x="269" y="78"/>
                    <a:pt x="269" y="78"/>
                  </a:cubicBezTo>
                  <a:cubicBezTo>
                    <a:pt x="268" y="76"/>
                    <a:pt x="268" y="73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67"/>
                    <a:pt x="269" y="63"/>
                    <a:pt x="268" y="59"/>
                  </a:cubicBezTo>
                  <a:cubicBezTo>
                    <a:pt x="268" y="56"/>
                    <a:pt x="266" y="55"/>
                    <a:pt x="264" y="56"/>
                  </a:cubicBezTo>
                  <a:cubicBezTo>
                    <a:pt x="264" y="56"/>
                    <a:pt x="264" y="55"/>
                    <a:pt x="264" y="56"/>
                  </a:cubicBezTo>
                  <a:cubicBezTo>
                    <a:pt x="264" y="53"/>
                    <a:pt x="264" y="50"/>
                    <a:pt x="264" y="47"/>
                  </a:cubicBezTo>
                  <a:cubicBezTo>
                    <a:pt x="263" y="46"/>
                    <a:pt x="262" y="44"/>
                    <a:pt x="263" y="43"/>
                  </a:cubicBezTo>
                  <a:cubicBezTo>
                    <a:pt x="264" y="41"/>
                    <a:pt x="264" y="39"/>
                    <a:pt x="264" y="37"/>
                  </a:cubicBezTo>
                  <a:cubicBezTo>
                    <a:pt x="262" y="35"/>
                    <a:pt x="261" y="33"/>
                    <a:pt x="259" y="32"/>
                  </a:cubicBezTo>
                  <a:cubicBezTo>
                    <a:pt x="258" y="31"/>
                    <a:pt x="257" y="31"/>
                    <a:pt x="257" y="32"/>
                  </a:cubicBezTo>
                  <a:cubicBezTo>
                    <a:pt x="256" y="32"/>
                    <a:pt x="256" y="33"/>
                    <a:pt x="255" y="33"/>
                  </a:cubicBezTo>
                  <a:cubicBezTo>
                    <a:pt x="254" y="34"/>
                    <a:pt x="254" y="34"/>
                    <a:pt x="253" y="34"/>
                  </a:cubicBezTo>
                  <a:cubicBezTo>
                    <a:pt x="253" y="31"/>
                    <a:pt x="253" y="28"/>
                    <a:pt x="252" y="25"/>
                  </a:cubicBezTo>
                  <a:cubicBezTo>
                    <a:pt x="252" y="23"/>
                    <a:pt x="253" y="21"/>
                    <a:pt x="252" y="19"/>
                  </a:cubicBezTo>
                  <a:cubicBezTo>
                    <a:pt x="252" y="18"/>
                    <a:pt x="251" y="19"/>
                    <a:pt x="251" y="18"/>
                  </a:cubicBezTo>
                  <a:cubicBezTo>
                    <a:pt x="250" y="17"/>
                    <a:pt x="250" y="15"/>
                    <a:pt x="250" y="14"/>
                  </a:cubicBezTo>
                  <a:cubicBezTo>
                    <a:pt x="249" y="13"/>
                    <a:pt x="250" y="11"/>
                    <a:pt x="249" y="10"/>
                  </a:cubicBezTo>
                  <a:cubicBezTo>
                    <a:pt x="249" y="9"/>
                    <a:pt x="248" y="9"/>
                    <a:pt x="247" y="8"/>
                  </a:cubicBezTo>
                  <a:cubicBezTo>
                    <a:pt x="247" y="6"/>
                    <a:pt x="247" y="5"/>
                    <a:pt x="247" y="3"/>
                  </a:cubicBezTo>
                  <a:cubicBezTo>
                    <a:pt x="246" y="2"/>
                    <a:pt x="245" y="2"/>
                    <a:pt x="245" y="1"/>
                  </a:cubicBezTo>
                  <a:cubicBezTo>
                    <a:pt x="244" y="0"/>
                    <a:pt x="243" y="0"/>
                    <a:pt x="243" y="1"/>
                  </a:cubicBezTo>
                  <a:cubicBezTo>
                    <a:pt x="242" y="2"/>
                    <a:pt x="242" y="4"/>
                    <a:pt x="241" y="5"/>
                  </a:cubicBezTo>
                  <a:cubicBezTo>
                    <a:pt x="241" y="7"/>
                    <a:pt x="241" y="8"/>
                    <a:pt x="241" y="9"/>
                  </a:cubicBezTo>
                  <a:cubicBezTo>
                    <a:pt x="240" y="11"/>
                    <a:pt x="239" y="12"/>
                    <a:pt x="238" y="13"/>
                  </a:cubicBezTo>
                  <a:cubicBezTo>
                    <a:pt x="238" y="14"/>
                    <a:pt x="238" y="15"/>
                    <a:pt x="238" y="15"/>
                  </a:cubicBezTo>
                  <a:cubicBezTo>
                    <a:pt x="239" y="16"/>
                    <a:pt x="239" y="17"/>
                    <a:pt x="238" y="17"/>
                  </a:cubicBezTo>
                  <a:cubicBezTo>
                    <a:pt x="238" y="18"/>
                    <a:pt x="237" y="19"/>
                    <a:pt x="237" y="19"/>
                  </a:cubicBezTo>
                  <a:cubicBezTo>
                    <a:pt x="235" y="21"/>
                    <a:pt x="237" y="24"/>
                    <a:pt x="236" y="26"/>
                  </a:cubicBezTo>
                  <a:cubicBezTo>
                    <a:pt x="236" y="28"/>
                    <a:pt x="234" y="29"/>
                    <a:pt x="235" y="31"/>
                  </a:cubicBezTo>
                  <a:cubicBezTo>
                    <a:pt x="235" y="31"/>
                    <a:pt x="235" y="32"/>
                    <a:pt x="235" y="32"/>
                  </a:cubicBezTo>
                  <a:cubicBezTo>
                    <a:pt x="236" y="34"/>
                    <a:pt x="236" y="36"/>
                    <a:pt x="236" y="38"/>
                  </a:cubicBezTo>
                  <a:cubicBezTo>
                    <a:pt x="234" y="42"/>
                    <a:pt x="233" y="47"/>
                    <a:pt x="231" y="51"/>
                  </a:cubicBezTo>
                  <a:cubicBezTo>
                    <a:pt x="231" y="52"/>
                    <a:pt x="230" y="52"/>
                    <a:pt x="230" y="53"/>
                  </a:cubicBezTo>
                  <a:cubicBezTo>
                    <a:pt x="229" y="55"/>
                    <a:pt x="230" y="56"/>
                    <a:pt x="229" y="58"/>
                  </a:cubicBezTo>
                  <a:cubicBezTo>
                    <a:pt x="227" y="59"/>
                    <a:pt x="226" y="62"/>
                    <a:pt x="224" y="63"/>
                  </a:cubicBezTo>
                  <a:cubicBezTo>
                    <a:pt x="222" y="63"/>
                    <a:pt x="220" y="63"/>
                    <a:pt x="218" y="62"/>
                  </a:cubicBezTo>
                  <a:cubicBezTo>
                    <a:pt x="217" y="62"/>
                    <a:pt x="216" y="61"/>
                    <a:pt x="215" y="60"/>
                  </a:cubicBezTo>
                  <a:cubicBezTo>
                    <a:pt x="214" y="59"/>
                    <a:pt x="213" y="58"/>
                    <a:pt x="213" y="57"/>
                  </a:cubicBezTo>
                  <a:cubicBezTo>
                    <a:pt x="213" y="56"/>
                    <a:pt x="212" y="55"/>
                    <a:pt x="211" y="55"/>
                  </a:cubicBezTo>
                  <a:cubicBezTo>
                    <a:pt x="211" y="55"/>
                    <a:pt x="210" y="55"/>
                    <a:pt x="210" y="55"/>
                  </a:cubicBezTo>
                  <a:cubicBezTo>
                    <a:pt x="209" y="55"/>
                    <a:pt x="208" y="54"/>
                    <a:pt x="207" y="54"/>
                  </a:cubicBezTo>
                  <a:cubicBezTo>
                    <a:pt x="206" y="53"/>
                    <a:pt x="206" y="51"/>
                    <a:pt x="205" y="51"/>
                  </a:cubicBezTo>
                  <a:cubicBezTo>
                    <a:pt x="204" y="50"/>
                    <a:pt x="202" y="50"/>
                    <a:pt x="201" y="49"/>
                  </a:cubicBezTo>
                  <a:cubicBezTo>
                    <a:pt x="199" y="48"/>
                    <a:pt x="199" y="46"/>
                    <a:pt x="197" y="45"/>
                  </a:cubicBezTo>
                  <a:cubicBezTo>
                    <a:pt x="196" y="45"/>
                    <a:pt x="195" y="45"/>
                    <a:pt x="194" y="44"/>
                  </a:cubicBezTo>
                  <a:cubicBezTo>
                    <a:pt x="193" y="44"/>
                    <a:pt x="193" y="43"/>
                    <a:pt x="192" y="42"/>
                  </a:cubicBezTo>
                  <a:cubicBezTo>
                    <a:pt x="191" y="42"/>
                    <a:pt x="190" y="42"/>
                    <a:pt x="189" y="42"/>
                  </a:cubicBezTo>
                  <a:cubicBezTo>
                    <a:pt x="188" y="41"/>
                    <a:pt x="188" y="40"/>
                    <a:pt x="187" y="39"/>
                  </a:cubicBezTo>
                  <a:cubicBezTo>
                    <a:pt x="187" y="38"/>
                    <a:pt x="187" y="37"/>
                    <a:pt x="187" y="36"/>
                  </a:cubicBezTo>
                  <a:cubicBezTo>
                    <a:pt x="187" y="35"/>
                    <a:pt x="188" y="34"/>
                    <a:pt x="188" y="33"/>
                  </a:cubicBezTo>
                  <a:cubicBezTo>
                    <a:pt x="188" y="33"/>
                    <a:pt x="189" y="33"/>
                    <a:pt x="189" y="32"/>
                  </a:cubicBezTo>
                  <a:cubicBezTo>
                    <a:pt x="190" y="32"/>
                    <a:pt x="191" y="30"/>
                    <a:pt x="191" y="30"/>
                  </a:cubicBezTo>
                  <a:cubicBezTo>
                    <a:pt x="190" y="28"/>
                    <a:pt x="191" y="27"/>
                    <a:pt x="191" y="26"/>
                  </a:cubicBezTo>
                  <a:cubicBezTo>
                    <a:pt x="190" y="25"/>
                    <a:pt x="190" y="23"/>
                    <a:pt x="191" y="22"/>
                  </a:cubicBezTo>
                  <a:cubicBezTo>
                    <a:pt x="192" y="22"/>
                    <a:pt x="194" y="22"/>
                    <a:pt x="195" y="21"/>
                  </a:cubicBezTo>
                  <a:cubicBezTo>
                    <a:pt x="196" y="20"/>
                    <a:pt x="195" y="18"/>
                    <a:pt x="196" y="18"/>
                  </a:cubicBezTo>
                  <a:cubicBezTo>
                    <a:pt x="197" y="17"/>
                    <a:pt x="198" y="15"/>
                    <a:pt x="198" y="13"/>
                  </a:cubicBezTo>
                  <a:cubicBezTo>
                    <a:pt x="198" y="14"/>
                    <a:pt x="197" y="13"/>
                    <a:pt x="196" y="13"/>
                  </a:cubicBezTo>
                  <a:cubicBezTo>
                    <a:pt x="196" y="13"/>
                    <a:pt x="195" y="11"/>
                    <a:pt x="195" y="12"/>
                  </a:cubicBezTo>
                  <a:cubicBezTo>
                    <a:pt x="194" y="12"/>
                    <a:pt x="194" y="13"/>
                    <a:pt x="194" y="14"/>
                  </a:cubicBezTo>
                  <a:cubicBezTo>
                    <a:pt x="194" y="14"/>
                    <a:pt x="194" y="15"/>
                    <a:pt x="194" y="16"/>
                  </a:cubicBezTo>
                  <a:cubicBezTo>
                    <a:pt x="194" y="16"/>
                    <a:pt x="193" y="16"/>
                    <a:pt x="193" y="16"/>
                  </a:cubicBezTo>
                  <a:cubicBezTo>
                    <a:pt x="192" y="15"/>
                    <a:pt x="193" y="14"/>
                    <a:pt x="192" y="13"/>
                  </a:cubicBezTo>
                  <a:cubicBezTo>
                    <a:pt x="191" y="12"/>
                    <a:pt x="190" y="12"/>
                    <a:pt x="189" y="11"/>
                  </a:cubicBezTo>
                  <a:cubicBezTo>
                    <a:pt x="189" y="11"/>
                    <a:pt x="188" y="11"/>
                    <a:pt x="188" y="11"/>
                  </a:cubicBezTo>
                  <a:cubicBezTo>
                    <a:pt x="187" y="11"/>
                    <a:pt x="187" y="12"/>
                    <a:pt x="186" y="13"/>
                  </a:cubicBezTo>
                  <a:cubicBezTo>
                    <a:pt x="185" y="13"/>
                    <a:pt x="184" y="13"/>
                    <a:pt x="183" y="13"/>
                  </a:cubicBezTo>
                  <a:cubicBezTo>
                    <a:pt x="183" y="13"/>
                    <a:pt x="183" y="12"/>
                    <a:pt x="182" y="12"/>
                  </a:cubicBezTo>
                  <a:cubicBezTo>
                    <a:pt x="181" y="11"/>
                    <a:pt x="179" y="12"/>
                    <a:pt x="177" y="11"/>
                  </a:cubicBezTo>
                  <a:cubicBezTo>
                    <a:pt x="177" y="11"/>
                    <a:pt x="176" y="10"/>
                    <a:pt x="175" y="10"/>
                  </a:cubicBezTo>
                  <a:cubicBezTo>
                    <a:pt x="174" y="9"/>
                    <a:pt x="173" y="10"/>
                    <a:pt x="172" y="9"/>
                  </a:cubicBezTo>
                  <a:cubicBezTo>
                    <a:pt x="171" y="9"/>
                    <a:pt x="171" y="8"/>
                    <a:pt x="170" y="7"/>
                  </a:cubicBezTo>
                  <a:cubicBezTo>
                    <a:pt x="169" y="7"/>
                    <a:pt x="168" y="7"/>
                    <a:pt x="167" y="7"/>
                  </a:cubicBezTo>
                  <a:cubicBezTo>
                    <a:pt x="166" y="6"/>
                    <a:pt x="165" y="5"/>
                    <a:pt x="164" y="5"/>
                  </a:cubicBezTo>
                  <a:cubicBezTo>
                    <a:pt x="163" y="5"/>
                    <a:pt x="162" y="4"/>
                    <a:pt x="161" y="5"/>
                  </a:cubicBezTo>
                  <a:cubicBezTo>
                    <a:pt x="161" y="5"/>
                    <a:pt x="161" y="6"/>
                    <a:pt x="161" y="7"/>
                  </a:cubicBezTo>
                  <a:cubicBezTo>
                    <a:pt x="162" y="7"/>
                    <a:pt x="163" y="7"/>
                    <a:pt x="164" y="8"/>
                  </a:cubicBezTo>
                  <a:cubicBezTo>
                    <a:pt x="164" y="8"/>
                    <a:pt x="166" y="7"/>
                    <a:pt x="166" y="8"/>
                  </a:cubicBezTo>
                  <a:cubicBezTo>
                    <a:pt x="167" y="10"/>
                    <a:pt x="167" y="11"/>
                    <a:pt x="167" y="13"/>
                  </a:cubicBezTo>
                  <a:cubicBezTo>
                    <a:pt x="162" y="14"/>
                    <a:pt x="158" y="12"/>
                    <a:pt x="154" y="14"/>
                  </a:cubicBezTo>
                  <a:cubicBezTo>
                    <a:pt x="153" y="14"/>
                    <a:pt x="153" y="14"/>
                    <a:pt x="152" y="14"/>
                  </a:cubicBezTo>
                  <a:cubicBezTo>
                    <a:pt x="151" y="15"/>
                    <a:pt x="151" y="15"/>
                    <a:pt x="150" y="15"/>
                  </a:cubicBezTo>
                  <a:cubicBezTo>
                    <a:pt x="149" y="15"/>
                    <a:pt x="149" y="16"/>
                    <a:pt x="148" y="16"/>
                  </a:cubicBezTo>
                  <a:cubicBezTo>
                    <a:pt x="148" y="17"/>
                    <a:pt x="148" y="18"/>
                    <a:pt x="147" y="19"/>
                  </a:cubicBezTo>
                  <a:cubicBezTo>
                    <a:pt x="147" y="19"/>
                    <a:pt x="146" y="20"/>
                    <a:pt x="146" y="20"/>
                  </a:cubicBezTo>
                  <a:cubicBezTo>
                    <a:pt x="145" y="21"/>
                    <a:pt x="145" y="21"/>
                    <a:pt x="146" y="22"/>
                  </a:cubicBezTo>
                  <a:cubicBezTo>
                    <a:pt x="146" y="22"/>
                    <a:pt x="146" y="23"/>
                    <a:pt x="146" y="24"/>
                  </a:cubicBezTo>
                  <a:cubicBezTo>
                    <a:pt x="146" y="24"/>
                    <a:pt x="146" y="25"/>
                    <a:pt x="146" y="25"/>
                  </a:cubicBezTo>
                  <a:cubicBezTo>
                    <a:pt x="145" y="25"/>
                    <a:pt x="144" y="25"/>
                    <a:pt x="143" y="25"/>
                  </a:cubicBezTo>
                  <a:cubicBezTo>
                    <a:pt x="142" y="25"/>
                    <a:pt x="142" y="27"/>
                    <a:pt x="142" y="28"/>
                  </a:cubicBezTo>
                  <a:cubicBezTo>
                    <a:pt x="141" y="29"/>
                    <a:pt x="140" y="30"/>
                    <a:pt x="139" y="31"/>
                  </a:cubicBezTo>
                  <a:cubicBezTo>
                    <a:pt x="138" y="32"/>
                    <a:pt x="138" y="33"/>
                    <a:pt x="137" y="33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8" y="35"/>
                    <a:pt x="139" y="35"/>
                    <a:pt x="139" y="36"/>
                  </a:cubicBezTo>
                  <a:cubicBezTo>
                    <a:pt x="140" y="37"/>
                    <a:pt x="141" y="36"/>
                    <a:pt x="142" y="37"/>
                  </a:cubicBezTo>
                  <a:cubicBezTo>
                    <a:pt x="142" y="37"/>
                    <a:pt x="142" y="38"/>
                    <a:pt x="142" y="38"/>
                  </a:cubicBezTo>
                  <a:cubicBezTo>
                    <a:pt x="142" y="38"/>
                    <a:pt x="141" y="38"/>
                    <a:pt x="140" y="38"/>
                  </a:cubicBezTo>
                  <a:cubicBezTo>
                    <a:pt x="140" y="39"/>
                    <a:pt x="140" y="39"/>
                    <a:pt x="140" y="39"/>
                  </a:cubicBezTo>
                  <a:cubicBezTo>
                    <a:pt x="141" y="40"/>
                    <a:pt x="142" y="41"/>
                    <a:pt x="142" y="42"/>
                  </a:cubicBezTo>
                  <a:cubicBezTo>
                    <a:pt x="140" y="43"/>
                    <a:pt x="139" y="40"/>
                    <a:pt x="137" y="38"/>
                  </a:cubicBezTo>
                  <a:cubicBezTo>
                    <a:pt x="137" y="38"/>
                    <a:pt x="137" y="38"/>
                    <a:pt x="137" y="38"/>
                  </a:cubicBezTo>
                  <a:cubicBezTo>
                    <a:pt x="137" y="39"/>
                    <a:pt x="136" y="40"/>
                    <a:pt x="136" y="39"/>
                  </a:cubicBezTo>
                  <a:cubicBezTo>
                    <a:pt x="135" y="38"/>
                    <a:pt x="133" y="37"/>
                    <a:pt x="132" y="38"/>
                  </a:cubicBezTo>
                  <a:cubicBezTo>
                    <a:pt x="131" y="38"/>
                    <a:pt x="131" y="39"/>
                    <a:pt x="130" y="40"/>
                  </a:cubicBezTo>
                  <a:cubicBezTo>
                    <a:pt x="129" y="40"/>
                    <a:pt x="129" y="41"/>
                    <a:pt x="129" y="42"/>
                  </a:cubicBezTo>
                  <a:cubicBezTo>
                    <a:pt x="129" y="42"/>
                    <a:pt x="128" y="42"/>
                    <a:pt x="128" y="41"/>
                  </a:cubicBezTo>
                  <a:cubicBezTo>
                    <a:pt x="128" y="40"/>
                    <a:pt x="128" y="39"/>
                    <a:pt x="128" y="39"/>
                  </a:cubicBezTo>
                  <a:cubicBezTo>
                    <a:pt x="127" y="38"/>
                    <a:pt x="127" y="37"/>
                    <a:pt x="126" y="36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5" y="34"/>
                    <a:pt x="124" y="34"/>
                    <a:pt x="124" y="33"/>
                  </a:cubicBezTo>
                  <a:cubicBezTo>
                    <a:pt x="124" y="32"/>
                    <a:pt x="124" y="31"/>
                    <a:pt x="123" y="30"/>
                  </a:cubicBezTo>
                  <a:cubicBezTo>
                    <a:pt x="123" y="29"/>
                    <a:pt x="122" y="29"/>
                    <a:pt x="121" y="28"/>
                  </a:cubicBezTo>
                  <a:cubicBezTo>
                    <a:pt x="120" y="27"/>
                    <a:pt x="119" y="28"/>
                    <a:pt x="118" y="28"/>
                  </a:cubicBezTo>
                  <a:cubicBezTo>
                    <a:pt x="118" y="30"/>
                    <a:pt x="116" y="32"/>
                    <a:pt x="114" y="31"/>
                  </a:cubicBezTo>
                  <a:cubicBezTo>
                    <a:pt x="113" y="31"/>
                    <a:pt x="112" y="30"/>
                    <a:pt x="112" y="31"/>
                  </a:cubicBezTo>
                  <a:cubicBezTo>
                    <a:pt x="111" y="31"/>
                    <a:pt x="112" y="33"/>
                    <a:pt x="112" y="33"/>
                  </a:cubicBezTo>
                  <a:cubicBezTo>
                    <a:pt x="111" y="34"/>
                    <a:pt x="111" y="35"/>
                    <a:pt x="110" y="35"/>
                  </a:cubicBezTo>
                  <a:cubicBezTo>
                    <a:pt x="110" y="35"/>
                    <a:pt x="110" y="34"/>
                    <a:pt x="110" y="34"/>
                  </a:cubicBezTo>
                  <a:cubicBezTo>
                    <a:pt x="110" y="34"/>
                    <a:pt x="109" y="34"/>
                    <a:pt x="109" y="34"/>
                  </a:cubicBezTo>
                  <a:cubicBezTo>
                    <a:pt x="108" y="36"/>
                    <a:pt x="106" y="35"/>
                    <a:pt x="105" y="36"/>
                  </a:cubicBezTo>
                  <a:cubicBezTo>
                    <a:pt x="104" y="36"/>
                    <a:pt x="104" y="37"/>
                    <a:pt x="105" y="37"/>
                  </a:cubicBezTo>
                  <a:cubicBezTo>
                    <a:pt x="105" y="38"/>
                    <a:pt x="105" y="38"/>
                    <a:pt x="105" y="39"/>
                  </a:cubicBezTo>
                  <a:cubicBezTo>
                    <a:pt x="106" y="39"/>
                    <a:pt x="106" y="40"/>
                    <a:pt x="106" y="40"/>
                  </a:cubicBezTo>
                  <a:cubicBezTo>
                    <a:pt x="105" y="41"/>
                    <a:pt x="104" y="40"/>
                    <a:pt x="104" y="41"/>
                  </a:cubicBezTo>
                  <a:cubicBezTo>
                    <a:pt x="103" y="41"/>
                    <a:pt x="103" y="43"/>
                    <a:pt x="103" y="44"/>
                  </a:cubicBezTo>
                  <a:cubicBezTo>
                    <a:pt x="102" y="44"/>
                    <a:pt x="100" y="43"/>
                    <a:pt x="99" y="44"/>
                  </a:cubicBezTo>
                  <a:cubicBezTo>
                    <a:pt x="98" y="44"/>
                    <a:pt x="98" y="44"/>
                    <a:pt x="98" y="45"/>
                  </a:cubicBezTo>
                  <a:cubicBezTo>
                    <a:pt x="98" y="46"/>
                    <a:pt x="98" y="47"/>
                    <a:pt x="99" y="48"/>
                  </a:cubicBezTo>
                  <a:cubicBezTo>
                    <a:pt x="99" y="48"/>
                    <a:pt x="99" y="49"/>
                    <a:pt x="99" y="50"/>
                  </a:cubicBezTo>
                  <a:cubicBezTo>
                    <a:pt x="99" y="51"/>
                    <a:pt x="100" y="52"/>
                    <a:pt x="99" y="52"/>
                  </a:cubicBezTo>
                  <a:cubicBezTo>
                    <a:pt x="99" y="52"/>
                    <a:pt x="98" y="52"/>
                    <a:pt x="98" y="52"/>
                  </a:cubicBezTo>
                  <a:cubicBezTo>
                    <a:pt x="97" y="51"/>
                    <a:pt x="96" y="51"/>
                    <a:pt x="95" y="50"/>
                  </a:cubicBezTo>
                  <a:cubicBezTo>
                    <a:pt x="94" y="50"/>
                    <a:pt x="92" y="50"/>
                    <a:pt x="91" y="50"/>
                  </a:cubicBezTo>
                  <a:cubicBezTo>
                    <a:pt x="90" y="51"/>
                    <a:pt x="90" y="53"/>
                    <a:pt x="91" y="54"/>
                  </a:cubicBezTo>
                  <a:cubicBezTo>
                    <a:pt x="91" y="55"/>
                    <a:pt x="92" y="56"/>
                    <a:pt x="93" y="57"/>
                  </a:cubicBezTo>
                  <a:cubicBezTo>
                    <a:pt x="93" y="57"/>
                    <a:pt x="93" y="58"/>
                    <a:pt x="93" y="59"/>
                  </a:cubicBezTo>
                  <a:cubicBezTo>
                    <a:pt x="91" y="59"/>
                    <a:pt x="91" y="61"/>
                    <a:pt x="89" y="62"/>
                  </a:cubicBezTo>
                  <a:cubicBezTo>
                    <a:pt x="89" y="62"/>
                    <a:pt x="89" y="62"/>
                    <a:pt x="88" y="62"/>
                  </a:cubicBezTo>
                  <a:cubicBezTo>
                    <a:pt x="89" y="60"/>
                    <a:pt x="87" y="58"/>
                    <a:pt x="87" y="55"/>
                  </a:cubicBezTo>
                  <a:cubicBezTo>
                    <a:pt x="86" y="54"/>
                    <a:pt x="87" y="52"/>
                    <a:pt x="87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5" y="52"/>
                    <a:pt x="85" y="53"/>
                    <a:pt x="83" y="54"/>
                  </a:cubicBezTo>
                  <a:cubicBezTo>
                    <a:pt x="82" y="55"/>
                    <a:pt x="81" y="56"/>
                    <a:pt x="80" y="57"/>
                  </a:cubicBezTo>
                  <a:cubicBezTo>
                    <a:pt x="80" y="57"/>
                    <a:pt x="80" y="57"/>
                    <a:pt x="80" y="58"/>
                  </a:cubicBezTo>
                  <a:cubicBezTo>
                    <a:pt x="79" y="59"/>
                    <a:pt x="80" y="61"/>
                    <a:pt x="79" y="63"/>
                  </a:cubicBezTo>
                  <a:cubicBezTo>
                    <a:pt x="78" y="65"/>
                    <a:pt x="79" y="68"/>
                    <a:pt x="78" y="70"/>
                  </a:cubicBezTo>
                  <a:cubicBezTo>
                    <a:pt x="77" y="71"/>
                    <a:pt x="75" y="71"/>
                    <a:pt x="74" y="72"/>
                  </a:cubicBezTo>
                  <a:cubicBezTo>
                    <a:pt x="74" y="74"/>
                    <a:pt x="75" y="75"/>
                    <a:pt x="74" y="76"/>
                  </a:cubicBezTo>
                  <a:cubicBezTo>
                    <a:pt x="73" y="78"/>
                    <a:pt x="71" y="80"/>
                    <a:pt x="70" y="81"/>
                  </a:cubicBezTo>
                  <a:cubicBezTo>
                    <a:pt x="69" y="82"/>
                    <a:pt x="67" y="82"/>
                    <a:pt x="66" y="83"/>
                  </a:cubicBezTo>
                  <a:cubicBezTo>
                    <a:pt x="66" y="83"/>
                    <a:pt x="64" y="85"/>
                    <a:pt x="64" y="84"/>
                  </a:cubicBezTo>
                  <a:cubicBezTo>
                    <a:pt x="64" y="86"/>
                    <a:pt x="61" y="85"/>
                    <a:pt x="59" y="86"/>
                  </a:cubicBezTo>
                  <a:cubicBezTo>
                    <a:pt x="57" y="87"/>
                    <a:pt x="54" y="86"/>
                    <a:pt x="52" y="87"/>
                  </a:cubicBezTo>
                  <a:cubicBezTo>
                    <a:pt x="51" y="89"/>
                    <a:pt x="48" y="89"/>
                    <a:pt x="45" y="89"/>
                  </a:cubicBezTo>
                  <a:cubicBezTo>
                    <a:pt x="45" y="89"/>
                    <a:pt x="45" y="90"/>
                    <a:pt x="44" y="90"/>
                  </a:cubicBezTo>
                  <a:cubicBezTo>
                    <a:pt x="44" y="91"/>
                    <a:pt x="43" y="92"/>
                    <a:pt x="43" y="92"/>
                  </a:cubicBezTo>
                  <a:cubicBezTo>
                    <a:pt x="41" y="92"/>
                    <a:pt x="39" y="92"/>
                    <a:pt x="37" y="92"/>
                  </a:cubicBezTo>
                  <a:cubicBezTo>
                    <a:pt x="36" y="92"/>
                    <a:pt x="36" y="92"/>
                    <a:pt x="36" y="93"/>
                  </a:cubicBezTo>
                  <a:cubicBezTo>
                    <a:pt x="35" y="93"/>
                    <a:pt x="34" y="92"/>
                    <a:pt x="34" y="91"/>
                  </a:cubicBezTo>
                  <a:cubicBezTo>
                    <a:pt x="34" y="91"/>
                    <a:pt x="33" y="91"/>
                    <a:pt x="33" y="91"/>
                  </a:cubicBezTo>
                  <a:cubicBezTo>
                    <a:pt x="33" y="92"/>
                    <a:pt x="33" y="92"/>
                    <a:pt x="32" y="93"/>
                  </a:cubicBezTo>
                  <a:cubicBezTo>
                    <a:pt x="31" y="93"/>
                    <a:pt x="30" y="93"/>
                    <a:pt x="29" y="93"/>
                  </a:cubicBezTo>
                  <a:cubicBezTo>
                    <a:pt x="28" y="94"/>
                    <a:pt x="28" y="94"/>
                    <a:pt x="27" y="95"/>
                  </a:cubicBezTo>
                  <a:cubicBezTo>
                    <a:pt x="27" y="96"/>
                    <a:pt x="27" y="97"/>
                    <a:pt x="26" y="98"/>
                  </a:cubicBezTo>
                  <a:cubicBezTo>
                    <a:pt x="24" y="99"/>
                    <a:pt x="23" y="100"/>
                    <a:pt x="22" y="100"/>
                  </a:cubicBezTo>
                  <a:cubicBezTo>
                    <a:pt x="21" y="100"/>
                    <a:pt x="21" y="101"/>
                    <a:pt x="21" y="101"/>
                  </a:cubicBezTo>
                  <a:cubicBezTo>
                    <a:pt x="20" y="101"/>
                    <a:pt x="19" y="101"/>
                    <a:pt x="19" y="101"/>
                  </a:cubicBezTo>
                  <a:cubicBezTo>
                    <a:pt x="18" y="101"/>
                    <a:pt x="18" y="102"/>
                    <a:pt x="17" y="102"/>
                  </a:cubicBezTo>
                  <a:cubicBezTo>
                    <a:pt x="17" y="102"/>
                    <a:pt x="16" y="102"/>
                    <a:pt x="16" y="103"/>
                  </a:cubicBezTo>
                  <a:cubicBezTo>
                    <a:pt x="16" y="104"/>
                    <a:pt x="16" y="105"/>
                    <a:pt x="16" y="106"/>
                  </a:cubicBezTo>
                  <a:cubicBezTo>
                    <a:pt x="15" y="106"/>
                    <a:pt x="14" y="107"/>
                    <a:pt x="14" y="108"/>
                  </a:cubicBezTo>
                  <a:cubicBezTo>
                    <a:pt x="14" y="108"/>
                    <a:pt x="13" y="108"/>
                    <a:pt x="13" y="108"/>
                  </a:cubicBezTo>
                  <a:cubicBezTo>
                    <a:pt x="12" y="106"/>
                    <a:pt x="12" y="105"/>
                    <a:pt x="13" y="103"/>
                  </a:cubicBezTo>
                  <a:cubicBezTo>
                    <a:pt x="13" y="103"/>
                    <a:pt x="13" y="103"/>
                    <a:pt x="13" y="102"/>
                  </a:cubicBezTo>
                  <a:cubicBezTo>
                    <a:pt x="13" y="102"/>
                    <a:pt x="13" y="102"/>
                    <a:pt x="13" y="101"/>
                  </a:cubicBezTo>
                  <a:cubicBezTo>
                    <a:pt x="13" y="101"/>
                    <a:pt x="12" y="101"/>
                    <a:pt x="12" y="101"/>
                  </a:cubicBezTo>
                  <a:cubicBezTo>
                    <a:pt x="11" y="103"/>
                    <a:pt x="10" y="105"/>
                    <a:pt x="9" y="106"/>
                  </a:cubicBezTo>
                  <a:cubicBezTo>
                    <a:pt x="9" y="107"/>
                    <a:pt x="9" y="109"/>
                    <a:pt x="8" y="110"/>
                  </a:cubicBezTo>
                  <a:cubicBezTo>
                    <a:pt x="8" y="112"/>
                    <a:pt x="9" y="114"/>
                    <a:pt x="8" y="116"/>
                  </a:cubicBezTo>
                  <a:cubicBezTo>
                    <a:pt x="8" y="118"/>
                    <a:pt x="7" y="120"/>
                    <a:pt x="6" y="122"/>
                  </a:cubicBezTo>
                  <a:cubicBezTo>
                    <a:pt x="6" y="123"/>
                    <a:pt x="6" y="124"/>
                    <a:pt x="6" y="125"/>
                  </a:cubicBezTo>
                  <a:cubicBezTo>
                    <a:pt x="6" y="125"/>
                    <a:pt x="5" y="125"/>
                    <a:pt x="5" y="125"/>
                  </a:cubicBezTo>
                  <a:cubicBezTo>
                    <a:pt x="5" y="127"/>
                    <a:pt x="5" y="129"/>
                    <a:pt x="6" y="131"/>
                  </a:cubicBezTo>
                  <a:cubicBezTo>
                    <a:pt x="6" y="132"/>
                    <a:pt x="7" y="133"/>
                    <a:pt x="7" y="134"/>
                  </a:cubicBezTo>
                  <a:cubicBezTo>
                    <a:pt x="7" y="134"/>
                    <a:pt x="8" y="134"/>
                    <a:pt x="8" y="134"/>
                  </a:cubicBezTo>
                  <a:cubicBezTo>
                    <a:pt x="7" y="136"/>
                    <a:pt x="9" y="137"/>
                    <a:pt x="10" y="139"/>
                  </a:cubicBezTo>
                  <a:cubicBezTo>
                    <a:pt x="10" y="140"/>
                    <a:pt x="10" y="141"/>
                    <a:pt x="10" y="141"/>
                  </a:cubicBezTo>
                  <a:cubicBezTo>
                    <a:pt x="10" y="142"/>
                    <a:pt x="10" y="143"/>
                    <a:pt x="10" y="144"/>
                  </a:cubicBezTo>
                  <a:cubicBezTo>
                    <a:pt x="10" y="145"/>
                    <a:pt x="10" y="146"/>
                    <a:pt x="9" y="147"/>
                  </a:cubicBezTo>
                  <a:cubicBezTo>
                    <a:pt x="9" y="147"/>
                    <a:pt x="8" y="147"/>
                    <a:pt x="8" y="147"/>
                  </a:cubicBezTo>
                  <a:cubicBezTo>
                    <a:pt x="7" y="146"/>
                    <a:pt x="8" y="145"/>
                    <a:pt x="7" y="144"/>
                  </a:cubicBezTo>
                  <a:cubicBezTo>
                    <a:pt x="6" y="143"/>
                    <a:pt x="6" y="141"/>
                    <a:pt x="5" y="140"/>
                  </a:cubicBezTo>
                  <a:cubicBezTo>
                    <a:pt x="5" y="139"/>
                    <a:pt x="5" y="138"/>
                    <a:pt x="4" y="138"/>
                  </a:cubicBezTo>
                  <a:cubicBezTo>
                    <a:pt x="3" y="139"/>
                    <a:pt x="3" y="141"/>
                    <a:pt x="4" y="142"/>
                  </a:cubicBezTo>
                  <a:cubicBezTo>
                    <a:pt x="4" y="143"/>
                    <a:pt x="6" y="145"/>
                    <a:pt x="6" y="147"/>
                  </a:cubicBezTo>
                  <a:cubicBezTo>
                    <a:pt x="3" y="146"/>
                    <a:pt x="4" y="142"/>
                    <a:pt x="2" y="140"/>
                  </a:cubicBezTo>
                  <a:cubicBezTo>
                    <a:pt x="2" y="140"/>
                    <a:pt x="1" y="140"/>
                    <a:pt x="0" y="140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1" y="142"/>
                    <a:pt x="2" y="144"/>
                    <a:pt x="2" y="145"/>
                  </a:cubicBezTo>
                  <a:cubicBezTo>
                    <a:pt x="2" y="145"/>
                    <a:pt x="3" y="145"/>
                    <a:pt x="3" y="146"/>
                  </a:cubicBezTo>
                  <a:cubicBezTo>
                    <a:pt x="3" y="147"/>
                    <a:pt x="3" y="149"/>
                    <a:pt x="4" y="151"/>
                  </a:cubicBezTo>
                  <a:cubicBezTo>
                    <a:pt x="4" y="152"/>
                    <a:pt x="6" y="153"/>
                    <a:pt x="7" y="155"/>
                  </a:cubicBezTo>
                  <a:cubicBezTo>
                    <a:pt x="8" y="156"/>
                    <a:pt x="8" y="159"/>
                    <a:pt x="7" y="161"/>
                  </a:cubicBezTo>
                  <a:cubicBezTo>
                    <a:pt x="7" y="162"/>
                    <a:pt x="7" y="163"/>
                    <a:pt x="7" y="163"/>
                  </a:cubicBezTo>
                  <a:cubicBezTo>
                    <a:pt x="8" y="164"/>
                    <a:pt x="7" y="166"/>
                    <a:pt x="9" y="167"/>
                  </a:cubicBezTo>
                  <a:cubicBezTo>
                    <a:pt x="10" y="169"/>
                    <a:pt x="11" y="171"/>
                    <a:pt x="11" y="173"/>
                  </a:cubicBezTo>
                  <a:cubicBezTo>
                    <a:pt x="12" y="175"/>
                    <a:pt x="12" y="176"/>
                    <a:pt x="11" y="177"/>
                  </a:cubicBezTo>
                  <a:cubicBezTo>
                    <a:pt x="11" y="179"/>
                    <a:pt x="10" y="180"/>
                    <a:pt x="10" y="182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2" y="188"/>
                    <a:pt x="13" y="192"/>
                    <a:pt x="13" y="198"/>
                  </a:cubicBezTo>
                  <a:cubicBezTo>
                    <a:pt x="13" y="198"/>
                    <a:pt x="14" y="199"/>
                    <a:pt x="14" y="200"/>
                  </a:cubicBezTo>
                  <a:cubicBezTo>
                    <a:pt x="14" y="201"/>
                    <a:pt x="14" y="202"/>
                    <a:pt x="14" y="203"/>
                  </a:cubicBezTo>
                  <a:cubicBezTo>
                    <a:pt x="14" y="204"/>
                    <a:pt x="13" y="204"/>
                    <a:pt x="13" y="205"/>
                  </a:cubicBezTo>
                  <a:cubicBezTo>
                    <a:pt x="13" y="208"/>
                    <a:pt x="12" y="211"/>
                    <a:pt x="11" y="213"/>
                  </a:cubicBezTo>
                  <a:cubicBezTo>
                    <a:pt x="11" y="214"/>
                    <a:pt x="11" y="215"/>
                    <a:pt x="10" y="215"/>
                  </a:cubicBezTo>
                  <a:cubicBezTo>
                    <a:pt x="10" y="216"/>
                    <a:pt x="9" y="216"/>
                    <a:pt x="9" y="216"/>
                  </a:cubicBezTo>
                  <a:cubicBezTo>
                    <a:pt x="8" y="216"/>
                    <a:pt x="7" y="216"/>
                    <a:pt x="6" y="216"/>
                  </a:cubicBezTo>
                  <a:cubicBezTo>
                    <a:pt x="5" y="218"/>
                    <a:pt x="6" y="220"/>
                    <a:pt x="6" y="221"/>
                  </a:cubicBezTo>
                  <a:cubicBezTo>
                    <a:pt x="7" y="222"/>
                    <a:pt x="8" y="223"/>
                    <a:pt x="9" y="224"/>
                  </a:cubicBezTo>
                  <a:cubicBezTo>
                    <a:pt x="10" y="225"/>
                    <a:pt x="12" y="226"/>
                    <a:pt x="14" y="228"/>
                  </a:cubicBezTo>
                  <a:cubicBezTo>
                    <a:pt x="15" y="229"/>
                    <a:pt x="17" y="228"/>
                    <a:pt x="18" y="228"/>
                  </a:cubicBezTo>
                  <a:cubicBezTo>
                    <a:pt x="19" y="228"/>
                    <a:pt x="19" y="229"/>
                    <a:pt x="20" y="230"/>
                  </a:cubicBezTo>
                  <a:cubicBezTo>
                    <a:pt x="23" y="231"/>
                    <a:pt x="25" y="230"/>
                    <a:pt x="28" y="230"/>
                  </a:cubicBezTo>
                  <a:cubicBezTo>
                    <a:pt x="31" y="228"/>
                    <a:pt x="33" y="226"/>
                    <a:pt x="37" y="224"/>
                  </a:cubicBezTo>
                  <a:cubicBezTo>
                    <a:pt x="37" y="224"/>
                    <a:pt x="38" y="224"/>
                    <a:pt x="39" y="224"/>
                  </a:cubicBezTo>
                  <a:cubicBezTo>
                    <a:pt x="40" y="224"/>
                    <a:pt x="40" y="223"/>
                    <a:pt x="41" y="222"/>
                  </a:cubicBezTo>
                  <a:cubicBezTo>
                    <a:pt x="42" y="221"/>
                    <a:pt x="43" y="219"/>
                    <a:pt x="44" y="219"/>
                  </a:cubicBezTo>
                  <a:cubicBezTo>
                    <a:pt x="46" y="218"/>
                    <a:pt x="49" y="219"/>
                    <a:pt x="51" y="218"/>
                  </a:cubicBezTo>
                  <a:cubicBezTo>
                    <a:pt x="54" y="217"/>
                    <a:pt x="56" y="218"/>
                    <a:pt x="59" y="218"/>
                  </a:cubicBezTo>
                  <a:cubicBezTo>
                    <a:pt x="60" y="218"/>
                    <a:pt x="61" y="219"/>
                    <a:pt x="62" y="219"/>
                  </a:cubicBezTo>
                  <a:cubicBezTo>
                    <a:pt x="63" y="219"/>
                    <a:pt x="63" y="219"/>
                    <a:pt x="64" y="219"/>
                  </a:cubicBezTo>
                  <a:cubicBezTo>
                    <a:pt x="66" y="218"/>
                    <a:pt x="68" y="218"/>
                    <a:pt x="69" y="218"/>
                  </a:cubicBezTo>
                  <a:cubicBezTo>
                    <a:pt x="70" y="218"/>
                    <a:pt x="70" y="218"/>
                    <a:pt x="70" y="218"/>
                  </a:cubicBezTo>
                  <a:cubicBezTo>
                    <a:pt x="71" y="218"/>
                    <a:pt x="72" y="218"/>
                    <a:pt x="73" y="217"/>
                  </a:cubicBezTo>
                  <a:cubicBezTo>
                    <a:pt x="74" y="216"/>
                    <a:pt x="74" y="215"/>
                    <a:pt x="74" y="214"/>
                  </a:cubicBezTo>
                  <a:cubicBezTo>
                    <a:pt x="76" y="211"/>
                    <a:pt x="79" y="210"/>
                    <a:pt x="81" y="209"/>
                  </a:cubicBezTo>
                  <a:cubicBezTo>
                    <a:pt x="82" y="209"/>
                    <a:pt x="83" y="208"/>
                    <a:pt x="83" y="207"/>
                  </a:cubicBezTo>
                  <a:cubicBezTo>
                    <a:pt x="85" y="207"/>
                    <a:pt x="88" y="206"/>
                    <a:pt x="90" y="205"/>
                  </a:cubicBezTo>
                  <a:cubicBezTo>
                    <a:pt x="91" y="204"/>
                    <a:pt x="93" y="202"/>
                    <a:pt x="95" y="203"/>
                  </a:cubicBezTo>
                  <a:cubicBezTo>
                    <a:pt x="97" y="204"/>
                    <a:pt x="98" y="205"/>
                    <a:pt x="100" y="204"/>
                  </a:cubicBezTo>
                  <a:cubicBezTo>
                    <a:pt x="101" y="203"/>
                    <a:pt x="103" y="204"/>
                    <a:pt x="104" y="204"/>
                  </a:cubicBezTo>
                  <a:cubicBezTo>
                    <a:pt x="104" y="203"/>
                    <a:pt x="104" y="203"/>
                    <a:pt x="105" y="202"/>
                  </a:cubicBezTo>
                  <a:cubicBezTo>
                    <a:pt x="106" y="202"/>
                    <a:pt x="107" y="202"/>
                    <a:pt x="108" y="202"/>
                  </a:cubicBezTo>
                  <a:cubicBezTo>
                    <a:pt x="109" y="201"/>
                    <a:pt x="111" y="200"/>
                    <a:pt x="112" y="199"/>
                  </a:cubicBezTo>
                  <a:cubicBezTo>
                    <a:pt x="113" y="199"/>
                    <a:pt x="113" y="199"/>
                    <a:pt x="114" y="198"/>
                  </a:cubicBezTo>
                  <a:cubicBezTo>
                    <a:pt x="115" y="198"/>
                    <a:pt x="116" y="198"/>
                    <a:pt x="117" y="197"/>
                  </a:cubicBezTo>
                  <a:cubicBezTo>
                    <a:pt x="119" y="197"/>
                    <a:pt x="121" y="197"/>
                    <a:pt x="123" y="197"/>
                  </a:cubicBezTo>
                  <a:cubicBezTo>
                    <a:pt x="126" y="196"/>
                    <a:pt x="128" y="197"/>
                    <a:pt x="131" y="196"/>
                  </a:cubicBezTo>
                  <a:cubicBezTo>
                    <a:pt x="132" y="196"/>
                    <a:pt x="133" y="194"/>
                    <a:pt x="134" y="194"/>
                  </a:cubicBezTo>
                  <a:cubicBezTo>
                    <a:pt x="135" y="194"/>
                    <a:pt x="136" y="194"/>
                    <a:pt x="136" y="194"/>
                  </a:cubicBezTo>
                  <a:cubicBezTo>
                    <a:pt x="137" y="196"/>
                    <a:pt x="138" y="198"/>
                    <a:pt x="139" y="199"/>
                  </a:cubicBezTo>
                  <a:cubicBezTo>
                    <a:pt x="140" y="200"/>
                    <a:pt x="141" y="200"/>
                    <a:pt x="142" y="201"/>
                  </a:cubicBezTo>
                  <a:cubicBezTo>
                    <a:pt x="144" y="201"/>
                    <a:pt x="146" y="200"/>
                    <a:pt x="148" y="201"/>
                  </a:cubicBezTo>
                  <a:cubicBezTo>
                    <a:pt x="148" y="201"/>
                    <a:pt x="148" y="202"/>
                    <a:pt x="149" y="202"/>
                  </a:cubicBezTo>
                  <a:cubicBezTo>
                    <a:pt x="150" y="203"/>
                    <a:pt x="152" y="202"/>
                    <a:pt x="154" y="203"/>
                  </a:cubicBezTo>
                  <a:cubicBezTo>
                    <a:pt x="155" y="203"/>
                    <a:pt x="155" y="204"/>
                    <a:pt x="155" y="205"/>
                  </a:cubicBezTo>
                  <a:cubicBezTo>
                    <a:pt x="155" y="205"/>
                    <a:pt x="155" y="205"/>
                    <a:pt x="155" y="205"/>
                  </a:cubicBezTo>
                  <a:cubicBezTo>
                    <a:pt x="155" y="207"/>
                    <a:pt x="155" y="208"/>
                    <a:pt x="156" y="210"/>
                  </a:cubicBezTo>
                  <a:cubicBezTo>
                    <a:pt x="156" y="211"/>
                    <a:pt x="158" y="212"/>
                    <a:pt x="159" y="213"/>
                  </a:cubicBezTo>
                  <a:cubicBezTo>
                    <a:pt x="160" y="214"/>
                    <a:pt x="159" y="216"/>
                    <a:pt x="160" y="217"/>
                  </a:cubicBezTo>
                  <a:cubicBezTo>
                    <a:pt x="160" y="218"/>
                    <a:pt x="160" y="218"/>
                    <a:pt x="161" y="219"/>
                  </a:cubicBezTo>
                  <a:cubicBezTo>
                    <a:pt x="161" y="219"/>
                    <a:pt x="161" y="219"/>
                    <a:pt x="161" y="220"/>
                  </a:cubicBezTo>
                  <a:cubicBezTo>
                    <a:pt x="161" y="220"/>
                    <a:pt x="162" y="220"/>
                    <a:pt x="162" y="220"/>
                  </a:cubicBezTo>
                  <a:cubicBezTo>
                    <a:pt x="162" y="222"/>
                    <a:pt x="162" y="224"/>
                    <a:pt x="162" y="226"/>
                  </a:cubicBezTo>
                  <a:cubicBezTo>
                    <a:pt x="163" y="227"/>
                    <a:pt x="165" y="228"/>
                    <a:pt x="166" y="227"/>
                  </a:cubicBezTo>
                  <a:cubicBezTo>
                    <a:pt x="167" y="226"/>
                    <a:pt x="167" y="224"/>
                    <a:pt x="168" y="222"/>
                  </a:cubicBezTo>
                  <a:cubicBezTo>
                    <a:pt x="168" y="222"/>
                    <a:pt x="169" y="221"/>
                    <a:pt x="170" y="221"/>
                  </a:cubicBezTo>
                  <a:cubicBezTo>
                    <a:pt x="171" y="220"/>
                    <a:pt x="172" y="218"/>
                    <a:pt x="173" y="217"/>
                  </a:cubicBezTo>
                  <a:cubicBezTo>
                    <a:pt x="174" y="216"/>
                    <a:pt x="174" y="217"/>
                    <a:pt x="175" y="216"/>
                  </a:cubicBezTo>
                  <a:cubicBezTo>
                    <a:pt x="176" y="216"/>
                    <a:pt x="176" y="216"/>
                    <a:pt x="177" y="215"/>
                  </a:cubicBezTo>
                  <a:cubicBezTo>
                    <a:pt x="178" y="213"/>
                    <a:pt x="178" y="212"/>
                    <a:pt x="179" y="211"/>
                  </a:cubicBezTo>
                  <a:cubicBezTo>
                    <a:pt x="180" y="210"/>
                    <a:pt x="181" y="210"/>
                    <a:pt x="182" y="209"/>
                  </a:cubicBezTo>
                  <a:cubicBezTo>
                    <a:pt x="183" y="209"/>
                    <a:pt x="183" y="208"/>
                    <a:pt x="183" y="208"/>
                  </a:cubicBezTo>
                  <a:cubicBezTo>
                    <a:pt x="184" y="210"/>
                    <a:pt x="184" y="211"/>
                    <a:pt x="183" y="212"/>
                  </a:cubicBezTo>
                  <a:cubicBezTo>
                    <a:pt x="183" y="213"/>
                    <a:pt x="183" y="213"/>
                    <a:pt x="183" y="214"/>
                  </a:cubicBezTo>
                  <a:cubicBezTo>
                    <a:pt x="181" y="217"/>
                    <a:pt x="180" y="219"/>
                    <a:pt x="179" y="221"/>
                  </a:cubicBezTo>
                  <a:cubicBezTo>
                    <a:pt x="179" y="222"/>
                    <a:pt x="178" y="222"/>
                    <a:pt x="178" y="223"/>
                  </a:cubicBezTo>
                  <a:cubicBezTo>
                    <a:pt x="178" y="224"/>
                    <a:pt x="178" y="225"/>
                    <a:pt x="178" y="226"/>
                  </a:cubicBezTo>
                  <a:cubicBezTo>
                    <a:pt x="178" y="226"/>
                    <a:pt x="177" y="227"/>
                    <a:pt x="177" y="227"/>
                  </a:cubicBezTo>
                  <a:cubicBezTo>
                    <a:pt x="175" y="228"/>
                    <a:pt x="173" y="229"/>
                    <a:pt x="174" y="230"/>
                  </a:cubicBezTo>
                  <a:cubicBezTo>
                    <a:pt x="174" y="231"/>
                    <a:pt x="175" y="231"/>
                    <a:pt x="176" y="230"/>
                  </a:cubicBezTo>
                  <a:cubicBezTo>
                    <a:pt x="176" y="230"/>
                    <a:pt x="176" y="230"/>
                    <a:pt x="177" y="230"/>
                  </a:cubicBezTo>
                  <a:cubicBezTo>
                    <a:pt x="178" y="230"/>
                    <a:pt x="179" y="230"/>
                    <a:pt x="180" y="229"/>
                  </a:cubicBezTo>
                  <a:cubicBezTo>
                    <a:pt x="180" y="227"/>
                    <a:pt x="181" y="226"/>
                    <a:pt x="182" y="225"/>
                  </a:cubicBezTo>
                  <a:cubicBezTo>
                    <a:pt x="183" y="223"/>
                    <a:pt x="183" y="221"/>
                    <a:pt x="183" y="219"/>
                  </a:cubicBezTo>
                  <a:cubicBezTo>
                    <a:pt x="183" y="219"/>
                    <a:pt x="183" y="219"/>
                    <a:pt x="183" y="219"/>
                  </a:cubicBezTo>
                  <a:cubicBezTo>
                    <a:pt x="184" y="220"/>
                    <a:pt x="183" y="221"/>
                    <a:pt x="184" y="223"/>
                  </a:cubicBezTo>
                  <a:cubicBezTo>
                    <a:pt x="184" y="224"/>
                    <a:pt x="184" y="224"/>
                    <a:pt x="185" y="225"/>
                  </a:cubicBezTo>
                  <a:cubicBezTo>
                    <a:pt x="185" y="226"/>
                    <a:pt x="186" y="226"/>
                    <a:pt x="186" y="227"/>
                  </a:cubicBezTo>
                  <a:cubicBezTo>
                    <a:pt x="186" y="227"/>
                    <a:pt x="186" y="228"/>
                    <a:pt x="186" y="229"/>
                  </a:cubicBezTo>
                  <a:cubicBezTo>
                    <a:pt x="185" y="229"/>
                    <a:pt x="184" y="230"/>
                    <a:pt x="183" y="231"/>
                  </a:cubicBezTo>
                  <a:cubicBezTo>
                    <a:pt x="183" y="231"/>
                    <a:pt x="183" y="232"/>
                    <a:pt x="182" y="233"/>
                  </a:cubicBezTo>
                  <a:cubicBezTo>
                    <a:pt x="182" y="233"/>
                    <a:pt x="182" y="233"/>
                    <a:pt x="182" y="233"/>
                  </a:cubicBezTo>
                  <a:cubicBezTo>
                    <a:pt x="182" y="234"/>
                    <a:pt x="182" y="235"/>
                    <a:pt x="182" y="236"/>
                  </a:cubicBezTo>
                  <a:cubicBezTo>
                    <a:pt x="184" y="236"/>
                    <a:pt x="186" y="236"/>
                    <a:pt x="188" y="236"/>
                  </a:cubicBezTo>
                  <a:cubicBezTo>
                    <a:pt x="188" y="236"/>
                    <a:pt x="188" y="237"/>
                    <a:pt x="188" y="237"/>
                  </a:cubicBezTo>
                  <a:cubicBezTo>
                    <a:pt x="189" y="237"/>
                    <a:pt x="190" y="238"/>
                    <a:pt x="191" y="239"/>
                  </a:cubicBezTo>
                  <a:cubicBezTo>
                    <a:pt x="191" y="240"/>
                    <a:pt x="191" y="240"/>
                    <a:pt x="191" y="241"/>
                  </a:cubicBezTo>
                  <a:cubicBezTo>
                    <a:pt x="192" y="241"/>
                    <a:pt x="192" y="241"/>
                    <a:pt x="192" y="242"/>
                  </a:cubicBezTo>
                  <a:cubicBezTo>
                    <a:pt x="193" y="243"/>
                    <a:pt x="193" y="244"/>
                    <a:pt x="192" y="245"/>
                  </a:cubicBezTo>
                  <a:cubicBezTo>
                    <a:pt x="191" y="247"/>
                    <a:pt x="191" y="249"/>
                    <a:pt x="191" y="252"/>
                  </a:cubicBezTo>
                  <a:cubicBezTo>
                    <a:pt x="191" y="252"/>
                    <a:pt x="191" y="253"/>
                    <a:pt x="191" y="254"/>
                  </a:cubicBezTo>
                  <a:cubicBezTo>
                    <a:pt x="191" y="255"/>
                    <a:pt x="192" y="255"/>
                    <a:pt x="193" y="255"/>
                  </a:cubicBezTo>
                  <a:cubicBezTo>
                    <a:pt x="193" y="255"/>
                    <a:pt x="193" y="255"/>
                    <a:pt x="193" y="255"/>
                  </a:cubicBezTo>
                  <a:cubicBezTo>
                    <a:pt x="194" y="257"/>
                    <a:pt x="194" y="258"/>
                    <a:pt x="196" y="259"/>
                  </a:cubicBezTo>
                  <a:cubicBezTo>
                    <a:pt x="197" y="259"/>
                    <a:pt x="197" y="259"/>
                    <a:pt x="198" y="260"/>
                  </a:cubicBezTo>
                  <a:cubicBezTo>
                    <a:pt x="200" y="261"/>
                    <a:pt x="202" y="262"/>
                    <a:pt x="204" y="262"/>
                  </a:cubicBezTo>
                  <a:cubicBezTo>
                    <a:pt x="205" y="262"/>
                    <a:pt x="206" y="262"/>
                    <a:pt x="206" y="262"/>
                  </a:cubicBezTo>
                  <a:cubicBezTo>
                    <a:pt x="210" y="261"/>
                    <a:pt x="212" y="265"/>
                    <a:pt x="215" y="267"/>
                  </a:cubicBezTo>
                  <a:cubicBezTo>
                    <a:pt x="215" y="267"/>
                    <a:pt x="216" y="267"/>
                    <a:pt x="217" y="267"/>
                  </a:cubicBezTo>
                  <a:cubicBezTo>
                    <a:pt x="217" y="266"/>
                    <a:pt x="218" y="266"/>
                    <a:pt x="218" y="266"/>
                  </a:cubicBezTo>
                  <a:cubicBezTo>
                    <a:pt x="220" y="265"/>
                    <a:pt x="221" y="264"/>
                    <a:pt x="222" y="263"/>
                  </a:cubicBezTo>
                  <a:cubicBezTo>
                    <a:pt x="224" y="261"/>
                    <a:pt x="226" y="258"/>
                    <a:pt x="228" y="259"/>
                  </a:cubicBezTo>
                  <a:cubicBezTo>
                    <a:pt x="229" y="259"/>
                    <a:pt x="229" y="261"/>
                    <a:pt x="228" y="261"/>
                  </a:cubicBezTo>
                  <a:cubicBezTo>
                    <a:pt x="228" y="261"/>
                    <a:pt x="228" y="262"/>
                    <a:pt x="228" y="262"/>
                  </a:cubicBezTo>
                  <a:cubicBezTo>
                    <a:pt x="229" y="262"/>
                    <a:pt x="231" y="261"/>
                    <a:pt x="232" y="262"/>
                  </a:cubicBezTo>
                  <a:cubicBezTo>
                    <a:pt x="232" y="262"/>
                    <a:pt x="232" y="263"/>
                    <a:pt x="232" y="264"/>
                  </a:cubicBezTo>
                  <a:cubicBezTo>
                    <a:pt x="232" y="265"/>
                    <a:pt x="233" y="265"/>
                    <a:pt x="233" y="266"/>
                  </a:cubicBezTo>
                  <a:cubicBezTo>
                    <a:pt x="234" y="267"/>
                    <a:pt x="234" y="268"/>
                    <a:pt x="235" y="268"/>
                  </a:cubicBezTo>
                  <a:cubicBezTo>
                    <a:pt x="236" y="269"/>
                    <a:pt x="237" y="269"/>
                    <a:pt x="237" y="268"/>
                  </a:cubicBezTo>
                  <a:cubicBezTo>
                    <a:pt x="238" y="268"/>
                    <a:pt x="237" y="267"/>
                    <a:pt x="238" y="266"/>
                  </a:cubicBezTo>
                  <a:cubicBezTo>
                    <a:pt x="239" y="265"/>
                    <a:pt x="241" y="266"/>
                    <a:pt x="242" y="266"/>
                  </a:cubicBezTo>
                  <a:cubicBezTo>
                    <a:pt x="242" y="265"/>
                    <a:pt x="243" y="265"/>
                    <a:pt x="243" y="265"/>
                  </a:cubicBezTo>
                  <a:cubicBezTo>
                    <a:pt x="244" y="264"/>
                    <a:pt x="245" y="263"/>
                    <a:pt x="246" y="262"/>
                  </a:cubicBezTo>
                  <a:cubicBezTo>
                    <a:pt x="248" y="261"/>
                    <a:pt x="250" y="260"/>
                    <a:pt x="249" y="258"/>
                  </a:cubicBezTo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6" name="Freeform 184"/>
            <p:cNvSpPr>
              <a:spLocks/>
            </p:cNvSpPr>
            <p:nvPr/>
          </p:nvSpPr>
          <p:spPr bwMode="auto">
            <a:xfrm>
              <a:off x="8312705" y="5458085"/>
              <a:ext cx="7248" cy="6647"/>
            </a:xfrm>
            <a:custGeom>
              <a:avLst/>
              <a:gdLst>
                <a:gd name="T0" fmla="*/ 5085394 w 5"/>
                <a:gd name="T1" fmla="*/ 2970751 h 6"/>
                <a:gd name="T2" fmla="*/ 5085394 w 5"/>
                <a:gd name="T3" fmla="*/ 727531 h 6"/>
                <a:gd name="T4" fmla="*/ 1064436 w 5"/>
                <a:gd name="T5" fmla="*/ 727531 h 6"/>
                <a:gd name="T6" fmla="*/ 1064436 w 5"/>
                <a:gd name="T7" fmla="*/ 2970751 h 6"/>
                <a:gd name="T8" fmla="*/ 6131150 w 5"/>
                <a:gd name="T9" fmla="*/ 3961001 h 6"/>
                <a:gd name="T10" fmla="*/ 5085394 w 5"/>
                <a:gd name="T11" fmla="*/ 2970751 h 6"/>
                <a:gd name="T12" fmla="*/ 5085394 w 5"/>
                <a:gd name="T13" fmla="*/ 2970751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4" y="4"/>
                  </a:moveTo>
                  <a:cubicBezTo>
                    <a:pt x="4" y="3"/>
                    <a:pt x="3" y="2"/>
                    <a:pt x="4" y="1"/>
                  </a:cubicBezTo>
                  <a:cubicBezTo>
                    <a:pt x="3" y="1"/>
                    <a:pt x="1" y="0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2" y="6"/>
                    <a:pt x="4" y="6"/>
                    <a:pt x="5" y="5"/>
                  </a:cubicBezTo>
                  <a:cubicBezTo>
                    <a:pt x="5" y="5"/>
                    <a:pt x="4" y="5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7" name="Freeform 185"/>
            <p:cNvSpPr>
              <a:spLocks/>
            </p:cNvSpPr>
            <p:nvPr/>
          </p:nvSpPr>
          <p:spPr bwMode="auto">
            <a:xfrm>
              <a:off x="8343154" y="5485278"/>
              <a:ext cx="4350" cy="3022"/>
            </a:xfrm>
            <a:custGeom>
              <a:avLst/>
              <a:gdLst>
                <a:gd name="T0" fmla="*/ 941139 w 4"/>
                <a:gd name="T1" fmla="*/ 0 h 3"/>
                <a:gd name="T2" fmla="*/ 418284 w 4"/>
                <a:gd name="T3" fmla="*/ 727531 h 3"/>
                <a:gd name="T4" fmla="*/ 0 w 4"/>
                <a:gd name="T5" fmla="*/ 1697572 h 3"/>
                <a:gd name="T6" fmla="*/ 941139 w 4"/>
                <a:gd name="T7" fmla="*/ 2243220 h 3"/>
                <a:gd name="T8" fmla="*/ 1359459 w 4"/>
                <a:gd name="T9" fmla="*/ 727531 h 3"/>
                <a:gd name="T10" fmla="*/ 941139 w 4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0"/>
                  </a:moveTo>
                  <a:cubicBezTo>
                    <a:pt x="2" y="0"/>
                    <a:pt x="1" y="1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3" y="2"/>
                    <a:pt x="4" y="2"/>
                    <a:pt x="3" y="1"/>
                  </a:cubicBezTo>
                  <a:cubicBezTo>
                    <a:pt x="3" y="0"/>
                    <a:pt x="3" y="1"/>
                    <a:pt x="2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8" name="Freeform 186"/>
            <p:cNvSpPr>
              <a:spLocks/>
            </p:cNvSpPr>
            <p:nvPr/>
          </p:nvSpPr>
          <p:spPr bwMode="auto">
            <a:xfrm>
              <a:off x="8251085" y="5435119"/>
              <a:ext cx="14500" cy="4834"/>
            </a:xfrm>
            <a:custGeom>
              <a:avLst/>
              <a:gdLst>
                <a:gd name="T0" fmla="*/ 6840539 w 11"/>
                <a:gd name="T1" fmla="*/ 0 h 4"/>
                <a:gd name="T2" fmla="*/ 849380 w 11"/>
                <a:gd name="T3" fmla="*/ 2497529 h 4"/>
                <a:gd name="T4" fmla="*/ 0 w 11"/>
                <a:gd name="T5" fmla="*/ 6243820 h 4"/>
                <a:gd name="T6" fmla="*/ 2007625 w 11"/>
                <a:gd name="T7" fmla="*/ 9219213 h 4"/>
                <a:gd name="T8" fmla="*/ 5595820 w 11"/>
                <a:gd name="T9" fmla="*/ 9219213 h 4"/>
                <a:gd name="T10" fmla="*/ 9698926 w 11"/>
                <a:gd name="T11" fmla="*/ 0 h 4"/>
                <a:gd name="T12" fmla="*/ 6840539 w 11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4"/>
                <a:gd name="T23" fmla="*/ 11 w 11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4">
                  <a:moveTo>
                    <a:pt x="7" y="0"/>
                  </a:moveTo>
                  <a:cubicBezTo>
                    <a:pt x="5" y="1"/>
                    <a:pt x="3" y="0"/>
                    <a:pt x="1" y="1"/>
                  </a:cubicBezTo>
                  <a:cubicBezTo>
                    <a:pt x="0" y="1"/>
                    <a:pt x="0" y="3"/>
                    <a:pt x="0" y="3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3" y="3"/>
                    <a:pt x="5" y="4"/>
                    <a:pt x="6" y="4"/>
                  </a:cubicBezTo>
                  <a:cubicBezTo>
                    <a:pt x="8" y="3"/>
                    <a:pt x="11" y="2"/>
                    <a:pt x="10" y="0"/>
                  </a:cubicBezTo>
                  <a:cubicBezTo>
                    <a:pt x="9" y="0"/>
                    <a:pt x="8" y="0"/>
                    <a:pt x="7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9" name="Freeform 187"/>
            <p:cNvSpPr>
              <a:spLocks/>
            </p:cNvSpPr>
            <p:nvPr/>
          </p:nvSpPr>
          <p:spPr bwMode="auto">
            <a:xfrm>
              <a:off x="8535995" y="5387982"/>
              <a:ext cx="8699" cy="7856"/>
            </a:xfrm>
            <a:custGeom>
              <a:avLst/>
              <a:gdLst>
                <a:gd name="T0" fmla="*/ 2642432 w 7"/>
                <a:gd name="T1" fmla="*/ 1699274 h 8"/>
                <a:gd name="T2" fmla="*/ 0 w 7"/>
                <a:gd name="T3" fmla="*/ 418284 h 8"/>
                <a:gd name="T4" fmla="*/ 0 w 7"/>
                <a:gd name="T5" fmla="*/ 941139 h 8"/>
                <a:gd name="T6" fmla="*/ 1724631 w 7"/>
                <a:gd name="T7" fmla="*/ 2453348 h 8"/>
                <a:gd name="T8" fmla="*/ 3942014 w 7"/>
                <a:gd name="T9" fmla="*/ 3058782 h 8"/>
                <a:gd name="T10" fmla="*/ 3942014 w 7"/>
                <a:gd name="T11" fmla="*/ 2453348 h 8"/>
                <a:gd name="T12" fmla="*/ 2642432 w 7"/>
                <a:gd name="T13" fmla="*/ 1699274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8"/>
                <a:gd name="T23" fmla="*/ 7 w 7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8">
                  <a:moveTo>
                    <a:pt x="5" y="4"/>
                  </a:moveTo>
                  <a:cubicBezTo>
                    <a:pt x="4" y="3"/>
                    <a:pt x="2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2" y="5"/>
                    <a:pt x="3" y="6"/>
                  </a:cubicBezTo>
                  <a:cubicBezTo>
                    <a:pt x="4" y="7"/>
                    <a:pt x="5" y="8"/>
                    <a:pt x="7" y="7"/>
                  </a:cubicBezTo>
                  <a:cubicBezTo>
                    <a:pt x="7" y="7"/>
                    <a:pt x="7" y="6"/>
                    <a:pt x="7" y="6"/>
                  </a:cubicBezTo>
                  <a:cubicBezTo>
                    <a:pt x="6" y="6"/>
                    <a:pt x="6" y="5"/>
                    <a:pt x="5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0" name="Freeform 188"/>
            <p:cNvSpPr>
              <a:spLocks/>
            </p:cNvSpPr>
            <p:nvPr/>
          </p:nvSpPr>
          <p:spPr bwMode="auto">
            <a:xfrm>
              <a:off x="8541793" y="5400671"/>
              <a:ext cx="5801" cy="6647"/>
            </a:xfrm>
            <a:custGeom>
              <a:avLst/>
              <a:gdLst>
                <a:gd name="T0" fmla="*/ 9219213 w 4"/>
                <a:gd name="T1" fmla="*/ 2243220 h 6"/>
                <a:gd name="T2" fmla="*/ 4450654 w 4"/>
                <a:gd name="T3" fmla="*/ 727531 h 6"/>
                <a:gd name="T4" fmla="*/ 2497529 w 4"/>
                <a:gd name="T5" fmla="*/ 0 h 6"/>
                <a:gd name="T6" fmla="*/ 0 w 4"/>
                <a:gd name="T7" fmla="*/ 1697572 h 6"/>
                <a:gd name="T8" fmla="*/ 0 w 4"/>
                <a:gd name="T9" fmla="*/ 2970751 h 6"/>
                <a:gd name="T10" fmla="*/ 6243820 w 4"/>
                <a:gd name="T11" fmla="*/ 3961001 h 6"/>
                <a:gd name="T12" fmla="*/ 9219213 w 4"/>
                <a:gd name="T13" fmla="*/ 2243220 h 6"/>
                <a:gd name="T14" fmla="*/ 9219213 w 4"/>
                <a:gd name="T15" fmla="*/ 224322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6"/>
                <a:gd name="T26" fmla="*/ 4 w 4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6">
                  <a:moveTo>
                    <a:pt x="4" y="3"/>
                  </a:moveTo>
                  <a:cubicBezTo>
                    <a:pt x="3" y="2"/>
                    <a:pt x="2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4" y="5"/>
                    <a:pt x="4" y="4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1" name="Freeform 189"/>
            <p:cNvSpPr>
              <a:spLocks/>
            </p:cNvSpPr>
            <p:nvPr/>
          </p:nvSpPr>
          <p:spPr bwMode="auto">
            <a:xfrm>
              <a:off x="8554842" y="5398858"/>
              <a:ext cx="14500" cy="7856"/>
            </a:xfrm>
            <a:custGeom>
              <a:avLst/>
              <a:gdLst>
                <a:gd name="T0" fmla="*/ 7630664 w 11"/>
                <a:gd name="T1" fmla="*/ 2947589 h 7"/>
                <a:gd name="T2" fmla="*/ 6840539 w 11"/>
                <a:gd name="T3" fmla="*/ 2947589 h 7"/>
                <a:gd name="T4" fmla="*/ 3587761 w 11"/>
                <a:gd name="T5" fmla="*/ 1213713 h 7"/>
                <a:gd name="T6" fmla="*/ 0 w 11"/>
                <a:gd name="T7" fmla="*/ 0 h 7"/>
                <a:gd name="T8" fmla="*/ 0 w 11"/>
                <a:gd name="T9" fmla="*/ 1213713 h 7"/>
                <a:gd name="T10" fmla="*/ 3587761 w 11"/>
                <a:gd name="T11" fmla="*/ 5930334 h 7"/>
                <a:gd name="T12" fmla="*/ 6840539 w 11"/>
                <a:gd name="T13" fmla="*/ 7158428 h 7"/>
                <a:gd name="T14" fmla="*/ 8480159 w 11"/>
                <a:gd name="T15" fmla="*/ 10226328 h 7"/>
                <a:gd name="T16" fmla="*/ 10341118 w 11"/>
                <a:gd name="T17" fmla="*/ 10226328 h 7"/>
                <a:gd name="T18" fmla="*/ 10341118 w 11"/>
                <a:gd name="T19" fmla="*/ 7158428 h 7"/>
                <a:gd name="T20" fmla="*/ 7630664 w 11"/>
                <a:gd name="T21" fmla="*/ 2947589 h 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7"/>
                <a:gd name="T35" fmla="*/ 11 w 11"/>
                <a:gd name="T36" fmla="*/ 7 h 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7">
                  <a:moveTo>
                    <a:pt x="8" y="2"/>
                  </a:moveTo>
                  <a:cubicBezTo>
                    <a:pt x="8" y="2"/>
                    <a:pt x="7" y="2"/>
                    <a:pt x="7" y="2"/>
                  </a:cubicBezTo>
                  <a:cubicBezTo>
                    <a:pt x="6" y="1"/>
                    <a:pt x="5" y="2"/>
                    <a:pt x="4" y="1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2"/>
                    <a:pt x="2" y="4"/>
                    <a:pt x="4" y="4"/>
                  </a:cubicBezTo>
                  <a:cubicBezTo>
                    <a:pt x="5" y="5"/>
                    <a:pt x="6" y="5"/>
                    <a:pt x="7" y="5"/>
                  </a:cubicBezTo>
                  <a:cubicBezTo>
                    <a:pt x="8" y="6"/>
                    <a:pt x="9" y="6"/>
                    <a:pt x="9" y="7"/>
                  </a:cubicBezTo>
                  <a:cubicBezTo>
                    <a:pt x="10" y="7"/>
                    <a:pt x="11" y="7"/>
                    <a:pt x="11" y="7"/>
                  </a:cubicBezTo>
                  <a:cubicBezTo>
                    <a:pt x="11" y="6"/>
                    <a:pt x="11" y="6"/>
                    <a:pt x="11" y="5"/>
                  </a:cubicBezTo>
                  <a:cubicBezTo>
                    <a:pt x="10" y="4"/>
                    <a:pt x="9" y="4"/>
                    <a:pt x="8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2" name="Freeform 190"/>
            <p:cNvSpPr>
              <a:spLocks/>
            </p:cNvSpPr>
            <p:nvPr/>
          </p:nvSpPr>
          <p:spPr bwMode="auto">
            <a:xfrm>
              <a:off x="8577317" y="5404902"/>
              <a:ext cx="9425" cy="13295"/>
            </a:xfrm>
            <a:custGeom>
              <a:avLst/>
              <a:gdLst>
                <a:gd name="T0" fmla="*/ 3397424 w 7"/>
                <a:gd name="T1" fmla="*/ 13411727 h 12"/>
                <a:gd name="T2" fmla="*/ 1724631 w 7"/>
                <a:gd name="T3" fmla="*/ 2772543 h 12"/>
                <a:gd name="T4" fmla="*/ 1724631 w 7"/>
                <a:gd name="T5" fmla="*/ 1147259 h 12"/>
                <a:gd name="T6" fmla="*/ 505778 w 7"/>
                <a:gd name="T7" fmla="*/ 0 h 12"/>
                <a:gd name="T8" fmla="*/ 505778 w 7"/>
                <a:gd name="T9" fmla="*/ 8321772 h 12"/>
                <a:gd name="T10" fmla="*/ 2642432 w 7"/>
                <a:gd name="T11" fmla="*/ 16192411 h 12"/>
                <a:gd name="T12" fmla="*/ 3942014 w 7"/>
                <a:gd name="T13" fmla="*/ 16192411 h 12"/>
                <a:gd name="T14" fmla="*/ 3397424 w 7"/>
                <a:gd name="T15" fmla="*/ 1341172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12"/>
                <a:gd name="T26" fmla="*/ 7 w 7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12">
                  <a:moveTo>
                    <a:pt x="6" y="10"/>
                  </a:moveTo>
                  <a:cubicBezTo>
                    <a:pt x="4" y="8"/>
                    <a:pt x="5" y="5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0" y="2"/>
                    <a:pt x="1" y="4"/>
                    <a:pt x="1" y="6"/>
                  </a:cubicBezTo>
                  <a:cubicBezTo>
                    <a:pt x="2" y="8"/>
                    <a:pt x="3" y="10"/>
                    <a:pt x="5" y="12"/>
                  </a:cubicBezTo>
                  <a:cubicBezTo>
                    <a:pt x="6" y="12"/>
                    <a:pt x="6" y="12"/>
                    <a:pt x="7" y="12"/>
                  </a:cubicBezTo>
                  <a:cubicBezTo>
                    <a:pt x="7" y="12"/>
                    <a:pt x="7" y="11"/>
                    <a:pt x="6" y="1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3" name="Freeform 191"/>
            <p:cNvSpPr>
              <a:spLocks/>
            </p:cNvSpPr>
            <p:nvPr/>
          </p:nvSpPr>
          <p:spPr bwMode="auto">
            <a:xfrm>
              <a:off x="8564993" y="5415780"/>
              <a:ext cx="12324" cy="4232"/>
            </a:xfrm>
            <a:custGeom>
              <a:avLst/>
              <a:gdLst>
                <a:gd name="T0" fmla="*/ 6253179 w 9"/>
                <a:gd name="T1" fmla="*/ 941139 h 4"/>
                <a:gd name="T2" fmla="*/ 5234180 w 9"/>
                <a:gd name="T3" fmla="*/ 418284 h 4"/>
                <a:gd name="T4" fmla="*/ 0 w 9"/>
                <a:gd name="T5" fmla="*/ 0 h 4"/>
                <a:gd name="T6" fmla="*/ 1697572 w 9"/>
                <a:gd name="T7" fmla="*/ 1359459 h 4"/>
                <a:gd name="T8" fmla="*/ 6931749 w 9"/>
                <a:gd name="T9" fmla="*/ 1699274 h 4"/>
                <a:gd name="T10" fmla="*/ 6253179 w 9"/>
                <a:gd name="T11" fmla="*/ 941139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4"/>
                <a:gd name="T20" fmla="*/ 9 w 9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4">
                  <a:moveTo>
                    <a:pt x="8" y="2"/>
                  </a:moveTo>
                  <a:cubicBezTo>
                    <a:pt x="8" y="1"/>
                    <a:pt x="7" y="1"/>
                    <a:pt x="7" y="1"/>
                  </a:cubicBezTo>
                  <a:cubicBezTo>
                    <a:pt x="5" y="0"/>
                    <a:pt x="2" y="1"/>
                    <a:pt x="0" y="0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4" y="4"/>
                    <a:pt x="7" y="4"/>
                    <a:pt x="9" y="4"/>
                  </a:cubicBezTo>
                  <a:cubicBezTo>
                    <a:pt x="9" y="3"/>
                    <a:pt x="9" y="2"/>
                    <a:pt x="8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4" name="Freeform 192"/>
            <p:cNvSpPr>
              <a:spLocks/>
            </p:cNvSpPr>
            <p:nvPr/>
          </p:nvSpPr>
          <p:spPr bwMode="auto">
            <a:xfrm>
              <a:off x="8582392" y="5423637"/>
              <a:ext cx="12324" cy="6647"/>
            </a:xfrm>
            <a:custGeom>
              <a:avLst/>
              <a:gdLst>
                <a:gd name="T0" fmla="*/ 13330806 w 9"/>
                <a:gd name="T1" fmla="*/ 2243220 h 6"/>
                <a:gd name="T2" fmla="*/ 6550065 w 9"/>
                <a:gd name="T3" fmla="*/ 727531 h 6"/>
                <a:gd name="T4" fmla="*/ 4692541 w 9"/>
                <a:gd name="T5" fmla="*/ 0 h 6"/>
                <a:gd name="T6" fmla="*/ 1324701 w 9"/>
                <a:gd name="T7" fmla="*/ 0 h 6"/>
                <a:gd name="T8" fmla="*/ 1324701 w 9"/>
                <a:gd name="T9" fmla="*/ 1697572 h 6"/>
                <a:gd name="T10" fmla="*/ 7915496 w 9"/>
                <a:gd name="T11" fmla="*/ 4688532 h 6"/>
                <a:gd name="T12" fmla="*/ 14708563 w 9"/>
                <a:gd name="T13" fmla="*/ 4688532 h 6"/>
                <a:gd name="T14" fmla="*/ 14708563 w 9"/>
                <a:gd name="T15" fmla="*/ 2970751 h 6"/>
                <a:gd name="T16" fmla="*/ 11470653 w 9"/>
                <a:gd name="T17" fmla="*/ 224322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6"/>
                <a:gd name="T29" fmla="*/ 9 w 9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6">
                  <a:moveTo>
                    <a:pt x="8" y="3"/>
                  </a:moveTo>
                  <a:cubicBezTo>
                    <a:pt x="6" y="2"/>
                    <a:pt x="5" y="2"/>
                    <a:pt x="4" y="1"/>
                  </a:cubicBezTo>
                  <a:cubicBezTo>
                    <a:pt x="4" y="1"/>
                    <a:pt x="3" y="1"/>
                    <a:pt x="3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2" y="4"/>
                    <a:pt x="3" y="5"/>
                    <a:pt x="5" y="6"/>
                  </a:cubicBezTo>
                  <a:cubicBezTo>
                    <a:pt x="6" y="6"/>
                    <a:pt x="8" y="6"/>
                    <a:pt x="9" y="6"/>
                  </a:cubicBezTo>
                  <a:cubicBezTo>
                    <a:pt x="9" y="5"/>
                    <a:pt x="9" y="4"/>
                    <a:pt x="9" y="4"/>
                  </a:cubicBezTo>
                  <a:cubicBezTo>
                    <a:pt x="8" y="3"/>
                    <a:pt x="8" y="3"/>
                    <a:pt x="7" y="3"/>
                  </a:cubicBezTo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5" name="Freeform 193"/>
            <p:cNvSpPr>
              <a:spLocks/>
            </p:cNvSpPr>
            <p:nvPr/>
          </p:nvSpPr>
          <p:spPr bwMode="auto">
            <a:xfrm>
              <a:off x="8628790" y="5427263"/>
              <a:ext cx="6524" cy="3022"/>
            </a:xfrm>
            <a:custGeom>
              <a:avLst/>
              <a:gdLst>
                <a:gd name="T0" fmla="*/ 940581 w 5"/>
                <a:gd name="T1" fmla="*/ 0 h 3"/>
                <a:gd name="T2" fmla="*/ 257371 w 5"/>
                <a:gd name="T3" fmla="*/ 1697572 h 3"/>
                <a:gd name="T4" fmla="*/ 1245675 w 5"/>
                <a:gd name="T5" fmla="*/ 1697572 h 3"/>
                <a:gd name="T6" fmla="*/ 1500783 w 5"/>
                <a:gd name="T7" fmla="*/ 0 h 3"/>
                <a:gd name="T8" fmla="*/ 940581 w 5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3" y="0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5" y="2"/>
                    <a:pt x="5" y="1"/>
                    <a:pt x="5" y="0"/>
                  </a:cubicBezTo>
                  <a:cubicBezTo>
                    <a:pt x="4" y="0"/>
                    <a:pt x="3" y="0"/>
                    <a:pt x="3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6" name="Freeform 194"/>
            <p:cNvSpPr>
              <a:spLocks/>
            </p:cNvSpPr>
            <p:nvPr/>
          </p:nvSpPr>
          <p:spPr bwMode="auto">
            <a:xfrm>
              <a:off x="8600518" y="5523352"/>
              <a:ext cx="28998" cy="22360"/>
            </a:xfrm>
            <a:custGeom>
              <a:avLst/>
              <a:gdLst>
                <a:gd name="T0" fmla="*/ 18819602 w 22"/>
                <a:gd name="T1" fmla="*/ 12213087 h 21"/>
                <a:gd name="T2" fmla="*/ 16168539 w 22"/>
                <a:gd name="T3" fmla="*/ 9242332 h 21"/>
                <a:gd name="T4" fmla="*/ 15293852 w 22"/>
                <a:gd name="T5" fmla="*/ 8614988 h 21"/>
                <a:gd name="T6" fmla="*/ 11216146 w 22"/>
                <a:gd name="T7" fmla="*/ 7659274 h 21"/>
                <a:gd name="T8" fmla="*/ 9698926 w 22"/>
                <a:gd name="T9" fmla="*/ 6931750 h 21"/>
                <a:gd name="T10" fmla="*/ 8480159 w 22"/>
                <a:gd name="T11" fmla="*/ 4688532 h 21"/>
                <a:gd name="T12" fmla="*/ 2894074 w 22"/>
                <a:gd name="T13" fmla="*/ 727531 h 21"/>
                <a:gd name="T14" fmla="*/ 2007625 w 22"/>
                <a:gd name="T15" fmla="*/ 0 h 21"/>
                <a:gd name="T16" fmla="*/ 0 w 22"/>
                <a:gd name="T17" fmla="*/ 0 h 21"/>
                <a:gd name="T18" fmla="*/ 0 w 22"/>
                <a:gd name="T19" fmla="*/ 1697572 h 21"/>
                <a:gd name="T20" fmla="*/ 4745295 w 22"/>
                <a:gd name="T21" fmla="*/ 7659274 h 21"/>
                <a:gd name="T22" fmla="*/ 7630664 w 22"/>
                <a:gd name="T23" fmla="*/ 8614988 h 21"/>
                <a:gd name="T24" fmla="*/ 10341118 w 22"/>
                <a:gd name="T25" fmla="*/ 10939909 h 21"/>
                <a:gd name="T26" fmla="*/ 14073923 w 22"/>
                <a:gd name="T27" fmla="*/ 11620010 h 21"/>
                <a:gd name="T28" fmla="*/ 14073923 w 22"/>
                <a:gd name="T29" fmla="*/ 12213087 h 21"/>
                <a:gd name="T30" fmla="*/ 15293852 w 22"/>
                <a:gd name="T31" fmla="*/ 14590762 h 21"/>
                <a:gd name="T32" fmla="*/ 20043998 w 22"/>
                <a:gd name="T33" fmla="*/ 15628432 h 21"/>
                <a:gd name="T34" fmla="*/ 20043998 w 22"/>
                <a:gd name="T35" fmla="*/ 13184929 h 21"/>
                <a:gd name="T36" fmla="*/ 18819602 w 22"/>
                <a:gd name="T37" fmla="*/ 12213087 h 21"/>
                <a:gd name="T38" fmla="*/ 18819602 w 22"/>
                <a:gd name="T39" fmla="*/ 12213087 h 2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"/>
                <a:gd name="T61" fmla="*/ 0 h 21"/>
                <a:gd name="T62" fmla="*/ 22 w 22"/>
                <a:gd name="T63" fmla="*/ 21 h 2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" h="21">
                  <a:moveTo>
                    <a:pt x="20" y="16"/>
                  </a:moveTo>
                  <a:cubicBezTo>
                    <a:pt x="19" y="15"/>
                    <a:pt x="18" y="14"/>
                    <a:pt x="17" y="12"/>
                  </a:cubicBezTo>
                  <a:cubicBezTo>
                    <a:pt x="17" y="12"/>
                    <a:pt x="17" y="11"/>
                    <a:pt x="16" y="11"/>
                  </a:cubicBezTo>
                  <a:cubicBezTo>
                    <a:pt x="15" y="11"/>
                    <a:pt x="13" y="11"/>
                    <a:pt x="12" y="10"/>
                  </a:cubicBezTo>
                  <a:cubicBezTo>
                    <a:pt x="11" y="10"/>
                    <a:pt x="11" y="9"/>
                    <a:pt x="10" y="9"/>
                  </a:cubicBezTo>
                  <a:cubicBezTo>
                    <a:pt x="10" y="8"/>
                    <a:pt x="10" y="7"/>
                    <a:pt x="9" y="6"/>
                  </a:cubicBezTo>
                  <a:cubicBezTo>
                    <a:pt x="8" y="4"/>
                    <a:pt x="5" y="3"/>
                    <a:pt x="3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2"/>
                    <a:pt x="0" y="2"/>
                  </a:cubicBezTo>
                  <a:cubicBezTo>
                    <a:pt x="2" y="5"/>
                    <a:pt x="3" y="7"/>
                    <a:pt x="5" y="10"/>
                  </a:cubicBezTo>
                  <a:cubicBezTo>
                    <a:pt x="6" y="11"/>
                    <a:pt x="7" y="11"/>
                    <a:pt x="8" y="11"/>
                  </a:cubicBezTo>
                  <a:cubicBezTo>
                    <a:pt x="9" y="12"/>
                    <a:pt x="10" y="13"/>
                    <a:pt x="11" y="14"/>
                  </a:cubicBezTo>
                  <a:cubicBezTo>
                    <a:pt x="12" y="16"/>
                    <a:pt x="13" y="15"/>
                    <a:pt x="15" y="15"/>
                  </a:cubicBezTo>
                  <a:cubicBezTo>
                    <a:pt x="15" y="15"/>
                    <a:pt x="15" y="16"/>
                    <a:pt x="15" y="16"/>
                  </a:cubicBezTo>
                  <a:cubicBezTo>
                    <a:pt x="16" y="17"/>
                    <a:pt x="15" y="18"/>
                    <a:pt x="16" y="19"/>
                  </a:cubicBezTo>
                  <a:cubicBezTo>
                    <a:pt x="17" y="20"/>
                    <a:pt x="19" y="21"/>
                    <a:pt x="21" y="20"/>
                  </a:cubicBezTo>
                  <a:cubicBezTo>
                    <a:pt x="22" y="20"/>
                    <a:pt x="22" y="19"/>
                    <a:pt x="21" y="17"/>
                  </a:cubicBezTo>
                  <a:cubicBezTo>
                    <a:pt x="21" y="17"/>
                    <a:pt x="21" y="17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7" name="Freeform 195"/>
            <p:cNvSpPr>
              <a:spLocks/>
            </p:cNvSpPr>
            <p:nvPr/>
          </p:nvSpPr>
          <p:spPr bwMode="auto">
            <a:xfrm>
              <a:off x="8629516" y="5526374"/>
              <a:ext cx="4350" cy="7253"/>
            </a:xfrm>
            <a:custGeom>
              <a:avLst/>
              <a:gdLst>
                <a:gd name="T0" fmla="*/ 2243220 w 3"/>
                <a:gd name="T1" fmla="*/ 2642432 h 7"/>
                <a:gd name="T2" fmla="*/ 2243220 w 3"/>
                <a:gd name="T3" fmla="*/ 1156064 h 7"/>
                <a:gd name="T4" fmla="*/ 727531 w 3"/>
                <a:gd name="T5" fmla="*/ 505778 h 7"/>
                <a:gd name="T6" fmla="*/ 0 w 3"/>
                <a:gd name="T7" fmla="*/ 2234466 h 7"/>
                <a:gd name="T8" fmla="*/ 727531 w 3"/>
                <a:gd name="T9" fmla="*/ 3397424 h 7"/>
                <a:gd name="T10" fmla="*/ 1697572 w 3"/>
                <a:gd name="T11" fmla="*/ 3942014 h 7"/>
                <a:gd name="T12" fmla="*/ 2243220 w 3"/>
                <a:gd name="T13" fmla="*/ 2642432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7"/>
                <a:gd name="T23" fmla="*/ 3 w 3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7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2" y="1"/>
                    <a:pt x="1" y="0"/>
                    <a:pt x="1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6"/>
                    <a:pt x="2" y="7"/>
                    <a:pt x="2" y="7"/>
                  </a:cubicBezTo>
                  <a:cubicBezTo>
                    <a:pt x="3" y="6"/>
                    <a:pt x="3" y="6"/>
                    <a:pt x="3" y="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8" name="Freeform 196"/>
            <p:cNvSpPr>
              <a:spLocks/>
            </p:cNvSpPr>
            <p:nvPr/>
          </p:nvSpPr>
          <p:spPr bwMode="auto">
            <a:xfrm>
              <a:off x="8638940" y="5535440"/>
              <a:ext cx="2899" cy="3022"/>
            </a:xfrm>
            <a:custGeom>
              <a:avLst/>
              <a:gdLst>
                <a:gd name="T0" fmla="*/ 65536 w 2"/>
                <a:gd name="T1" fmla="*/ 0 h 3"/>
                <a:gd name="T2" fmla="*/ 0 w 2"/>
                <a:gd name="T3" fmla="*/ 0 h 3"/>
                <a:gd name="T4" fmla="*/ 0 w 2"/>
                <a:gd name="T5" fmla="*/ 1697572 h 3"/>
                <a:gd name="T6" fmla="*/ 65536 w 2"/>
                <a:gd name="T7" fmla="*/ 2243220 h 3"/>
                <a:gd name="T8" fmla="*/ 65536 w 2"/>
                <a:gd name="T9" fmla="*/ 0 h 3"/>
                <a:gd name="T10" fmla="*/ 65536 w 2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3"/>
                <a:gd name="T20" fmla="*/ 2 w 2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3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2"/>
                    <a:pt x="2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9" name="Freeform 197"/>
            <p:cNvSpPr>
              <a:spLocks/>
            </p:cNvSpPr>
            <p:nvPr/>
          </p:nvSpPr>
          <p:spPr bwMode="auto">
            <a:xfrm>
              <a:off x="8559192" y="5809205"/>
              <a:ext cx="7248" cy="6647"/>
            </a:xfrm>
            <a:custGeom>
              <a:avLst/>
              <a:gdLst>
                <a:gd name="T0" fmla="*/ 6131150 w 5"/>
                <a:gd name="T1" fmla="*/ 4768082 h 6"/>
                <a:gd name="T2" fmla="*/ 6131150 w 5"/>
                <a:gd name="T3" fmla="*/ 2975593 h 6"/>
                <a:gd name="T4" fmla="*/ 5085394 w 5"/>
                <a:gd name="T5" fmla="*/ 0 h 6"/>
                <a:gd name="T6" fmla="*/ 3577445 w 5"/>
                <a:gd name="T7" fmla="*/ 0 h 6"/>
                <a:gd name="T8" fmla="*/ 2554647 w 5"/>
                <a:gd name="T9" fmla="*/ 7438980 h 6"/>
                <a:gd name="T10" fmla="*/ 0 w 5"/>
                <a:gd name="T11" fmla="*/ 11920201 h 6"/>
                <a:gd name="T12" fmla="*/ 0 w 5"/>
                <a:gd name="T13" fmla="*/ 13878121 h 6"/>
                <a:gd name="T14" fmla="*/ 1064436 w 5"/>
                <a:gd name="T15" fmla="*/ 13878121 h 6"/>
                <a:gd name="T16" fmla="*/ 2554647 w 5"/>
                <a:gd name="T17" fmla="*/ 11920201 h 6"/>
                <a:gd name="T18" fmla="*/ 5085394 w 5"/>
                <a:gd name="T19" fmla="*/ 11920201 h 6"/>
                <a:gd name="T20" fmla="*/ 6131150 w 5"/>
                <a:gd name="T21" fmla="*/ 4768082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"/>
                <a:gd name="T34" fmla="*/ 0 h 6"/>
                <a:gd name="T35" fmla="*/ 5 w 5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" h="6">
                  <a:moveTo>
                    <a:pt x="5" y="2"/>
                  </a:moveTo>
                  <a:cubicBezTo>
                    <a:pt x="5" y="2"/>
                    <a:pt x="5" y="2"/>
                    <a:pt x="5" y="1"/>
                  </a:cubicBezTo>
                  <a:cubicBezTo>
                    <a:pt x="5" y="1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1"/>
                    <a:pt x="3" y="2"/>
                    <a:pt x="2" y="3"/>
                  </a:cubicBezTo>
                  <a:cubicBezTo>
                    <a:pt x="1" y="4"/>
                    <a:pt x="1" y="4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2" y="5"/>
                    <a:pt x="2" y="5"/>
                  </a:cubicBezTo>
                  <a:cubicBezTo>
                    <a:pt x="3" y="5"/>
                    <a:pt x="4" y="5"/>
                    <a:pt x="4" y="5"/>
                  </a:cubicBezTo>
                  <a:cubicBezTo>
                    <a:pt x="5" y="4"/>
                    <a:pt x="5" y="3"/>
                    <a:pt x="5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0" name="Freeform 198"/>
            <p:cNvSpPr>
              <a:spLocks/>
            </p:cNvSpPr>
            <p:nvPr/>
          </p:nvSpPr>
          <p:spPr bwMode="auto">
            <a:xfrm>
              <a:off x="8552669" y="5737893"/>
              <a:ext cx="100043" cy="71313"/>
            </a:xfrm>
            <a:custGeom>
              <a:avLst/>
              <a:gdLst>
                <a:gd name="T0" fmla="*/ 32344177 w 74"/>
                <a:gd name="T1" fmla="*/ 26575640 h 66"/>
                <a:gd name="T2" fmla="*/ 25822810 w 74"/>
                <a:gd name="T3" fmla="*/ 29952252 h 66"/>
                <a:gd name="T4" fmla="*/ 23962210 w 74"/>
                <a:gd name="T5" fmla="*/ 31080370 h 66"/>
                <a:gd name="T6" fmla="*/ 18968408 w 74"/>
                <a:gd name="T7" fmla="*/ 31667115 h 66"/>
                <a:gd name="T8" fmla="*/ 12510731 w 74"/>
                <a:gd name="T9" fmla="*/ 37552171 h 66"/>
                <a:gd name="T10" fmla="*/ 9756111 w 74"/>
                <a:gd name="T11" fmla="*/ 39471342 h 66"/>
                <a:gd name="T12" fmla="*/ 5628738 w 74"/>
                <a:gd name="T13" fmla="*/ 41916133 h 66"/>
                <a:gd name="T14" fmla="*/ 2910108 w 74"/>
                <a:gd name="T15" fmla="*/ 43774065 h 66"/>
                <a:gd name="T16" fmla="*/ 0 w 74"/>
                <a:gd name="T17" fmla="*/ 50638176 h 66"/>
                <a:gd name="T18" fmla="*/ 0 w 74"/>
                <a:gd name="T19" fmla="*/ 51372932 h 66"/>
                <a:gd name="T20" fmla="*/ 3611742 w 74"/>
                <a:gd name="T21" fmla="*/ 52164089 h 66"/>
                <a:gd name="T22" fmla="*/ 4776873 w 74"/>
                <a:gd name="T23" fmla="*/ 52164089 h 66"/>
                <a:gd name="T24" fmla="*/ 6882012 w 74"/>
                <a:gd name="T25" fmla="*/ 51372932 h 66"/>
                <a:gd name="T26" fmla="*/ 8541281 w 74"/>
                <a:gd name="T27" fmla="*/ 51372932 h 66"/>
                <a:gd name="T28" fmla="*/ 10426217 w 74"/>
                <a:gd name="T29" fmla="*/ 53287566 h 66"/>
                <a:gd name="T30" fmla="*/ 11296657 w 74"/>
                <a:gd name="T31" fmla="*/ 53287566 h 66"/>
                <a:gd name="T32" fmla="*/ 12510731 w 74"/>
                <a:gd name="T33" fmla="*/ 54665206 h 66"/>
                <a:gd name="T34" fmla="*/ 16275026 w 74"/>
                <a:gd name="T35" fmla="*/ 55730365 h 66"/>
                <a:gd name="T36" fmla="*/ 18968408 w 74"/>
                <a:gd name="T37" fmla="*/ 56521522 h 66"/>
                <a:gd name="T38" fmla="*/ 21943090 w 74"/>
                <a:gd name="T39" fmla="*/ 54022397 h 66"/>
                <a:gd name="T40" fmla="*/ 24656591 w 74"/>
                <a:gd name="T41" fmla="*/ 52164089 h 66"/>
                <a:gd name="T42" fmla="*/ 29586178 w 74"/>
                <a:gd name="T43" fmla="*/ 49514774 h 66"/>
                <a:gd name="T44" fmla="*/ 32344177 w 74"/>
                <a:gd name="T45" fmla="*/ 48928104 h 66"/>
                <a:gd name="T46" fmla="*/ 32344177 w 74"/>
                <a:gd name="T47" fmla="*/ 48137360 h 66"/>
                <a:gd name="T48" fmla="*/ 33558960 w 74"/>
                <a:gd name="T49" fmla="*/ 44564433 h 66"/>
                <a:gd name="T50" fmla="*/ 37327078 w 74"/>
                <a:gd name="T51" fmla="*/ 42706163 h 66"/>
                <a:gd name="T52" fmla="*/ 38488226 w 74"/>
                <a:gd name="T53" fmla="*/ 41916133 h 66"/>
                <a:gd name="T54" fmla="*/ 39227047 w 74"/>
                <a:gd name="T55" fmla="*/ 36821961 h 66"/>
                <a:gd name="T56" fmla="*/ 39227047 w 74"/>
                <a:gd name="T57" fmla="*/ 34316467 h 66"/>
                <a:gd name="T58" fmla="*/ 46229021 w 74"/>
                <a:gd name="T59" fmla="*/ 31667115 h 66"/>
                <a:gd name="T60" fmla="*/ 46229021 w 74"/>
                <a:gd name="T61" fmla="*/ 31667115 h 66"/>
                <a:gd name="T62" fmla="*/ 46874648 w 74"/>
                <a:gd name="T63" fmla="*/ 31080370 h 66"/>
                <a:gd name="T64" fmla="*/ 48922280 w 74"/>
                <a:gd name="T65" fmla="*/ 31080370 h 66"/>
                <a:gd name="T66" fmla="*/ 50639095 w 74"/>
                <a:gd name="T67" fmla="*/ 29952252 h 66"/>
                <a:gd name="T68" fmla="*/ 52526143 w 74"/>
                <a:gd name="T69" fmla="*/ 29222099 h 66"/>
                <a:gd name="T70" fmla="*/ 53395619 w 74"/>
                <a:gd name="T71" fmla="*/ 29952252 h 66"/>
                <a:gd name="T72" fmla="*/ 54561818 w 74"/>
                <a:gd name="T73" fmla="*/ 29952252 h 66"/>
                <a:gd name="T74" fmla="*/ 55415931 w 74"/>
                <a:gd name="T75" fmla="*/ 29222099 h 66"/>
                <a:gd name="T76" fmla="*/ 53395619 w 74"/>
                <a:gd name="T77" fmla="*/ 28431073 h 66"/>
                <a:gd name="T78" fmla="*/ 53395619 w 74"/>
                <a:gd name="T79" fmla="*/ 25447898 h 66"/>
                <a:gd name="T80" fmla="*/ 54561818 w 74"/>
                <a:gd name="T81" fmla="*/ 24858522 h 66"/>
                <a:gd name="T82" fmla="*/ 61067426 w 74"/>
                <a:gd name="T83" fmla="*/ 19704277 h 66"/>
                <a:gd name="T84" fmla="*/ 65842332 w 74"/>
                <a:gd name="T85" fmla="*/ 13820897 h 66"/>
                <a:gd name="T86" fmla="*/ 70837190 w 74"/>
                <a:gd name="T87" fmla="*/ 8390214 h 66"/>
                <a:gd name="T88" fmla="*/ 68819866 w 74"/>
                <a:gd name="T89" fmla="*/ 7013129 h 66"/>
                <a:gd name="T90" fmla="*/ 68819866 w 74"/>
                <a:gd name="T91" fmla="*/ 5885030 h 66"/>
                <a:gd name="T92" fmla="*/ 69967298 w 74"/>
                <a:gd name="T93" fmla="*/ 5154873 h 66"/>
                <a:gd name="T94" fmla="*/ 67950277 w 74"/>
                <a:gd name="T95" fmla="*/ 4363662 h 66"/>
                <a:gd name="T96" fmla="*/ 65208095 w 74"/>
                <a:gd name="T97" fmla="*/ 7013129 h 66"/>
                <a:gd name="T98" fmla="*/ 63177490 w 74"/>
                <a:gd name="T99" fmla="*/ 7599865 h 66"/>
                <a:gd name="T100" fmla="*/ 63177490 w 74"/>
                <a:gd name="T101" fmla="*/ 5154873 h 66"/>
                <a:gd name="T102" fmla="*/ 63177490 w 74"/>
                <a:gd name="T103" fmla="*/ 2505885 h 66"/>
                <a:gd name="T104" fmla="*/ 62298026 w 74"/>
                <a:gd name="T105" fmla="*/ 791181 h 66"/>
                <a:gd name="T106" fmla="*/ 54561818 w 74"/>
                <a:gd name="T107" fmla="*/ 5154873 h 66"/>
                <a:gd name="T108" fmla="*/ 54561818 w 74"/>
                <a:gd name="T109" fmla="*/ 7013129 h 66"/>
                <a:gd name="T110" fmla="*/ 53395619 w 74"/>
                <a:gd name="T111" fmla="*/ 7599865 h 66"/>
                <a:gd name="T112" fmla="*/ 47767810 w 74"/>
                <a:gd name="T113" fmla="*/ 12753868 h 66"/>
                <a:gd name="T114" fmla="*/ 46874648 w 74"/>
                <a:gd name="T115" fmla="*/ 14612177 h 66"/>
                <a:gd name="T116" fmla="*/ 46874648 w 74"/>
                <a:gd name="T117" fmla="*/ 14612177 h 66"/>
                <a:gd name="T118" fmla="*/ 42990066 w 74"/>
                <a:gd name="T119" fmla="*/ 19704277 h 66"/>
                <a:gd name="T120" fmla="*/ 40020440 w 74"/>
                <a:gd name="T121" fmla="*/ 21562078 h 66"/>
                <a:gd name="T122" fmla="*/ 33558960 w 74"/>
                <a:gd name="T123" fmla="*/ 25447898 h 66"/>
                <a:gd name="T124" fmla="*/ 32344177 w 74"/>
                <a:gd name="T125" fmla="*/ 26575640 h 6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4"/>
                <a:gd name="T190" fmla="*/ 0 h 66"/>
                <a:gd name="T191" fmla="*/ 74 w 74"/>
                <a:gd name="T192" fmla="*/ 66 h 6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4" h="66">
                  <a:moveTo>
                    <a:pt x="34" y="31"/>
                  </a:moveTo>
                  <a:cubicBezTo>
                    <a:pt x="31" y="31"/>
                    <a:pt x="30" y="33"/>
                    <a:pt x="27" y="35"/>
                  </a:cubicBezTo>
                  <a:cubicBezTo>
                    <a:pt x="26" y="35"/>
                    <a:pt x="26" y="36"/>
                    <a:pt x="25" y="36"/>
                  </a:cubicBezTo>
                  <a:cubicBezTo>
                    <a:pt x="23" y="37"/>
                    <a:pt x="22" y="37"/>
                    <a:pt x="20" y="37"/>
                  </a:cubicBezTo>
                  <a:cubicBezTo>
                    <a:pt x="18" y="39"/>
                    <a:pt x="15" y="42"/>
                    <a:pt x="13" y="44"/>
                  </a:cubicBezTo>
                  <a:cubicBezTo>
                    <a:pt x="12" y="45"/>
                    <a:pt x="11" y="45"/>
                    <a:pt x="10" y="46"/>
                  </a:cubicBezTo>
                  <a:cubicBezTo>
                    <a:pt x="9" y="47"/>
                    <a:pt x="7" y="48"/>
                    <a:pt x="6" y="49"/>
                  </a:cubicBezTo>
                  <a:cubicBezTo>
                    <a:pt x="4" y="50"/>
                    <a:pt x="3" y="50"/>
                    <a:pt x="3" y="51"/>
                  </a:cubicBezTo>
                  <a:cubicBezTo>
                    <a:pt x="2" y="54"/>
                    <a:pt x="2" y="56"/>
                    <a:pt x="0" y="59"/>
                  </a:cubicBezTo>
                  <a:cubicBezTo>
                    <a:pt x="0" y="59"/>
                    <a:pt x="0" y="60"/>
                    <a:pt x="0" y="60"/>
                  </a:cubicBezTo>
                  <a:cubicBezTo>
                    <a:pt x="2" y="60"/>
                    <a:pt x="3" y="60"/>
                    <a:pt x="4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" y="61"/>
                    <a:pt x="6" y="60"/>
                    <a:pt x="7" y="60"/>
                  </a:cubicBezTo>
                  <a:cubicBezTo>
                    <a:pt x="8" y="60"/>
                    <a:pt x="9" y="60"/>
                    <a:pt x="9" y="60"/>
                  </a:cubicBezTo>
                  <a:cubicBezTo>
                    <a:pt x="10" y="61"/>
                    <a:pt x="11" y="61"/>
                    <a:pt x="11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3" y="63"/>
                    <a:pt x="13" y="64"/>
                    <a:pt x="13" y="64"/>
                  </a:cubicBezTo>
                  <a:cubicBezTo>
                    <a:pt x="14" y="65"/>
                    <a:pt x="16" y="64"/>
                    <a:pt x="17" y="65"/>
                  </a:cubicBezTo>
                  <a:cubicBezTo>
                    <a:pt x="18" y="66"/>
                    <a:pt x="19" y="66"/>
                    <a:pt x="20" y="66"/>
                  </a:cubicBezTo>
                  <a:cubicBezTo>
                    <a:pt x="22" y="65"/>
                    <a:pt x="22" y="64"/>
                    <a:pt x="23" y="63"/>
                  </a:cubicBezTo>
                  <a:cubicBezTo>
                    <a:pt x="24" y="62"/>
                    <a:pt x="25" y="61"/>
                    <a:pt x="26" y="61"/>
                  </a:cubicBezTo>
                  <a:cubicBezTo>
                    <a:pt x="28" y="60"/>
                    <a:pt x="29" y="59"/>
                    <a:pt x="31" y="58"/>
                  </a:cubicBezTo>
                  <a:cubicBezTo>
                    <a:pt x="32" y="58"/>
                    <a:pt x="33" y="57"/>
                    <a:pt x="34" y="57"/>
                  </a:cubicBezTo>
                  <a:cubicBezTo>
                    <a:pt x="34" y="57"/>
                    <a:pt x="34" y="56"/>
                    <a:pt x="34" y="56"/>
                  </a:cubicBezTo>
                  <a:cubicBezTo>
                    <a:pt x="35" y="55"/>
                    <a:pt x="34" y="53"/>
                    <a:pt x="35" y="52"/>
                  </a:cubicBezTo>
                  <a:cubicBezTo>
                    <a:pt x="35" y="51"/>
                    <a:pt x="37" y="50"/>
                    <a:pt x="39" y="50"/>
                  </a:cubicBezTo>
                  <a:cubicBezTo>
                    <a:pt x="39" y="49"/>
                    <a:pt x="39" y="49"/>
                    <a:pt x="40" y="49"/>
                  </a:cubicBezTo>
                  <a:cubicBezTo>
                    <a:pt x="41" y="47"/>
                    <a:pt x="40" y="45"/>
                    <a:pt x="41" y="43"/>
                  </a:cubicBezTo>
                  <a:cubicBezTo>
                    <a:pt x="41" y="42"/>
                    <a:pt x="41" y="41"/>
                    <a:pt x="41" y="40"/>
                  </a:cubicBezTo>
                  <a:cubicBezTo>
                    <a:pt x="43" y="38"/>
                    <a:pt x="46" y="38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6"/>
                    <a:pt x="49" y="36"/>
                    <a:pt x="49" y="36"/>
                  </a:cubicBezTo>
                  <a:cubicBezTo>
                    <a:pt x="50" y="36"/>
                    <a:pt x="51" y="36"/>
                    <a:pt x="51" y="36"/>
                  </a:cubicBezTo>
                  <a:cubicBezTo>
                    <a:pt x="52" y="35"/>
                    <a:pt x="52" y="35"/>
                    <a:pt x="53" y="35"/>
                  </a:cubicBezTo>
                  <a:cubicBezTo>
                    <a:pt x="53" y="34"/>
                    <a:pt x="54" y="34"/>
                    <a:pt x="55" y="34"/>
                  </a:cubicBezTo>
                  <a:cubicBezTo>
                    <a:pt x="55" y="35"/>
                    <a:pt x="56" y="35"/>
                    <a:pt x="56" y="35"/>
                  </a:cubicBezTo>
                  <a:cubicBezTo>
                    <a:pt x="56" y="36"/>
                    <a:pt x="57" y="36"/>
                    <a:pt x="57" y="35"/>
                  </a:cubicBezTo>
                  <a:cubicBezTo>
                    <a:pt x="58" y="35"/>
                    <a:pt x="58" y="34"/>
                    <a:pt x="58" y="34"/>
                  </a:cubicBezTo>
                  <a:cubicBezTo>
                    <a:pt x="57" y="33"/>
                    <a:pt x="56" y="34"/>
                    <a:pt x="56" y="33"/>
                  </a:cubicBezTo>
                  <a:cubicBezTo>
                    <a:pt x="55" y="32"/>
                    <a:pt x="55" y="31"/>
                    <a:pt x="56" y="30"/>
                  </a:cubicBezTo>
                  <a:cubicBezTo>
                    <a:pt x="56" y="30"/>
                    <a:pt x="57" y="29"/>
                    <a:pt x="57" y="29"/>
                  </a:cubicBezTo>
                  <a:cubicBezTo>
                    <a:pt x="60" y="27"/>
                    <a:pt x="63" y="26"/>
                    <a:pt x="64" y="23"/>
                  </a:cubicBezTo>
                  <a:cubicBezTo>
                    <a:pt x="66" y="20"/>
                    <a:pt x="68" y="18"/>
                    <a:pt x="69" y="16"/>
                  </a:cubicBezTo>
                  <a:cubicBezTo>
                    <a:pt x="71" y="13"/>
                    <a:pt x="72" y="12"/>
                    <a:pt x="74" y="10"/>
                  </a:cubicBezTo>
                  <a:cubicBezTo>
                    <a:pt x="74" y="9"/>
                    <a:pt x="73" y="9"/>
                    <a:pt x="72" y="8"/>
                  </a:cubicBezTo>
                  <a:cubicBezTo>
                    <a:pt x="72" y="8"/>
                    <a:pt x="72" y="7"/>
                    <a:pt x="72" y="7"/>
                  </a:cubicBezTo>
                  <a:cubicBezTo>
                    <a:pt x="73" y="7"/>
                    <a:pt x="73" y="6"/>
                    <a:pt x="73" y="6"/>
                  </a:cubicBezTo>
                  <a:cubicBezTo>
                    <a:pt x="72" y="5"/>
                    <a:pt x="71" y="5"/>
                    <a:pt x="71" y="5"/>
                  </a:cubicBezTo>
                  <a:cubicBezTo>
                    <a:pt x="69" y="6"/>
                    <a:pt x="69" y="8"/>
                    <a:pt x="68" y="8"/>
                  </a:cubicBezTo>
                  <a:cubicBezTo>
                    <a:pt x="68" y="9"/>
                    <a:pt x="67" y="9"/>
                    <a:pt x="66" y="9"/>
                  </a:cubicBezTo>
                  <a:cubicBezTo>
                    <a:pt x="65" y="8"/>
                    <a:pt x="65" y="6"/>
                    <a:pt x="66" y="6"/>
                  </a:cubicBezTo>
                  <a:cubicBezTo>
                    <a:pt x="66" y="5"/>
                    <a:pt x="67" y="4"/>
                    <a:pt x="66" y="3"/>
                  </a:cubicBezTo>
                  <a:cubicBezTo>
                    <a:pt x="65" y="2"/>
                    <a:pt x="65" y="1"/>
                    <a:pt x="65" y="1"/>
                  </a:cubicBezTo>
                  <a:cubicBezTo>
                    <a:pt x="62" y="0"/>
                    <a:pt x="59" y="3"/>
                    <a:pt x="57" y="6"/>
                  </a:cubicBezTo>
                  <a:cubicBezTo>
                    <a:pt x="57" y="6"/>
                    <a:pt x="57" y="7"/>
                    <a:pt x="57" y="8"/>
                  </a:cubicBezTo>
                  <a:cubicBezTo>
                    <a:pt x="57" y="9"/>
                    <a:pt x="57" y="9"/>
                    <a:pt x="56" y="9"/>
                  </a:cubicBezTo>
                  <a:cubicBezTo>
                    <a:pt x="54" y="11"/>
                    <a:pt x="51" y="13"/>
                    <a:pt x="50" y="15"/>
                  </a:cubicBezTo>
                  <a:cubicBezTo>
                    <a:pt x="50" y="16"/>
                    <a:pt x="49" y="16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8" y="19"/>
                    <a:pt x="48" y="22"/>
                    <a:pt x="45" y="23"/>
                  </a:cubicBezTo>
                  <a:cubicBezTo>
                    <a:pt x="44" y="23"/>
                    <a:pt x="43" y="24"/>
                    <a:pt x="42" y="25"/>
                  </a:cubicBezTo>
                  <a:cubicBezTo>
                    <a:pt x="40" y="26"/>
                    <a:pt x="38" y="28"/>
                    <a:pt x="35" y="30"/>
                  </a:cubicBezTo>
                  <a:lnTo>
                    <a:pt x="34" y="31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1" name="Freeform 199"/>
            <p:cNvSpPr>
              <a:spLocks/>
            </p:cNvSpPr>
            <p:nvPr/>
          </p:nvSpPr>
          <p:spPr bwMode="auto">
            <a:xfrm>
              <a:off x="8654889" y="5670206"/>
              <a:ext cx="46397" cy="80376"/>
            </a:xfrm>
            <a:custGeom>
              <a:avLst/>
              <a:gdLst>
                <a:gd name="T0" fmla="*/ 17230952 w 35"/>
                <a:gd name="T1" fmla="*/ 56667379 h 74"/>
                <a:gd name="T2" fmla="*/ 13075344 w 35"/>
                <a:gd name="T3" fmla="*/ 61067426 h 74"/>
                <a:gd name="T4" fmla="*/ 7354678 w 35"/>
                <a:gd name="T5" fmla="*/ 68819866 h 74"/>
                <a:gd name="T6" fmla="*/ 5580943 w 35"/>
                <a:gd name="T7" fmla="*/ 70837190 h 74"/>
                <a:gd name="T8" fmla="*/ 4234493 w 35"/>
                <a:gd name="T9" fmla="*/ 70837190 h 74"/>
                <a:gd name="T10" fmla="*/ 4234493 w 35"/>
                <a:gd name="T11" fmla="*/ 68819866 h 74"/>
                <a:gd name="T12" fmla="*/ 3139192 w 35"/>
                <a:gd name="T13" fmla="*/ 67950277 h 74"/>
                <a:gd name="T14" fmla="*/ 771454 w 35"/>
                <a:gd name="T15" fmla="*/ 67226402 h 74"/>
                <a:gd name="T16" fmla="*/ 771454 w 35"/>
                <a:gd name="T17" fmla="*/ 65842332 h 74"/>
                <a:gd name="T18" fmla="*/ 4234493 w 35"/>
                <a:gd name="T19" fmla="*/ 63177490 h 74"/>
                <a:gd name="T20" fmla="*/ 4234493 w 35"/>
                <a:gd name="T21" fmla="*/ 60214524 h 74"/>
                <a:gd name="T22" fmla="*/ 6722687 w 35"/>
                <a:gd name="T23" fmla="*/ 58309465 h 74"/>
                <a:gd name="T24" fmla="*/ 5580943 w 35"/>
                <a:gd name="T25" fmla="*/ 53395619 h 74"/>
                <a:gd name="T26" fmla="*/ 0 w 35"/>
                <a:gd name="T27" fmla="*/ 48922280 h 74"/>
                <a:gd name="T28" fmla="*/ 771454 w 35"/>
                <a:gd name="T29" fmla="*/ 46874648 h 74"/>
                <a:gd name="T30" fmla="*/ 3139192 w 35"/>
                <a:gd name="T31" fmla="*/ 44857703 h 74"/>
                <a:gd name="T32" fmla="*/ 6722687 w 35"/>
                <a:gd name="T33" fmla="*/ 41246083 h 74"/>
                <a:gd name="T34" fmla="*/ 6722687 w 35"/>
                <a:gd name="T35" fmla="*/ 39227047 h 74"/>
                <a:gd name="T36" fmla="*/ 7354678 w 35"/>
                <a:gd name="T37" fmla="*/ 38488226 h 74"/>
                <a:gd name="T38" fmla="*/ 9163700 w 35"/>
                <a:gd name="T39" fmla="*/ 35615295 h 74"/>
                <a:gd name="T40" fmla="*/ 9920810 w 35"/>
                <a:gd name="T41" fmla="*/ 26715063 h 74"/>
                <a:gd name="T42" fmla="*/ 10508174 w 35"/>
                <a:gd name="T43" fmla="*/ 23071868 h 74"/>
                <a:gd name="T44" fmla="*/ 9920810 w 35"/>
                <a:gd name="T45" fmla="*/ 21943090 h 74"/>
                <a:gd name="T46" fmla="*/ 9163700 w 35"/>
                <a:gd name="T47" fmla="*/ 18178657 h 74"/>
                <a:gd name="T48" fmla="*/ 5580943 w 35"/>
                <a:gd name="T49" fmla="*/ 13311199 h 74"/>
                <a:gd name="T50" fmla="*/ 4234493 w 35"/>
                <a:gd name="T51" fmla="*/ 10426217 h 74"/>
                <a:gd name="T52" fmla="*/ 4234493 w 35"/>
                <a:gd name="T53" fmla="*/ 5628738 h 74"/>
                <a:gd name="T54" fmla="*/ 2382111 w 35"/>
                <a:gd name="T55" fmla="*/ 2910108 h 74"/>
                <a:gd name="T56" fmla="*/ 2382111 w 35"/>
                <a:gd name="T57" fmla="*/ 854144 h 74"/>
                <a:gd name="T58" fmla="*/ 4234493 w 35"/>
                <a:gd name="T59" fmla="*/ 854144 h 74"/>
                <a:gd name="T60" fmla="*/ 4927212 w 35"/>
                <a:gd name="T61" fmla="*/ 5628738 h 74"/>
                <a:gd name="T62" fmla="*/ 6722687 w 35"/>
                <a:gd name="T63" fmla="*/ 5628738 h 74"/>
                <a:gd name="T64" fmla="*/ 8146942 w 35"/>
                <a:gd name="T65" fmla="*/ 5628738 h 74"/>
                <a:gd name="T66" fmla="*/ 10508174 w 35"/>
                <a:gd name="T67" fmla="*/ 7686978 h 74"/>
                <a:gd name="T68" fmla="*/ 12302867 w 35"/>
                <a:gd name="T69" fmla="*/ 9756111 h 74"/>
                <a:gd name="T70" fmla="*/ 12302867 w 35"/>
                <a:gd name="T71" fmla="*/ 10426217 h 74"/>
                <a:gd name="T72" fmla="*/ 12302867 w 35"/>
                <a:gd name="T73" fmla="*/ 14190654 h 74"/>
                <a:gd name="T74" fmla="*/ 13075344 w 35"/>
                <a:gd name="T75" fmla="*/ 16275026 h 74"/>
                <a:gd name="T76" fmla="*/ 13075344 w 35"/>
                <a:gd name="T77" fmla="*/ 18968408 h 74"/>
                <a:gd name="T78" fmla="*/ 12302867 w 35"/>
                <a:gd name="T79" fmla="*/ 20198974 h 74"/>
                <a:gd name="T80" fmla="*/ 12302867 w 35"/>
                <a:gd name="T81" fmla="*/ 21943090 h 74"/>
                <a:gd name="T82" fmla="*/ 14092125 w 35"/>
                <a:gd name="T83" fmla="*/ 23962210 h 74"/>
                <a:gd name="T84" fmla="*/ 14092125 w 35"/>
                <a:gd name="T85" fmla="*/ 28733276 h 74"/>
                <a:gd name="T86" fmla="*/ 14744498 w 35"/>
                <a:gd name="T87" fmla="*/ 28733276 h 74"/>
                <a:gd name="T88" fmla="*/ 15750286 w 35"/>
                <a:gd name="T89" fmla="*/ 24656591 h 74"/>
                <a:gd name="T90" fmla="*/ 16518377 w 35"/>
                <a:gd name="T91" fmla="*/ 21052066 h 74"/>
                <a:gd name="T92" fmla="*/ 17230952 w 35"/>
                <a:gd name="T93" fmla="*/ 21052066 h 74"/>
                <a:gd name="T94" fmla="*/ 18325741 w 35"/>
                <a:gd name="T95" fmla="*/ 24656591 h 74"/>
                <a:gd name="T96" fmla="*/ 21469231 w 35"/>
                <a:gd name="T97" fmla="*/ 39227047 h 74"/>
                <a:gd name="T98" fmla="*/ 27045359 w 35"/>
                <a:gd name="T99" fmla="*/ 41246083 h 74"/>
                <a:gd name="T100" fmla="*/ 25680074 w 35"/>
                <a:gd name="T101" fmla="*/ 46874648 h 74"/>
                <a:gd name="T102" fmla="*/ 21469231 w 35"/>
                <a:gd name="T103" fmla="*/ 49785285 h 74"/>
                <a:gd name="T104" fmla="*/ 18325741 w 35"/>
                <a:gd name="T105" fmla="*/ 54561818 h 74"/>
                <a:gd name="T106" fmla="*/ 17230952 w 35"/>
                <a:gd name="T107" fmla="*/ 56667379 h 7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5"/>
                <a:gd name="T163" fmla="*/ 0 h 74"/>
                <a:gd name="T164" fmla="*/ 35 w 35"/>
                <a:gd name="T165" fmla="*/ 74 h 7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5" h="74">
                  <a:moveTo>
                    <a:pt x="21" y="59"/>
                  </a:moveTo>
                  <a:cubicBezTo>
                    <a:pt x="20" y="61"/>
                    <a:pt x="18" y="62"/>
                    <a:pt x="16" y="64"/>
                  </a:cubicBezTo>
                  <a:cubicBezTo>
                    <a:pt x="14" y="67"/>
                    <a:pt x="11" y="69"/>
                    <a:pt x="9" y="72"/>
                  </a:cubicBezTo>
                  <a:cubicBezTo>
                    <a:pt x="9" y="73"/>
                    <a:pt x="8" y="73"/>
                    <a:pt x="7" y="74"/>
                  </a:cubicBezTo>
                  <a:cubicBezTo>
                    <a:pt x="7" y="74"/>
                    <a:pt x="6" y="74"/>
                    <a:pt x="5" y="74"/>
                  </a:cubicBezTo>
                  <a:cubicBezTo>
                    <a:pt x="4" y="73"/>
                    <a:pt x="5" y="72"/>
                    <a:pt x="5" y="72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3" y="71"/>
                    <a:pt x="2" y="71"/>
                    <a:pt x="1" y="70"/>
                  </a:cubicBezTo>
                  <a:cubicBezTo>
                    <a:pt x="1" y="70"/>
                    <a:pt x="1" y="69"/>
                    <a:pt x="1" y="69"/>
                  </a:cubicBezTo>
                  <a:cubicBezTo>
                    <a:pt x="3" y="68"/>
                    <a:pt x="4" y="67"/>
                    <a:pt x="5" y="66"/>
                  </a:cubicBezTo>
                  <a:cubicBezTo>
                    <a:pt x="5" y="65"/>
                    <a:pt x="5" y="64"/>
                    <a:pt x="5" y="63"/>
                  </a:cubicBezTo>
                  <a:cubicBezTo>
                    <a:pt x="6" y="63"/>
                    <a:pt x="8" y="62"/>
                    <a:pt x="8" y="61"/>
                  </a:cubicBezTo>
                  <a:cubicBezTo>
                    <a:pt x="8" y="60"/>
                    <a:pt x="9" y="57"/>
                    <a:pt x="7" y="56"/>
                  </a:cubicBezTo>
                  <a:cubicBezTo>
                    <a:pt x="4" y="55"/>
                    <a:pt x="2" y="53"/>
                    <a:pt x="0" y="51"/>
                  </a:cubicBezTo>
                  <a:cubicBezTo>
                    <a:pt x="0" y="50"/>
                    <a:pt x="0" y="49"/>
                    <a:pt x="1" y="49"/>
                  </a:cubicBezTo>
                  <a:cubicBezTo>
                    <a:pt x="2" y="48"/>
                    <a:pt x="4" y="48"/>
                    <a:pt x="4" y="47"/>
                  </a:cubicBezTo>
                  <a:cubicBezTo>
                    <a:pt x="6" y="46"/>
                    <a:pt x="7" y="45"/>
                    <a:pt x="8" y="43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9" y="41"/>
                    <a:pt x="9" y="40"/>
                    <a:pt x="9" y="40"/>
                  </a:cubicBezTo>
                  <a:cubicBezTo>
                    <a:pt x="10" y="39"/>
                    <a:pt x="10" y="38"/>
                    <a:pt x="11" y="37"/>
                  </a:cubicBezTo>
                  <a:cubicBezTo>
                    <a:pt x="13" y="34"/>
                    <a:pt x="11" y="31"/>
                    <a:pt x="12" y="28"/>
                  </a:cubicBezTo>
                  <a:cubicBezTo>
                    <a:pt x="13" y="27"/>
                    <a:pt x="13" y="26"/>
                    <a:pt x="13" y="24"/>
                  </a:cubicBezTo>
                  <a:cubicBezTo>
                    <a:pt x="13" y="24"/>
                    <a:pt x="12" y="24"/>
                    <a:pt x="12" y="23"/>
                  </a:cubicBezTo>
                  <a:cubicBezTo>
                    <a:pt x="12" y="22"/>
                    <a:pt x="12" y="20"/>
                    <a:pt x="11" y="19"/>
                  </a:cubicBezTo>
                  <a:cubicBezTo>
                    <a:pt x="10" y="17"/>
                    <a:pt x="8" y="16"/>
                    <a:pt x="7" y="14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5" y="9"/>
                    <a:pt x="5" y="8"/>
                    <a:pt x="5" y="6"/>
                  </a:cubicBezTo>
                  <a:cubicBezTo>
                    <a:pt x="4" y="5"/>
                    <a:pt x="4" y="4"/>
                    <a:pt x="3" y="3"/>
                  </a:cubicBezTo>
                  <a:cubicBezTo>
                    <a:pt x="3" y="3"/>
                    <a:pt x="3" y="1"/>
                    <a:pt x="3" y="1"/>
                  </a:cubicBezTo>
                  <a:cubicBezTo>
                    <a:pt x="4" y="0"/>
                    <a:pt x="4" y="1"/>
                    <a:pt x="5" y="1"/>
                  </a:cubicBezTo>
                  <a:cubicBezTo>
                    <a:pt x="5" y="3"/>
                    <a:pt x="5" y="5"/>
                    <a:pt x="6" y="6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9" y="5"/>
                    <a:pt x="10" y="5"/>
                    <a:pt x="10" y="6"/>
                  </a:cubicBezTo>
                  <a:cubicBezTo>
                    <a:pt x="11" y="7"/>
                    <a:pt x="12" y="7"/>
                    <a:pt x="13" y="8"/>
                  </a:cubicBezTo>
                  <a:cubicBezTo>
                    <a:pt x="13" y="9"/>
                    <a:pt x="14" y="9"/>
                    <a:pt x="15" y="10"/>
                  </a:cubicBezTo>
                  <a:cubicBezTo>
                    <a:pt x="15" y="10"/>
                    <a:pt x="15" y="10"/>
                    <a:pt x="15" y="11"/>
                  </a:cubicBezTo>
                  <a:cubicBezTo>
                    <a:pt x="15" y="12"/>
                    <a:pt x="14" y="13"/>
                    <a:pt x="15" y="15"/>
                  </a:cubicBezTo>
                  <a:cubicBezTo>
                    <a:pt x="15" y="16"/>
                    <a:pt x="16" y="16"/>
                    <a:pt x="16" y="17"/>
                  </a:cubicBezTo>
                  <a:cubicBezTo>
                    <a:pt x="17" y="18"/>
                    <a:pt x="16" y="19"/>
                    <a:pt x="16" y="20"/>
                  </a:cubicBezTo>
                  <a:cubicBezTo>
                    <a:pt x="16" y="21"/>
                    <a:pt x="15" y="21"/>
                    <a:pt x="15" y="21"/>
                  </a:cubicBezTo>
                  <a:cubicBezTo>
                    <a:pt x="14" y="22"/>
                    <a:pt x="14" y="23"/>
                    <a:pt x="15" y="23"/>
                  </a:cubicBezTo>
                  <a:cubicBezTo>
                    <a:pt x="15" y="24"/>
                    <a:pt x="17" y="24"/>
                    <a:pt x="17" y="25"/>
                  </a:cubicBezTo>
                  <a:cubicBezTo>
                    <a:pt x="18" y="27"/>
                    <a:pt x="17" y="28"/>
                    <a:pt x="17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9" y="28"/>
                    <a:pt x="19" y="26"/>
                  </a:cubicBezTo>
                  <a:cubicBezTo>
                    <a:pt x="19" y="25"/>
                    <a:pt x="18" y="23"/>
                    <a:pt x="20" y="22"/>
                  </a:cubicBezTo>
                  <a:cubicBezTo>
                    <a:pt x="20" y="21"/>
                    <a:pt x="21" y="22"/>
                    <a:pt x="21" y="22"/>
                  </a:cubicBezTo>
                  <a:cubicBezTo>
                    <a:pt x="22" y="23"/>
                    <a:pt x="22" y="24"/>
                    <a:pt x="22" y="26"/>
                  </a:cubicBezTo>
                  <a:cubicBezTo>
                    <a:pt x="22" y="31"/>
                    <a:pt x="22" y="37"/>
                    <a:pt x="26" y="41"/>
                  </a:cubicBezTo>
                  <a:cubicBezTo>
                    <a:pt x="27" y="43"/>
                    <a:pt x="31" y="41"/>
                    <a:pt x="33" y="43"/>
                  </a:cubicBezTo>
                  <a:cubicBezTo>
                    <a:pt x="35" y="44"/>
                    <a:pt x="33" y="47"/>
                    <a:pt x="31" y="49"/>
                  </a:cubicBezTo>
                  <a:cubicBezTo>
                    <a:pt x="30" y="50"/>
                    <a:pt x="27" y="50"/>
                    <a:pt x="26" y="52"/>
                  </a:cubicBezTo>
                  <a:cubicBezTo>
                    <a:pt x="25" y="54"/>
                    <a:pt x="25" y="57"/>
                    <a:pt x="22" y="57"/>
                  </a:cubicBezTo>
                  <a:lnTo>
                    <a:pt x="21" y="59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2" name="Freeform 200"/>
            <p:cNvSpPr>
              <a:spLocks/>
            </p:cNvSpPr>
            <p:nvPr/>
          </p:nvSpPr>
          <p:spPr bwMode="auto">
            <a:xfrm>
              <a:off x="7309359" y="4900884"/>
              <a:ext cx="34074" cy="27195"/>
            </a:xfrm>
            <a:custGeom>
              <a:avLst/>
              <a:gdLst>
                <a:gd name="T0" fmla="*/ 23108688 w 25"/>
                <a:gd name="T1" fmla="*/ 21138070 h 25"/>
                <a:gd name="T2" fmla="*/ 22477568 w 25"/>
                <a:gd name="T3" fmla="*/ 21138070 h 25"/>
                <a:gd name="T4" fmla="*/ 21138070 w 25"/>
                <a:gd name="T5" fmla="*/ 14926566 h 25"/>
                <a:gd name="T6" fmla="*/ 21138070 w 25"/>
                <a:gd name="T7" fmla="*/ 14926566 h 25"/>
                <a:gd name="T8" fmla="*/ 18442993 w 25"/>
                <a:gd name="T9" fmla="*/ 13821180 h 25"/>
                <a:gd name="T10" fmla="*/ 16480852 w 25"/>
                <a:gd name="T11" fmla="*/ 9524393 h 25"/>
                <a:gd name="T12" fmla="*/ 13821180 w 25"/>
                <a:gd name="T13" fmla="*/ 6629066 h 25"/>
                <a:gd name="T14" fmla="*/ 12953021 w 25"/>
                <a:gd name="T15" fmla="*/ 2808927 h 25"/>
                <a:gd name="T16" fmla="*/ 12117629 w 25"/>
                <a:gd name="T17" fmla="*/ 1970602 h 25"/>
                <a:gd name="T18" fmla="*/ 10975465 w 25"/>
                <a:gd name="T19" fmla="*/ 835001 h 25"/>
                <a:gd name="T20" fmla="*/ 9524393 w 25"/>
                <a:gd name="T21" fmla="*/ 835001 h 25"/>
                <a:gd name="T22" fmla="*/ 6629066 w 25"/>
                <a:gd name="T23" fmla="*/ 835001 h 25"/>
                <a:gd name="T24" fmla="*/ 2808927 w 25"/>
                <a:gd name="T25" fmla="*/ 835001 h 25"/>
                <a:gd name="T26" fmla="*/ 835001 w 25"/>
                <a:gd name="T27" fmla="*/ 1970602 h 25"/>
                <a:gd name="T28" fmla="*/ 835001 w 25"/>
                <a:gd name="T29" fmla="*/ 2808927 h 25"/>
                <a:gd name="T30" fmla="*/ 835001 w 25"/>
                <a:gd name="T31" fmla="*/ 10144084 h 25"/>
                <a:gd name="T32" fmla="*/ 1970602 w 25"/>
                <a:gd name="T33" fmla="*/ 10975465 h 25"/>
                <a:gd name="T34" fmla="*/ 5488568 w 25"/>
                <a:gd name="T35" fmla="*/ 12117629 h 25"/>
                <a:gd name="T36" fmla="*/ 6629066 w 25"/>
                <a:gd name="T37" fmla="*/ 12953021 h 25"/>
                <a:gd name="T38" fmla="*/ 12953021 w 25"/>
                <a:gd name="T39" fmla="*/ 13821180 h 25"/>
                <a:gd name="T40" fmla="*/ 14926566 w 25"/>
                <a:gd name="T41" fmla="*/ 15644591 h 25"/>
                <a:gd name="T42" fmla="*/ 17606647 w 25"/>
                <a:gd name="T43" fmla="*/ 19578455 h 25"/>
                <a:gd name="T44" fmla="*/ 17606647 w 25"/>
                <a:gd name="T45" fmla="*/ 22477568 h 25"/>
                <a:gd name="T46" fmla="*/ 17606647 w 25"/>
                <a:gd name="T47" fmla="*/ 22477568 h 25"/>
                <a:gd name="T48" fmla="*/ 21138070 w 25"/>
                <a:gd name="T49" fmla="*/ 23108688 h 25"/>
                <a:gd name="T50" fmla="*/ 23108688 w 25"/>
                <a:gd name="T51" fmla="*/ 21138070 h 2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5"/>
                <a:gd name="T79" fmla="*/ 0 h 25"/>
                <a:gd name="T80" fmla="*/ 25 w 25"/>
                <a:gd name="T81" fmla="*/ 25 h 2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5" h="25">
                  <a:moveTo>
                    <a:pt x="25" y="23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3" y="21"/>
                    <a:pt x="24" y="18"/>
                    <a:pt x="23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19" y="14"/>
                    <a:pt x="19" y="11"/>
                    <a:pt x="18" y="10"/>
                  </a:cubicBezTo>
                  <a:cubicBezTo>
                    <a:pt x="17" y="9"/>
                    <a:pt x="15" y="9"/>
                    <a:pt x="15" y="7"/>
                  </a:cubicBezTo>
                  <a:cubicBezTo>
                    <a:pt x="14" y="5"/>
                    <a:pt x="15" y="4"/>
                    <a:pt x="14" y="3"/>
                  </a:cubicBezTo>
                  <a:cubicBezTo>
                    <a:pt x="14" y="2"/>
                    <a:pt x="14" y="2"/>
                    <a:pt x="13" y="2"/>
                  </a:cubicBezTo>
                  <a:cubicBezTo>
                    <a:pt x="13" y="2"/>
                    <a:pt x="13" y="1"/>
                    <a:pt x="12" y="1"/>
                  </a:cubicBezTo>
                  <a:cubicBezTo>
                    <a:pt x="11" y="0"/>
                    <a:pt x="11" y="0"/>
                    <a:pt x="10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5" y="1"/>
                    <a:pt x="4" y="1"/>
                    <a:pt x="3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3"/>
                    <a:pt x="1" y="2"/>
                    <a:pt x="1" y="3"/>
                  </a:cubicBezTo>
                  <a:cubicBezTo>
                    <a:pt x="0" y="5"/>
                    <a:pt x="0" y="9"/>
                    <a:pt x="1" y="11"/>
                  </a:cubicBezTo>
                  <a:cubicBezTo>
                    <a:pt x="1" y="11"/>
                    <a:pt x="2" y="12"/>
                    <a:pt x="2" y="12"/>
                  </a:cubicBezTo>
                  <a:cubicBezTo>
                    <a:pt x="3" y="12"/>
                    <a:pt x="5" y="12"/>
                    <a:pt x="6" y="13"/>
                  </a:cubicBezTo>
                  <a:cubicBezTo>
                    <a:pt x="7" y="13"/>
                    <a:pt x="7" y="14"/>
                    <a:pt x="7" y="14"/>
                  </a:cubicBezTo>
                  <a:cubicBezTo>
                    <a:pt x="10" y="14"/>
                    <a:pt x="12" y="13"/>
                    <a:pt x="14" y="15"/>
                  </a:cubicBezTo>
                  <a:cubicBezTo>
                    <a:pt x="15" y="15"/>
                    <a:pt x="15" y="16"/>
                    <a:pt x="16" y="17"/>
                  </a:cubicBezTo>
                  <a:cubicBezTo>
                    <a:pt x="17" y="19"/>
                    <a:pt x="19" y="19"/>
                    <a:pt x="19" y="21"/>
                  </a:cubicBezTo>
                  <a:cubicBezTo>
                    <a:pt x="19" y="22"/>
                    <a:pt x="19" y="23"/>
                    <a:pt x="19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0" y="25"/>
                    <a:pt x="21" y="25"/>
                    <a:pt x="23" y="25"/>
                  </a:cubicBezTo>
                  <a:cubicBezTo>
                    <a:pt x="23" y="24"/>
                    <a:pt x="24" y="24"/>
                    <a:pt x="25" y="2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3" name="Freeform 201"/>
            <p:cNvSpPr>
              <a:spLocks/>
            </p:cNvSpPr>
            <p:nvPr/>
          </p:nvSpPr>
          <p:spPr bwMode="auto">
            <a:xfrm>
              <a:off x="7323134" y="4892424"/>
              <a:ext cx="65973" cy="39886"/>
            </a:xfrm>
            <a:custGeom>
              <a:avLst/>
              <a:gdLst>
                <a:gd name="T0" fmla="*/ 27844495 w 49"/>
                <a:gd name="T1" fmla="*/ 31081326 h 38"/>
                <a:gd name="T2" fmla="*/ 22728546 w 49"/>
                <a:gd name="T3" fmla="*/ 28720860 h 38"/>
                <a:gd name="T4" fmla="*/ 23846045 w 49"/>
                <a:gd name="T5" fmla="*/ 26288838 h 38"/>
                <a:gd name="T6" fmla="*/ 23846045 w 49"/>
                <a:gd name="T7" fmla="*/ 23731260 h 38"/>
                <a:gd name="T8" fmla="*/ 22728546 w 49"/>
                <a:gd name="T9" fmla="*/ 20601796 h 38"/>
                <a:gd name="T10" fmla="*/ 22039203 w 49"/>
                <a:gd name="T11" fmla="*/ 20601796 h 38"/>
                <a:gd name="T12" fmla="*/ 21228909 w 49"/>
                <a:gd name="T13" fmla="*/ 20601796 h 38"/>
                <a:gd name="T14" fmla="*/ 15195095 w 49"/>
                <a:gd name="T15" fmla="*/ 25533856 h 38"/>
                <a:gd name="T16" fmla="*/ 12588633 w 49"/>
                <a:gd name="T17" fmla="*/ 25533856 h 38"/>
                <a:gd name="T18" fmla="*/ 12588633 w 49"/>
                <a:gd name="T19" fmla="*/ 25533856 h 38"/>
                <a:gd name="T20" fmla="*/ 11864180 w 49"/>
                <a:gd name="T21" fmla="*/ 25533856 h 38"/>
                <a:gd name="T22" fmla="*/ 11194721 w 49"/>
                <a:gd name="T23" fmla="*/ 19587801 h 38"/>
                <a:gd name="T24" fmla="*/ 11194721 w 49"/>
                <a:gd name="T25" fmla="*/ 19587801 h 38"/>
                <a:gd name="T26" fmla="*/ 8319433 w 49"/>
                <a:gd name="T27" fmla="*/ 18824771 h 38"/>
                <a:gd name="T28" fmla="*/ 6951422 w 49"/>
                <a:gd name="T29" fmla="*/ 14680483 h 38"/>
                <a:gd name="T30" fmla="*/ 4329252 w 49"/>
                <a:gd name="T31" fmla="*/ 12262841 h 38"/>
                <a:gd name="T32" fmla="*/ 3214612 w 49"/>
                <a:gd name="T33" fmla="*/ 9132987 h 38"/>
                <a:gd name="T34" fmla="*/ 2488955 w 49"/>
                <a:gd name="T35" fmla="*/ 8037547 h 38"/>
                <a:gd name="T36" fmla="*/ 1844638 w 49"/>
                <a:gd name="T37" fmla="*/ 7331239 h 38"/>
                <a:gd name="T38" fmla="*/ 0 w 49"/>
                <a:gd name="T39" fmla="*/ 7331239 h 38"/>
                <a:gd name="T40" fmla="*/ 0 w 49"/>
                <a:gd name="T41" fmla="*/ 6699081 h 38"/>
                <a:gd name="T42" fmla="*/ 2488955 w 49"/>
                <a:gd name="T43" fmla="*/ 5562116 h 38"/>
                <a:gd name="T44" fmla="*/ 4329252 w 49"/>
                <a:gd name="T45" fmla="*/ 5562116 h 38"/>
                <a:gd name="T46" fmla="*/ 8319433 w 49"/>
                <a:gd name="T47" fmla="*/ 9132987 h 38"/>
                <a:gd name="T48" fmla="*/ 11194721 w 49"/>
                <a:gd name="T49" fmla="*/ 9132987 h 38"/>
                <a:gd name="T50" fmla="*/ 11194721 w 49"/>
                <a:gd name="T51" fmla="*/ 6699081 h 38"/>
                <a:gd name="T52" fmla="*/ 11194721 w 49"/>
                <a:gd name="T53" fmla="*/ 2374836 h 38"/>
                <a:gd name="T54" fmla="*/ 11194721 w 49"/>
                <a:gd name="T55" fmla="*/ 2374836 h 38"/>
                <a:gd name="T56" fmla="*/ 12588633 w 49"/>
                <a:gd name="T57" fmla="*/ 2374836 h 38"/>
                <a:gd name="T58" fmla="*/ 14495933 w 49"/>
                <a:gd name="T59" fmla="*/ 4221836 h 38"/>
                <a:gd name="T60" fmla="*/ 15195095 w 49"/>
                <a:gd name="T61" fmla="*/ 4221836 h 38"/>
                <a:gd name="T62" fmla="*/ 18738371 w 49"/>
                <a:gd name="T63" fmla="*/ 7331239 h 38"/>
                <a:gd name="T64" fmla="*/ 18738371 w 49"/>
                <a:gd name="T65" fmla="*/ 7331239 h 38"/>
                <a:gd name="T66" fmla="*/ 19525196 w 49"/>
                <a:gd name="T67" fmla="*/ 4221836 h 38"/>
                <a:gd name="T68" fmla="*/ 22039203 w 49"/>
                <a:gd name="T69" fmla="*/ 0 h 38"/>
                <a:gd name="T70" fmla="*/ 41555993 w 49"/>
                <a:gd name="T71" fmla="*/ 12262841 h 38"/>
                <a:gd name="T72" fmla="*/ 27844495 w 49"/>
                <a:gd name="T73" fmla="*/ 31081326 h 3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9"/>
                <a:gd name="T112" fmla="*/ 0 h 38"/>
                <a:gd name="T113" fmla="*/ 49 w 49"/>
                <a:gd name="T114" fmla="*/ 38 h 3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9" h="38">
                  <a:moveTo>
                    <a:pt x="33" y="38"/>
                  </a:moveTo>
                  <a:cubicBezTo>
                    <a:pt x="31" y="38"/>
                    <a:pt x="28" y="38"/>
                    <a:pt x="27" y="35"/>
                  </a:cubicBezTo>
                  <a:cubicBezTo>
                    <a:pt x="26" y="34"/>
                    <a:pt x="28" y="33"/>
                    <a:pt x="28" y="32"/>
                  </a:cubicBezTo>
                  <a:cubicBezTo>
                    <a:pt x="28" y="31"/>
                    <a:pt x="28" y="30"/>
                    <a:pt x="28" y="29"/>
                  </a:cubicBezTo>
                  <a:cubicBezTo>
                    <a:pt x="27" y="28"/>
                    <a:pt x="27" y="27"/>
                    <a:pt x="27" y="25"/>
                  </a:cubicBezTo>
                  <a:cubicBezTo>
                    <a:pt x="27" y="25"/>
                    <a:pt x="27" y="25"/>
                    <a:pt x="26" y="25"/>
                  </a:cubicBezTo>
                  <a:cubicBezTo>
                    <a:pt x="26" y="25"/>
                    <a:pt x="25" y="25"/>
                    <a:pt x="25" y="25"/>
                  </a:cubicBezTo>
                  <a:cubicBezTo>
                    <a:pt x="23" y="27"/>
                    <a:pt x="21" y="30"/>
                    <a:pt x="18" y="31"/>
                  </a:cubicBezTo>
                  <a:cubicBezTo>
                    <a:pt x="17" y="31"/>
                    <a:pt x="16" y="31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29"/>
                    <a:pt x="14" y="26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3"/>
                    <a:pt x="11" y="23"/>
                    <a:pt x="10" y="23"/>
                  </a:cubicBezTo>
                  <a:cubicBezTo>
                    <a:pt x="9" y="22"/>
                    <a:pt x="9" y="19"/>
                    <a:pt x="8" y="18"/>
                  </a:cubicBezTo>
                  <a:cubicBezTo>
                    <a:pt x="7" y="17"/>
                    <a:pt x="5" y="17"/>
                    <a:pt x="5" y="15"/>
                  </a:cubicBezTo>
                  <a:cubicBezTo>
                    <a:pt x="4" y="13"/>
                    <a:pt x="5" y="12"/>
                    <a:pt x="4" y="11"/>
                  </a:cubicBezTo>
                  <a:cubicBezTo>
                    <a:pt x="4" y="10"/>
                    <a:pt x="4" y="10"/>
                    <a:pt x="3" y="10"/>
                  </a:cubicBezTo>
                  <a:cubicBezTo>
                    <a:pt x="3" y="10"/>
                    <a:pt x="3" y="9"/>
                    <a:pt x="2" y="9"/>
                  </a:cubicBezTo>
                  <a:cubicBezTo>
                    <a:pt x="1" y="8"/>
                    <a:pt x="1" y="8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2" y="8"/>
                    <a:pt x="3" y="7"/>
                  </a:cubicBezTo>
                  <a:cubicBezTo>
                    <a:pt x="4" y="6"/>
                    <a:pt x="4" y="6"/>
                    <a:pt x="5" y="7"/>
                  </a:cubicBezTo>
                  <a:cubicBezTo>
                    <a:pt x="7" y="8"/>
                    <a:pt x="8" y="9"/>
                    <a:pt x="10" y="11"/>
                  </a:cubicBezTo>
                  <a:cubicBezTo>
                    <a:pt x="11" y="11"/>
                    <a:pt x="12" y="11"/>
                    <a:pt x="13" y="11"/>
                  </a:cubicBezTo>
                  <a:cubicBezTo>
                    <a:pt x="13" y="10"/>
                    <a:pt x="14" y="9"/>
                    <a:pt x="13" y="8"/>
                  </a:cubicBezTo>
                  <a:cubicBezTo>
                    <a:pt x="12" y="6"/>
                    <a:pt x="12" y="5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4" y="3"/>
                    <a:pt x="15" y="3"/>
                  </a:cubicBezTo>
                  <a:cubicBezTo>
                    <a:pt x="15" y="4"/>
                    <a:pt x="16" y="4"/>
                    <a:pt x="17" y="5"/>
                  </a:cubicBezTo>
                  <a:cubicBezTo>
                    <a:pt x="17" y="5"/>
                    <a:pt x="17" y="5"/>
                    <a:pt x="18" y="5"/>
                  </a:cubicBezTo>
                  <a:cubicBezTo>
                    <a:pt x="19" y="6"/>
                    <a:pt x="20" y="8"/>
                    <a:pt x="22" y="9"/>
                  </a:cubicBezTo>
                  <a:cubicBezTo>
                    <a:pt x="22" y="9"/>
                    <a:pt x="22" y="10"/>
                    <a:pt x="22" y="9"/>
                  </a:cubicBezTo>
                  <a:cubicBezTo>
                    <a:pt x="23" y="8"/>
                    <a:pt x="23" y="6"/>
                    <a:pt x="23" y="5"/>
                  </a:cubicBezTo>
                  <a:cubicBezTo>
                    <a:pt x="24" y="3"/>
                    <a:pt x="25" y="2"/>
                    <a:pt x="26" y="0"/>
                  </a:cubicBezTo>
                  <a:cubicBezTo>
                    <a:pt x="49" y="15"/>
                    <a:pt x="49" y="15"/>
                    <a:pt x="49" y="15"/>
                  </a:cubicBezTo>
                  <a:lnTo>
                    <a:pt x="33" y="3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4" name="Freeform 202"/>
            <p:cNvSpPr>
              <a:spLocks/>
            </p:cNvSpPr>
            <p:nvPr/>
          </p:nvSpPr>
          <p:spPr bwMode="auto">
            <a:xfrm>
              <a:off x="7328931" y="4736504"/>
              <a:ext cx="411778" cy="167402"/>
            </a:xfrm>
            <a:custGeom>
              <a:avLst/>
              <a:gdLst>
                <a:gd name="T0" fmla="*/ 71138153 w 305"/>
                <a:gd name="T1" fmla="*/ 142743571 h 155"/>
                <a:gd name="T2" fmla="*/ 51552415 w 305"/>
                <a:gd name="T3" fmla="*/ 135361160 h 155"/>
                <a:gd name="T4" fmla="*/ 38308875 w 305"/>
                <a:gd name="T5" fmla="*/ 127843344 h 155"/>
                <a:gd name="T6" fmla="*/ 26549082 w 305"/>
                <a:gd name="T7" fmla="*/ 101680710 h 155"/>
                <a:gd name="T8" fmla="*/ 15339654 w 305"/>
                <a:gd name="T9" fmla="*/ 89809734 h 155"/>
                <a:gd name="T10" fmla="*/ 10360113 w 305"/>
                <a:gd name="T11" fmla="*/ 79591812 h 155"/>
                <a:gd name="T12" fmla="*/ 2009758 w 305"/>
                <a:gd name="T13" fmla="*/ 72706537 h 155"/>
                <a:gd name="T14" fmla="*/ 3596383 w 305"/>
                <a:gd name="T15" fmla="*/ 54981339 h 155"/>
                <a:gd name="T16" fmla="*/ 14107818 w 305"/>
                <a:gd name="T17" fmla="*/ 53418505 h 155"/>
                <a:gd name="T18" fmla="*/ 18843268 w 305"/>
                <a:gd name="T19" fmla="*/ 45911910 h 155"/>
                <a:gd name="T20" fmla="*/ 24490625 w 305"/>
                <a:gd name="T21" fmla="*/ 43924762 h 155"/>
                <a:gd name="T22" fmla="*/ 41016799 w 305"/>
                <a:gd name="T23" fmla="*/ 40389137 h 155"/>
                <a:gd name="T24" fmla="*/ 47508538 w 305"/>
                <a:gd name="T25" fmla="*/ 39241144 h 155"/>
                <a:gd name="T26" fmla="*/ 55148129 w 305"/>
                <a:gd name="T27" fmla="*/ 49458906 h 155"/>
                <a:gd name="T28" fmla="*/ 64860794 w 305"/>
                <a:gd name="T29" fmla="*/ 49458906 h 155"/>
                <a:gd name="T30" fmla="*/ 75218113 w 305"/>
                <a:gd name="T31" fmla="*/ 45911910 h 155"/>
                <a:gd name="T32" fmla="*/ 90559644 w 305"/>
                <a:gd name="T33" fmla="*/ 47383730 h 155"/>
                <a:gd name="T34" fmla="*/ 102590590 w 305"/>
                <a:gd name="T35" fmla="*/ 46747731 h 155"/>
                <a:gd name="T36" fmla="*/ 94957619 w 305"/>
                <a:gd name="T37" fmla="*/ 35690502 h 155"/>
                <a:gd name="T38" fmla="*/ 103816961 w 305"/>
                <a:gd name="T39" fmla="*/ 26107747 h 155"/>
                <a:gd name="T40" fmla="*/ 99708785 w 305"/>
                <a:gd name="T41" fmla="*/ 21425008 h 155"/>
                <a:gd name="T42" fmla="*/ 99708785 w 305"/>
                <a:gd name="T43" fmla="*/ 15114835 h 155"/>
                <a:gd name="T44" fmla="*/ 115898515 w 305"/>
                <a:gd name="T45" fmla="*/ 12200145 h 155"/>
                <a:gd name="T46" fmla="*/ 133114305 w 305"/>
                <a:gd name="T47" fmla="*/ 6665922 h 155"/>
                <a:gd name="T48" fmla="*/ 151314020 w 305"/>
                <a:gd name="T49" fmla="*/ 0 h 155"/>
                <a:gd name="T50" fmla="*/ 166579395 w 305"/>
                <a:gd name="T51" fmla="*/ 4682426 h 155"/>
                <a:gd name="T52" fmla="*/ 184638637 w 305"/>
                <a:gd name="T53" fmla="*/ 15740171 h 155"/>
                <a:gd name="T54" fmla="*/ 188262225 w 305"/>
                <a:gd name="T55" fmla="*/ 19797537 h 155"/>
                <a:gd name="T56" fmla="*/ 198758090 w 305"/>
                <a:gd name="T57" fmla="*/ 13907697 h 155"/>
                <a:gd name="T58" fmla="*/ 211216360 w 305"/>
                <a:gd name="T59" fmla="*/ 20573641 h 155"/>
                <a:gd name="T60" fmla="*/ 232959555 w 305"/>
                <a:gd name="T61" fmla="*/ 43061512 h 155"/>
                <a:gd name="T62" fmla="*/ 238565973 w 305"/>
                <a:gd name="T63" fmla="*/ 43924762 h 155"/>
                <a:gd name="T64" fmla="*/ 246267933 w 305"/>
                <a:gd name="T65" fmla="*/ 47383730 h 155"/>
                <a:gd name="T66" fmla="*/ 261519502 w 305"/>
                <a:gd name="T67" fmla="*/ 47383730 h 155"/>
                <a:gd name="T68" fmla="*/ 271116089 w 305"/>
                <a:gd name="T69" fmla="*/ 56964331 h 155"/>
                <a:gd name="T70" fmla="*/ 280472727 w 305"/>
                <a:gd name="T71" fmla="*/ 59814653 h 155"/>
                <a:gd name="T72" fmla="*/ 289965527 w 305"/>
                <a:gd name="T73" fmla="*/ 66497064 h 155"/>
                <a:gd name="T74" fmla="*/ 281627688 w 305"/>
                <a:gd name="T75" fmla="*/ 83079190 h 155"/>
                <a:gd name="T76" fmla="*/ 265486221 w 305"/>
                <a:gd name="T77" fmla="*/ 87762251 h 155"/>
                <a:gd name="T78" fmla="*/ 262254629 w 305"/>
                <a:gd name="T79" fmla="*/ 106364300 h 155"/>
                <a:gd name="T80" fmla="*/ 255133024 w 305"/>
                <a:gd name="T81" fmla="*/ 105588285 h 155"/>
                <a:gd name="T82" fmla="*/ 247427433 w 305"/>
                <a:gd name="T83" fmla="*/ 110384914 h 155"/>
                <a:gd name="T84" fmla="*/ 251874049 w 305"/>
                <a:gd name="T85" fmla="*/ 120602912 h 155"/>
                <a:gd name="T86" fmla="*/ 251874049 w 305"/>
                <a:gd name="T87" fmla="*/ 131038754 h 155"/>
                <a:gd name="T88" fmla="*/ 245416463 w 305"/>
                <a:gd name="T89" fmla="*/ 129826827 h 155"/>
                <a:gd name="T90" fmla="*/ 232087963 w 305"/>
                <a:gd name="T91" fmla="*/ 125020450 h 155"/>
                <a:gd name="T92" fmla="*/ 219715778 w 305"/>
                <a:gd name="T93" fmla="*/ 126136566 h 155"/>
                <a:gd name="T94" fmla="*/ 208474953 w 305"/>
                <a:gd name="T95" fmla="*/ 123469178 h 155"/>
                <a:gd name="T96" fmla="*/ 196746666 w 305"/>
                <a:gd name="T97" fmla="*/ 128986812 h 155"/>
                <a:gd name="T98" fmla="*/ 184638637 w 305"/>
                <a:gd name="T99" fmla="*/ 127003556 h 155"/>
                <a:gd name="T100" fmla="*/ 174284381 w 305"/>
                <a:gd name="T101" fmla="*/ 134509282 h 155"/>
                <a:gd name="T102" fmla="*/ 168165840 w 305"/>
                <a:gd name="T103" fmla="*/ 144108660 h 155"/>
                <a:gd name="T104" fmla="*/ 149211746 w 305"/>
                <a:gd name="T105" fmla="*/ 136497375 h 155"/>
                <a:gd name="T106" fmla="*/ 140726473 w 305"/>
                <a:gd name="T107" fmla="*/ 123469178 h 155"/>
                <a:gd name="T108" fmla="*/ 114161080 w 305"/>
                <a:gd name="T109" fmla="*/ 119459217 h 155"/>
                <a:gd name="T110" fmla="*/ 99066022 w 305"/>
                <a:gd name="T111" fmla="*/ 102877525 h 155"/>
                <a:gd name="T112" fmla="*/ 92057735 w 305"/>
                <a:gd name="T113" fmla="*/ 100026372 h 155"/>
                <a:gd name="T114" fmla="*/ 73991704 w 305"/>
                <a:gd name="T115" fmla="*/ 108411330 h 155"/>
                <a:gd name="T116" fmla="*/ 72472243 w 305"/>
                <a:gd name="T117" fmla="*/ 122321024 h 155"/>
                <a:gd name="T118" fmla="*/ 73143033 w 305"/>
                <a:gd name="T119" fmla="*/ 136497375 h 15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05"/>
                <a:gd name="T181" fmla="*/ 0 h 155"/>
                <a:gd name="T182" fmla="*/ 305 w 305"/>
                <a:gd name="T183" fmla="*/ 155 h 15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05" h="155">
                  <a:moveTo>
                    <a:pt x="79" y="152"/>
                  </a:moveTo>
                  <a:cubicBezTo>
                    <a:pt x="79" y="152"/>
                    <a:pt x="79" y="152"/>
                    <a:pt x="79" y="152"/>
                  </a:cubicBezTo>
                  <a:cubicBezTo>
                    <a:pt x="78" y="152"/>
                    <a:pt x="78" y="153"/>
                    <a:pt x="77" y="153"/>
                  </a:cubicBezTo>
                  <a:cubicBezTo>
                    <a:pt x="77" y="153"/>
                    <a:pt x="75" y="153"/>
                    <a:pt x="75" y="153"/>
                  </a:cubicBezTo>
                  <a:cubicBezTo>
                    <a:pt x="72" y="148"/>
                    <a:pt x="67" y="145"/>
                    <a:pt x="63" y="142"/>
                  </a:cubicBezTo>
                  <a:cubicBezTo>
                    <a:pt x="62" y="142"/>
                    <a:pt x="61" y="142"/>
                    <a:pt x="60" y="142"/>
                  </a:cubicBezTo>
                  <a:cubicBezTo>
                    <a:pt x="59" y="143"/>
                    <a:pt x="57" y="143"/>
                    <a:pt x="56" y="144"/>
                  </a:cubicBezTo>
                  <a:cubicBezTo>
                    <a:pt x="55" y="144"/>
                    <a:pt x="54" y="145"/>
                    <a:pt x="54" y="145"/>
                  </a:cubicBezTo>
                  <a:cubicBezTo>
                    <a:pt x="52" y="146"/>
                    <a:pt x="51" y="146"/>
                    <a:pt x="50" y="146"/>
                  </a:cubicBezTo>
                  <a:cubicBezTo>
                    <a:pt x="50" y="146"/>
                    <a:pt x="49" y="147"/>
                    <a:pt x="49" y="147"/>
                  </a:cubicBezTo>
                  <a:cubicBezTo>
                    <a:pt x="49" y="146"/>
                    <a:pt x="48" y="145"/>
                    <a:pt x="47" y="145"/>
                  </a:cubicBezTo>
                  <a:cubicBezTo>
                    <a:pt x="44" y="143"/>
                    <a:pt x="42" y="140"/>
                    <a:pt x="40" y="137"/>
                  </a:cubicBezTo>
                  <a:cubicBezTo>
                    <a:pt x="36" y="134"/>
                    <a:pt x="32" y="131"/>
                    <a:pt x="29" y="127"/>
                  </a:cubicBezTo>
                  <a:cubicBezTo>
                    <a:pt x="29" y="125"/>
                    <a:pt x="29" y="122"/>
                    <a:pt x="28" y="120"/>
                  </a:cubicBezTo>
                  <a:cubicBezTo>
                    <a:pt x="28" y="117"/>
                    <a:pt x="29" y="114"/>
                    <a:pt x="28" y="110"/>
                  </a:cubicBezTo>
                  <a:cubicBezTo>
                    <a:pt x="28" y="110"/>
                    <a:pt x="28" y="109"/>
                    <a:pt x="28" y="109"/>
                  </a:cubicBezTo>
                  <a:cubicBezTo>
                    <a:pt x="24" y="106"/>
                    <a:pt x="18" y="109"/>
                    <a:pt x="13" y="109"/>
                  </a:cubicBezTo>
                  <a:cubicBezTo>
                    <a:pt x="12" y="107"/>
                    <a:pt x="12" y="105"/>
                    <a:pt x="13" y="103"/>
                  </a:cubicBezTo>
                  <a:cubicBezTo>
                    <a:pt x="13" y="102"/>
                    <a:pt x="14" y="101"/>
                    <a:pt x="15" y="100"/>
                  </a:cubicBezTo>
                  <a:cubicBezTo>
                    <a:pt x="16" y="99"/>
                    <a:pt x="16" y="97"/>
                    <a:pt x="16" y="96"/>
                  </a:cubicBezTo>
                  <a:cubicBezTo>
                    <a:pt x="16" y="95"/>
                    <a:pt x="17" y="95"/>
                    <a:pt x="18" y="93"/>
                  </a:cubicBezTo>
                  <a:cubicBezTo>
                    <a:pt x="18" y="92"/>
                    <a:pt x="18" y="91"/>
                    <a:pt x="18" y="90"/>
                  </a:cubicBezTo>
                  <a:cubicBezTo>
                    <a:pt x="17" y="89"/>
                    <a:pt x="15" y="88"/>
                    <a:pt x="14" y="87"/>
                  </a:cubicBezTo>
                  <a:cubicBezTo>
                    <a:pt x="13" y="87"/>
                    <a:pt x="12" y="86"/>
                    <a:pt x="11" y="85"/>
                  </a:cubicBezTo>
                  <a:cubicBezTo>
                    <a:pt x="10" y="84"/>
                    <a:pt x="9" y="85"/>
                    <a:pt x="8" y="84"/>
                  </a:cubicBezTo>
                  <a:cubicBezTo>
                    <a:pt x="7" y="84"/>
                    <a:pt x="6" y="84"/>
                    <a:pt x="6" y="83"/>
                  </a:cubicBezTo>
                  <a:cubicBezTo>
                    <a:pt x="5" y="82"/>
                    <a:pt x="5" y="81"/>
                    <a:pt x="4" y="80"/>
                  </a:cubicBezTo>
                  <a:cubicBezTo>
                    <a:pt x="4" y="79"/>
                    <a:pt x="2" y="79"/>
                    <a:pt x="2" y="78"/>
                  </a:cubicBezTo>
                  <a:cubicBezTo>
                    <a:pt x="2" y="75"/>
                    <a:pt x="0" y="72"/>
                    <a:pt x="2" y="70"/>
                  </a:cubicBezTo>
                  <a:cubicBezTo>
                    <a:pt x="3" y="69"/>
                    <a:pt x="3" y="68"/>
                    <a:pt x="3" y="67"/>
                  </a:cubicBezTo>
                  <a:cubicBezTo>
                    <a:pt x="2" y="66"/>
                    <a:pt x="2" y="64"/>
                    <a:pt x="3" y="63"/>
                  </a:cubicBezTo>
                  <a:cubicBezTo>
                    <a:pt x="3" y="62"/>
                    <a:pt x="3" y="60"/>
                    <a:pt x="4" y="59"/>
                  </a:cubicBezTo>
                  <a:cubicBezTo>
                    <a:pt x="5" y="58"/>
                    <a:pt x="5" y="56"/>
                    <a:pt x="6" y="56"/>
                  </a:cubicBezTo>
                  <a:cubicBezTo>
                    <a:pt x="8" y="55"/>
                    <a:pt x="10" y="56"/>
                    <a:pt x="12" y="58"/>
                  </a:cubicBezTo>
                  <a:cubicBezTo>
                    <a:pt x="13" y="59"/>
                    <a:pt x="14" y="61"/>
                    <a:pt x="16" y="60"/>
                  </a:cubicBezTo>
                  <a:cubicBezTo>
                    <a:pt x="16" y="59"/>
                    <a:pt x="16" y="58"/>
                    <a:pt x="15" y="57"/>
                  </a:cubicBezTo>
                  <a:cubicBezTo>
                    <a:pt x="15" y="56"/>
                    <a:pt x="15" y="55"/>
                    <a:pt x="15" y="55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2"/>
                    <a:pt x="18" y="52"/>
                    <a:pt x="20" y="52"/>
                  </a:cubicBezTo>
                  <a:cubicBezTo>
                    <a:pt x="20" y="52"/>
                    <a:pt x="20" y="50"/>
                    <a:pt x="20" y="49"/>
                  </a:cubicBezTo>
                  <a:cubicBezTo>
                    <a:pt x="20" y="49"/>
                    <a:pt x="19" y="48"/>
                    <a:pt x="19" y="48"/>
                  </a:cubicBezTo>
                  <a:cubicBezTo>
                    <a:pt x="19" y="48"/>
                    <a:pt x="19" y="47"/>
                    <a:pt x="19" y="47"/>
                  </a:cubicBezTo>
                  <a:cubicBezTo>
                    <a:pt x="20" y="46"/>
                    <a:pt x="21" y="46"/>
                    <a:pt x="22" y="47"/>
                  </a:cubicBezTo>
                  <a:cubicBezTo>
                    <a:pt x="23" y="47"/>
                    <a:pt x="24" y="47"/>
                    <a:pt x="26" y="47"/>
                  </a:cubicBezTo>
                  <a:cubicBezTo>
                    <a:pt x="26" y="47"/>
                    <a:pt x="27" y="46"/>
                    <a:pt x="27" y="46"/>
                  </a:cubicBezTo>
                  <a:cubicBezTo>
                    <a:pt x="28" y="44"/>
                    <a:pt x="28" y="43"/>
                    <a:pt x="29" y="43"/>
                  </a:cubicBezTo>
                  <a:cubicBezTo>
                    <a:pt x="32" y="42"/>
                    <a:pt x="35" y="42"/>
                    <a:pt x="37" y="43"/>
                  </a:cubicBezTo>
                  <a:cubicBezTo>
                    <a:pt x="39" y="43"/>
                    <a:pt x="41" y="44"/>
                    <a:pt x="43" y="43"/>
                  </a:cubicBezTo>
                  <a:cubicBezTo>
                    <a:pt x="43" y="43"/>
                    <a:pt x="44" y="42"/>
                    <a:pt x="44" y="42"/>
                  </a:cubicBezTo>
                  <a:cubicBezTo>
                    <a:pt x="45" y="42"/>
                    <a:pt x="45" y="42"/>
                    <a:pt x="46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7" y="42"/>
                    <a:pt x="49" y="41"/>
                    <a:pt x="50" y="42"/>
                  </a:cubicBezTo>
                  <a:cubicBezTo>
                    <a:pt x="50" y="43"/>
                    <a:pt x="50" y="43"/>
                    <a:pt x="50" y="44"/>
                  </a:cubicBezTo>
                  <a:cubicBezTo>
                    <a:pt x="51" y="46"/>
                    <a:pt x="52" y="47"/>
                    <a:pt x="54" y="49"/>
                  </a:cubicBezTo>
                  <a:cubicBezTo>
                    <a:pt x="55" y="50"/>
                    <a:pt x="55" y="52"/>
                    <a:pt x="56" y="53"/>
                  </a:cubicBezTo>
                  <a:cubicBezTo>
                    <a:pt x="57" y="53"/>
                    <a:pt x="58" y="53"/>
                    <a:pt x="58" y="53"/>
                  </a:cubicBezTo>
                  <a:cubicBezTo>
                    <a:pt x="59" y="52"/>
                    <a:pt x="59" y="50"/>
                    <a:pt x="60" y="49"/>
                  </a:cubicBezTo>
                  <a:cubicBezTo>
                    <a:pt x="60" y="49"/>
                    <a:pt x="61" y="49"/>
                    <a:pt x="61" y="49"/>
                  </a:cubicBezTo>
                  <a:cubicBezTo>
                    <a:pt x="62" y="51"/>
                    <a:pt x="63" y="52"/>
                    <a:pt x="64" y="53"/>
                  </a:cubicBezTo>
                  <a:cubicBezTo>
                    <a:pt x="65" y="54"/>
                    <a:pt x="67" y="55"/>
                    <a:pt x="68" y="53"/>
                  </a:cubicBezTo>
                  <a:cubicBezTo>
                    <a:pt x="69" y="53"/>
                    <a:pt x="69" y="52"/>
                    <a:pt x="69" y="51"/>
                  </a:cubicBezTo>
                  <a:cubicBezTo>
                    <a:pt x="70" y="50"/>
                    <a:pt x="71" y="48"/>
                    <a:pt x="73" y="47"/>
                  </a:cubicBezTo>
                  <a:cubicBezTo>
                    <a:pt x="74" y="47"/>
                    <a:pt x="76" y="47"/>
                    <a:pt x="77" y="48"/>
                  </a:cubicBezTo>
                  <a:cubicBezTo>
                    <a:pt x="77" y="48"/>
                    <a:pt x="78" y="48"/>
                    <a:pt x="79" y="49"/>
                  </a:cubicBezTo>
                  <a:cubicBezTo>
                    <a:pt x="80" y="49"/>
                    <a:pt x="82" y="49"/>
                    <a:pt x="83" y="49"/>
                  </a:cubicBezTo>
                  <a:cubicBezTo>
                    <a:pt x="85" y="48"/>
                    <a:pt x="86" y="47"/>
                    <a:pt x="88" y="47"/>
                  </a:cubicBezTo>
                  <a:cubicBezTo>
                    <a:pt x="89" y="47"/>
                    <a:pt x="91" y="47"/>
                    <a:pt x="91" y="48"/>
                  </a:cubicBezTo>
                  <a:cubicBezTo>
                    <a:pt x="92" y="49"/>
                    <a:pt x="93" y="51"/>
                    <a:pt x="95" y="51"/>
                  </a:cubicBezTo>
                  <a:cubicBezTo>
                    <a:pt x="97" y="52"/>
                    <a:pt x="99" y="51"/>
                    <a:pt x="101" y="52"/>
                  </a:cubicBezTo>
                  <a:cubicBezTo>
                    <a:pt x="101" y="52"/>
                    <a:pt x="102" y="53"/>
                    <a:pt x="103" y="53"/>
                  </a:cubicBezTo>
                  <a:cubicBezTo>
                    <a:pt x="104" y="53"/>
                    <a:pt x="105" y="53"/>
                    <a:pt x="106" y="53"/>
                  </a:cubicBezTo>
                  <a:cubicBezTo>
                    <a:pt x="107" y="53"/>
                    <a:pt x="108" y="51"/>
                    <a:pt x="108" y="50"/>
                  </a:cubicBezTo>
                  <a:cubicBezTo>
                    <a:pt x="109" y="48"/>
                    <a:pt x="109" y="46"/>
                    <a:pt x="109" y="44"/>
                  </a:cubicBezTo>
                  <a:cubicBezTo>
                    <a:pt x="108" y="42"/>
                    <a:pt x="105" y="43"/>
                    <a:pt x="102" y="42"/>
                  </a:cubicBezTo>
                  <a:cubicBezTo>
                    <a:pt x="101" y="42"/>
                    <a:pt x="100" y="40"/>
                    <a:pt x="100" y="39"/>
                  </a:cubicBezTo>
                  <a:cubicBezTo>
                    <a:pt x="100" y="39"/>
                    <a:pt x="99" y="38"/>
                    <a:pt x="100" y="38"/>
                  </a:cubicBezTo>
                  <a:cubicBezTo>
                    <a:pt x="101" y="37"/>
                    <a:pt x="103" y="36"/>
                    <a:pt x="103" y="34"/>
                  </a:cubicBezTo>
                  <a:cubicBezTo>
                    <a:pt x="101" y="34"/>
                    <a:pt x="100" y="32"/>
                    <a:pt x="100" y="30"/>
                  </a:cubicBezTo>
                  <a:cubicBezTo>
                    <a:pt x="102" y="30"/>
                    <a:pt x="103" y="29"/>
                    <a:pt x="105" y="28"/>
                  </a:cubicBezTo>
                  <a:cubicBezTo>
                    <a:pt x="106" y="27"/>
                    <a:pt x="108" y="28"/>
                    <a:pt x="109" y="28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10" y="28"/>
                    <a:pt x="110" y="27"/>
                    <a:pt x="110" y="27"/>
                  </a:cubicBezTo>
                  <a:cubicBezTo>
                    <a:pt x="110" y="26"/>
                    <a:pt x="110" y="25"/>
                    <a:pt x="109" y="24"/>
                  </a:cubicBezTo>
                  <a:cubicBezTo>
                    <a:pt x="108" y="23"/>
                    <a:pt x="106" y="24"/>
                    <a:pt x="105" y="23"/>
                  </a:cubicBezTo>
                  <a:cubicBezTo>
                    <a:pt x="104" y="22"/>
                    <a:pt x="104" y="22"/>
                    <a:pt x="103" y="21"/>
                  </a:cubicBezTo>
                  <a:cubicBezTo>
                    <a:pt x="103" y="21"/>
                    <a:pt x="103" y="20"/>
                    <a:pt x="103" y="19"/>
                  </a:cubicBezTo>
                  <a:cubicBezTo>
                    <a:pt x="104" y="18"/>
                    <a:pt x="104" y="18"/>
                    <a:pt x="105" y="17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6" y="14"/>
                    <a:pt x="109" y="15"/>
                    <a:pt x="110" y="16"/>
                  </a:cubicBezTo>
                  <a:cubicBezTo>
                    <a:pt x="110" y="16"/>
                    <a:pt x="111" y="16"/>
                    <a:pt x="112" y="16"/>
                  </a:cubicBezTo>
                  <a:cubicBezTo>
                    <a:pt x="114" y="15"/>
                    <a:pt x="116" y="14"/>
                    <a:pt x="117" y="14"/>
                  </a:cubicBezTo>
                  <a:cubicBezTo>
                    <a:pt x="119" y="13"/>
                    <a:pt x="120" y="14"/>
                    <a:pt x="122" y="13"/>
                  </a:cubicBezTo>
                  <a:cubicBezTo>
                    <a:pt x="123" y="13"/>
                    <a:pt x="123" y="13"/>
                    <a:pt x="124" y="13"/>
                  </a:cubicBezTo>
                  <a:cubicBezTo>
                    <a:pt x="128" y="11"/>
                    <a:pt x="131" y="10"/>
                    <a:pt x="134" y="8"/>
                  </a:cubicBezTo>
                  <a:cubicBezTo>
                    <a:pt x="136" y="8"/>
                    <a:pt x="137" y="8"/>
                    <a:pt x="138" y="8"/>
                  </a:cubicBezTo>
                  <a:cubicBezTo>
                    <a:pt x="139" y="8"/>
                    <a:pt x="140" y="8"/>
                    <a:pt x="140" y="7"/>
                  </a:cubicBezTo>
                  <a:cubicBezTo>
                    <a:pt x="143" y="7"/>
                    <a:pt x="145" y="7"/>
                    <a:pt x="147" y="7"/>
                  </a:cubicBezTo>
                  <a:cubicBezTo>
                    <a:pt x="148" y="7"/>
                    <a:pt x="149" y="7"/>
                    <a:pt x="149" y="6"/>
                  </a:cubicBezTo>
                  <a:cubicBezTo>
                    <a:pt x="152" y="6"/>
                    <a:pt x="154" y="3"/>
                    <a:pt x="156" y="1"/>
                  </a:cubicBezTo>
                  <a:cubicBezTo>
                    <a:pt x="156" y="1"/>
                    <a:pt x="159" y="0"/>
                    <a:pt x="159" y="0"/>
                  </a:cubicBezTo>
                  <a:cubicBezTo>
                    <a:pt x="161" y="0"/>
                    <a:pt x="163" y="0"/>
                    <a:pt x="165" y="0"/>
                  </a:cubicBezTo>
                  <a:cubicBezTo>
                    <a:pt x="166" y="0"/>
                    <a:pt x="166" y="1"/>
                    <a:pt x="167" y="1"/>
                  </a:cubicBezTo>
                  <a:cubicBezTo>
                    <a:pt x="169" y="1"/>
                    <a:pt x="171" y="1"/>
                    <a:pt x="173" y="3"/>
                  </a:cubicBezTo>
                  <a:cubicBezTo>
                    <a:pt x="174" y="3"/>
                    <a:pt x="174" y="4"/>
                    <a:pt x="175" y="5"/>
                  </a:cubicBezTo>
                  <a:cubicBezTo>
                    <a:pt x="175" y="7"/>
                    <a:pt x="175" y="9"/>
                    <a:pt x="175" y="12"/>
                  </a:cubicBezTo>
                  <a:cubicBezTo>
                    <a:pt x="178" y="14"/>
                    <a:pt x="181" y="13"/>
                    <a:pt x="185" y="13"/>
                  </a:cubicBezTo>
                  <a:cubicBezTo>
                    <a:pt x="187" y="15"/>
                    <a:pt x="190" y="16"/>
                    <a:pt x="193" y="16"/>
                  </a:cubicBezTo>
                  <a:cubicBezTo>
                    <a:pt x="194" y="16"/>
                    <a:pt x="194" y="16"/>
                    <a:pt x="194" y="17"/>
                  </a:cubicBezTo>
                  <a:cubicBezTo>
                    <a:pt x="195" y="18"/>
                    <a:pt x="194" y="19"/>
                    <a:pt x="193" y="19"/>
                  </a:cubicBezTo>
                  <a:cubicBezTo>
                    <a:pt x="193" y="20"/>
                    <a:pt x="193" y="21"/>
                    <a:pt x="193" y="21"/>
                  </a:cubicBezTo>
                  <a:cubicBezTo>
                    <a:pt x="194" y="22"/>
                    <a:pt x="196" y="22"/>
                    <a:pt x="197" y="21"/>
                  </a:cubicBezTo>
                  <a:cubicBezTo>
                    <a:pt x="197" y="21"/>
                    <a:pt x="198" y="21"/>
                    <a:pt x="198" y="21"/>
                  </a:cubicBezTo>
                  <a:cubicBezTo>
                    <a:pt x="199" y="21"/>
                    <a:pt x="200" y="21"/>
                    <a:pt x="202" y="20"/>
                  </a:cubicBezTo>
                  <a:cubicBezTo>
                    <a:pt x="202" y="20"/>
                    <a:pt x="202" y="20"/>
                    <a:pt x="203" y="20"/>
                  </a:cubicBezTo>
                  <a:cubicBezTo>
                    <a:pt x="203" y="20"/>
                    <a:pt x="203" y="19"/>
                    <a:pt x="204" y="19"/>
                  </a:cubicBezTo>
                  <a:cubicBezTo>
                    <a:pt x="205" y="17"/>
                    <a:pt x="207" y="17"/>
                    <a:pt x="209" y="15"/>
                  </a:cubicBezTo>
                  <a:cubicBezTo>
                    <a:pt x="211" y="14"/>
                    <a:pt x="213" y="12"/>
                    <a:pt x="216" y="12"/>
                  </a:cubicBezTo>
                  <a:cubicBezTo>
                    <a:pt x="216" y="13"/>
                    <a:pt x="216" y="14"/>
                    <a:pt x="215" y="15"/>
                  </a:cubicBezTo>
                  <a:cubicBezTo>
                    <a:pt x="215" y="15"/>
                    <a:pt x="215" y="16"/>
                    <a:pt x="215" y="16"/>
                  </a:cubicBezTo>
                  <a:cubicBezTo>
                    <a:pt x="217" y="18"/>
                    <a:pt x="220" y="20"/>
                    <a:pt x="222" y="22"/>
                  </a:cubicBezTo>
                  <a:cubicBezTo>
                    <a:pt x="224" y="24"/>
                    <a:pt x="227" y="26"/>
                    <a:pt x="228" y="29"/>
                  </a:cubicBezTo>
                  <a:cubicBezTo>
                    <a:pt x="230" y="31"/>
                    <a:pt x="232" y="33"/>
                    <a:pt x="234" y="35"/>
                  </a:cubicBezTo>
                  <a:cubicBezTo>
                    <a:pt x="235" y="35"/>
                    <a:pt x="236" y="36"/>
                    <a:pt x="236" y="36"/>
                  </a:cubicBezTo>
                  <a:cubicBezTo>
                    <a:pt x="240" y="39"/>
                    <a:pt x="242" y="42"/>
                    <a:pt x="245" y="46"/>
                  </a:cubicBezTo>
                  <a:cubicBezTo>
                    <a:pt x="245" y="46"/>
                    <a:pt x="245" y="47"/>
                    <a:pt x="246" y="47"/>
                  </a:cubicBezTo>
                  <a:cubicBezTo>
                    <a:pt x="246" y="47"/>
                    <a:pt x="246" y="48"/>
                    <a:pt x="246" y="48"/>
                  </a:cubicBezTo>
                  <a:cubicBezTo>
                    <a:pt x="247" y="49"/>
                    <a:pt x="248" y="50"/>
                    <a:pt x="248" y="49"/>
                  </a:cubicBezTo>
                  <a:cubicBezTo>
                    <a:pt x="249" y="48"/>
                    <a:pt x="250" y="47"/>
                    <a:pt x="251" y="47"/>
                  </a:cubicBezTo>
                  <a:cubicBezTo>
                    <a:pt x="252" y="46"/>
                    <a:pt x="253" y="46"/>
                    <a:pt x="254" y="46"/>
                  </a:cubicBezTo>
                  <a:cubicBezTo>
                    <a:pt x="254" y="46"/>
                    <a:pt x="255" y="47"/>
                    <a:pt x="255" y="47"/>
                  </a:cubicBezTo>
                  <a:cubicBezTo>
                    <a:pt x="255" y="49"/>
                    <a:pt x="256" y="50"/>
                    <a:pt x="257" y="51"/>
                  </a:cubicBezTo>
                  <a:cubicBezTo>
                    <a:pt x="258" y="52"/>
                    <a:pt x="259" y="52"/>
                    <a:pt x="259" y="51"/>
                  </a:cubicBezTo>
                  <a:cubicBezTo>
                    <a:pt x="261" y="50"/>
                    <a:pt x="262" y="49"/>
                    <a:pt x="264" y="50"/>
                  </a:cubicBezTo>
                  <a:cubicBezTo>
                    <a:pt x="265" y="50"/>
                    <a:pt x="266" y="51"/>
                    <a:pt x="268" y="50"/>
                  </a:cubicBezTo>
                  <a:cubicBezTo>
                    <a:pt x="269" y="50"/>
                    <a:pt x="269" y="49"/>
                    <a:pt x="270" y="49"/>
                  </a:cubicBezTo>
                  <a:cubicBezTo>
                    <a:pt x="272" y="48"/>
                    <a:pt x="274" y="49"/>
                    <a:pt x="275" y="51"/>
                  </a:cubicBezTo>
                  <a:cubicBezTo>
                    <a:pt x="276" y="53"/>
                    <a:pt x="279" y="54"/>
                    <a:pt x="280" y="56"/>
                  </a:cubicBezTo>
                  <a:cubicBezTo>
                    <a:pt x="281" y="57"/>
                    <a:pt x="283" y="56"/>
                    <a:pt x="284" y="57"/>
                  </a:cubicBezTo>
                  <a:cubicBezTo>
                    <a:pt x="284" y="57"/>
                    <a:pt x="285" y="58"/>
                    <a:pt x="285" y="58"/>
                  </a:cubicBezTo>
                  <a:cubicBezTo>
                    <a:pt x="285" y="59"/>
                    <a:pt x="285" y="60"/>
                    <a:pt x="285" y="61"/>
                  </a:cubicBezTo>
                  <a:cubicBezTo>
                    <a:pt x="286" y="62"/>
                    <a:pt x="287" y="63"/>
                    <a:pt x="288" y="63"/>
                  </a:cubicBezTo>
                  <a:cubicBezTo>
                    <a:pt x="289" y="64"/>
                    <a:pt x="290" y="64"/>
                    <a:pt x="290" y="65"/>
                  </a:cubicBezTo>
                  <a:cubicBezTo>
                    <a:pt x="291" y="65"/>
                    <a:pt x="292" y="65"/>
                    <a:pt x="293" y="65"/>
                  </a:cubicBezTo>
                  <a:cubicBezTo>
                    <a:pt x="294" y="64"/>
                    <a:pt x="294" y="64"/>
                    <a:pt x="295" y="64"/>
                  </a:cubicBezTo>
                  <a:cubicBezTo>
                    <a:pt x="296" y="63"/>
                    <a:pt x="297" y="63"/>
                    <a:pt x="298" y="64"/>
                  </a:cubicBezTo>
                  <a:cubicBezTo>
                    <a:pt x="299" y="64"/>
                    <a:pt x="298" y="65"/>
                    <a:pt x="299" y="66"/>
                  </a:cubicBezTo>
                  <a:cubicBezTo>
                    <a:pt x="299" y="67"/>
                    <a:pt x="299" y="68"/>
                    <a:pt x="300" y="68"/>
                  </a:cubicBezTo>
                  <a:cubicBezTo>
                    <a:pt x="301" y="70"/>
                    <a:pt x="303" y="70"/>
                    <a:pt x="305" y="71"/>
                  </a:cubicBezTo>
                  <a:cubicBezTo>
                    <a:pt x="305" y="73"/>
                    <a:pt x="305" y="75"/>
                    <a:pt x="303" y="76"/>
                  </a:cubicBezTo>
                  <a:cubicBezTo>
                    <a:pt x="301" y="77"/>
                    <a:pt x="300" y="78"/>
                    <a:pt x="298" y="78"/>
                  </a:cubicBezTo>
                  <a:cubicBezTo>
                    <a:pt x="297" y="79"/>
                    <a:pt x="296" y="80"/>
                    <a:pt x="296" y="81"/>
                  </a:cubicBezTo>
                  <a:cubicBezTo>
                    <a:pt x="295" y="84"/>
                    <a:pt x="296" y="86"/>
                    <a:pt x="296" y="89"/>
                  </a:cubicBezTo>
                  <a:cubicBezTo>
                    <a:pt x="297" y="90"/>
                    <a:pt x="297" y="92"/>
                    <a:pt x="297" y="94"/>
                  </a:cubicBezTo>
                  <a:cubicBezTo>
                    <a:pt x="294" y="96"/>
                    <a:pt x="291" y="95"/>
                    <a:pt x="288" y="95"/>
                  </a:cubicBezTo>
                  <a:cubicBezTo>
                    <a:pt x="286" y="94"/>
                    <a:pt x="283" y="92"/>
                    <a:pt x="280" y="93"/>
                  </a:cubicBezTo>
                  <a:cubicBezTo>
                    <a:pt x="279" y="93"/>
                    <a:pt x="279" y="94"/>
                    <a:pt x="279" y="94"/>
                  </a:cubicBezTo>
                  <a:cubicBezTo>
                    <a:pt x="279" y="95"/>
                    <a:pt x="279" y="97"/>
                    <a:pt x="279" y="98"/>
                  </a:cubicBezTo>
                  <a:cubicBezTo>
                    <a:pt x="278" y="100"/>
                    <a:pt x="277" y="102"/>
                    <a:pt x="276" y="104"/>
                  </a:cubicBezTo>
                  <a:cubicBezTo>
                    <a:pt x="275" y="106"/>
                    <a:pt x="276" y="108"/>
                    <a:pt x="276" y="110"/>
                  </a:cubicBezTo>
                  <a:cubicBezTo>
                    <a:pt x="278" y="110"/>
                    <a:pt x="277" y="113"/>
                    <a:pt x="276" y="114"/>
                  </a:cubicBezTo>
                  <a:cubicBezTo>
                    <a:pt x="276" y="115"/>
                    <a:pt x="274" y="115"/>
                    <a:pt x="273" y="114"/>
                  </a:cubicBezTo>
                  <a:cubicBezTo>
                    <a:pt x="273" y="114"/>
                    <a:pt x="273" y="113"/>
                    <a:pt x="272" y="113"/>
                  </a:cubicBezTo>
                  <a:cubicBezTo>
                    <a:pt x="272" y="113"/>
                    <a:pt x="271" y="113"/>
                    <a:pt x="270" y="113"/>
                  </a:cubicBezTo>
                  <a:cubicBezTo>
                    <a:pt x="270" y="112"/>
                    <a:pt x="269" y="112"/>
                    <a:pt x="268" y="113"/>
                  </a:cubicBezTo>
                  <a:cubicBezTo>
                    <a:pt x="267" y="114"/>
                    <a:pt x="266" y="115"/>
                    <a:pt x="265" y="115"/>
                  </a:cubicBezTo>
                  <a:cubicBezTo>
                    <a:pt x="264" y="116"/>
                    <a:pt x="265" y="116"/>
                    <a:pt x="264" y="116"/>
                  </a:cubicBezTo>
                  <a:cubicBezTo>
                    <a:pt x="263" y="116"/>
                    <a:pt x="261" y="116"/>
                    <a:pt x="260" y="116"/>
                  </a:cubicBezTo>
                  <a:cubicBezTo>
                    <a:pt x="260" y="116"/>
                    <a:pt x="259" y="118"/>
                    <a:pt x="260" y="118"/>
                  </a:cubicBezTo>
                  <a:cubicBezTo>
                    <a:pt x="261" y="118"/>
                    <a:pt x="262" y="119"/>
                    <a:pt x="262" y="120"/>
                  </a:cubicBezTo>
                  <a:cubicBezTo>
                    <a:pt x="263" y="121"/>
                    <a:pt x="262" y="123"/>
                    <a:pt x="263" y="125"/>
                  </a:cubicBezTo>
                  <a:cubicBezTo>
                    <a:pt x="263" y="125"/>
                    <a:pt x="263" y="125"/>
                    <a:pt x="263" y="126"/>
                  </a:cubicBezTo>
                  <a:cubicBezTo>
                    <a:pt x="263" y="127"/>
                    <a:pt x="264" y="128"/>
                    <a:pt x="265" y="129"/>
                  </a:cubicBezTo>
                  <a:cubicBezTo>
                    <a:pt x="265" y="130"/>
                    <a:pt x="266" y="131"/>
                    <a:pt x="265" y="133"/>
                  </a:cubicBezTo>
                  <a:cubicBezTo>
                    <a:pt x="264" y="133"/>
                    <a:pt x="264" y="135"/>
                    <a:pt x="265" y="135"/>
                  </a:cubicBezTo>
                  <a:cubicBezTo>
                    <a:pt x="266" y="136"/>
                    <a:pt x="266" y="138"/>
                    <a:pt x="266" y="139"/>
                  </a:cubicBezTo>
                  <a:cubicBezTo>
                    <a:pt x="266" y="139"/>
                    <a:pt x="266" y="140"/>
                    <a:pt x="265" y="140"/>
                  </a:cubicBezTo>
                  <a:cubicBezTo>
                    <a:pt x="265" y="141"/>
                    <a:pt x="265" y="142"/>
                    <a:pt x="265" y="143"/>
                  </a:cubicBezTo>
                  <a:cubicBezTo>
                    <a:pt x="265" y="143"/>
                    <a:pt x="265" y="143"/>
                    <a:pt x="265" y="144"/>
                  </a:cubicBezTo>
                  <a:cubicBezTo>
                    <a:pt x="263" y="144"/>
                    <a:pt x="261" y="142"/>
                    <a:pt x="260" y="140"/>
                  </a:cubicBezTo>
                  <a:cubicBezTo>
                    <a:pt x="260" y="140"/>
                    <a:pt x="259" y="139"/>
                    <a:pt x="258" y="139"/>
                  </a:cubicBezTo>
                  <a:cubicBezTo>
                    <a:pt x="255" y="139"/>
                    <a:pt x="253" y="136"/>
                    <a:pt x="251" y="134"/>
                  </a:cubicBezTo>
                  <a:cubicBezTo>
                    <a:pt x="250" y="133"/>
                    <a:pt x="248" y="134"/>
                    <a:pt x="246" y="134"/>
                  </a:cubicBezTo>
                  <a:cubicBezTo>
                    <a:pt x="246" y="134"/>
                    <a:pt x="246" y="134"/>
                    <a:pt x="246" y="134"/>
                  </a:cubicBezTo>
                  <a:cubicBezTo>
                    <a:pt x="245" y="134"/>
                    <a:pt x="244" y="134"/>
                    <a:pt x="244" y="134"/>
                  </a:cubicBezTo>
                  <a:cubicBezTo>
                    <a:pt x="244" y="134"/>
                    <a:pt x="243" y="135"/>
                    <a:pt x="242" y="135"/>
                  </a:cubicBezTo>
                  <a:cubicBezTo>
                    <a:pt x="241" y="135"/>
                    <a:pt x="240" y="135"/>
                    <a:pt x="238" y="135"/>
                  </a:cubicBezTo>
                  <a:cubicBezTo>
                    <a:pt x="237" y="135"/>
                    <a:pt x="236" y="134"/>
                    <a:pt x="234" y="135"/>
                  </a:cubicBezTo>
                  <a:cubicBezTo>
                    <a:pt x="233" y="135"/>
                    <a:pt x="232" y="135"/>
                    <a:pt x="231" y="135"/>
                  </a:cubicBezTo>
                  <a:cubicBezTo>
                    <a:pt x="230" y="135"/>
                    <a:pt x="230" y="136"/>
                    <a:pt x="230" y="136"/>
                  </a:cubicBezTo>
                  <a:cubicBezTo>
                    <a:pt x="229" y="136"/>
                    <a:pt x="228" y="136"/>
                    <a:pt x="227" y="136"/>
                  </a:cubicBezTo>
                  <a:cubicBezTo>
                    <a:pt x="226" y="137"/>
                    <a:pt x="225" y="137"/>
                    <a:pt x="224" y="136"/>
                  </a:cubicBezTo>
                  <a:cubicBezTo>
                    <a:pt x="222" y="135"/>
                    <a:pt x="221" y="134"/>
                    <a:pt x="219" y="132"/>
                  </a:cubicBezTo>
                  <a:cubicBezTo>
                    <a:pt x="218" y="131"/>
                    <a:pt x="217" y="131"/>
                    <a:pt x="216" y="131"/>
                  </a:cubicBezTo>
                  <a:cubicBezTo>
                    <a:pt x="212" y="130"/>
                    <a:pt x="211" y="134"/>
                    <a:pt x="208" y="136"/>
                  </a:cubicBezTo>
                  <a:cubicBezTo>
                    <a:pt x="208" y="136"/>
                    <a:pt x="208" y="136"/>
                    <a:pt x="208" y="137"/>
                  </a:cubicBezTo>
                  <a:cubicBezTo>
                    <a:pt x="208" y="137"/>
                    <a:pt x="208" y="138"/>
                    <a:pt x="207" y="138"/>
                  </a:cubicBezTo>
                  <a:cubicBezTo>
                    <a:pt x="206" y="139"/>
                    <a:pt x="205" y="139"/>
                    <a:pt x="204" y="138"/>
                  </a:cubicBezTo>
                  <a:cubicBezTo>
                    <a:pt x="202" y="137"/>
                    <a:pt x="200" y="137"/>
                    <a:pt x="199" y="136"/>
                  </a:cubicBezTo>
                  <a:cubicBezTo>
                    <a:pt x="198" y="135"/>
                    <a:pt x="196" y="135"/>
                    <a:pt x="195" y="136"/>
                  </a:cubicBezTo>
                  <a:cubicBezTo>
                    <a:pt x="195" y="136"/>
                    <a:pt x="194" y="136"/>
                    <a:pt x="194" y="136"/>
                  </a:cubicBezTo>
                  <a:cubicBezTo>
                    <a:pt x="194" y="136"/>
                    <a:pt x="193" y="137"/>
                    <a:pt x="193" y="137"/>
                  </a:cubicBezTo>
                  <a:cubicBezTo>
                    <a:pt x="193" y="137"/>
                    <a:pt x="192" y="138"/>
                    <a:pt x="192" y="138"/>
                  </a:cubicBezTo>
                  <a:cubicBezTo>
                    <a:pt x="190" y="140"/>
                    <a:pt x="188" y="142"/>
                    <a:pt x="186" y="144"/>
                  </a:cubicBezTo>
                  <a:cubicBezTo>
                    <a:pt x="185" y="144"/>
                    <a:pt x="184" y="144"/>
                    <a:pt x="183" y="144"/>
                  </a:cubicBezTo>
                  <a:cubicBezTo>
                    <a:pt x="182" y="145"/>
                    <a:pt x="181" y="146"/>
                    <a:pt x="181" y="147"/>
                  </a:cubicBezTo>
                  <a:cubicBezTo>
                    <a:pt x="180" y="148"/>
                    <a:pt x="180" y="148"/>
                    <a:pt x="180" y="149"/>
                  </a:cubicBezTo>
                  <a:cubicBezTo>
                    <a:pt x="179" y="150"/>
                    <a:pt x="180" y="152"/>
                    <a:pt x="180" y="152"/>
                  </a:cubicBezTo>
                  <a:cubicBezTo>
                    <a:pt x="179" y="153"/>
                    <a:pt x="178" y="153"/>
                    <a:pt x="177" y="154"/>
                  </a:cubicBezTo>
                  <a:cubicBezTo>
                    <a:pt x="176" y="155"/>
                    <a:pt x="174" y="155"/>
                    <a:pt x="172" y="154"/>
                  </a:cubicBezTo>
                  <a:cubicBezTo>
                    <a:pt x="170" y="154"/>
                    <a:pt x="168" y="153"/>
                    <a:pt x="165" y="153"/>
                  </a:cubicBezTo>
                  <a:cubicBezTo>
                    <a:pt x="163" y="152"/>
                    <a:pt x="160" y="152"/>
                    <a:pt x="158" y="152"/>
                  </a:cubicBezTo>
                  <a:cubicBezTo>
                    <a:pt x="157" y="150"/>
                    <a:pt x="158" y="148"/>
                    <a:pt x="157" y="146"/>
                  </a:cubicBezTo>
                  <a:cubicBezTo>
                    <a:pt x="156" y="145"/>
                    <a:pt x="154" y="145"/>
                    <a:pt x="154" y="144"/>
                  </a:cubicBezTo>
                  <a:cubicBezTo>
                    <a:pt x="153" y="142"/>
                    <a:pt x="154" y="140"/>
                    <a:pt x="154" y="138"/>
                  </a:cubicBezTo>
                  <a:cubicBezTo>
                    <a:pt x="154" y="138"/>
                    <a:pt x="154" y="137"/>
                    <a:pt x="153" y="137"/>
                  </a:cubicBezTo>
                  <a:cubicBezTo>
                    <a:pt x="151" y="135"/>
                    <a:pt x="149" y="134"/>
                    <a:pt x="148" y="132"/>
                  </a:cubicBezTo>
                  <a:cubicBezTo>
                    <a:pt x="148" y="132"/>
                    <a:pt x="147" y="131"/>
                    <a:pt x="147" y="130"/>
                  </a:cubicBezTo>
                  <a:cubicBezTo>
                    <a:pt x="147" y="129"/>
                    <a:pt x="146" y="129"/>
                    <a:pt x="145" y="129"/>
                  </a:cubicBezTo>
                  <a:cubicBezTo>
                    <a:pt x="139" y="128"/>
                    <a:pt x="133" y="129"/>
                    <a:pt x="126" y="128"/>
                  </a:cubicBezTo>
                  <a:cubicBezTo>
                    <a:pt x="124" y="128"/>
                    <a:pt x="122" y="129"/>
                    <a:pt x="120" y="128"/>
                  </a:cubicBezTo>
                  <a:cubicBezTo>
                    <a:pt x="119" y="127"/>
                    <a:pt x="119" y="126"/>
                    <a:pt x="118" y="125"/>
                  </a:cubicBezTo>
                  <a:cubicBezTo>
                    <a:pt x="117" y="123"/>
                    <a:pt x="115" y="121"/>
                    <a:pt x="113" y="120"/>
                  </a:cubicBezTo>
                  <a:cubicBezTo>
                    <a:pt x="110" y="119"/>
                    <a:pt x="109" y="115"/>
                    <a:pt x="107" y="112"/>
                  </a:cubicBezTo>
                  <a:cubicBezTo>
                    <a:pt x="106" y="111"/>
                    <a:pt x="105" y="110"/>
                    <a:pt x="104" y="110"/>
                  </a:cubicBezTo>
                  <a:cubicBezTo>
                    <a:pt x="103" y="109"/>
                    <a:pt x="101" y="110"/>
                    <a:pt x="100" y="109"/>
                  </a:cubicBezTo>
                  <a:cubicBezTo>
                    <a:pt x="100" y="109"/>
                    <a:pt x="100" y="109"/>
                    <a:pt x="99" y="109"/>
                  </a:cubicBezTo>
                  <a:cubicBezTo>
                    <a:pt x="99" y="109"/>
                    <a:pt x="99" y="108"/>
                    <a:pt x="98" y="107"/>
                  </a:cubicBezTo>
                  <a:cubicBezTo>
                    <a:pt x="98" y="107"/>
                    <a:pt x="97" y="107"/>
                    <a:pt x="97" y="107"/>
                  </a:cubicBezTo>
                  <a:cubicBezTo>
                    <a:pt x="96" y="108"/>
                    <a:pt x="96" y="109"/>
                    <a:pt x="95" y="109"/>
                  </a:cubicBezTo>
                  <a:cubicBezTo>
                    <a:pt x="91" y="110"/>
                    <a:pt x="87" y="111"/>
                    <a:pt x="84" y="113"/>
                  </a:cubicBezTo>
                  <a:cubicBezTo>
                    <a:pt x="84" y="113"/>
                    <a:pt x="83" y="113"/>
                    <a:pt x="83" y="114"/>
                  </a:cubicBezTo>
                  <a:cubicBezTo>
                    <a:pt x="81" y="115"/>
                    <a:pt x="80" y="116"/>
                    <a:pt x="78" y="116"/>
                  </a:cubicBezTo>
                  <a:cubicBezTo>
                    <a:pt x="77" y="116"/>
                    <a:pt x="77" y="116"/>
                    <a:pt x="76" y="116"/>
                  </a:cubicBezTo>
                  <a:cubicBezTo>
                    <a:pt x="76" y="116"/>
                    <a:pt x="75" y="117"/>
                    <a:pt x="75" y="117"/>
                  </a:cubicBezTo>
                  <a:cubicBezTo>
                    <a:pt x="75" y="120"/>
                    <a:pt x="75" y="123"/>
                    <a:pt x="75" y="126"/>
                  </a:cubicBezTo>
                  <a:cubicBezTo>
                    <a:pt x="75" y="127"/>
                    <a:pt x="75" y="130"/>
                    <a:pt x="76" y="131"/>
                  </a:cubicBezTo>
                  <a:cubicBezTo>
                    <a:pt x="76" y="131"/>
                    <a:pt x="77" y="132"/>
                    <a:pt x="77" y="133"/>
                  </a:cubicBezTo>
                  <a:cubicBezTo>
                    <a:pt x="78" y="136"/>
                    <a:pt x="77" y="138"/>
                    <a:pt x="77" y="141"/>
                  </a:cubicBezTo>
                  <a:cubicBezTo>
                    <a:pt x="77" y="142"/>
                    <a:pt x="77" y="143"/>
                    <a:pt x="78" y="144"/>
                  </a:cubicBezTo>
                  <a:cubicBezTo>
                    <a:pt x="78" y="145"/>
                    <a:pt x="77" y="145"/>
                    <a:pt x="77" y="146"/>
                  </a:cubicBezTo>
                  <a:cubicBezTo>
                    <a:pt x="78" y="148"/>
                    <a:pt x="78" y="150"/>
                    <a:pt x="79" y="15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5" name="Freeform 203"/>
            <p:cNvSpPr>
              <a:spLocks/>
            </p:cNvSpPr>
            <p:nvPr/>
          </p:nvSpPr>
          <p:spPr bwMode="auto">
            <a:xfrm>
              <a:off x="7748686" y="4775183"/>
              <a:ext cx="331308" cy="123285"/>
            </a:xfrm>
            <a:custGeom>
              <a:avLst/>
              <a:gdLst>
                <a:gd name="T0" fmla="*/ 4691492 w 246"/>
                <a:gd name="T1" fmla="*/ 35989330 h 114"/>
                <a:gd name="T2" fmla="*/ 8403206 w 246"/>
                <a:gd name="T3" fmla="*/ 40649853 h 114"/>
                <a:gd name="T4" fmla="*/ 15790910 w 246"/>
                <a:gd name="T5" fmla="*/ 42602812 h 114"/>
                <a:gd name="T6" fmla="*/ 23340125 w 246"/>
                <a:gd name="T7" fmla="*/ 49789961 h 114"/>
                <a:gd name="T8" fmla="*/ 28249583 w 246"/>
                <a:gd name="T9" fmla="*/ 61027476 h 114"/>
                <a:gd name="T10" fmla="*/ 30085335 w 246"/>
                <a:gd name="T11" fmla="*/ 70019775 h 114"/>
                <a:gd name="T12" fmla="*/ 48886953 w 246"/>
                <a:gd name="T13" fmla="*/ 73956537 h 114"/>
                <a:gd name="T14" fmla="*/ 59970049 w 246"/>
                <a:gd name="T15" fmla="*/ 78608405 h 114"/>
                <a:gd name="T16" fmla="*/ 64677792 w 246"/>
                <a:gd name="T17" fmla="*/ 85779263 h 114"/>
                <a:gd name="T18" fmla="*/ 95604462 w 246"/>
                <a:gd name="T19" fmla="*/ 95919334 h 114"/>
                <a:gd name="T20" fmla="*/ 123870643 w 246"/>
                <a:gd name="T21" fmla="*/ 103368801 h 114"/>
                <a:gd name="T22" fmla="*/ 135728104 w 246"/>
                <a:gd name="T23" fmla="*/ 103368801 h 114"/>
                <a:gd name="T24" fmla="*/ 163843169 w 246"/>
                <a:gd name="T25" fmla="*/ 95919334 h 114"/>
                <a:gd name="T26" fmla="*/ 174233071 w 246"/>
                <a:gd name="T27" fmla="*/ 89567160 h 114"/>
                <a:gd name="T28" fmla="*/ 178931253 w 246"/>
                <a:gd name="T29" fmla="*/ 80300046 h 114"/>
                <a:gd name="T30" fmla="*/ 175430516 w 246"/>
                <a:gd name="T31" fmla="*/ 75499332 h 114"/>
                <a:gd name="T32" fmla="*/ 178087962 w 246"/>
                <a:gd name="T33" fmla="*/ 70019775 h 114"/>
                <a:gd name="T34" fmla="*/ 185674252 w 246"/>
                <a:gd name="T35" fmla="*/ 73956537 h 114"/>
                <a:gd name="T36" fmla="*/ 196792870 w 246"/>
                <a:gd name="T37" fmla="*/ 66508580 h 114"/>
                <a:gd name="T38" fmla="*/ 206309705 w 246"/>
                <a:gd name="T39" fmla="*/ 59893334 h 114"/>
                <a:gd name="T40" fmla="*/ 216759615 w 246"/>
                <a:gd name="T41" fmla="*/ 56366811 h 114"/>
                <a:gd name="T42" fmla="*/ 225797441 w 246"/>
                <a:gd name="T43" fmla="*/ 56366811 h 114"/>
                <a:gd name="T44" fmla="*/ 228514593 w 246"/>
                <a:gd name="T45" fmla="*/ 50887632 h 114"/>
                <a:gd name="T46" fmla="*/ 215403155 w 246"/>
                <a:gd name="T47" fmla="*/ 40649853 h 114"/>
                <a:gd name="T48" fmla="*/ 209867426 w 246"/>
                <a:gd name="T49" fmla="*/ 44310744 h 114"/>
                <a:gd name="T50" fmla="*/ 198770877 w 246"/>
                <a:gd name="T51" fmla="*/ 43437070 h 114"/>
                <a:gd name="T52" fmla="*/ 199628679 w 246"/>
                <a:gd name="T53" fmla="*/ 28551284 h 114"/>
                <a:gd name="T54" fmla="*/ 192090002 w 246"/>
                <a:gd name="T55" fmla="*/ 21100590 h 114"/>
                <a:gd name="T56" fmla="*/ 182996249 w 246"/>
                <a:gd name="T57" fmla="*/ 20379708 h 114"/>
                <a:gd name="T58" fmla="*/ 169378746 w 246"/>
                <a:gd name="T59" fmla="*/ 26579788 h 114"/>
                <a:gd name="T60" fmla="*/ 152031243 w 246"/>
                <a:gd name="T61" fmla="*/ 28551284 h 114"/>
                <a:gd name="T62" fmla="*/ 134950943 w 246"/>
                <a:gd name="T63" fmla="*/ 22438190 h 114"/>
                <a:gd name="T64" fmla="*/ 120948903 w 246"/>
                <a:gd name="T65" fmla="*/ 18408274 h 114"/>
                <a:gd name="T66" fmla="*/ 109559114 w 246"/>
                <a:gd name="T67" fmla="*/ 19549117 h 114"/>
                <a:gd name="T68" fmla="*/ 101151905 w 246"/>
                <a:gd name="T69" fmla="*/ 16456476 h 114"/>
                <a:gd name="T70" fmla="*/ 97591764 w 246"/>
                <a:gd name="T71" fmla="*/ 10960506 h 114"/>
                <a:gd name="T72" fmla="*/ 90069640 w 246"/>
                <a:gd name="T73" fmla="*/ 5479234 h 114"/>
                <a:gd name="T74" fmla="*/ 74278706 w 246"/>
                <a:gd name="T75" fmla="*/ 834235 h 114"/>
                <a:gd name="T76" fmla="*/ 67508650 w 246"/>
                <a:gd name="T77" fmla="*/ 5479234 h 114"/>
                <a:gd name="T78" fmla="*/ 65521498 w 246"/>
                <a:gd name="T79" fmla="*/ 12099801 h 114"/>
                <a:gd name="T80" fmla="*/ 71055187 w 246"/>
                <a:gd name="T81" fmla="*/ 20379708 h 114"/>
                <a:gd name="T82" fmla="*/ 65521498 w 246"/>
                <a:gd name="T83" fmla="*/ 23887807 h 114"/>
                <a:gd name="T84" fmla="*/ 56270998 w 246"/>
                <a:gd name="T85" fmla="*/ 22438190 h 114"/>
                <a:gd name="T86" fmla="*/ 46031910 w 246"/>
                <a:gd name="T87" fmla="*/ 21100590 h 114"/>
                <a:gd name="T88" fmla="*/ 41959016 w 246"/>
                <a:gd name="T89" fmla="*/ 14898438 h 114"/>
                <a:gd name="T90" fmla="*/ 30085335 w 246"/>
                <a:gd name="T91" fmla="*/ 12929066 h 114"/>
                <a:gd name="T92" fmla="*/ 22675215 w 246"/>
                <a:gd name="T93" fmla="*/ 15609627 h 114"/>
                <a:gd name="T94" fmla="*/ 13954497 w 246"/>
                <a:gd name="T95" fmla="*/ 22438190 h 114"/>
                <a:gd name="T96" fmla="*/ 7522174 w 246"/>
                <a:gd name="T97" fmla="*/ 27834008 h 1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46"/>
                <a:gd name="T148" fmla="*/ 0 h 114"/>
                <a:gd name="T149" fmla="*/ 246 w 246"/>
                <a:gd name="T150" fmla="*/ 114 h 1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46" h="114">
                  <a:moveTo>
                    <a:pt x="0" y="35"/>
                  </a:moveTo>
                  <a:cubicBezTo>
                    <a:pt x="0" y="36"/>
                    <a:pt x="2" y="36"/>
                    <a:pt x="2" y="37"/>
                  </a:cubicBezTo>
                  <a:cubicBezTo>
                    <a:pt x="3" y="38"/>
                    <a:pt x="4" y="38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7" y="39"/>
                    <a:pt x="7" y="41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9" y="45"/>
                    <a:pt x="10" y="45"/>
                    <a:pt x="10" y="46"/>
                  </a:cubicBezTo>
                  <a:cubicBezTo>
                    <a:pt x="11" y="46"/>
                    <a:pt x="12" y="45"/>
                    <a:pt x="13" y="44"/>
                  </a:cubicBezTo>
                  <a:cubicBezTo>
                    <a:pt x="14" y="43"/>
                    <a:pt x="16" y="45"/>
                    <a:pt x="17" y="46"/>
                  </a:cubicBezTo>
                  <a:cubicBezTo>
                    <a:pt x="19" y="46"/>
                    <a:pt x="21" y="48"/>
                    <a:pt x="23" y="50"/>
                  </a:cubicBezTo>
                  <a:cubicBezTo>
                    <a:pt x="23" y="51"/>
                    <a:pt x="23" y="52"/>
                    <a:pt x="23" y="53"/>
                  </a:cubicBezTo>
                  <a:cubicBezTo>
                    <a:pt x="24" y="54"/>
                    <a:pt x="24" y="54"/>
                    <a:pt x="25" y="54"/>
                  </a:cubicBezTo>
                  <a:cubicBezTo>
                    <a:pt x="26" y="55"/>
                    <a:pt x="27" y="56"/>
                    <a:pt x="28" y="58"/>
                  </a:cubicBezTo>
                  <a:cubicBezTo>
                    <a:pt x="29" y="59"/>
                    <a:pt x="28" y="61"/>
                    <a:pt x="29" y="63"/>
                  </a:cubicBezTo>
                  <a:cubicBezTo>
                    <a:pt x="30" y="64"/>
                    <a:pt x="30" y="65"/>
                    <a:pt x="30" y="66"/>
                  </a:cubicBezTo>
                  <a:cubicBezTo>
                    <a:pt x="31" y="67"/>
                    <a:pt x="30" y="69"/>
                    <a:pt x="30" y="70"/>
                  </a:cubicBezTo>
                  <a:cubicBezTo>
                    <a:pt x="28" y="71"/>
                    <a:pt x="27" y="72"/>
                    <a:pt x="28" y="74"/>
                  </a:cubicBezTo>
                  <a:cubicBezTo>
                    <a:pt x="29" y="75"/>
                    <a:pt x="31" y="75"/>
                    <a:pt x="32" y="76"/>
                  </a:cubicBezTo>
                  <a:cubicBezTo>
                    <a:pt x="34" y="77"/>
                    <a:pt x="36" y="77"/>
                    <a:pt x="39" y="78"/>
                  </a:cubicBezTo>
                  <a:cubicBezTo>
                    <a:pt x="42" y="79"/>
                    <a:pt x="45" y="79"/>
                    <a:pt x="48" y="79"/>
                  </a:cubicBezTo>
                  <a:cubicBezTo>
                    <a:pt x="50" y="80"/>
                    <a:pt x="51" y="80"/>
                    <a:pt x="52" y="80"/>
                  </a:cubicBezTo>
                  <a:cubicBezTo>
                    <a:pt x="54" y="81"/>
                    <a:pt x="56" y="83"/>
                    <a:pt x="58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61" y="85"/>
                    <a:pt x="62" y="84"/>
                    <a:pt x="64" y="85"/>
                  </a:cubicBezTo>
                  <a:cubicBezTo>
                    <a:pt x="65" y="86"/>
                    <a:pt x="66" y="87"/>
                    <a:pt x="67" y="88"/>
                  </a:cubicBezTo>
                  <a:cubicBezTo>
                    <a:pt x="67" y="88"/>
                    <a:pt x="67" y="89"/>
                    <a:pt x="67" y="89"/>
                  </a:cubicBezTo>
                  <a:cubicBezTo>
                    <a:pt x="68" y="90"/>
                    <a:pt x="68" y="92"/>
                    <a:pt x="69" y="93"/>
                  </a:cubicBezTo>
                  <a:cubicBezTo>
                    <a:pt x="72" y="96"/>
                    <a:pt x="75" y="99"/>
                    <a:pt x="78" y="102"/>
                  </a:cubicBezTo>
                  <a:cubicBezTo>
                    <a:pt x="80" y="104"/>
                    <a:pt x="83" y="103"/>
                    <a:pt x="84" y="104"/>
                  </a:cubicBezTo>
                  <a:cubicBezTo>
                    <a:pt x="90" y="104"/>
                    <a:pt x="96" y="104"/>
                    <a:pt x="102" y="104"/>
                  </a:cubicBezTo>
                  <a:cubicBezTo>
                    <a:pt x="106" y="103"/>
                    <a:pt x="110" y="103"/>
                    <a:pt x="114" y="103"/>
                  </a:cubicBezTo>
                  <a:cubicBezTo>
                    <a:pt x="116" y="103"/>
                    <a:pt x="116" y="105"/>
                    <a:pt x="117" y="106"/>
                  </a:cubicBezTo>
                  <a:cubicBezTo>
                    <a:pt x="121" y="107"/>
                    <a:pt x="127" y="108"/>
                    <a:pt x="132" y="112"/>
                  </a:cubicBezTo>
                  <a:cubicBezTo>
                    <a:pt x="135" y="112"/>
                    <a:pt x="136" y="111"/>
                    <a:pt x="139" y="111"/>
                  </a:cubicBezTo>
                  <a:cubicBezTo>
                    <a:pt x="140" y="112"/>
                    <a:pt x="140" y="113"/>
                    <a:pt x="141" y="114"/>
                  </a:cubicBezTo>
                  <a:cubicBezTo>
                    <a:pt x="142" y="114"/>
                    <a:pt x="144" y="113"/>
                    <a:pt x="145" y="112"/>
                  </a:cubicBezTo>
                  <a:cubicBezTo>
                    <a:pt x="148" y="111"/>
                    <a:pt x="150" y="108"/>
                    <a:pt x="153" y="107"/>
                  </a:cubicBezTo>
                  <a:cubicBezTo>
                    <a:pt x="159" y="104"/>
                    <a:pt x="165" y="105"/>
                    <a:pt x="171" y="105"/>
                  </a:cubicBezTo>
                  <a:cubicBezTo>
                    <a:pt x="172" y="105"/>
                    <a:pt x="174" y="104"/>
                    <a:pt x="175" y="104"/>
                  </a:cubicBezTo>
                  <a:cubicBezTo>
                    <a:pt x="178" y="103"/>
                    <a:pt x="180" y="103"/>
                    <a:pt x="183" y="102"/>
                  </a:cubicBezTo>
                  <a:cubicBezTo>
                    <a:pt x="183" y="102"/>
                    <a:pt x="184" y="102"/>
                    <a:pt x="184" y="101"/>
                  </a:cubicBezTo>
                  <a:cubicBezTo>
                    <a:pt x="185" y="100"/>
                    <a:pt x="185" y="98"/>
                    <a:pt x="186" y="97"/>
                  </a:cubicBezTo>
                  <a:cubicBezTo>
                    <a:pt x="186" y="97"/>
                    <a:pt x="187" y="97"/>
                    <a:pt x="187" y="96"/>
                  </a:cubicBezTo>
                  <a:cubicBezTo>
                    <a:pt x="189" y="94"/>
                    <a:pt x="191" y="92"/>
                    <a:pt x="192" y="90"/>
                  </a:cubicBezTo>
                  <a:cubicBezTo>
                    <a:pt x="193" y="89"/>
                    <a:pt x="193" y="87"/>
                    <a:pt x="191" y="87"/>
                  </a:cubicBezTo>
                  <a:cubicBezTo>
                    <a:pt x="190" y="86"/>
                    <a:pt x="189" y="85"/>
                    <a:pt x="188" y="84"/>
                  </a:cubicBezTo>
                  <a:cubicBezTo>
                    <a:pt x="188" y="84"/>
                    <a:pt x="188" y="83"/>
                    <a:pt x="188" y="83"/>
                  </a:cubicBezTo>
                  <a:cubicBezTo>
                    <a:pt x="188" y="83"/>
                    <a:pt x="187" y="82"/>
                    <a:pt x="187" y="82"/>
                  </a:cubicBezTo>
                  <a:cubicBezTo>
                    <a:pt x="187" y="81"/>
                    <a:pt x="187" y="80"/>
                    <a:pt x="187" y="79"/>
                  </a:cubicBezTo>
                  <a:cubicBezTo>
                    <a:pt x="188" y="79"/>
                    <a:pt x="188" y="78"/>
                    <a:pt x="189" y="77"/>
                  </a:cubicBezTo>
                  <a:cubicBezTo>
                    <a:pt x="189" y="77"/>
                    <a:pt x="189" y="76"/>
                    <a:pt x="190" y="76"/>
                  </a:cubicBezTo>
                  <a:cubicBezTo>
                    <a:pt x="191" y="76"/>
                    <a:pt x="193" y="76"/>
                    <a:pt x="194" y="77"/>
                  </a:cubicBezTo>
                  <a:cubicBezTo>
                    <a:pt x="195" y="77"/>
                    <a:pt x="195" y="78"/>
                    <a:pt x="196" y="79"/>
                  </a:cubicBezTo>
                  <a:cubicBezTo>
                    <a:pt x="196" y="79"/>
                    <a:pt x="197" y="80"/>
                    <a:pt x="198" y="80"/>
                  </a:cubicBezTo>
                  <a:cubicBezTo>
                    <a:pt x="200" y="81"/>
                    <a:pt x="202" y="81"/>
                    <a:pt x="205" y="80"/>
                  </a:cubicBezTo>
                  <a:cubicBezTo>
                    <a:pt x="206" y="79"/>
                    <a:pt x="207" y="77"/>
                    <a:pt x="208" y="75"/>
                  </a:cubicBezTo>
                  <a:cubicBezTo>
                    <a:pt x="208" y="74"/>
                    <a:pt x="209" y="72"/>
                    <a:pt x="210" y="72"/>
                  </a:cubicBezTo>
                  <a:cubicBezTo>
                    <a:pt x="213" y="72"/>
                    <a:pt x="216" y="72"/>
                    <a:pt x="218" y="71"/>
                  </a:cubicBezTo>
                  <a:cubicBezTo>
                    <a:pt x="218" y="70"/>
                    <a:pt x="219" y="70"/>
                    <a:pt x="219" y="69"/>
                  </a:cubicBezTo>
                  <a:cubicBezTo>
                    <a:pt x="220" y="68"/>
                    <a:pt x="219" y="66"/>
                    <a:pt x="220" y="65"/>
                  </a:cubicBezTo>
                  <a:cubicBezTo>
                    <a:pt x="220" y="65"/>
                    <a:pt x="221" y="64"/>
                    <a:pt x="222" y="64"/>
                  </a:cubicBezTo>
                  <a:cubicBezTo>
                    <a:pt x="224" y="63"/>
                    <a:pt x="227" y="64"/>
                    <a:pt x="229" y="62"/>
                  </a:cubicBezTo>
                  <a:cubicBezTo>
                    <a:pt x="230" y="62"/>
                    <a:pt x="230" y="62"/>
                    <a:pt x="231" y="61"/>
                  </a:cubicBezTo>
                  <a:cubicBezTo>
                    <a:pt x="231" y="61"/>
                    <a:pt x="231" y="61"/>
                    <a:pt x="232" y="61"/>
                  </a:cubicBezTo>
                  <a:cubicBezTo>
                    <a:pt x="232" y="61"/>
                    <a:pt x="233" y="60"/>
                    <a:pt x="234" y="60"/>
                  </a:cubicBezTo>
                  <a:cubicBezTo>
                    <a:pt x="236" y="59"/>
                    <a:pt x="239" y="60"/>
                    <a:pt x="241" y="61"/>
                  </a:cubicBezTo>
                  <a:cubicBezTo>
                    <a:pt x="242" y="61"/>
                    <a:pt x="243" y="61"/>
                    <a:pt x="244" y="61"/>
                  </a:cubicBezTo>
                  <a:cubicBezTo>
                    <a:pt x="244" y="60"/>
                    <a:pt x="245" y="60"/>
                    <a:pt x="245" y="60"/>
                  </a:cubicBezTo>
                  <a:cubicBezTo>
                    <a:pt x="246" y="58"/>
                    <a:pt x="245" y="57"/>
                    <a:pt x="244" y="55"/>
                  </a:cubicBezTo>
                  <a:cubicBezTo>
                    <a:pt x="243" y="54"/>
                    <a:pt x="244" y="52"/>
                    <a:pt x="242" y="51"/>
                  </a:cubicBezTo>
                  <a:cubicBezTo>
                    <a:pt x="240" y="50"/>
                    <a:pt x="238" y="49"/>
                    <a:pt x="235" y="47"/>
                  </a:cubicBezTo>
                  <a:cubicBezTo>
                    <a:pt x="233" y="46"/>
                    <a:pt x="232" y="45"/>
                    <a:pt x="230" y="44"/>
                  </a:cubicBezTo>
                  <a:cubicBezTo>
                    <a:pt x="230" y="44"/>
                    <a:pt x="228" y="44"/>
                    <a:pt x="228" y="44"/>
                  </a:cubicBezTo>
                  <a:cubicBezTo>
                    <a:pt x="226" y="45"/>
                    <a:pt x="226" y="47"/>
                    <a:pt x="225" y="48"/>
                  </a:cubicBezTo>
                  <a:cubicBezTo>
                    <a:pt x="225" y="48"/>
                    <a:pt x="224" y="48"/>
                    <a:pt x="224" y="48"/>
                  </a:cubicBezTo>
                  <a:cubicBezTo>
                    <a:pt x="222" y="49"/>
                    <a:pt x="220" y="48"/>
                    <a:pt x="219" y="49"/>
                  </a:cubicBezTo>
                  <a:cubicBezTo>
                    <a:pt x="217" y="50"/>
                    <a:pt x="216" y="50"/>
                    <a:pt x="215" y="49"/>
                  </a:cubicBezTo>
                  <a:cubicBezTo>
                    <a:pt x="214" y="49"/>
                    <a:pt x="212" y="48"/>
                    <a:pt x="212" y="47"/>
                  </a:cubicBezTo>
                  <a:cubicBezTo>
                    <a:pt x="211" y="45"/>
                    <a:pt x="211" y="44"/>
                    <a:pt x="211" y="42"/>
                  </a:cubicBezTo>
                  <a:cubicBezTo>
                    <a:pt x="212" y="40"/>
                    <a:pt x="212" y="37"/>
                    <a:pt x="212" y="35"/>
                  </a:cubicBezTo>
                  <a:cubicBezTo>
                    <a:pt x="212" y="34"/>
                    <a:pt x="213" y="32"/>
                    <a:pt x="213" y="31"/>
                  </a:cubicBezTo>
                  <a:cubicBezTo>
                    <a:pt x="214" y="29"/>
                    <a:pt x="213" y="26"/>
                    <a:pt x="213" y="24"/>
                  </a:cubicBezTo>
                  <a:cubicBezTo>
                    <a:pt x="213" y="24"/>
                    <a:pt x="213" y="24"/>
                    <a:pt x="213" y="24"/>
                  </a:cubicBezTo>
                  <a:cubicBezTo>
                    <a:pt x="211" y="22"/>
                    <a:pt x="208" y="24"/>
                    <a:pt x="205" y="23"/>
                  </a:cubicBezTo>
                  <a:cubicBezTo>
                    <a:pt x="203" y="23"/>
                    <a:pt x="202" y="21"/>
                    <a:pt x="200" y="21"/>
                  </a:cubicBezTo>
                  <a:cubicBezTo>
                    <a:pt x="199" y="20"/>
                    <a:pt x="198" y="20"/>
                    <a:pt x="197" y="21"/>
                  </a:cubicBezTo>
                  <a:cubicBezTo>
                    <a:pt x="197" y="21"/>
                    <a:pt x="196" y="21"/>
                    <a:pt x="195" y="22"/>
                  </a:cubicBezTo>
                  <a:cubicBezTo>
                    <a:pt x="195" y="22"/>
                    <a:pt x="194" y="22"/>
                    <a:pt x="194" y="22"/>
                  </a:cubicBezTo>
                  <a:cubicBezTo>
                    <a:pt x="192" y="24"/>
                    <a:pt x="191" y="26"/>
                    <a:pt x="188" y="27"/>
                  </a:cubicBezTo>
                  <a:cubicBezTo>
                    <a:pt x="186" y="29"/>
                    <a:pt x="183" y="27"/>
                    <a:pt x="181" y="29"/>
                  </a:cubicBezTo>
                  <a:cubicBezTo>
                    <a:pt x="181" y="29"/>
                    <a:pt x="180" y="30"/>
                    <a:pt x="180" y="30"/>
                  </a:cubicBezTo>
                  <a:cubicBezTo>
                    <a:pt x="178" y="31"/>
                    <a:pt x="177" y="31"/>
                    <a:pt x="175" y="31"/>
                  </a:cubicBezTo>
                  <a:cubicBezTo>
                    <a:pt x="171" y="31"/>
                    <a:pt x="167" y="31"/>
                    <a:pt x="162" y="31"/>
                  </a:cubicBezTo>
                  <a:cubicBezTo>
                    <a:pt x="160" y="29"/>
                    <a:pt x="157" y="31"/>
                    <a:pt x="154" y="29"/>
                  </a:cubicBezTo>
                  <a:cubicBezTo>
                    <a:pt x="151" y="28"/>
                    <a:pt x="150" y="25"/>
                    <a:pt x="147" y="24"/>
                  </a:cubicBezTo>
                  <a:cubicBezTo>
                    <a:pt x="146" y="24"/>
                    <a:pt x="145" y="24"/>
                    <a:pt x="144" y="24"/>
                  </a:cubicBezTo>
                  <a:cubicBezTo>
                    <a:pt x="143" y="24"/>
                    <a:pt x="143" y="23"/>
                    <a:pt x="142" y="23"/>
                  </a:cubicBezTo>
                  <a:cubicBezTo>
                    <a:pt x="140" y="20"/>
                    <a:pt x="135" y="18"/>
                    <a:pt x="131" y="19"/>
                  </a:cubicBezTo>
                  <a:cubicBezTo>
                    <a:pt x="131" y="19"/>
                    <a:pt x="130" y="20"/>
                    <a:pt x="129" y="20"/>
                  </a:cubicBezTo>
                  <a:cubicBezTo>
                    <a:pt x="127" y="21"/>
                    <a:pt x="125" y="21"/>
                    <a:pt x="123" y="22"/>
                  </a:cubicBezTo>
                  <a:cubicBezTo>
                    <a:pt x="122" y="22"/>
                    <a:pt x="120" y="22"/>
                    <a:pt x="119" y="22"/>
                  </a:cubicBezTo>
                  <a:cubicBezTo>
                    <a:pt x="119" y="22"/>
                    <a:pt x="118" y="21"/>
                    <a:pt x="117" y="21"/>
                  </a:cubicBezTo>
                  <a:cubicBezTo>
                    <a:pt x="115" y="21"/>
                    <a:pt x="113" y="21"/>
                    <a:pt x="111" y="20"/>
                  </a:cubicBezTo>
                  <a:cubicBezTo>
                    <a:pt x="110" y="20"/>
                    <a:pt x="109" y="20"/>
                    <a:pt x="108" y="19"/>
                  </a:cubicBezTo>
                  <a:cubicBezTo>
                    <a:pt x="108" y="19"/>
                    <a:pt x="108" y="18"/>
                    <a:pt x="108" y="18"/>
                  </a:cubicBezTo>
                  <a:cubicBezTo>
                    <a:pt x="108" y="17"/>
                    <a:pt x="107" y="16"/>
                    <a:pt x="106" y="16"/>
                  </a:cubicBezTo>
                  <a:cubicBezTo>
                    <a:pt x="106" y="15"/>
                    <a:pt x="106" y="14"/>
                    <a:pt x="106" y="14"/>
                  </a:cubicBezTo>
                  <a:cubicBezTo>
                    <a:pt x="105" y="13"/>
                    <a:pt x="104" y="12"/>
                    <a:pt x="104" y="12"/>
                  </a:cubicBezTo>
                  <a:cubicBezTo>
                    <a:pt x="104" y="11"/>
                    <a:pt x="104" y="10"/>
                    <a:pt x="104" y="10"/>
                  </a:cubicBezTo>
                  <a:cubicBezTo>
                    <a:pt x="103" y="8"/>
                    <a:pt x="102" y="7"/>
                    <a:pt x="101" y="7"/>
                  </a:cubicBezTo>
                  <a:cubicBezTo>
                    <a:pt x="99" y="6"/>
                    <a:pt x="98" y="6"/>
                    <a:pt x="96" y="6"/>
                  </a:cubicBezTo>
                  <a:cubicBezTo>
                    <a:pt x="95" y="6"/>
                    <a:pt x="93" y="5"/>
                    <a:pt x="92" y="5"/>
                  </a:cubicBezTo>
                  <a:cubicBezTo>
                    <a:pt x="90" y="4"/>
                    <a:pt x="87" y="5"/>
                    <a:pt x="85" y="4"/>
                  </a:cubicBezTo>
                  <a:cubicBezTo>
                    <a:pt x="83" y="3"/>
                    <a:pt x="81" y="2"/>
                    <a:pt x="79" y="1"/>
                  </a:cubicBezTo>
                  <a:cubicBezTo>
                    <a:pt x="78" y="1"/>
                    <a:pt x="77" y="0"/>
                    <a:pt x="77" y="1"/>
                  </a:cubicBezTo>
                  <a:cubicBezTo>
                    <a:pt x="76" y="2"/>
                    <a:pt x="75" y="3"/>
                    <a:pt x="75" y="5"/>
                  </a:cubicBezTo>
                  <a:cubicBezTo>
                    <a:pt x="75" y="6"/>
                    <a:pt x="73" y="5"/>
                    <a:pt x="72" y="6"/>
                  </a:cubicBezTo>
                  <a:cubicBezTo>
                    <a:pt x="72" y="6"/>
                    <a:pt x="72" y="7"/>
                    <a:pt x="72" y="8"/>
                  </a:cubicBezTo>
                  <a:cubicBezTo>
                    <a:pt x="71" y="9"/>
                    <a:pt x="70" y="9"/>
                    <a:pt x="69" y="10"/>
                  </a:cubicBezTo>
                  <a:cubicBezTo>
                    <a:pt x="69" y="11"/>
                    <a:pt x="69" y="12"/>
                    <a:pt x="70" y="13"/>
                  </a:cubicBezTo>
                  <a:cubicBezTo>
                    <a:pt x="71" y="14"/>
                    <a:pt x="73" y="14"/>
                    <a:pt x="74" y="16"/>
                  </a:cubicBezTo>
                  <a:cubicBezTo>
                    <a:pt x="75" y="18"/>
                    <a:pt x="74" y="19"/>
                    <a:pt x="74" y="21"/>
                  </a:cubicBezTo>
                  <a:cubicBezTo>
                    <a:pt x="75" y="21"/>
                    <a:pt x="75" y="21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7" y="24"/>
                    <a:pt x="76" y="25"/>
                    <a:pt x="75" y="25"/>
                  </a:cubicBezTo>
                  <a:cubicBezTo>
                    <a:pt x="73" y="26"/>
                    <a:pt x="72" y="25"/>
                    <a:pt x="70" y="26"/>
                  </a:cubicBezTo>
                  <a:cubicBezTo>
                    <a:pt x="69" y="26"/>
                    <a:pt x="67" y="26"/>
                    <a:pt x="66" y="26"/>
                  </a:cubicBezTo>
                  <a:cubicBezTo>
                    <a:pt x="64" y="25"/>
                    <a:pt x="63" y="25"/>
                    <a:pt x="61" y="24"/>
                  </a:cubicBezTo>
                  <a:cubicBezTo>
                    <a:pt x="61" y="24"/>
                    <a:pt x="60" y="24"/>
                    <a:pt x="60" y="24"/>
                  </a:cubicBezTo>
                  <a:cubicBezTo>
                    <a:pt x="59" y="24"/>
                    <a:pt x="57" y="24"/>
                    <a:pt x="56" y="25"/>
                  </a:cubicBezTo>
                  <a:cubicBezTo>
                    <a:pt x="55" y="25"/>
                    <a:pt x="53" y="24"/>
                    <a:pt x="52" y="23"/>
                  </a:cubicBezTo>
                  <a:cubicBezTo>
                    <a:pt x="51" y="22"/>
                    <a:pt x="50" y="23"/>
                    <a:pt x="49" y="23"/>
                  </a:cubicBezTo>
                  <a:cubicBezTo>
                    <a:pt x="48" y="22"/>
                    <a:pt x="49" y="21"/>
                    <a:pt x="47" y="21"/>
                  </a:cubicBezTo>
                  <a:cubicBezTo>
                    <a:pt x="47" y="19"/>
                    <a:pt x="48" y="18"/>
                    <a:pt x="47" y="17"/>
                  </a:cubicBezTo>
                  <a:cubicBezTo>
                    <a:pt x="47" y="16"/>
                    <a:pt x="46" y="16"/>
                    <a:pt x="45" y="16"/>
                  </a:cubicBezTo>
                  <a:cubicBezTo>
                    <a:pt x="43" y="17"/>
                    <a:pt x="41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5" y="14"/>
                    <a:pt x="33" y="15"/>
                    <a:pt x="32" y="14"/>
                  </a:cubicBezTo>
                  <a:cubicBezTo>
                    <a:pt x="31" y="14"/>
                    <a:pt x="30" y="14"/>
                    <a:pt x="29" y="13"/>
                  </a:cubicBezTo>
                  <a:cubicBezTo>
                    <a:pt x="29" y="13"/>
                    <a:pt x="28" y="13"/>
                    <a:pt x="27" y="14"/>
                  </a:cubicBezTo>
                  <a:cubicBezTo>
                    <a:pt x="26" y="15"/>
                    <a:pt x="25" y="16"/>
                    <a:pt x="24" y="17"/>
                  </a:cubicBezTo>
                  <a:cubicBezTo>
                    <a:pt x="23" y="17"/>
                    <a:pt x="23" y="18"/>
                    <a:pt x="23" y="18"/>
                  </a:cubicBezTo>
                  <a:cubicBezTo>
                    <a:pt x="22" y="18"/>
                    <a:pt x="20" y="17"/>
                    <a:pt x="19" y="18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4"/>
                    <a:pt x="14" y="24"/>
                    <a:pt x="13" y="25"/>
                  </a:cubicBezTo>
                  <a:cubicBezTo>
                    <a:pt x="12" y="26"/>
                    <a:pt x="11" y="27"/>
                    <a:pt x="11" y="28"/>
                  </a:cubicBezTo>
                  <a:cubicBezTo>
                    <a:pt x="10" y="29"/>
                    <a:pt x="9" y="29"/>
                    <a:pt x="8" y="30"/>
                  </a:cubicBezTo>
                  <a:cubicBezTo>
                    <a:pt x="6" y="30"/>
                    <a:pt x="4" y="29"/>
                    <a:pt x="2" y="30"/>
                  </a:cubicBezTo>
                  <a:cubicBezTo>
                    <a:pt x="1" y="31"/>
                    <a:pt x="0" y="33"/>
                    <a:pt x="0" y="3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6" name="Freeform 204"/>
            <p:cNvSpPr>
              <a:spLocks/>
            </p:cNvSpPr>
            <p:nvPr/>
          </p:nvSpPr>
          <p:spPr bwMode="auto">
            <a:xfrm>
              <a:off x="8142339" y="4880941"/>
              <a:ext cx="57273" cy="59225"/>
            </a:xfrm>
            <a:custGeom>
              <a:avLst/>
              <a:gdLst>
                <a:gd name="T0" fmla="*/ 0 w 43"/>
                <a:gd name="T1" fmla="*/ 30553764 h 55"/>
                <a:gd name="T2" fmla="*/ 0 w 43"/>
                <a:gd name="T3" fmla="*/ 30553764 h 55"/>
                <a:gd name="T4" fmla="*/ 2508984 w 43"/>
                <a:gd name="T5" fmla="*/ 32133921 h 55"/>
                <a:gd name="T6" fmla="*/ 7022497 w 43"/>
                <a:gd name="T7" fmla="*/ 33265629 h 55"/>
                <a:gd name="T8" fmla="*/ 8402175 w 43"/>
                <a:gd name="T9" fmla="*/ 33265629 h 55"/>
                <a:gd name="T10" fmla="*/ 8402175 w 43"/>
                <a:gd name="T11" fmla="*/ 41744284 h 55"/>
                <a:gd name="T12" fmla="*/ 5893195 w 43"/>
                <a:gd name="T13" fmla="*/ 46582135 h 55"/>
                <a:gd name="T14" fmla="*/ 7022497 w 43"/>
                <a:gd name="T15" fmla="*/ 46582135 h 55"/>
                <a:gd name="T16" fmla="*/ 10262278 w 43"/>
                <a:gd name="T17" fmla="*/ 51443170 h 55"/>
                <a:gd name="T18" fmla="*/ 12122866 w 43"/>
                <a:gd name="T19" fmla="*/ 51443170 h 55"/>
                <a:gd name="T20" fmla="*/ 13842148 w 43"/>
                <a:gd name="T21" fmla="*/ 49435630 h 55"/>
                <a:gd name="T22" fmla="*/ 15426147 w 43"/>
                <a:gd name="T23" fmla="*/ 50082169 h 55"/>
                <a:gd name="T24" fmla="*/ 16494699 w 43"/>
                <a:gd name="T25" fmla="*/ 49435630 h 55"/>
                <a:gd name="T26" fmla="*/ 19003303 w 43"/>
                <a:gd name="T27" fmla="*/ 44482697 h 55"/>
                <a:gd name="T28" fmla="*/ 24104407 w 43"/>
                <a:gd name="T29" fmla="*/ 46582135 h 55"/>
                <a:gd name="T30" fmla="*/ 28474633 w 43"/>
                <a:gd name="T31" fmla="*/ 44482697 h 55"/>
                <a:gd name="T32" fmla="*/ 29266792 w 43"/>
                <a:gd name="T33" fmla="*/ 44482697 h 55"/>
                <a:gd name="T34" fmla="*/ 25490446 w 43"/>
                <a:gd name="T35" fmla="*/ 40962053 h 55"/>
                <a:gd name="T36" fmla="*/ 21600153 w 43"/>
                <a:gd name="T37" fmla="*/ 36149095 h 55"/>
                <a:gd name="T38" fmla="*/ 21600153 w 43"/>
                <a:gd name="T39" fmla="*/ 33265629 h 55"/>
                <a:gd name="T40" fmla="*/ 22244298 w 43"/>
                <a:gd name="T41" fmla="*/ 30553764 h 55"/>
                <a:gd name="T42" fmla="*/ 23036232 w 43"/>
                <a:gd name="T43" fmla="*/ 29407117 h 55"/>
                <a:gd name="T44" fmla="*/ 27351777 w 43"/>
                <a:gd name="T45" fmla="*/ 29407117 h 55"/>
                <a:gd name="T46" fmla="*/ 29266792 w 43"/>
                <a:gd name="T47" fmla="*/ 27670998 h 55"/>
                <a:gd name="T48" fmla="*/ 30003951 w 43"/>
                <a:gd name="T49" fmla="*/ 26510888 h 55"/>
                <a:gd name="T50" fmla="*/ 34373369 w 43"/>
                <a:gd name="T51" fmla="*/ 20915084 h 55"/>
                <a:gd name="T52" fmla="*/ 33580966 w 43"/>
                <a:gd name="T53" fmla="*/ 15293853 h 55"/>
                <a:gd name="T54" fmla="*/ 33580966 w 43"/>
                <a:gd name="T55" fmla="*/ 14073924 h 55"/>
                <a:gd name="T56" fmla="*/ 34373369 w 43"/>
                <a:gd name="T57" fmla="*/ 12441474 h 55"/>
                <a:gd name="T58" fmla="*/ 34971703 w 43"/>
                <a:gd name="T59" fmla="*/ 9698940 h 55"/>
                <a:gd name="T60" fmla="*/ 36233498 w 43"/>
                <a:gd name="T61" fmla="*/ 7630665 h 55"/>
                <a:gd name="T62" fmla="*/ 36882039 w 43"/>
                <a:gd name="T63" fmla="*/ 5595820 h 55"/>
                <a:gd name="T64" fmla="*/ 36233498 w 43"/>
                <a:gd name="T65" fmla="*/ 4745295 h 55"/>
                <a:gd name="T66" fmla="*/ 36233498 w 43"/>
                <a:gd name="T67" fmla="*/ 3587761 h 55"/>
                <a:gd name="T68" fmla="*/ 32512941 w 43"/>
                <a:gd name="T69" fmla="*/ 849380 h 55"/>
                <a:gd name="T70" fmla="*/ 31720857 w 43"/>
                <a:gd name="T71" fmla="*/ 849380 h 55"/>
                <a:gd name="T72" fmla="*/ 30003951 w 43"/>
                <a:gd name="T73" fmla="*/ 5595820 h 55"/>
                <a:gd name="T74" fmla="*/ 28474633 w 43"/>
                <a:gd name="T75" fmla="*/ 8480160 h 55"/>
                <a:gd name="T76" fmla="*/ 27351777 w 43"/>
                <a:gd name="T77" fmla="*/ 9698940 h 55"/>
                <a:gd name="T78" fmla="*/ 26613378 w 43"/>
                <a:gd name="T79" fmla="*/ 9698940 h 55"/>
                <a:gd name="T80" fmla="*/ 25490446 w 43"/>
                <a:gd name="T81" fmla="*/ 10341119 h 55"/>
                <a:gd name="T82" fmla="*/ 23036232 w 43"/>
                <a:gd name="T83" fmla="*/ 10341119 h 55"/>
                <a:gd name="T84" fmla="*/ 21600153 w 43"/>
                <a:gd name="T85" fmla="*/ 15293853 h 55"/>
                <a:gd name="T86" fmla="*/ 19735327 w 43"/>
                <a:gd name="T87" fmla="*/ 14073924 h 55"/>
                <a:gd name="T88" fmla="*/ 17081927 w 43"/>
                <a:gd name="T89" fmla="*/ 14073924 h 55"/>
                <a:gd name="T90" fmla="*/ 14634214 w 43"/>
                <a:gd name="T91" fmla="*/ 12441474 h 55"/>
                <a:gd name="T92" fmla="*/ 12122866 w 43"/>
                <a:gd name="T93" fmla="*/ 13226485 h 55"/>
                <a:gd name="T94" fmla="*/ 12122866 w 43"/>
                <a:gd name="T95" fmla="*/ 18036115 h 55"/>
                <a:gd name="T96" fmla="*/ 7609730 w 43"/>
                <a:gd name="T97" fmla="*/ 20915084 h 55"/>
                <a:gd name="T98" fmla="*/ 7022497 w 43"/>
                <a:gd name="T99" fmla="*/ 21764424 h 55"/>
                <a:gd name="T100" fmla="*/ 5161223 w 43"/>
                <a:gd name="T101" fmla="*/ 25663080 h 55"/>
                <a:gd name="T102" fmla="*/ 2508984 w 43"/>
                <a:gd name="T103" fmla="*/ 27670998 h 55"/>
                <a:gd name="T104" fmla="*/ 0 w 43"/>
                <a:gd name="T105" fmla="*/ 30553764 h 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3"/>
                <a:gd name="T160" fmla="*/ 0 h 55"/>
                <a:gd name="T161" fmla="*/ 43 w 43"/>
                <a:gd name="T162" fmla="*/ 55 h 5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3" h="55">
                  <a:moveTo>
                    <a:pt x="0" y="32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1" y="33"/>
                    <a:pt x="2" y="34"/>
                    <a:pt x="3" y="34"/>
                  </a:cubicBezTo>
                  <a:cubicBezTo>
                    <a:pt x="4" y="36"/>
                    <a:pt x="6" y="34"/>
                    <a:pt x="8" y="35"/>
                  </a:cubicBezTo>
                  <a:cubicBezTo>
                    <a:pt x="9" y="35"/>
                    <a:pt x="10" y="35"/>
                    <a:pt x="10" y="35"/>
                  </a:cubicBezTo>
                  <a:cubicBezTo>
                    <a:pt x="10" y="38"/>
                    <a:pt x="10" y="41"/>
                    <a:pt x="10" y="44"/>
                  </a:cubicBezTo>
                  <a:cubicBezTo>
                    <a:pt x="9" y="46"/>
                    <a:pt x="6" y="47"/>
                    <a:pt x="7" y="49"/>
                  </a:cubicBezTo>
                  <a:cubicBezTo>
                    <a:pt x="7" y="49"/>
                    <a:pt x="8" y="49"/>
                    <a:pt x="8" y="49"/>
                  </a:cubicBezTo>
                  <a:cubicBezTo>
                    <a:pt x="10" y="51"/>
                    <a:pt x="11" y="52"/>
                    <a:pt x="12" y="54"/>
                  </a:cubicBezTo>
                  <a:cubicBezTo>
                    <a:pt x="12" y="54"/>
                    <a:pt x="13" y="55"/>
                    <a:pt x="14" y="54"/>
                  </a:cubicBezTo>
                  <a:cubicBezTo>
                    <a:pt x="14" y="53"/>
                    <a:pt x="14" y="51"/>
                    <a:pt x="16" y="52"/>
                  </a:cubicBezTo>
                  <a:cubicBezTo>
                    <a:pt x="17" y="52"/>
                    <a:pt x="17" y="53"/>
                    <a:pt x="18" y="53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20" y="51"/>
                    <a:pt x="21" y="49"/>
                    <a:pt x="22" y="47"/>
                  </a:cubicBezTo>
                  <a:cubicBezTo>
                    <a:pt x="24" y="47"/>
                    <a:pt x="26" y="48"/>
                    <a:pt x="28" y="49"/>
                  </a:cubicBezTo>
                  <a:cubicBezTo>
                    <a:pt x="29" y="49"/>
                    <a:pt x="32" y="49"/>
                    <a:pt x="3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3" y="45"/>
                    <a:pt x="32" y="43"/>
                    <a:pt x="30" y="43"/>
                  </a:cubicBezTo>
                  <a:cubicBezTo>
                    <a:pt x="28" y="42"/>
                    <a:pt x="26" y="40"/>
                    <a:pt x="25" y="38"/>
                  </a:cubicBezTo>
                  <a:cubicBezTo>
                    <a:pt x="24" y="37"/>
                    <a:pt x="24" y="36"/>
                    <a:pt x="25" y="35"/>
                  </a:cubicBezTo>
                  <a:cubicBezTo>
                    <a:pt x="25" y="34"/>
                    <a:pt x="26" y="33"/>
                    <a:pt x="26" y="32"/>
                  </a:cubicBezTo>
                  <a:cubicBezTo>
                    <a:pt x="26" y="32"/>
                    <a:pt x="26" y="32"/>
                    <a:pt x="27" y="31"/>
                  </a:cubicBezTo>
                  <a:cubicBezTo>
                    <a:pt x="28" y="31"/>
                    <a:pt x="30" y="31"/>
                    <a:pt x="32" y="31"/>
                  </a:cubicBezTo>
                  <a:cubicBezTo>
                    <a:pt x="33" y="31"/>
                    <a:pt x="33" y="29"/>
                    <a:pt x="34" y="29"/>
                  </a:cubicBezTo>
                  <a:cubicBezTo>
                    <a:pt x="34" y="29"/>
                    <a:pt x="35" y="28"/>
                    <a:pt x="35" y="28"/>
                  </a:cubicBezTo>
                  <a:cubicBezTo>
                    <a:pt x="35" y="25"/>
                    <a:pt x="38" y="25"/>
                    <a:pt x="40" y="22"/>
                  </a:cubicBezTo>
                  <a:cubicBezTo>
                    <a:pt x="41" y="20"/>
                    <a:pt x="40" y="18"/>
                    <a:pt x="39" y="16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4"/>
                    <a:pt x="40" y="14"/>
                    <a:pt x="40" y="13"/>
                  </a:cubicBezTo>
                  <a:cubicBezTo>
                    <a:pt x="41" y="12"/>
                    <a:pt x="40" y="11"/>
                    <a:pt x="41" y="10"/>
                  </a:cubicBezTo>
                  <a:cubicBezTo>
                    <a:pt x="41" y="9"/>
                    <a:pt x="41" y="8"/>
                    <a:pt x="42" y="8"/>
                  </a:cubicBezTo>
                  <a:cubicBezTo>
                    <a:pt x="42" y="7"/>
                    <a:pt x="43" y="7"/>
                    <a:pt x="43" y="6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4"/>
                    <a:pt x="42" y="4"/>
                  </a:cubicBezTo>
                  <a:cubicBezTo>
                    <a:pt x="40" y="3"/>
                    <a:pt x="39" y="2"/>
                    <a:pt x="38" y="1"/>
                  </a:cubicBezTo>
                  <a:cubicBezTo>
                    <a:pt x="38" y="0"/>
                    <a:pt x="37" y="0"/>
                    <a:pt x="37" y="1"/>
                  </a:cubicBezTo>
                  <a:cubicBezTo>
                    <a:pt x="36" y="3"/>
                    <a:pt x="36" y="5"/>
                    <a:pt x="35" y="6"/>
                  </a:cubicBezTo>
                  <a:cubicBezTo>
                    <a:pt x="35" y="7"/>
                    <a:pt x="34" y="8"/>
                    <a:pt x="33" y="9"/>
                  </a:cubicBezTo>
                  <a:cubicBezTo>
                    <a:pt x="33" y="10"/>
                    <a:pt x="32" y="10"/>
                    <a:pt x="32" y="10"/>
                  </a:cubicBezTo>
                  <a:cubicBezTo>
                    <a:pt x="32" y="10"/>
                    <a:pt x="31" y="10"/>
                    <a:pt x="31" y="10"/>
                  </a:cubicBezTo>
                  <a:cubicBezTo>
                    <a:pt x="31" y="10"/>
                    <a:pt x="30" y="11"/>
                    <a:pt x="30" y="11"/>
                  </a:cubicBezTo>
                  <a:cubicBezTo>
                    <a:pt x="29" y="11"/>
                    <a:pt x="28" y="11"/>
                    <a:pt x="27" y="11"/>
                  </a:cubicBezTo>
                  <a:cubicBezTo>
                    <a:pt x="26" y="12"/>
                    <a:pt x="27" y="15"/>
                    <a:pt x="25" y="16"/>
                  </a:cubicBezTo>
                  <a:cubicBezTo>
                    <a:pt x="25" y="16"/>
                    <a:pt x="24" y="16"/>
                    <a:pt x="23" y="15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19" y="14"/>
                    <a:pt x="18" y="13"/>
                    <a:pt x="17" y="13"/>
                  </a:cubicBezTo>
                  <a:cubicBezTo>
                    <a:pt x="16" y="12"/>
                    <a:pt x="15" y="13"/>
                    <a:pt x="14" y="14"/>
                  </a:cubicBezTo>
                  <a:cubicBezTo>
                    <a:pt x="14" y="16"/>
                    <a:pt x="14" y="17"/>
                    <a:pt x="14" y="19"/>
                  </a:cubicBezTo>
                  <a:cubicBezTo>
                    <a:pt x="13" y="21"/>
                    <a:pt x="11" y="21"/>
                    <a:pt x="9" y="22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5"/>
                    <a:pt x="6" y="26"/>
                    <a:pt x="6" y="27"/>
                  </a:cubicBezTo>
                  <a:cubicBezTo>
                    <a:pt x="5" y="28"/>
                    <a:pt x="4" y="28"/>
                    <a:pt x="3" y="29"/>
                  </a:cubicBezTo>
                  <a:cubicBezTo>
                    <a:pt x="2" y="29"/>
                    <a:pt x="1" y="30"/>
                    <a:pt x="0" y="3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7" name="Freeform 205"/>
            <p:cNvSpPr>
              <a:spLocks/>
            </p:cNvSpPr>
            <p:nvPr/>
          </p:nvSpPr>
          <p:spPr bwMode="auto">
            <a:xfrm>
              <a:off x="7396355" y="4885170"/>
              <a:ext cx="152242" cy="82192"/>
            </a:xfrm>
            <a:custGeom>
              <a:avLst/>
              <a:gdLst>
                <a:gd name="T0" fmla="*/ 3574376 w 113"/>
                <a:gd name="T1" fmla="*/ 6171011 h 76"/>
                <a:gd name="T2" fmla="*/ 9666756 w 113"/>
                <a:gd name="T3" fmla="*/ 3352262 h 76"/>
                <a:gd name="T4" fmla="*/ 23465438 w 113"/>
                <a:gd name="T5" fmla="*/ 13263485 h 76"/>
                <a:gd name="T6" fmla="*/ 27553835 w 113"/>
                <a:gd name="T7" fmla="*/ 12617060 h 76"/>
                <a:gd name="T8" fmla="*/ 27553835 w 113"/>
                <a:gd name="T9" fmla="*/ 12617060 h 76"/>
                <a:gd name="T10" fmla="*/ 34860843 w 113"/>
                <a:gd name="T11" fmla="*/ 13263485 h 76"/>
                <a:gd name="T12" fmla="*/ 34860843 w 113"/>
                <a:gd name="T13" fmla="*/ 7286717 h 76"/>
                <a:gd name="T14" fmla="*/ 38706209 w 113"/>
                <a:gd name="T15" fmla="*/ 5356966 h 76"/>
                <a:gd name="T16" fmla="*/ 42280521 w 113"/>
                <a:gd name="T17" fmla="*/ 814565 h 76"/>
                <a:gd name="T18" fmla="*/ 51083749 w 113"/>
                <a:gd name="T19" fmla="*/ 3352262 h 76"/>
                <a:gd name="T20" fmla="*/ 55444855 w 113"/>
                <a:gd name="T21" fmla="*/ 9870647 h 76"/>
                <a:gd name="T22" fmla="*/ 57440711 w 113"/>
                <a:gd name="T23" fmla="*/ 12617060 h 76"/>
                <a:gd name="T24" fmla="*/ 67990582 w 113"/>
                <a:gd name="T25" fmla="*/ 12617060 h 76"/>
                <a:gd name="T26" fmla="*/ 73550721 w 113"/>
                <a:gd name="T27" fmla="*/ 19697873 h 76"/>
                <a:gd name="T28" fmla="*/ 76284535 w 113"/>
                <a:gd name="T29" fmla="*/ 21673057 h 76"/>
                <a:gd name="T30" fmla="*/ 89459928 w 113"/>
                <a:gd name="T31" fmla="*/ 32316449 h 76"/>
                <a:gd name="T32" fmla="*/ 101968340 w 113"/>
                <a:gd name="T33" fmla="*/ 38487820 h 76"/>
                <a:gd name="T34" fmla="*/ 106681225 w 113"/>
                <a:gd name="T35" fmla="*/ 44959940 h 76"/>
                <a:gd name="T36" fmla="*/ 106681225 w 113"/>
                <a:gd name="T37" fmla="*/ 48309085 h 76"/>
                <a:gd name="T38" fmla="*/ 101968340 w 113"/>
                <a:gd name="T39" fmla="*/ 46393672 h 76"/>
                <a:gd name="T40" fmla="*/ 99901752 w 113"/>
                <a:gd name="T41" fmla="*/ 50227625 h 76"/>
                <a:gd name="T42" fmla="*/ 95508776 w 113"/>
                <a:gd name="T43" fmla="*/ 57517858 h 76"/>
                <a:gd name="T44" fmla="*/ 89459928 w 113"/>
                <a:gd name="T45" fmla="*/ 60932461 h 76"/>
                <a:gd name="T46" fmla="*/ 85060676 w 113"/>
                <a:gd name="T47" fmla="*/ 63553774 h 76"/>
                <a:gd name="T48" fmla="*/ 83010495 w 113"/>
                <a:gd name="T49" fmla="*/ 66285803 h 76"/>
                <a:gd name="T50" fmla="*/ 78280012 w 113"/>
                <a:gd name="T51" fmla="*/ 68219153 h 76"/>
                <a:gd name="T52" fmla="*/ 74706013 w 113"/>
                <a:gd name="T53" fmla="*/ 65471146 h 76"/>
                <a:gd name="T54" fmla="*/ 71836023 w 113"/>
                <a:gd name="T55" fmla="*/ 65471146 h 76"/>
                <a:gd name="T56" fmla="*/ 69834422 w 113"/>
                <a:gd name="T57" fmla="*/ 60932461 h 76"/>
                <a:gd name="T58" fmla="*/ 64258102 w 113"/>
                <a:gd name="T59" fmla="*/ 55600562 h 76"/>
                <a:gd name="T60" fmla="*/ 61530677 w 113"/>
                <a:gd name="T61" fmla="*/ 52223757 h 76"/>
                <a:gd name="T62" fmla="*/ 58326753 w 113"/>
                <a:gd name="T63" fmla="*/ 50227625 h 76"/>
                <a:gd name="T64" fmla="*/ 53969239 w 113"/>
                <a:gd name="T65" fmla="*/ 45773353 h 76"/>
                <a:gd name="T66" fmla="*/ 43637051 w 113"/>
                <a:gd name="T67" fmla="*/ 43798173 h 76"/>
                <a:gd name="T68" fmla="*/ 34860843 w 113"/>
                <a:gd name="T69" fmla="*/ 41025559 h 76"/>
                <a:gd name="T70" fmla="*/ 25552649 w 113"/>
                <a:gd name="T71" fmla="*/ 43041437 h 76"/>
                <a:gd name="T72" fmla="*/ 17226311 w 113"/>
                <a:gd name="T73" fmla="*/ 48309085 h 76"/>
                <a:gd name="T74" fmla="*/ 0 w 113"/>
                <a:gd name="T75" fmla="*/ 7286717 h 7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3"/>
                <a:gd name="T115" fmla="*/ 0 h 76"/>
                <a:gd name="T116" fmla="*/ 113 w 113"/>
                <a:gd name="T117" fmla="*/ 76 h 7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3" h="76">
                  <a:moveTo>
                    <a:pt x="0" y="8"/>
                  </a:moveTo>
                  <a:cubicBezTo>
                    <a:pt x="1" y="8"/>
                    <a:pt x="2" y="8"/>
                    <a:pt x="4" y="7"/>
                  </a:cubicBezTo>
                  <a:cubicBezTo>
                    <a:pt x="4" y="7"/>
                    <a:pt x="5" y="6"/>
                    <a:pt x="6" y="6"/>
                  </a:cubicBezTo>
                  <a:cubicBezTo>
                    <a:pt x="7" y="5"/>
                    <a:pt x="9" y="5"/>
                    <a:pt x="10" y="4"/>
                  </a:cubicBezTo>
                  <a:cubicBezTo>
                    <a:pt x="11" y="4"/>
                    <a:pt x="12" y="4"/>
                    <a:pt x="13" y="4"/>
                  </a:cubicBezTo>
                  <a:cubicBezTo>
                    <a:pt x="17" y="7"/>
                    <a:pt x="22" y="10"/>
                    <a:pt x="25" y="15"/>
                  </a:cubicBezTo>
                  <a:cubicBezTo>
                    <a:pt x="25" y="15"/>
                    <a:pt x="27" y="15"/>
                    <a:pt x="27" y="15"/>
                  </a:cubicBezTo>
                  <a:cubicBezTo>
                    <a:pt x="28" y="15"/>
                    <a:pt x="28" y="14"/>
                    <a:pt x="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1" y="14"/>
                    <a:pt x="34" y="14"/>
                    <a:pt x="36" y="15"/>
                  </a:cubicBezTo>
                  <a:cubicBezTo>
                    <a:pt x="36" y="15"/>
                    <a:pt x="37" y="15"/>
                    <a:pt x="37" y="15"/>
                  </a:cubicBezTo>
                  <a:cubicBezTo>
                    <a:pt x="37" y="14"/>
                    <a:pt x="37" y="14"/>
                    <a:pt x="37" y="13"/>
                  </a:cubicBezTo>
                  <a:cubicBezTo>
                    <a:pt x="36" y="11"/>
                    <a:pt x="36" y="9"/>
                    <a:pt x="37" y="8"/>
                  </a:cubicBezTo>
                  <a:cubicBezTo>
                    <a:pt x="37" y="6"/>
                    <a:pt x="39" y="7"/>
                    <a:pt x="40" y="7"/>
                  </a:cubicBezTo>
                  <a:cubicBezTo>
                    <a:pt x="41" y="7"/>
                    <a:pt x="41" y="7"/>
                    <a:pt x="41" y="6"/>
                  </a:cubicBezTo>
                  <a:cubicBezTo>
                    <a:pt x="42" y="4"/>
                    <a:pt x="42" y="2"/>
                    <a:pt x="44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7" y="1"/>
                    <a:pt x="48" y="0"/>
                    <a:pt x="49" y="1"/>
                  </a:cubicBezTo>
                  <a:cubicBezTo>
                    <a:pt x="51" y="2"/>
                    <a:pt x="53" y="2"/>
                    <a:pt x="54" y="4"/>
                  </a:cubicBezTo>
                  <a:cubicBezTo>
                    <a:pt x="56" y="5"/>
                    <a:pt x="58" y="5"/>
                    <a:pt x="59" y="7"/>
                  </a:cubicBezTo>
                  <a:cubicBezTo>
                    <a:pt x="59" y="9"/>
                    <a:pt x="59" y="10"/>
                    <a:pt x="59" y="11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60" y="13"/>
                    <a:pt x="60" y="14"/>
                    <a:pt x="61" y="14"/>
                  </a:cubicBezTo>
                  <a:cubicBezTo>
                    <a:pt x="64" y="14"/>
                    <a:pt x="66" y="15"/>
                    <a:pt x="69" y="14"/>
                  </a:cubicBezTo>
                  <a:cubicBezTo>
                    <a:pt x="70" y="14"/>
                    <a:pt x="71" y="14"/>
                    <a:pt x="72" y="14"/>
                  </a:cubicBezTo>
                  <a:cubicBezTo>
                    <a:pt x="75" y="15"/>
                    <a:pt x="76" y="17"/>
                    <a:pt x="77" y="18"/>
                  </a:cubicBezTo>
                  <a:cubicBezTo>
                    <a:pt x="78" y="19"/>
                    <a:pt x="78" y="21"/>
                    <a:pt x="78" y="22"/>
                  </a:cubicBezTo>
                  <a:cubicBezTo>
                    <a:pt x="78" y="22"/>
                    <a:pt x="79" y="22"/>
                    <a:pt x="79" y="23"/>
                  </a:cubicBezTo>
                  <a:cubicBezTo>
                    <a:pt x="80" y="23"/>
                    <a:pt x="81" y="23"/>
                    <a:pt x="81" y="24"/>
                  </a:cubicBezTo>
                  <a:cubicBezTo>
                    <a:pt x="82" y="26"/>
                    <a:pt x="82" y="28"/>
                    <a:pt x="84" y="30"/>
                  </a:cubicBezTo>
                  <a:cubicBezTo>
                    <a:pt x="87" y="33"/>
                    <a:pt x="90" y="35"/>
                    <a:pt x="95" y="36"/>
                  </a:cubicBezTo>
                  <a:cubicBezTo>
                    <a:pt x="97" y="38"/>
                    <a:pt x="99" y="41"/>
                    <a:pt x="102" y="42"/>
                  </a:cubicBezTo>
                  <a:cubicBezTo>
                    <a:pt x="104" y="43"/>
                    <a:pt x="106" y="43"/>
                    <a:pt x="108" y="43"/>
                  </a:cubicBezTo>
                  <a:cubicBezTo>
                    <a:pt x="109" y="44"/>
                    <a:pt x="110" y="46"/>
                    <a:pt x="111" y="48"/>
                  </a:cubicBezTo>
                  <a:cubicBezTo>
                    <a:pt x="112" y="48"/>
                    <a:pt x="112" y="49"/>
                    <a:pt x="113" y="50"/>
                  </a:cubicBezTo>
                  <a:cubicBezTo>
                    <a:pt x="113" y="51"/>
                    <a:pt x="113" y="53"/>
                    <a:pt x="113" y="54"/>
                  </a:cubicBezTo>
                  <a:cubicBezTo>
                    <a:pt x="113" y="54"/>
                    <a:pt x="113" y="54"/>
                    <a:pt x="113" y="54"/>
                  </a:cubicBezTo>
                  <a:cubicBezTo>
                    <a:pt x="112" y="54"/>
                    <a:pt x="112" y="53"/>
                    <a:pt x="111" y="53"/>
                  </a:cubicBezTo>
                  <a:cubicBezTo>
                    <a:pt x="110" y="53"/>
                    <a:pt x="109" y="53"/>
                    <a:pt x="108" y="52"/>
                  </a:cubicBezTo>
                  <a:cubicBezTo>
                    <a:pt x="107" y="52"/>
                    <a:pt x="107" y="52"/>
                    <a:pt x="107" y="52"/>
                  </a:cubicBezTo>
                  <a:cubicBezTo>
                    <a:pt x="106" y="53"/>
                    <a:pt x="107" y="55"/>
                    <a:pt x="106" y="56"/>
                  </a:cubicBezTo>
                  <a:cubicBezTo>
                    <a:pt x="104" y="56"/>
                    <a:pt x="103" y="56"/>
                    <a:pt x="102" y="57"/>
                  </a:cubicBezTo>
                  <a:cubicBezTo>
                    <a:pt x="101" y="59"/>
                    <a:pt x="103" y="62"/>
                    <a:pt x="101" y="64"/>
                  </a:cubicBezTo>
                  <a:cubicBezTo>
                    <a:pt x="101" y="65"/>
                    <a:pt x="100" y="65"/>
                    <a:pt x="99" y="65"/>
                  </a:cubicBezTo>
                  <a:cubicBezTo>
                    <a:pt x="98" y="66"/>
                    <a:pt x="97" y="67"/>
                    <a:pt x="95" y="68"/>
                  </a:cubicBezTo>
                  <a:cubicBezTo>
                    <a:pt x="94" y="70"/>
                    <a:pt x="92" y="69"/>
                    <a:pt x="90" y="69"/>
                  </a:cubicBezTo>
                  <a:cubicBezTo>
                    <a:pt x="90" y="70"/>
                    <a:pt x="90" y="71"/>
                    <a:pt x="90" y="71"/>
                  </a:cubicBezTo>
                  <a:cubicBezTo>
                    <a:pt x="91" y="72"/>
                    <a:pt x="91" y="73"/>
                    <a:pt x="90" y="73"/>
                  </a:cubicBezTo>
                  <a:cubicBezTo>
                    <a:pt x="89" y="74"/>
                    <a:pt x="88" y="73"/>
                    <a:pt x="88" y="74"/>
                  </a:cubicBezTo>
                  <a:cubicBezTo>
                    <a:pt x="87" y="74"/>
                    <a:pt x="86" y="75"/>
                    <a:pt x="84" y="76"/>
                  </a:cubicBezTo>
                  <a:cubicBezTo>
                    <a:pt x="84" y="76"/>
                    <a:pt x="83" y="76"/>
                    <a:pt x="83" y="76"/>
                  </a:cubicBezTo>
                  <a:cubicBezTo>
                    <a:pt x="82" y="75"/>
                    <a:pt x="83" y="74"/>
                    <a:pt x="82" y="74"/>
                  </a:cubicBezTo>
                  <a:cubicBezTo>
                    <a:pt x="81" y="73"/>
                    <a:pt x="79" y="74"/>
                    <a:pt x="79" y="73"/>
                  </a:cubicBezTo>
                  <a:cubicBezTo>
                    <a:pt x="78" y="73"/>
                    <a:pt x="77" y="73"/>
                    <a:pt x="76" y="73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2"/>
                    <a:pt x="76" y="72"/>
                    <a:pt x="76" y="71"/>
                  </a:cubicBezTo>
                  <a:cubicBezTo>
                    <a:pt x="75" y="70"/>
                    <a:pt x="74" y="69"/>
                    <a:pt x="74" y="68"/>
                  </a:cubicBezTo>
                  <a:cubicBezTo>
                    <a:pt x="73" y="67"/>
                    <a:pt x="74" y="64"/>
                    <a:pt x="73" y="63"/>
                  </a:cubicBezTo>
                  <a:cubicBezTo>
                    <a:pt x="73" y="61"/>
                    <a:pt x="70" y="62"/>
                    <a:pt x="68" y="62"/>
                  </a:cubicBezTo>
                  <a:cubicBezTo>
                    <a:pt x="68" y="62"/>
                    <a:pt x="68" y="62"/>
                    <a:pt x="68" y="61"/>
                  </a:cubicBezTo>
                  <a:cubicBezTo>
                    <a:pt x="66" y="60"/>
                    <a:pt x="66" y="58"/>
                    <a:pt x="65" y="58"/>
                  </a:cubicBezTo>
                  <a:cubicBezTo>
                    <a:pt x="64" y="57"/>
                    <a:pt x="63" y="58"/>
                    <a:pt x="63" y="57"/>
                  </a:cubicBezTo>
                  <a:cubicBezTo>
                    <a:pt x="62" y="57"/>
                    <a:pt x="62" y="57"/>
                    <a:pt x="62" y="56"/>
                  </a:cubicBezTo>
                  <a:cubicBezTo>
                    <a:pt x="61" y="55"/>
                    <a:pt x="61" y="54"/>
                    <a:pt x="60" y="53"/>
                  </a:cubicBezTo>
                  <a:cubicBezTo>
                    <a:pt x="59" y="52"/>
                    <a:pt x="58" y="51"/>
                    <a:pt x="57" y="51"/>
                  </a:cubicBezTo>
                  <a:cubicBezTo>
                    <a:pt x="55" y="51"/>
                    <a:pt x="52" y="50"/>
                    <a:pt x="50" y="50"/>
                  </a:cubicBezTo>
                  <a:cubicBezTo>
                    <a:pt x="49" y="50"/>
                    <a:pt x="47" y="50"/>
                    <a:pt x="46" y="49"/>
                  </a:cubicBezTo>
                  <a:cubicBezTo>
                    <a:pt x="45" y="48"/>
                    <a:pt x="44" y="47"/>
                    <a:pt x="43" y="47"/>
                  </a:cubicBezTo>
                  <a:cubicBezTo>
                    <a:pt x="41" y="46"/>
                    <a:pt x="39" y="45"/>
                    <a:pt x="37" y="46"/>
                  </a:cubicBezTo>
                  <a:cubicBezTo>
                    <a:pt x="36" y="46"/>
                    <a:pt x="35" y="47"/>
                    <a:pt x="35" y="47"/>
                  </a:cubicBezTo>
                  <a:cubicBezTo>
                    <a:pt x="32" y="47"/>
                    <a:pt x="30" y="46"/>
                    <a:pt x="27" y="48"/>
                  </a:cubicBezTo>
                  <a:cubicBezTo>
                    <a:pt x="25" y="49"/>
                    <a:pt x="25" y="52"/>
                    <a:pt x="23" y="53"/>
                  </a:cubicBezTo>
                  <a:cubicBezTo>
                    <a:pt x="21" y="54"/>
                    <a:pt x="19" y="54"/>
                    <a:pt x="18" y="54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0" y="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8" name="Freeform 206"/>
            <p:cNvSpPr>
              <a:spLocks/>
            </p:cNvSpPr>
            <p:nvPr/>
          </p:nvSpPr>
          <p:spPr bwMode="auto">
            <a:xfrm>
              <a:off x="7430428" y="4851329"/>
              <a:ext cx="181965" cy="93067"/>
            </a:xfrm>
            <a:custGeom>
              <a:avLst/>
              <a:gdLst>
                <a:gd name="T0" fmla="*/ 88045991 w 135"/>
                <a:gd name="T1" fmla="*/ 79883210 h 86"/>
                <a:gd name="T2" fmla="*/ 90055713 w 135"/>
                <a:gd name="T3" fmla="*/ 71696006 h 86"/>
                <a:gd name="T4" fmla="*/ 88887885 w 135"/>
                <a:gd name="T5" fmla="*/ 64836836 h 86"/>
                <a:gd name="T6" fmla="*/ 88887885 w 135"/>
                <a:gd name="T7" fmla="*/ 63340075 h 86"/>
                <a:gd name="T8" fmla="*/ 82756961 w 135"/>
                <a:gd name="T9" fmla="*/ 60171124 h 86"/>
                <a:gd name="T10" fmla="*/ 91491809 w 135"/>
                <a:gd name="T11" fmla="*/ 55864919 h 86"/>
                <a:gd name="T12" fmla="*/ 94226137 w 135"/>
                <a:gd name="T13" fmla="*/ 49995483 h 86"/>
                <a:gd name="T14" fmla="*/ 99607279 w 135"/>
                <a:gd name="T15" fmla="*/ 45681348 h 86"/>
                <a:gd name="T16" fmla="*/ 103309607 w 135"/>
                <a:gd name="T17" fmla="*/ 44489181 h 86"/>
                <a:gd name="T18" fmla="*/ 106070543 w 135"/>
                <a:gd name="T19" fmla="*/ 49158142 h 86"/>
                <a:gd name="T20" fmla="*/ 106070543 w 135"/>
                <a:gd name="T21" fmla="*/ 51972079 h 86"/>
                <a:gd name="T22" fmla="*/ 115154240 w 135"/>
                <a:gd name="T23" fmla="*/ 51198376 h 86"/>
                <a:gd name="T24" fmla="*/ 119329413 w 135"/>
                <a:gd name="T25" fmla="*/ 47181054 h 86"/>
                <a:gd name="T26" fmla="*/ 113345476 w 135"/>
                <a:gd name="T27" fmla="*/ 43652821 h 86"/>
                <a:gd name="T28" fmla="*/ 110603459 w 135"/>
                <a:gd name="T29" fmla="*/ 40817243 h 86"/>
                <a:gd name="T30" fmla="*/ 105229102 w 135"/>
                <a:gd name="T31" fmla="*/ 41678000 h 86"/>
                <a:gd name="T32" fmla="*/ 101527376 w 135"/>
                <a:gd name="T33" fmla="*/ 38201726 h 86"/>
                <a:gd name="T34" fmla="*/ 106070543 w 135"/>
                <a:gd name="T35" fmla="*/ 33476001 h 86"/>
                <a:gd name="T36" fmla="*/ 108674618 w 135"/>
                <a:gd name="T37" fmla="*/ 32702958 h 86"/>
                <a:gd name="T38" fmla="*/ 106070543 w 135"/>
                <a:gd name="T39" fmla="*/ 29863716 h 86"/>
                <a:gd name="T40" fmla="*/ 99607279 w 135"/>
                <a:gd name="T41" fmla="*/ 34174943 h 86"/>
                <a:gd name="T42" fmla="*/ 95342783 w 135"/>
                <a:gd name="T43" fmla="*/ 37015960 h 86"/>
                <a:gd name="T44" fmla="*/ 94226137 w 135"/>
                <a:gd name="T45" fmla="*/ 41678000 h 86"/>
                <a:gd name="T46" fmla="*/ 86967562 w 135"/>
                <a:gd name="T47" fmla="*/ 43652821 h 86"/>
                <a:gd name="T48" fmla="*/ 74788459 w 135"/>
                <a:gd name="T49" fmla="*/ 41678000 h 86"/>
                <a:gd name="T50" fmla="*/ 70939106 w 135"/>
                <a:gd name="T51" fmla="*/ 34174943 h 86"/>
                <a:gd name="T52" fmla="*/ 70117451 w 135"/>
                <a:gd name="T53" fmla="*/ 28036641 h 86"/>
                <a:gd name="T54" fmla="*/ 64754249 w 135"/>
                <a:gd name="T55" fmla="*/ 21180361 h 86"/>
                <a:gd name="T56" fmla="*/ 45852150 w 135"/>
                <a:gd name="T57" fmla="*/ 19723940 h 86"/>
                <a:gd name="T58" fmla="*/ 38550637 w 135"/>
                <a:gd name="T59" fmla="*/ 16518345 h 86"/>
                <a:gd name="T60" fmla="*/ 28652993 w 135"/>
                <a:gd name="T61" fmla="*/ 4665681 h 86"/>
                <a:gd name="T62" fmla="*/ 22472960 w 135"/>
                <a:gd name="T63" fmla="*/ 1976594 h 86"/>
                <a:gd name="T64" fmla="*/ 20543139 w 135"/>
                <a:gd name="T65" fmla="*/ 0 h 86"/>
                <a:gd name="T66" fmla="*/ 17951667 w 135"/>
                <a:gd name="T67" fmla="*/ 1976594 h 86"/>
                <a:gd name="T68" fmla="*/ 7294712 w 135"/>
                <a:gd name="T69" fmla="*/ 6643458 h 86"/>
                <a:gd name="T70" fmla="*/ 815222 w 135"/>
                <a:gd name="T71" fmla="*/ 8355956 h 86"/>
                <a:gd name="T72" fmla="*/ 0 w 135"/>
                <a:gd name="T73" fmla="*/ 17656693 h 86"/>
                <a:gd name="T74" fmla="*/ 1920300 w 135"/>
                <a:gd name="T75" fmla="*/ 24019603 h 86"/>
                <a:gd name="T76" fmla="*/ 2623608 w 135"/>
                <a:gd name="T77" fmla="*/ 34174943 h 86"/>
                <a:gd name="T78" fmla="*/ 3355585 w 135"/>
                <a:gd name="T79" fmla="*/ 41678000 h 86"/>
                <a:gd name="T80" fmla="*/ 10655054 w 135"/>
                <a:gd name="T81" fmla="*/ 42878740 h 86"/>
                <a:gd name="T82" fmla="*/ 10655054 w 135"/>
                <a:gd name="T83" fmla="*/ 36176447 h 86"/>
                <a:gd name="T84" fmla="*/ 14557454 w 135"/>
                <a:gd name="T85" fmla="*/ 34174943 h 86"/>
                <a:gd name="T86" fmla="*/ 17951667 w 135"/>
                <a:gd name="T87" fmla="*/ 29863716 h 86"/>
                <a:gd name="T88" fmla="*/ 25917554 w 135"/>
                <a:gd name="T89" fmla="*/ 32702958 h 86"/>
                <a:gd name="T90" fmla="*/ 30461381 w 135"/>
                <a:gd name="T91" fmla="*/ 38990970 h 86"/>
                <a:gd name="T92" fmla="*/ 32360994 w 135"/>
                <a:gd name="T93" fmla="*/ 41678000 h 86"/>
                <a:gd name="T94" fmla="*/ 42286142 w 135"/>
                <a:gd name="T95" fmla="*/ 41678000 h 86"/>
                <a:gd name="T96" fmla="*/ 47624695 w 135"/>
                <a:gd name="T97" fmla="*/ 49158142 h 86"/>
                <a:gd name="T98" fmla="*/ 50395204 w 135"/>
                <a:gd name="T99" fmla="*/ 51198376 h 86"/>
                <a:gd name="T100" fmla="*/ 62970435 w 135"/>
                <a:gd name="T101" fmla="*/ 62147758 h 86"/>
                <a:gd name="T102" fmla="*/ 74788459 w 135"/>
                <a:gd name="T103" fmla="*/ 68843167 h 86"/>
                <a:gd name="T104" fmla="*/ 79052974 w 135"/>
                <a:gd name="T105" fmla="*/ 75217554 h 8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35"/>
                <a:gd name="T160" fmla="*/ 0 h 86"/>
                <a:gd name="T161" fmla="*/ 135 w 135"/>
                <a:gd name="T162" fmla="*/ 86 h 8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35" h="86">
                  <a:moveTo>
                    <a:pt x="88" y="85"/>
                  </a:moveTo>
                  <a:cubicBezTo>
                    <a:pt x="90" y="86"/>
                    <a:pt x="95" y="86"/>
                    <a:pt x="98" y="86"/>
                  </a:cubicBezTo>
                  <a:cubicBezTo>
                    <a:pt x="98" y="84"/>
                    <a:pt x="98" y="82"/>
                    <a:pt x="99" y="80"/>
                  </a:cubicBezTo>
                  <a:cubicBezTo>
                    <a:pt x="100" y="80"/>
                    <a:pt x="100" y="78"/>
                    <a:pt x="100" y="77"/>
                  </a:cubicBezTo>
                  <a:cubicBezTo>
                    <a:pt x="101" y="76"/>
                    <a:pt x="101" y="75"/>
                    <a:pt x="100" y="74"/>
                  </a:cubicBezTo>
                  <a:cubicBezTo>
                    <a:pt x="99" y="73"/>
                    <a:pt x="99" y="72"/>
                    <a:pt x="99" y="70"/>
                  </a:cubicBezTo>
                  <a:cubicBezTo>
                    <a:pt x="100" y="70"/>
                    <a:pt x="100" y="69"/>
                    <a:pt x="100" y="68"/>
                  </a:cubicBezTo>
                  <a:cubicBezTo>
                    <a:pt x="100" y="68"/>
                    <a:pt x="100" y="68"/>
                    <a:pt x="99" y="68"/>
                  </a:cubicBezTo>
                  <a:cubicBezTo>
                    <a:pt x="98" y="67"/>
                    <a:pt x="96" y="68"/>
                    <a:pt x="95" y="67"/>
                  </a:cubicBezTo>
                  <a:cubicBezTo>
                    <a:pt x="94" y="66"/>
                    <a:pt x="93" y="66"/>
                    <a:pt x="92" y="65"/>
                  </a:cubicBezTo>
                  <a:cubicBezTo>
                    <a:pt x="92" y="64"/>
                    <a:pt x="91" y="62"/>
                    <a:pt x="93" y="61"/>
                  </a:cubicBezTo>
                  <a:cubicBezTo>
                    <a:pt x="96" y="61"/>
                    <a:pt x="100" y="62"/>
                    <a:pt x="102" y="60"/>
                  </a:cubicBezTo>
                  <a:cubicBezTo>
                    <a:pt x="104" y="59"/>
                    <a:pt x="102" y="57"/>
                    <a:pt x="103" y="55"/>
                  </a:cubicBezTo>
                  <a:cubicBezTo>
                    <a:pt x="103" y="54"/>
                    <a:pt x="104" y="55"/>
                    <a:pt x="105" y="54"/>
                  </a:cubicBezTo>
                  <a:cubicBezTo>
                    <a:pt x="106" y="53"/>
                    <a:pt x="107" y="52"/>
                    <a:pt x="108" y="51"/>
                  </a:cubicBezTo>
                  <a:cubicBezTo>
                    <a:pt x="108" y="50"/>
                    <a:pt x="110" y="50"/>
                    <a:pt x="111" y="49"/>
                  </a:cubicBezTo>
                  <a:cubicBezTo>
                    <a:pt x="112" y="49"/>
                    <a:pt x="112" y="48"/>
                    <a:pt x="113" y="47"/>
                  </a:cubicBezTo>
                  <a:cubicBezTo>
                    <a:pt x="114" y="47"/>
                    <a:pt x="115" y="47"/>
                    <a:pt x="115" y="48"/>
                  </a:cubicBezTo>
                  <a:cubicBezTo>
                    <a:pt x="116" y="49"/>
                    <a:pt x="115" y="50"/>
                    <a:pt x="116" y="51"/>
                  </a:cubicBezTo>
                  <a:cubicBezTo>
                    <a:pt x="116" y="52"/>
                    <a:pt x="117" y="52"/>
                    <a:pt x="118" y="53"/>
                  </a:cubicBezTo>
                  <a:cubicBezTo>
                    <a:pt x="119" y="53"/>
                    <a:pt x="119" y="55"/>
                    <a:pt x="118" y="56"/>
                  </a:cubicBezTo>
                  <a:cubicBezTo>
                    <a:pt x="118" y="56"/>
                    <a:pt x="118" y="56"/>
                    <a:pt x="118" y="56"/>
                  </a:cubicBezTo>
                  <a:cubicBezTo>
                    <a:pt x="121" y="55"/>
                    <a:pt x="124" y="57"/>
                    <a:pt x="127" y="55"/>
                  </a:cubicBezTo>
                  <a:cubicBezTo>
                    <a:pt x="127" y="55"/>
                    <a:pt x="128" y="55"/>
                    <a:pt x="128" y="55"/>
                  </a:cubicBezTo>
                  <a:cubicBezTo>
                    <a:pt x="128" y="54"/>
                    <a:pt x="128" y="53"/>
                    <a:pt x="129" y="52"/>
                  </a:cubicBezTo>
                  <a:cubicBezTo>
                    <a:pt x="130" y="51"/>
                    <a:pt x="132" y="52"/>
                    <a:pt x="133" y="51"/>
                  </a:cubicBezTo>
                  <a:cubicBezTo>
                    <a:pt x="134" y="51"/>
                    <a:pt x="135" y="50"/>
                    <a:pt x="135" y="49"/>
                  </a:cubicBezTo>
                  <a:cubicBezTo>
                    <a:pt x="132" y="49"/>
                    <a:pt x="129" y="47"/>
                    <a:pt x="126" y="47"/>
                  </a:cubicBezTo>
                  <a:cubicBezTo>
                    <a:pt x="125" y="47"/>
                    <a:pt x="125" y="46"/>
                    <a:pt x="125" y="45"/>
                  </a:cubicBezTo>
                  <a:cubicBezTo>
                    <a:pt x="124" y="44"/>
                    <a:pt x="123" y="44"/>
                    <a:pt x="123" y="44"/>
                  </a:cubicBezTo>
                  <a:cubicBezTo>
                    <a:pt x="122" y="44"/>
                    <a:pt x="122" y="45"/>
                    <a:pt x="121" y="45"/>
                  </a:cubicBezTo>
                  <a:cubicBezTo>
                    <a:pt x="120" y="45"/>
                    <a:pt x="118" y="45"/>
                    <a:pt x="117" y="45"/>
                  </a:cubicBezTo>
                  <a:cubicBezTo>
                    <a:pt x="116" y="45"/>
                    <a:pt x="115" y="44"/>
                    <a:pt x="114" y="43"/>
                  </a:cubicBezTo>
                  <a:cubicBezTo>
                    <a:pt x="113" y="42"/>
                    <a:pt x="113" y="41"/>
                    <a:pt x="113" y="41"/>
                  </a:cubicBezTo>
                  <a:cubicBezTo>
                    <a:pt x="114" y="40"/>
                    <a:pt x="115" y="39"/>
                    <a:pt x="116" y="38"/>
                  </a:cubicBezTo>
                  <a:cubicBezTo>
                    <a:pt x="117" y="38"/>
                    <a:pt x="117" y="37"/>
                    <a:pt x="118" y="36"/>
                  </a:cubicBezTo>
                  <a:cubicBezTo>
                    <a:pt x="119" y="36"/>
                    <a:pt x="119" y="36"/>
                    <a:pt x="120" y="36"/>
                  </a:cubicBezTo>
                  <a:cubicBezTo>
                    <a:pt x="120" y="35"/>
                    <a:pt x="121" y="35"/>
                    <a:pt x="121" y="35"/>
                  </a:cubicBezTo>
                  <a:cubicBezTo>
                    <a:pt x="121" y="35"/>
                    <a:pt x="121" y="34"/>
                    <a:pt x="120" y="34"/>
                  </a:cubicBezTo>
                  <a:cubicBezTo>
                    <a:pt x="120" y="33"/>
                    <a:pt x="118" y="33"/>
                    <a:pt x="118" y="32"/>
                  </a:cubicBezTo>
                  <a:cubicBezTo>
                    <a:pt x="118" y="32"/>
                    <a:pt x="117" y="32"/>
                    <a:pt x="117" y="31"/>
                  </a:cubicBezTo>
                  <a:cubicBezTo>
                    <a:pt x="115" y="33"/>
                    <a:pt x="113" y="35"/>
                    <a:pt x="111" y="37"/>
                  </a:cubicBezTo>
                  <a:cubicBezTo>
                    <a:pt x="110" y="37"/>
                    <a:pt x="109" y="37"/>
                    <a:pt x="108" y="37"/>
                  </a:cubicBezTo>
                  <a:cubicBezTo>
                    <a:pt x="107" y="38"/>
                    <a:pt x="106" y="39"/>
                    <a:pt x="106" y="40"/>
                  </a:cubicBezTo>
                  <a:cubicBezTo>
                    <a:pt x="105" y="41"/>
                    <a:pt x="105" y="41"/>
                    <a:pt x="105" y="42"/>
                  </a:cubicBezTo>
                  <a:cubicBezTo>
                    <a:pt x="104" y="43"/>
                    <a:pt x="105" y="45"/>
                    <a:pt x="105" y="45"/>
                  </a:cubicBezTo>
                  <a:cubicBezTo>
                    <a:pt x="104" y="46"/>
                    <a:pt x="103" y="46"/>
                    <a:pt x="102" y="47"/>
                  </a:cubicBezTo>
                  <a:cubicBezTo>
                    <a:pt x="101" y="48"/>
                    <a:pt x="99" y="48"/>
                    <a:pt x="97" y="47"/>
                  </a:cubicBezTo>
                  <a:cubicBezTo>
                    <a:pt x="95" y="47"/>
                    <a:pt x="93" y="46"/>
                    <a:pt x="90" y="46"/>
                  </a:cubicBezTo>
                  <a:cubicBezTo>
                    <a:pt x="88" y="45"/>
                    <a:pt x="85" y="45"/>
                    <a:pt x="83" y="45"/>
                  </a:cubicBezTo>
                  <a:cubicBezTo>
                    <a:pt x="82" y="43"/>
                    <a:pt x="83" y="41"/>
                    <a:pt x="82" y="39"/>
                  </a:cubicBezTo>
                  <a:cubicBezTo>
                    <a:pt x="81" y="38"/>
                    <a:pt x="79" y="38"/>
                    <a:pt x="79" y="37"/>
                  </a:cubicBezTo>
                  <a:cubicBezTo>
                    <a:pt x="78" y="35"/>
                    <a:pt x="79" y="33"/>
                    <a:pt x="79" y="31"/>
                  </a:cubicBezTo>
                  <a:cubicBezTo>
                    <a:pt x="79" y="31"/>
                    <a:pt x="79" y="30"/>
                    <a:pt x="78" y="30"/>
                  </a:cubicBezTo>
                  <a:cubicBezTo>
                    <a:pt x="76" y="28"/>
                    <a:pt x="74" y="27"/>
                    <a:pt x="73" y="25"/>
                  </a:cubicBezTo>
                  <a:cubicBezTo>
                    <a:pt x="73" y="25"/>
                    <a:pt x="72" y="24"/>
                    <a:pt x="72" y="23"/>
                  </a:cubicBezTo>
                  <a:cubicBezTo>
                    <a:pt x="72" y="22"/>
                    <a:pt x="71" y="22"/>
                    <a:pt x="70" y="22"/>
                  </a:cubicBezTo>
                  <a:cubicBezTo>
                    <a:pt x="64" y="21"/>
                    <a:pt x="58" y="22"/>
                    <a:pt x="51" y="21"/>
                  </a:cubicBezTo>
                  <a:cubicBezTo>
                    <a:pt x="49" y="21"/>
                    <a:pt x="47" y="22"/>
                    <a:pt x="45" y="21"/>
                  </a:cubicBezTo>
                  <a:cubicBezTo>
                    <a:pt x="44" y="20"/>
                    <a:pt x="44" y="19"/>
                    <a:pt x="43" y="18"/>
                  </a:cubicBezTo>
                  <a:cubicBezTo>
                    <a:pt x="42" y="16"/>
                    <a:pt x="40" y="14"/>
                    <a:pt x="38" y="13"/>
                  </a:cubicBezTo>
                  <a:cubicBezTo>
                    <a:pt x="35" y="12"/>
                    <a:pt x="34" y="8"/>
                    <a:pt x="32" y="5"/>
                  </a:cubicBezTo>
                  <a:cubicBezTo>
                    <a:pt x="31" y="4"/>
                    <a:pt x="30" y="3"/>
                    <a:pt x="29" y="3"/>
                  </a:cubicBezTo>
                  <a:cubicBezTo>
                    <a:pt x="28" y="2"/>
                    <a:pt x="26" y="3"/>
                    <a:pt x="25" y="2"/>
                  </a:cubicBezTo>
                  <a:cubicBezTo>
                    <a:pt x="25" y="2"/>
                    <a:pt x="25" y="2"/>
                    <a:pt x="24" y="2"/>
                  </a:cubicBezTo>
                  <a:cubicBezTo>
                    <a:pt x="24" y="2"/>
                    <a:pt x="24" y="1"/>
                    <a:pt x="23" y="0"/>
                  </a:cubicBezTo>
                  <a:cubicBezTo>
                    <a:pt x="23" y="0"/>
                    <a:pt x="22" y="0"/>
                    <a:pt x="22" y="0"/>
                  </a:cubicBezTo>
                  <a:cubicBezTo>
                    <a:pt x="21" y="1"/>
                    <a:pt x="21" y="2"/>
                    <a:pt x="20" y="2"/>
                  </a:cubicBezTo>
                  <a:cubicBezTo>
                    <a:pt x="16" y="3"/>
                    <a:pt x="12" y="4"/>
                    <a:pt x="9" y="6"/>
                  </a:cubicBezTo>
                  <a:cubicBezTo>
                    <a:pt x="9" y="6"/>
                    <a:pt x="8" y="6"/>
                    <a:pt x="8" y="7"/>
                  </a:cubicBezTo>
                  <a:cubicBezTo>
                    <a:pt x="6" y="8"/>
                    <a:pt x="5" y="9"/>
                    <a:pt x="3" y="9"/>
                  </a:cubicBezTo>
                  <a:cubicBezTo>
                    <a:pt x="2" y="9"/>
                    <a:pt x="2" y="9"/>
                    <a:pt x="1" y="9"/>
                  </a:cubicBezTo>
                  <a:cubicBezTo>
                    <a:pt x="1" y="9"/>
                    <a:pt x="0" y="10"/>
                    <a:pt x="0" y="10"/>
                  </a:cubicBezTo>
                  <a:cubicBezTo>
                    <a:pt x="0" y="13"/>
                    <a:pt x="0" y="16"/>
                    <a:pt x="0" y="19"/>
                  </a:cubicBezTo>
                  <a:cubicBezTo>
                    <a:pt x="0" y="20"/>
                    <a:pt x="0" y="23"/>
                    <a:pt x="1" y="24"/>
                  </a:cubicBezTo>
                  <a:cubicBezTo>
                    <a:pt x="1" y="24"/>
                    <a:pt x="2" y="25"/>
                    <a:pt x="2" y="26"/>
                  </a:cubicBezTo>
                  <a:cubicBezTo>
                    <a:pt x="3" y="29"/>
                    <a:pt x="2" y="31"/>
                    <a:pt x="2" y="34"/>
                  </a:cubicBezTo>
                  <a:cubicBezTo>
                    <a:pt x="2" y="35"/>
                    <a:pt x="2" y="36"/>
                    <a:pt x="3" y="37"/>
                  </a:cubicBezTo>
                  <a:cubicBezTo>
                    <a:pt x="3" y="38"/>
                    <a:pt x="2" y="38"/>
                    <a:pt x="2" y="39"/>
                  </a:cubicBezTo>
                  <a:cubicBezTo>
                    <a:pt x="3" y="41"/>
                    <a:pt x="3" y="43"/>
                    <a:pt x="4" y="45"/>
                  </a:cubicBezTo>
                  <a:cubicBezTo>
                    <a:pt x="6" y="45"/>
                    <a:pt x="9" y="45"/>
                    <a:pt x="11" y="46"/>
                  </a:cubicBezTo>
                  <a:cubicBezTo>
                    <a:pt x="11" y="46"/>
                    <a:pt x="12" y="46"/>
                    <a:pt x="12" y="46"/>
                  </a:cubicBezTo>
                  <a:cubicBezTo>
                    <a:pt x="12" y="45"/>
                    <a:pt x="12" y="45"/>
                    <a:pt x="12" y="44"/>
                  </a:cubicBezTo>
                  <a:cubicBezTo>
                    <a:pt x="11" y="42"/>
                    <a:pt x="11" y="40"/>
                    <a:pt x="12" y="39"/>
                  </a:cubicBezTo>
                  <a:cubicBezTo>
                    <a:pt x="12" y="37"/>
                    <a:pt x="14" y="38"/>
                    <a:pt x="15" y="38"/>
                  </a:cubicBezTo>
                  <a:cubicBezTo>
                    <a:pt x="16" y="38"/>
                    <a:pt x="16" y="38"/>
                    <a:pt x="16" y="37"/>
                  </a:cubicBezTo>
                  <a:cubicBezTo>
                    <a:pt x="17" y="35"/>
                    <a:pt x="17" y="33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2" y="32"/>
                    <a:pt x="23" y="31"/>
                    <a:pt x="24" y="32"/>
                  </a:cubicBezTo>
                  <a:cubicBezTo>
                    <a:pt x="26" y="33"/>
                    <a:pt x="28" y="33"/>
                    <a:pt x="29" y="35"/>
                  </a:cubicBezTo>
                  <a:cubicBezTo>
                    <a:pt x="31" y="36"/>
                    <a:pt x="33" y="36"/>
                    <a:pt x="34" y="38"/>
                  </a:cubicBezTo>
                  <a:cubicBezTo>
                    <a:pt x="34" y="40"/>
                    <a:pt x="34" y="41"/>
                    <a:pt x="34" y="42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5" y="44"/>
                    <a:pt x="35" y="45"/>
                    <a:pt x="36" y="45"/>
                  </a:cubicBezTo>
                  <a:cubicBezTo>
                    <a:pt x="39" y="45"/>
                    <a:pt x="41" y="46"/>
                    <a:pt x="44" y="45"/>
                  </a:cubicBezTo>
                  <a:cubicBezTo>
                    <a:pt x="45" y="45"/>
                    <a:pt x="46" y="45"/>
                    <a:pt x="47" y="45"/>
                  </a:cubicBezTo>
                  <a:cubicBezTo>
                    <a:pt x="50" y="46"/>
                    <a:pt x="51" y="48"/>
                    <a:pt x="52" y="49"/>
                  </a:cubicBezTo>
                  <a:cubicBezTo>
                    <a:pt x="53" y="50"/>
                    <a:pt x="53" y="52"/>
                    <a:pt x="53" y="53"/>
                  </a:cubicBezTo>
                  <a:cubicBezTo>
                    <a:pt x="53" y="53"/>
                    <a:pt x="54" y="53"/>
                    <a:pt x="54" y="54"/>
                  </a:cubicBezTo>
                  <a:cubicBezTo>
                    <a:pt x="55" y="54"/>
                    <a:pt x="56" y="54"/>
                    <a:pt x="56" y="55"/>
                  </a:cubicBezTo>
                  <a:cubicBezTo>
                    <a:pt x="57" y="57"/>
                    <a:pt x="57" y="59"/>
                    <a:pt x="59" y="61"/>
                  </a:cubicBezTo>
                  <a:cubicBezTo>
                    <a:pt x="62" y="64"/>
                    <a:pt x="65" y="66"/>
                    <a:pt x="70" y="67"/>
                  </a:cubicBezTo>
                  <a:cubicBezTo>
                    <a:pt x="72" y="69"/>
                    <a:pt x="74" y="72"/>
                    <a:pt x="77" y="73"/>
                  </a:cubicBezTo>
                  <a:cubicBezTo>
                    <a:pt x="79" y="74"/>
                    <a:pt x="81" y="74"/>
                    <a:pt x="83" y="74"/>
                  </a:cubicBezTo>
                  <a:cubicBezTo>
                    <a:pt x="84" y="75"/>
                    <a:pt x="85" y="77"/>
                    <a:pt x="86" y="79"/>
                  </a:cubicBezTo>
                  <a:cubicBezTo>
                    <a:pt x="87" y="79"/>
                    <a:pt x="87" y="80"/>
                    <a:pt x="88" y="81"/>
                  </a:cubicBezTo>
                  <a:cubicBezTo>
                    <a:pt x="88" y="82"/>
                    <a:pt x="88" y="84"/>
                    <a:pt x="88" y="8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9" name="Freeform 207"/>
            <p:cNvSpPr>
              <a:spLocks/>
            </p:cNvSpPr>
            <p:nvPr/>
          </p:nvSpPr>
          <p:spPr bwMode="auto">
            <a:xfrm>
              <a:off x="7572519" y="4877315"/>
              <a:ext cx="113818" cy="44721"/>
            </a:xfrm>
            <a:custGeom>
              <a:avLst/>
              <a:gdLst>
                <a:gd name="T0" fmla="*/ 6023963 w 85"/>
                <a:gd name="T1" fmla="*/ 30091492 h 42"/>
                <a:gd name="T2" fmla="*/ 1898558 w 85"/>
                <a:gd name="T3" fmla="*/ 33474537 h 42"/>
                <a:gd name="T4" fmla="*/ 4467195 w 85"/>
                <a:gd name="T5" fmla="*/ 37455335 h 42"/>
                <a:gd name="T6" fmla="*/ 15774700 w 85"/>
                <a:gd name="T7" fmla="*/ 34681073 h 42"/>
                <a:gd name="T8" fmla="*/ 19433353 w 85"/>
                <a:gd name="T9" fmla="*/ 37455335 h 42"/>
                <a:gd name="T10" fmla="*/ 24731859 w 85"/>
                <a:gd name="T11" fmla="*/ 37455335 h 42"/>
                <a:gd name="T12" fmla="*/ 30754954 w 85"/>
                <a:gd name="T13" fmla="*/ 35422498 h 42"/>
                <a:gd name="T14" fmla="*/ 34411574 w 85"/>
                <a:gd name="T15" fmla="*/ 32039415 h 42"/>
                <a:gd name="T16" fmla="*/ 39712758 w 85"/>
                <a:gd name="T17" fmla="*/ 28094992 h 42"/>
                <a:gd name="T18" fmla="*/ 46883804 w 85"/>
                <a:gd name="T19" fmla="*/ 30091492 h 42"/>
                <a:gd name="T20" fmla="*/ 51019521 w 85"/>
                <a:gd name="T21" fmla="*/ 28921406 h 42"/>
                <a:gd name="T22" fmla="*/ 52929317 w 85"/>
                <a:gd name="T23" fmla="*/ 23498565 h 42"/>
                <a:gd name="T24" fmla="*/ 69858027 w 85"/>
                <a:gd name="T25" fmla="*/ 17326120 h 42"/>
                <a:gd name="T26" fmla="*/ 75070110 w 85"/>
                <a:gd name="T27" fmla="*/ 12766088 h 42"/>
                <a:gd name="T28" fmla="*/ 69046168 w 85"/>
                <a:gd name="T29" fmla="*/ 8174844 h 42"/>
                <a:gd name="T30" fmla="*/ 58192600 w 85"/>
                <a:gd name="T31" fmla="*/ 3468116 h 42"/>
                <a:gd name="T32" fmla="*/ 56589439 w 85"/>
                <a:gd name="T33" fmla="*/ 3468116 h 42"/>
                <a:gd name="T34" fmla="*/ 51019521 w 85"/>
                <a:gd name="T35" fmla="*/ 4591617 h 42"/>
                <a:gd name="T36" fmla="*/ 44975701 w 85"/>
                <a:gd name="T37" fmla="*/ 4591617 h 42"/>
                <a:gd name="T38" fmla="*/ 41611298 w 85"/>
                <a:gd name="T39" fmla="*/ 5415918 h 42"/>
                <a:gd name="T40" fmla="*/ 34411574 w 85"/>
                <a:gd name="T41" fmla="*/ 1947959 h 42"/>
                <a:gd name="T42" fmla="*/ 24731859 w 85"/>
                <a:gd name="T43" fmla="*/ 5415918 h 42"/>
                <a:gd name="T44" fmla="*/ 24050523 w 85"/>
                <a:gd name="T45" fmla="*/ 7350476 h 42"/>
                <a:gd name="T46" fmla="*/ 16877928 w 85"/>
                <a:gd name="T47" fmla="*/ 5415918 h 42"/>
                <a:gd name="T48" fmla="*/ 12471473 w 85"/>
                <a:gd name="T49" fmla="*/ 5415918 h 42"/>
                <a:gd name="T50" fmla="*/ 10511041 w 85"/>
                <a:gd name="T51" fmla="*/ 7350476 h 42"/>
                <a:gd name="T52" fmla="*/ 13070861 w 85"/>
                <a:gd name="T53" fmla="*/ 9969094 h 42"/>
                <a:gd name="T54" fmla="*/ 13070861 w 85"/>
                <a:gd name="T55" fmla="*/ 11919091 h 42"/>
                <a:gd name="T56" fmla="*/ 9768794 w 85"/>
                <a:gd name="T57" fmla="*/ 13592483 h 42"/>
                <a:gd name="T58" fmla="*/ 7808000 w 85"/>
                <a:gd name="T59" fmla="*/ 18182008 h 42"/>
                <a:gd name="T60" fmla="*/ 14174023 w 85"/>
                <a:gd name="T61" fmla="*/ 20120347 h 42"/>
                <a:gd name="T62" fmla="*/ 17684808 w 85"/>
                <a:gd name="T63" fmla="*/ 20120347 h 42"/>
                <a:gd name="T64" fmla="*/ 26630400 w 85"/>
                <a:gd name="T65" fmla="*/ 23498565 h 42"/>
                <a:gd name="T66" fmla="*/ 21075654 w 85"/>
                <a:gd name="T67" fmla="*/ 26147031 h 42"/>
                <a:gd name="T68" fmla="*/ 19433353 w 85"/>
                <a:gd name="T69" fmla="*/ 28921406 h 4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5"/>
                <a:gd name="T106" fmla="*/ 0 h 42"/>
                <a:gd name="T107" fmla="*/ 85 w 85"/>
                <a:gd name="T108" fmla="*/ 42 h 4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5" h="42">
                  <a:moveTo>
                    <a:pt x="13" y="33"/>
                  </a:moveTo>
                  <a:cubicBezTo>
                    <a:pt x="11" y="33"/>
                    <a:pt x="9" y="33"/>
                    <a:pt x="7" y="33"/>
                  </a:cubicBezTo>
                  <a:cubicBezTo>
                    <a:pt x="6" y="34"/>
                    <a:pt x="5" y="35"/>
                    <a:pt x="4" y="36"/>
                  </a:cubicBezTo>
                  <a:cubicBezTo>
                    <a:pt x="3" y="36"/>
                    <a:pt x="2" y="36"/>
                    <a:pt x="2" y="37"/>
                  </a:cubicBezTo>
                  <a:cubicBezTo>
                    <a:pt x="1" y="37"/>
                    <a:pt x="0" y="38"/>
                    <a:pt x="1" y="39"/>
                  </a:cubicBezTo>
                  <a:cubicBezTo>
                    <a:pt x="2" y="41"/>
                    <a:pt x="3" y="40"/>
                    <a:pt x="5" y="41"/>
                  </a:cubicBezTo>
                  <a:cubicBezTo>
                    <a:pt x="6" y="42"/>
                    <a:pt x="7" y="41"/>
                    <a:pt x="9" y="41"/>
                  </a:cubicBezTo>
                  <a:cubicBezTo>
                    <a:pt x="12" y="40"/>
                    <a:pt x="15" y="40"/>
                    <a:pt x="18" y="38"/>
                  </a:cubicBezTo>
                  <a:cubicBezTo>
                    <a:pt x="19" y="38"/>
                    <a:pt x="20" y="38"/>
                    <a:pt x="21" y="38"/>
                  </a:cubicBezTo>
                  <a:cubicBezTo>
                    <a:pt x="22" y="38"/>
                    <a:pt x="22" y="40"/>
                    <a:pt x="22" y="41"/>
                  </a:cubicBezTo>
                  <a:cubicBezTo>
                    <a:pt x="23" y="42"/>
                    <a:pt x="25" y="42"/>
                    <a:pt x="26" y="42"/>
                  </a:cubicBezTo>
                  <a:cubicBezTo>
                    <a:pt x="26" y="42"/>
                    <a:pt x="27" y="42"/>
                    <a:pt x="28" y="41"/>
                  </a:cubicBezTo>
                  <a:cubicBezTo>
                    <a:pt x="29" y="40"/>
                    <a:pt x="30" y="41"/>
                    <a:pt x="32" y="40"/>
                  </a:cubicBezTo>
                  <a:cubicBezTo>
                    <a:pt x="33" y="40"/>
                    <a:pt x="34" y="39"/>
                    <a:pt x="35" y="39"/>
                  </a:cubicBezTo>
                  <a:cubicBezTo>
                    <a:pt x="36" y="40"/>
                    <a:pt x="36" y="40"/>
                    <a:pt x="37" y="40"/>
                  </a:cubicBezTo>
                  <a:cubicBezTo>
                    <a:pt x="38" y="39"/>
                    <a:pt x="39" y="37"/>
                    <a:pt x="39" y="35"/>
                  </a:cubicBezTo>
                  <a:cubicBezTo>
                    <a:pt x="39" y="35"/>
                    <a:pt x="39" y="34"/>
                    <a:pt x="40" y="34"/>
                  </a:cubicBezTo>
                  <a:cubicBezTo>
                    <a:pt x="42" y="33"/>
                    <a:pt x="43" y="32"/>
                    <a:pt x="45" y="31"/>
                  </a:cubicBezTo>
                  <a:cubicBezTo>
                    <a:pt x="47" y="31"/>
                    <a:pt x="47" y="31"/>
                    <a:pt x="50" y="30"/>
                  </a:cubicBezTo>
                  <a:cubicBezTo>
                    <a:pt x="50" y="29"/>
                    <a:pt x="52" y="33"/>
                    <a:pt x="53" y="33"/>
                  </a:cubicBezTo>
                  <a:cubicBezTo>
                    <a:pt x="54" y="33"/>
                    <a:pt x="54" y="33"/>
                    <a:pt x="55" y="32"/>
                  </a:cubicBezTo>
                  <a:cubicBezTo>
                    <a:pt x="56" y="32"/>
                    <a:pt x="57" y="33"/>
                    <a:pt x="58" y="32"/>
                  </a:cubicBezTo>
                  <a:cubicBezTo>
                    <a:pt x="58" y="30"/>
                    <a:pt x="58" y="29"/>
                    <a:pt x="58" y="27"/>
                  </a:cubicBezTo>
                  <a:cubicBezTo>
                    <a:pt x="58" y="26"/>
                    <a:pt x="59" y="26"/>
                    <a:pt x="60" y="26"/>
                  </a:cubicBezTo>
                  <a:cubicBezTo>
                    <a:pt x="64" y="25"/>
                    <a:pt x="68" y="26"/>
                    <a:pt x="71" y="23"/>
                  </a:cubicBezTo>
                  <a:cubicBezTo>
                    <a:pt x="73" y="22"/>
                    <a:pt x="76" y="21"/>
                    <a:pt x="79" y="19"/>
                  </a:cubicBezTo>
                  <a:cubicBezTo>
                    <a:pt x="80" y="19"/>
                    <a:pt x="80" y="18"/>
                    <a:pt x="81" y="18"/>
                  </a:cubicBezTo>
                  <a:cubicBezTo>
                    <a:pt x="82" y="17"/>
                    <a:pt x="84" y="15"/>
                    <a:pt x="85" y="14"/>
                  </a:cubicBezTo>
                  <a:cubicBezTo>
                    <a:pt x="83" y="14"/>
                    <a:pt x="81" y="12"/>
                    <a:pt x="80" y="10"/>
                  </a:cubicBezTo>
                  <a:cubicBezTo>
                    <a:pt x="80" y="10"/>
                    <a:pt x="79" y="9"/>
                    <a:pt x="78" y="9"/>
                  </a:cubicBezTo>
                  <a:cubicBezTo>
                    <a:pt x="75" y="9"/>
                    <a:pt x="73" y="6"/>
                    <a:pt x="71" y="4"/>
                  </a:cubicBezTo>
                  <a:cubicBezTo>
                    <a:pt x="70" y="3"/>
                    <a:pt x="68" y="4"/>
                    <a:pt x="66" y="4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5" y="4"/>
                    <a:pt x="64" y="4"/>
                    <a:pt x="64" y="4"/>
                  </a:cubicBezTo>
                  <a:cubicBezTo>
                    <a:pt x="64" y="4"/>
                    <a:pt x="63" y="5"/>
                    <a:pt x="62" y="5"/>
                  </a:cubicBezTo>
                  <a:cubicBezTo>
                    <a:pt x="61" y="5"/>
                    <a:pt x="60" y="5"/>
                    <a:pt x="58" y="5"/>
                  </a:cubicBezTo>
                  <a:cubicBezTo>
                    <a:pt x="57" y="5"/>
                    <a:pt x="56" y="4"/>
                    <a:pt x="54" y="5"/>
                  </a:cubicBezTo>
                  <a:cubicBezTo>
                    <a:pt x="53" y="5"/>
                    <a:pt x="52" y="5"/>
                    <a:pt x="51" y="5"/>
                  </a:cubicBezTo>
                  <a:cubicBezTo>
                    <a:pt x="50" y="5"/>
                    <a:pt x="50" y="6"/>
                    <a:pt x="50" y="6"/>
                  </a:cubicBezTo>
                  <a:cubicBezTo>
                    <a:pt x="49" y="6"/>
                    <a:pt x="48" y="6"/>
                    <a:pt x="47" y="6"/>
                  </a:cubicBezTo>
                  <a:cubicBezTo>
                    <a:pt x="46" y="7"/>
                    <a:pt x="45" y="7"/>
                    <a:pt x="44" y="6"/>
                  </a:cubicBezTo>
                  <a:cubicBezTo>
                    <a:pt x="42" y="5"/>
                    <a:pt x="41" y="4"/>
                    <a:pt x="39" y="2"/>
                  </a:cubicBezTo>
                  <a:cubicBezTo>
                    <a:pt x="38" y="1"/>
                    <a:pt x="37" y="1"/>
                    <a:pt x="36" y="1"/>
                  </a:cubicBezTo>
                  <a:cubicBezTo>
                    <a:pt x="32" y="0"/>
                    <a:pt x="31" y="4"/>
                    <a:pt x="28" y="6"/>
                  </a:cubicBezTo>
                  <a:cubicBezTo>
                    <a:pt x="28" y="6"/>
                    <a:pt x="28" y="6"/>
                    <a:pt x="28" y="7"/>
                  </a:cubicBezTo>
                  <a:cubicBezTo>
                    <a:pt x="28" y="7"/>
                    <a:pt x="28" y="8"/>
                    <a:pt x="27" y="8"/>
                  </a:cubicBezTo>
                  <a:cubicBezTo>
                    <a:pt x="26" y="9"/>
                    <a:pt x="25" y="9"/>
                    <a:pt x="24" y="8"/>
                  </a:cubicBezTo>
                  <a:cubicBezTo>
                    <a:pt x="22" y="7"/>
                    <a:pt x="20" y="7"/>
                    <a:pt x="19" y="6"/>
                  </a:cubicBezTo>
                  <a:cubicBezTo>
                    <a:pt x="18" y="5"/>
                    <a:pt x="16" y="5"/>
                    <a:pt x="15" y="6"/>
                  </a:cubicBezTo>
                  <a:cubicBezTo>
                    <a:pt x="15" y="6"/>
                    <a:pt x="14" y="6"/>
                    <a:pt x="14" y="6"/>
                  </a:cubicBezTo>
                  <a:cubicBezTo>
                    <a:pt x="14" y="6"/>
                    <a:pt x="13" y="7"/>
                    <a:pt x="13" y="7"/>
                  </a:cubicBezTo>
                  <a:cubicBezTo>
                    <a:pt x="13" y="7"/>
                    <a:pt x="12" y="8"/>
                    <a:pt x="12" y="8"/>
                  </a:cubicBezTo>
                  <a:cubicBezTo>
                    <a:pt x="12" y="9"/>
                    <a:pt x="13" y="9"/>
                    <a:pt x="13" y="9"/>
                  </a:cubicBezTo>
                  <a:cubicBezTo>
                    <a:pt x="13" y="10"/>
                    <a:pt x="15" y="10"/>
                    <a:pt x="15" y="11"/>
                  </a:cubicBezTo>
                  <a:cubicBezTo>
                    <a:pt x="16" y="11"/>
                    <a:pt x="16" y="12"/>
                    <a:pt x="16" y="12"/>
                  </a:cubicBezTo>
                  <a:cubicBezTo>
                    <a:pt x="16" y="12"/>
                    <a:pt x="15" y="12"/>
                    <a:pt x="15" y="13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12" y="14"/>
                    <a:pt x="12" y="15"/>
                    <a:pt x="11" y="15"/>
                  </a:cubicBezTo>
                  <a:cubicBezTo>
                    <a:pt x="10" y="16"/>
                    <a:pt x="9" y="17"/>
                    <a:pt x="8" y="18"/>
                  </a:cubicBezTo>
                  <a:cubicBezTo>
                    <a:pt x="8" y="18"/>
                    <a:pt x="8" y="19"/>
                    <a:pt x="9" y="20"/>
                  </a:cubicBezTo>
                  <a:cubicBezTo>
                    <a:pt x="10" y="21"/>
                    <a:pt x="11" y="22"/>
                    <a:pt x="12" y="22"/>
                  </a:cubicBezTo>
                  <a:cubicBezTo>
                    <a:pt x="13" y="22"/>
                    <a:pt x="15" y="22"/>
                    <a:pt x="16" y="22"/>
                  </a:cubicBezTo>
                  <a:cubicBezTo>
                    <a:pt x="17" y="22"/>
                    <a:pt x="17" y="21"/>
                    <a:pt x="18" y="21"/>
                  </a:cubicBezTo>
                  <a:cubicBezTo>
                    <a:pt x="18" y="21"/>
                    <a:pt x="19" y="21"/>
                    <a:pt x="20" y="22"/>
                  </a:cubicBezTo>
                  <a:cubicBezTo>
                    <a:pt x="20" y="23"/>
                    <a:pt x="20" y="24"/>
                    <a:pt x="21" y="24"/>
                  </a:cubicBezTo>
                  <a:cubicBezTo>
                    <a:pt x="24" y="24"/>
                    <a:pt x="27" y="26"/>
                    <a:pt x="30" y="26"/>
                  </a:cubicBezTo>
                  <a:cubicBezTo>
                    <a:pt x="30" y="27"/>
                    <a:pt x="29" y="28"/>
                    <a:pt x="28" y="28"/>
                  </a:cubicBezTo>
                  <a:cubicBezTo>
                    <a:pt x="27" y="29"/>
                    <a:pt x="25" y="28"/>
                    <a:pt x="24" y="29"/>
                  </a:cubicBezTo>
                  <a:cubicBezTo>
                    <a:pt x="23" y="30"/>
                    <a:pt x="23" y="31"/>
                    <a:pt x="23" y="32"/>
                  </a:cubicBezTo>
                  <a:cubicBezTo>
                    <a:pt x="23" y="32"/>
                    <a:pt x="22" y="32"/>
                    <a:pt x="22" y="32"/>
                  </a:cubicBezTo>
                  <a:cubicBezTo>
                    <a:pt x="19" y="34"/>
                    <a:pt x="16" y="32"/>
                    <a:pt x="13" y="3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0" name="Freeform 208"/>
            <p:cNvSpPr>
              <a:spLocks/>
            </p:cNvSpPr>
            <p:nvPr/>
          </p:nvSpPr>
          <p:spPr bwMode="auto">
            <a:xfrm>
              <a:off x="7553672" y="4902697"/>
              <a:ext cx="85546" cy="48952"/>
            </a:xfrm>
            <a:custGeom>
              <a:avLst/>
              <a:gdLst>
                <a:gd name="T0" fmla="*/ 58969606 w 64"/>
                <a:gd name="T1" fmla="*/ 38614137 h 45"/>
                <a:gd name="T2" fmla="*/ 55467502 w 64"/>
                <a:gd name="T3" fmla="*/ 25863052 h 45"/>
                <a:gd name="T4" fmla="*/ 51527914 w 64"/>
                <a:gd name="T5" fmla="*/ 25083521 h 45"/>
                <a:gd name="T6" fmla="*/ 48856423 w 64"/>
                <a:gd name="T7" fmla="*/ 25083521 h 45"/>
                <a:gd name="T8" fmla="*/ 46887913 w 64"/>
                <a:gd name="T9" fmla="*/ 16620685 h 45"/>
                <a:gd name="T10" fmla="*/ 42553384 w 64"/>
                <a:gd name="T11" fmla="*/ 16620685 h 45"/>
                <a:gd name="T12" fmla="*/ 36773947 w 64"/>
                <a:gd name="T13" fmla="*/ 18873857 h 45"/>
                <a:gd name="T14" fmla="*/ 32435455 w 64"/>
                <a:gd name="T15" fmla="*/ 14368445 h 45"/>
                <a:gd name="T16" fmla="*/ 21060668 w 64"/>
                <a:gd name="T17" fmla="*/ 17539543 h 45"/>
                <a:gd name="T18" fmla="*/ 13747482 w 64"/>
                <a:gd name="T19" fmla="*/ 15841240 h 45"/>
                <a:gd name="T20" fmla="*/ 16421030 w 64"/>
                <a:gd name="T21" fmla="*/ 12733752 h 45"/>
                <a:gd name="T22" fmla="*/ 24993744 w 64"/>
                <a:gd name="T23" fmla="*/ 9242288 h 45"/>
                <a:gd name="T24" fmla="*/ 23027140 w 64"/>
                <a:gd name="T25" fmla="*/ 4436557 h 45"/>
                <a:gd name="T26" fmla="*/ 20354120 w 64"/>
                <a:gd name="T27" fmla="*/ 0 h 45"/>
                <a:gd name="T28" fmla="*/ 15586312 w 64"/>
                <a:gd name="T29" fmla="*/ 4436557 h 45"/>
                <a:gd name="T30" fmla="*/ 10946669 w 64"/>
                <a:gd name="T31" fmla="*/ 8295087 h 45"/>
                <a:gd name="T32" fmla="*/ 1966475 w 64"/>
                <a:gd name="T33" fmla="*/ 14368445 h 45"/>
                <a:gd name="T34" fmla="*/ 3506493 w 64"/>
                <a:gd name="T35" fmla="*/ 21029050 h 45"/>
                <a:gd name="T36" fmla="*/ 8273128 w 64"/>
                <a:gd name="T37" fmla="*/ 21976109 h 45"/>
                <a:gd name="T38" fmla="*/ 8273128 w 64"/>
                <a:gd name="T39" fmla="*/ 28026372 h 45"/>
                <a:gd name="T40" fmla="*/ 7439589 w 64"/>
                <a:gd name="T41" fmla="*/ 34164955 h 45"/>
                <a:gd name="T42" fmla="*/ 8273128 w 64"/>
                <a:gd name="T43" fmla="*/ 40756676 h 45"/>
                <a:gd name="T44" fmla="*/ 10113131 w 64"/>
                <a:gd name="T45" fmla="*/ 43959066 h 45"/>
                <a:gd name="T46" fmla="*/ 12913283 w 64"/>
                <a:gd name="T47" fmla="*/ 41705124 h 45"/>
                <a:gd name="T48" fmla="*/ 16421030 w 64"/>
                <a:gd name="T49" fmla="*/ 40756676 h 45"/>
                <a:gd name="T50" fmla="*/ 18387615 w 64"/>
                <a:gd name="T51" fmla="*/ 40756676 h 45"/>
                <a:gd name="T52" fmla="*/ 23027140 w 64"/>
                <a:gd name="T53" fmla="*/ 37666945 h 45"/>
                <a:gd name="T54" fmla="*/ 23860659 w 64"/>
                <a:gd name="T55" fmla="*/ 33380403 h 45"/>
                <a:gd name="T56" fmla="*/ 30467265 w 64"/>
                <a:gd name="T57" fmla="*/ 30278032 h 45"/>
                <a:gd name="T58" fmla="*/ 32435455 w 64"/>
                <a:gd name="T59" fmla="*/ 34164955 h 45"/>
                <a:gd name="T60" fmla="*/ 33268993 w 64"/>
                <a:gd name="T61" fmla="*/ 42622717 h 45"/>
                <a:gd name="T62" fmla="*/ 36773947 w 64"/>
                <a:gd name="T63" fmla="*/ 46112039 h 45"/>
                <a:gd name="T64" fmla="*/ 43383242 w 64"/>
                <a:gd name="T65" fmla="*/ 41705124 h 45"/>
                <a:gd name="T66" fmla="*/ 56296227 w 64"/>
                <a:gd name="T67" fmla="*/ 40756676 h 4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4"/>
                <a:gd name="T103" fmla="*/ 0 h 45"/>
                <a:gd name="T104" fmla="*/ 64 w 64"/>
                <a:gd name="T105" fmla="*/ 45 h 4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4" h="45">
                  <a:moveTo>
                    <a:pt x="61" y="39"/>
                  </a:moveTo>
                  <a:cubicBezTo>
                    <a:pt x="61" y="38"/>
                    <a:pt x="63" y="38"/>
                    <a:pt x="64" y="37"/>
                  </a:cubicBezTo>
                  <a:cubicBezTo>
                    <a:pt x="64" y="36"/>
                    <a:pt x="64" y="34"/>
                    <a:pt x="63" y="34"/>
                  </a:cubicBezTo>
                  <a:cubicBezTo>
                    <a:pt x="60" y="32"/>
                    <a:pt x="62" y="28"/>
                    <a:pt x="60" y="25"/>
                  </a:cubicBezTo>
                  <a:cubicBezTo>
                    <a:pt x="60" y="25"/>
                    <a:pt x="59" y="24"/>
                    <a:pt x="58" y="24"/>
                  </a:cubicBezTo>
                  <a:cubicBezTo>
                    <a:pt x="58" y="24"/>
                    <a:pt x="57" y="24"/>
                    <a:pt x="56" y="24"/>
                  </a:cubicBezTo>
                  <a:cubicBezTo>
                    <a:pt x="55" y="24"/>
                    <a:pt x="55" y="25"/>
                    <a:pt x="54" y="25"/>
                  </a:cubicBezTo>
                  <a:cubicBezTo>
                    <a:pt x="54" y="25"/>
                    <a:pt x="53" y="24"/>
                    <a:pt x="53" y="24"/>
                  </a:cubicBezTo>
                  <a:cubicBezTo>
                    <a:pt x="53" y="22"/>
                    <a:pt x="53" y="21"/>
                    <a:pt x="52" y="19"/>
                  </a:cubicBezTo>
                  <a:cubicBezTo>
                    <a:pt x="51" y="18"/>
                    <a:pt x="51" y="18"/>
                    <a:pt x="51" y="16"/>
                  </a:cubicBezTo>
                  <a:cubicBezTo>
                    <a:pt x="50" y="16"/>
                    <a:pt x="50" y="16"/>
                    <a:pt x="49" y="15"/>
                  </a:cubicBezTo>
                  <a:cubicBezTo>
                    <a:pt x="48" y="15"/>
                    <a:pt x="47" y="16"/>
                    <a:pt x="46" y="16"/>
                  </a:cubicBezTo>
                  <a:cubicBezTo>
                    <a:pt x="44" y="17"/>
                    <a:pt x="43" y="16"/>
                    <a:pt x="42" y="17"/>
                  </a:cubicBezTo>
                  <a:cubicBezTo>
                    <a:pt x="41" y="18"/>
                    <a:pt x="40" y="18"/>
                    <a:pt x="40" y="18"/>
                  </a:cubicBezTo>
                  <a:cubicBezTo>
                    <a:pt x="39" y="18"/>
                    <a:pt x="37" y="18"/>
                    <a:pt x="36" y="17"/>
                  </a:cubicBezTo>
                  <a:cubicBezTo>
                    <a:pt x="36" y="16"/>
                    <a:pt x="36" y="14"/>
                    <a:pt x="35" y="14"/>
                  </a:cubicBezTo>
                  <a:cubicBezTo>
                    <a:pt x="34" y="14"/>
                    <a:pt x="33" y="14"/>
                    <a:pt x="32" y="14"/>
                  </a:cubicBezTo>
                  <a:cubicBezTo>
                    <a:pt x="29" y="16"/>
                    <a:pt x="26" y="16"/>
                    <a:pt x="23" y="17"/>
                  </a:cubicBezTo>
                  <a:cubicBezTo>
                    <a:pt x="21" y="17"/>
                    <a:pt x="20" y="18"/>
                    <a:pt x="19" y="17"/>
                  </a:cubicBezTo>
                  <a:cubicBezTo>
                    <a:pt x="17" y="16"/>
                    <a:pt x="16" y="17"/>
                    <a:pt x="15" y="15"/>
                  </a:cubicBezTo>
                  <a:cubicBezTo>
                    <a:pt x="14" y="14"/>
                    <a:pt x="15" y="13"/>
                    <a:pt x="16" y="13"/>
                  </a:cubicBezTo>
                  <a:cubicBezTo>
                    <a:pt x="16" y="12"/>
                    <a:pt x="17" y="12"/>
                    <a:pt x="18" y="12"/>
                  </a:cubicBezTo>
                  <a:cubicBezTo>
                    <a:pt x="19" y="11"/>
                    <a:pt x="20" y="10"/>
                    <a:pt x="21" y="9"/>
                  </a:cubicBezTo>
                  <a:cubicBezTo>
                    <a:pt x="23" y="9"/>
                    <a:pt x="25" y="9"/>
                    <a:pt x="27" y="9"/>
                  </a:cubicBezTo>
                  <a:cubicBezTo>
                    <a:pt x="28" y="8"/>
                    <a:pt x="28" y="6"/>
                    <a:pt x="27" y="6"/>
                  </a:cubicBezTo>
                  <a:cubicBezTo>
                    <a:pt x="26" y="5"/>
                    <a:pt x="25" y="5"/>
                    <a:pt x="25" y="4"/>
                  </a:cubicBezTo>
                  <a:cubicBezTo>
                    <a:pt x="24" y="3"/>
                    <a:pt x="25" y="2"/>
                    <a:pt x="24" y="1"/>
                  </a:cubicBezTo>
                  <a:cubicBezTo>
                    <a:pt x="24" y="0"/>
                    <a:pt x="23" y="0"/>
                    <a:pt x="22" y="0"/>
                  </a:cubicBezTo>
                  <a:cubicBezTo>
                    <a:pt x="21" y="1"/>
                    <a:pt x="21" y="2"/>
                    <a:pt x="20" y="2"/>
                  </a:cubicBezTo>
                  <a:cubicBezTo>
                    <a:pt x="19" y="3"/>
                    <a:pt x="17" y="3"/>
                    <a:pt x="17" y="4"/>
                  </a:cubicBezTo>
                  <a:cubicBezTo>
                    <a:pt x="16" y="5"/>
                    <a:pt x="15" y="6"/>
                    <a:pt x="14" y="7"/>
                  </a:cubicBezTo>
                  <a:cubicBezTo>
                    <a:pt x="13" y="8"/>
                    <a:pt x="12" y="7"/>
                    <a:pt x="12" y="8"/>
                  </a:cubicBezTo>
                  <a:cubicBezTo>
                    <a:pt x="11" y="10"/>
                    <a:pt x="13" y="12"/>
                    <a:pt x="11" y="13"/>
                  </a:cubicBezTo>
                  <a:cubicBezTo>
                    <a:pt x="9" y="15"/>
                    <a:pt x="5" y="14"/>
                    <a:pt x="2" y="14"/>
                  </a:cubicBezTo>
                  <a:cubicBezTo>
                    <a:pt x="0" y="15"/>
                    <a:pt x="1" y="17"/>
                    <a:pt x="1" y="18"/>
                  </a:cubicBezTo>
                  <a:cubicBezTo>
                    <a:pt x="2" y="19"/>
                    <a:pt x="3" y="19"/>
                    <a:pt x="4" y="20"/>
                  </a:cubicBezTo>
                  <a:cubicBezTo>
                    <a:pt x="5" y="21"/>
                    <a:pt x="7" y="20"/>
                    <a:pt x="8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2"/>
                    <a:pt x="9" y="23"/>
                    <a:pt x="8" y="23"/>
                  </a:cubicBezTo>
                  <a:cubicBezTo>
                    <a:pt x="8" y="25"/>
                    <a:pt x="8" y="26"/>
                    <a:pt x="9" y="27"/>
                  </a:cubicBezTo>
                  <a:cubicBezTo>
                    <a:pt x="10" y="28"/>
                    <a:pt x="10" y="29"/>
                    <a:pt x="9" y="30"/>
                  </a:cubicBezTo>
                  <a:cubicBezTo>
                    <a:pt x="9" y="31"/>
                    <a:pt x="9" y="33"/>
                    <a:pt x="8" y="33"/>
                  </a:cubicBezTo>
                  <a:cubicBezTo>
                    <a:pt x="7" y="35"/>
                    <a:pt x="7" y="37"/>
                    <a:pt x="7" y="39"/>
                  </a:cubicBezTo>
                  <a:cubicBezTo>
                    <a:pt x="8" y="39"/>
                    <a:pt x="7" y="38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10" y="40"/>
                    <a:pt x="10" y="41"/>
                    <a:pt x="11" y="42"/>
                  </a:cubicBezTo>
                  <a:cubicBezTo>
                    <a:pt x="11" y="42"/>
                    <a:pt x="12" y="42"/>
                    <a:pt x="12" y="42"/>
                  </a:cubicBezTo>
                  <a:cubicBezTo>
                    <a:pt x="13" y="41"/>
                    <a:pt x="13" y="40"/>
                    <a:pt x="14" y="40"/>
                  </a:cubicBezTo>
                  <a:cubicBezTo>
                    <a:pt x="15" y="39"/>
                    <a:pt x="15" y="38"/>
                    <a:pt x="16" y="38"/>
                  </a:cubicBezTo>
                  <a:cubicBezTo>
                    <a:pt x="17" y="38"/>
                    <a:pt x="18" y="39"/>
                    <a:pt x="18" y="39"/>
                  </a:cubicBezTo>
                  <a:cubicBezTo>
                    <a:pt x="19" y="39"/>
                    <a:pt x="19" y="39"/>
                    <a:pt x="20" y="39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1" y="38"/>
                    <a:pt x="21" y="37"/>
                    <a:pt x="22" y="36"/>
                  </a:cubicBezTo>
                  <a:cubicBezTo>
                    <a:pt x="23" y="35"/>
                    <a:pt x="24" y="36"/>
                    <a:pt x="25" y="36"/>
                  </a:cubicBezTo>
                  <a:cubicBezTo>
                    <a:pt x="26" y="36"/>
                    <a:pt x="26" y="35"/>
                    <a:pt x="26" y="35"/>
                  </a:cubicBezTo>
                  <a:cubicBezTo>
                    <a:pt x="26" y="34"/>
                    <a:pt x="26" y="33"/>
                    <a:pt x="26" y="32"/>
                  </a:cubicBezTo>
                  <a:cubicBezTo>
                    <a:pt x="27" y="31"/>
                    <a:pt x="28" y="30"/>
                    <a:pt x="29" y="29"/>
                  </a:cubicBezTo>
                  <a:cubicBezTo>
                    <a:pt x="30" y="28"/>
                    <a:pt x="32" y="27"/>
                    <a:pt x="33" y="29"/>
                  </a:cubicBezTo>
                  <a:cubicBezTo>
                    <a:pt x="34" y="30"/>
                    <a:pt x="33" y="31"/>
                    <a:pt x="34" y="32"/>
                  </a:cubicBezTo>
                  <a:cubicBezTo>
                    <a:pt x="34" y="33"/>
                    <a:pt x="34" y="33"/>
                    <a:pt x="35" y="33"/>
                  </a:cubicBezTo>
                  <a:cubicBezTo>
                    <a:pt x="35" y="33"/>
                    <a:pt x="36" y="33"/>
                    <a:pt x="36" y="34"/>
                  </a:cubicBezTo>
                  <a:cubicBezTo>
                    <a:pt x="37" y="36"/>
                    <a:pt x="36" y="38"/>
                    <a:pt x="36" y="41"/>
                  </a:cubicBezTo>
                  <a:cubicBezTo>
                    <a:pt x="37" y="41"/>
                    <a:pt x="37" y="43"/>
                    <a:pt x="37" y="44"/>
                  </a:cubicBezTo>
                  <a:cubicBezTo>
                    <a:pt x="38" y="45"/>
                    <a:pt x="39" y="45"/>
                    <a:pt x="40" y="44"/>
                  </a:cubicBezTo>
                  <a:cubicBezTo>
                    <a:pt x="41" y="43"/>
                    <a:pt x="42" y="42"/>
                    <a:pt x="44" y="41"/>
                  </a:cubicBezTo>
                  <a:cubicBezTo>
                    <a:pt x="45" y="41"/>
                    <a:pt x="46" y="41"/>
                    <a:pt x="47" y="40"/>
                  </a:cubicBezTo>
                  <a:cubicBezTo>
                    <a:pt x="49" y="40"/>
                    <a:pt x="50" y="39"/>
                    <a:pt x="51" y="39"/>
                  </a:cubicBezTo>
                  <a:cubicBezTo>
                    <a:pt x="54" y="39"/>
                    <a:pt x="57" y="39"/>
                    <a:pt x="61" y="39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1" name="Freeform 209"/>
            <p:cNvSpPr>
              <a:spLocks/>
            </p:cNvSpPr>
            <p:nvPr/>
          </p:nvSpPr>
          <p:spPr bwMode="auto">
            <a:xfrm>
              <a:off x="7491323" y="4932310"/>
              <a:ext cx="145718" cy="97902"/>
            </a:xfrm>
            <a:custGeom>
              <a:avLst/>
              <a:gdLst>
                <a:gd name="T0" fmla="*/ 99930694 w 108"/>
                <a:gd name="T1" fmla="*/ 14008946 h 91"/>
                <a:gd name="T2" fmla="*/ 99930694 w 108"/>
                <a:gd name="T3" fmla="*/ 11164417 h 91"/>
                <a:gd name="T4" fmla="*/ 86812969 w 108"/>
                <a:gd name="T5" fmla="*/ 12281783 h 91"/>
                <a:gd name="T6" fmla="*/ 80147233 w 108"/>
                <a:gd name="T7" fmla="*/ 16004448 h 91"/>
                <a:gd name="T8" fmla="*/ 76614011 w 108"/>
                <a:gd name="T9" fmla="*/ 13164474 h 91"/>
                <a:gd name="T10" fmla="*/ 75494466 w 108"/>
                <a:gd name="T11" fmla="*/ 5571940 h 91"/>
                <a:gd name="T12" fmla="*/ 73996351 w 108"/>
                <a:gd name="T13" fmla="*/ 2000055 h 91"/>
                <a:gd name="T14" fmla="*/ 67115547 w 108"/>
                <a:gd name="T15" fmla="*/ 4725404 h 91"/>
                <a:gd name="T16" fmla="*/ 66403625 w 108"/>
                <a:gd name="T17" fmla="*/ 8439066 h 91"/>
                <a:gd name="T18" fmla="*/ 61601013 w 108"/>
                <a:gd name="T19" fmla="*/ 11164417 h 91"/>
                <a:gd name="T20" fmla="*/ 59744575 w 108"/>
                <a:gd name="T21" fmla="*/ 11164417 h 91"/>
                <a:gd name="T22" fmla="*/ 56082021 w 108"/>
                <a:gd name="T23" fmla="*/ 12281783 h 91"/>
                <a:gd name="T24" fmla="*/ 53372599 w 108"/>
                <a:gd name="T25" fmla="*/ 14008946 h 91"/>
                <a:gd name="T26" fmla="*/ 51390627 w 108"/>
                <a:gd name="T27" fmla="*/ 11164417 h 91"/>
                <a:gd name="T28" fmla="*/ 40316792 w 108"/>
                <a:gd name="T29" fmla="*/ 10280857 h 91"/>
                <a:gd name="T30" fmla="*/ 35663676 w 108"/>
                <a:gd name="T31" fmla="*/ 8439066 h 91"/>
                <a:gd name="T32" fmla="*/ 33681741 w 108"/>
                <a:gd name="T33" fmla="*/ 12281783 h 91"/>
                <a:gd name="T34" fmla="*/ 28787839 w 108"/>
                <a:gd name="T35" fmla="*/ 19938451 h 91"/>
                <a:gd name="T36" fmla="*/ 23241458 w 108"/>
                <a:gd name="T37" fmla="*/ 23446210 h 91"/>
                <a:gd name="T38" fmla="*/ 18588886 w 108"/>
                <a:gd name="T39" fmla="*/ 26377467 h 91"/>
                <a:gd name="T40" fmla="*/ 17075348 w 108"/>
                <a:gd name="T41" fmla="*/ 29017383 h 91"/>
                <a:gd name="T42" fmla="*/ 12192496 w 108"/>
                <a:gd name="T43" fmla="*/ 31102872 h 91"/>
                <a:gd name="T44" fmla="*/ 8379338 w 108"/>
                <a:gd name="T45" fmla="*/ 28377505 h 91"/>
                <a:gd name="T46" fmla="*/ 5519056 w 108"/>
                <a:gd name="T47" fmla="*/ 28377505 h 91"/>
                <a:gd name="T48" fmla="*/ 3548897 w 108"/>
                <a:gd name="T49" fmla="*/ 37812704 h 91"/>
                <a:gd name="T50" fmla="*/ 1982087 w 108"/>
                <a:gd name="T51" fmla="*/ 46251786 h 91"/>
                <a:gd name="T52" fmla="*/ 2821559 w 108"/>
                <a:gd name="T53" fmla="*/ 47953830 h 91"/>
                <a:gd name="T54" fmla="*/ 1982087 w 108"/>
                <a:gd name="T55" fmla="*/ 52667762 h 91"/>
                <a:gd name="T56" fmla="*/ 3548897 w 108"/>
                <a:gd name="T57" fmla="*/ 60260029 h 91"/>
                <a:gd name="T58" fmla="*/ 4679927 w 108"/>
                <a:gd name="T59" fmla="*/ 65828253 h 91"/>
                <a:gd name="T60" fmla="*/ 11049822 w 108"/>
                <a:gd name="T61" fmla="*/ 72601308 h 91"/>
                <a:gd name="T62" fmla="*/ 7500981 w 108"/>
                <a:gd name="T63" fmla="*/ 82258802 h 91"/>
                <a:gd name="T64" fmla="*/ 10210419 w 108"/>
                <a:gd name="T65" fmla="*/ 82258802 h 91"/>
                <a:gd name="T66" fmla="*/ 22604865 w 108"/>
                <a:gd name="T67" fmla="*/ 83765824 h 91"/>
                <a:gd name="T68" fmla="*/ 35663676 w 108"/>
                <a:gd name="T69" fmla="*/ 83765824 h 91"/>
                <a:gd name="T70" fmla="*/ 44665240 w 108"/>
                <a:gd name="T71" fmla="*/ 81050040 h 91"/>
                <a:gd name="T72" fmla="*/ 44665240 w 108"/>
                <a:gd name="T73" fmla="*/ 72601308 h 91"/>
                <a:gd name="T74" fmla="*/ 47332010 w 108"/>
                <a:gd name="T75" fmla="*/ 69762402 h 91"/>
                <a:gd name="T76" fmla="*/ 52225289 w 108"/>
                <a:gd name="T77" fmla="*/ 69762402 h 91"/>
                <a:gd name="T78" fmla="*/ 57762603 w 108"/>
                <a:gd name="T79" fmla="*/ 64200755 h 91"/>
                <a:gd name="T80" fmla="*/ 65283967 w 108"/>
                <a:gd name="T81" fmla="*/ 60260029 h 91"/>
                <a:gd name="T82" fmla="*/ 70814783 w 108"/>
                <a:gd name="T83" fmla="*/ 51036333 h 91"/>
                <a:gd name="T84" fmla="*/ 70814783 w 108"/>
                <a:gd name="T85" fmla="*/ 47107325 h 91"/>
                <a:gd name="T86" fmla="*/ 67971251 w 108"/>
                <a:gd name="T87" fmla="*/ 43600303 h 91"/>
                <a:gd name="T88" fmla="*/ 77480481 w 108"/>
                <a:gd name="T89" fmla="*/ 40652678 h 91"/>
                <a:gd name="T90" fmla="*/ 79526318 w 108"/>
                <a:gd name="T91" fmla="*/ 33942837 h 91"/>
                <a:gd name="T92" fmla="*/ 78315786 w 108"/>
                <a:gd name="T93" fmla="*/ 25505408 h 91"/>
                <a:gd name="T94" fmla="*/ 81025188 w 108"/>
                <a:gd name="T95" fmla="*/ 19938451 h 91"/>
                <a:gd name="T96" fmla="*/ 91223296 w 108"/>
                <a:gd name="T97" fmla="*/ 16004448 h 91"/>
                <a:gd name="T98" fmla="*/ 96026740 w 108"/>
                <a:gd name="T99" fmla="*/ 17206491 h 91"/>
                <a:gd name="T100" fmla="*/ 100721836 w 108"/>
                <a:gd name="T101" fmla="*/ 14008946 h 9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08"/>
                <a:gd name="T154" fmla="*/ 0 h 91"/>
                <a:gd name="T155" fmla="*/ 108 w 108"/>
                <a:gd name="T156" fmla="*/ 91 h 9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08" h="91">
                  <a:moveTo>
                    <a:pt x="108" y="15"/>
                  </a:moveTo>
                  <a:cubicBezTo>
                    <a:pt x="107" y="15"/>
                    <a:pt x="107" y="15"/>
                    <a:pt x="107" y="15"/>
                  </a:cubicBezTo>
                  <a:cubicBezTo>
                    <a:pt x="106" y="14"/>
                    <a:pt x="106" y="13"/>
                    <a:pt x="107" y="12"/>
                  </a:cubicBezTo>
                  <a:cubicBezTo>
                    <a:pt x="107" y="12"/>
                    <a:pt x="107" y="12"/>
                    <a:pt x="107" y="12"/>
                  </a:cubicBezTo>
                  <a:cubicBezTo>
                    <a:pt x="103" y="12"/>
                    <a:pt x="100" y="12"/>
                    <a:pt x="97" y="12"/>
                  </a:cubicBezTo>
                  <a:cubicBezTo>
                    <a:pt x="96" y="12"/>
                    <a:pt x="95" y="13"/>
                    <a:pt x="93" y="13"/>
                  </a:cubicBezTo>
                  <a:cubicBezTo>
                    <a:pt x="92" y="14"/>
                    <a:pt x="91" y="14"/>
                    <a:pt x="90" y="14"/>
                  </a:cubicBezTo>
                  <a:cubicBezTo>
                    <a:pt x="88" y="15"/>
                    <a:pt x="87" y="16"/>
                    <a:pt x="86" y="17"/>
                  </a:cubicBezTo>
                  <a:cubicBezTo>
                    <a:pt x="85" y="18"/>
                    <a:pt x="84" y="18"/>
                    <a:pt x="83" y="17"/>
                  </a:cubicBezTo>
                  <a:cubicBezTo>
                    <a:pt x="83" y="16"/>
                    <a:pt x="83" y="14"/>
                    <a:pt x="82" y="14"/>
                  </a:cubicBezTo>
                  <a:cubicBezTo>
                    <a:pt x="82" y="11"/>
                    <a:pt x="83" y="9"/>
                    <a:pt x="82" y="7"/>
                  </a:cubicBezTo>
                  <a:cubicBezTo>
                    <a:pt x="82" y="6"/>
                    <a:pt x="81" y="6"/>
                    <a:pt x="81" y="6"/>
                  </a:cubicBezTo>
                  <a:cubicBezTo>
                    <a:pt x="80" y="6"/>
                    <a:pt x="80" y="6"/>
                    <a:pt x="80" y="5"/>
                  </a:cubicBezTo>
                  <a:cubicBezTo>
                    <a:pt x="79" y="4"/>
                    <a:pt x="80" y="3"/>
                    <a:pt x="79" y="2"/>
                  </a:cubicBezTo>
                  <a:cubicBezTo>
                    <a:pt x="78" y="0"/>
                    <a:pt x="76" y="1"/>
                    <a:pt x="75" y="2"/>
                  </a:cubicBezTo>
                  <a:cubicBezTo>
                    <a:pt x="74" y="3"/>
                    <a:pt x="73" y="4"/>
                    <a:pt x="72" y="5"/>
                  </a:cubicBezTo>
                  <a:cubicBezTo>
                    <a:pt x="72" y="6"/>
                    <a:pt x="72" y="7"/>
                    <a:pt x="72" y="8"/>
                  </a:cubicBezTo>
                  <a:cubicBezTo>
                    <a:pt x="72" y="8"/>
                    <a:pt x="72" y="9"/>
                    <a:pt x="71" y="9"/>
                  </a:cubicBezTo>
                  <a:cubicBezTo>
                    <a:pt x="70" y="9"/>
                    <a:pt x="69" y="8"/>
                    <a:pt x="68" y="9"/>
                  </a:cubicBezTo>
                  <a:cubicBezTo>
                    <a:pt x="67" y="10"/>
                    <a:pt x="67" y="11"/>
                    <a:pt x="66" y="12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5" y="12"/>
                    <a:pt x="65" y="12"/>
                    <a:pt x="64" y="12"/>
                  </a:cubicBezTo>
                  <a:cubicBezTo>
                    <a:pt x="64" y="12"/>
                    <a:pt x="63" y="11"/>
                    <a:pt x="62" y="11"/>
                  </a:cubicBezTo>
                  <a:cubicBezTo>
                    <a:pt x="61" y="11"/>
                    <a:pt x="61" y="12"/>
                    <a:pt x="60" y="13"/>
                  </a:cubicBezTo>
                  <a:cubicBezTo>
                    <a:pt x="59" y="13"/>
                    <a:pt x="59" y="14"/>
                    <a:pt x="58" y="15"/>
                  </a:cubicBezTo>
                  <a:cubicBezTo>
                    <a:pt x="58" y="15"/>
                    <a:pt x="57" y="15"/>
                    <a:pt x="57" y="15"/>
                  </a:cubicBezTo>
                  <a:cubicBezTo>
                    <a:pt x="56" y="14"/>
                    <a:pt x="56" y="13"/>
                    <a:pt x="55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3" y="11"/>
                    <a:pt x="54" y="12"/>
                    <a:pt x="53" y="12"/>
                  </a:cubicBezTo>
                  <a:cubicBezTo>
                    <a:pt x="50" y="12"/>
                    <a:pt x="45" y="12"/>
                    <a:pt x="43" y="11"/>
                  </a:cubicBezTo>
                  <a:cubicBezTo>
                    <a:pt x="42" y="11"/>
                    <a:pt x="42" y="10"/>
                    <a:pt x="41" y="10"/>
                  </a:cubicBezTo>
                  <a:cubicBezTo>
                    <a:pt x="40" y="10"/>
                    <a:pt x="39" y="10"/>
                    <a:pt x="38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6" y="10"/>
                    <a:pt x="37" y="12"/>
                    <a:pt x="36" y="13"/>
                  </a:cubicBezTo>
                  <a:cubicBezTo>
                    <a:pt x="34" y="13"/>
                    <a:pt x="33" y="13"/>
                    <a:pt x="32" y="14"/>
                  </a:cubicBezTo>
                  <a:cubicBezTo>
                    <a:pt x="31" y="16"/>
                    <a:pt x="33" y="19"/>
                    <a:pt x="31" y="21"/>
                  </a:cubicBezTo>
                  <a:cubicBezTo>
                    <a:pt x="31" y="22"/>
                    <a:pt x="30" y="22"/>
                    <a:pt x="29" y="22"/>
                  </a:cubicBezTo>
                  <a:cubicBezTo>
                    <a:pt x="28" y="23"/>
                    <a:pt x="27" y="24"/>
                    <a:pt x="25" y="25"/>
                  </a:cubicBezTo>
                  <a:cubicBezTo>
                    <a:pt x="24" y="27"/>
                    <a:pt x="22" y="26"/>
                    <a:pt x="20" y="26"/>
                  </a:cubicBezTo>
                  <a:cubicBezTo>
                    <a:pt x="20" y="27"/>
                    <a:pt x="20" y="28"/>
                    <a:pt x="20" y="28"/>
                  </a:cubicBezTo>
                  <a:cubicBezTo>
                    <a:pt x="21" y="29"/>
                    <a:pt x="21" y="30"/>
                    <a:pt x="20" y="30"/>
                  </a:cubicBezTo>
                  <a:cubicBezTo>
                    <a:pt x="19" y="31"/>
                    <a:pt x="18" y="30"/>
                    <a:pt x="18" y="31"/>
                  </a:cubicBezTo>
                  <a:cubicBezTo>
                    <a:pt x="17" y="31"/>
                    <a:pt x="16" y="32"/>
                    <a:pt x="14" y="33"/>
                  </a:cubicBezTo>
                  <a:cubicBezTo>
                    <a:pt x="14" y="33"/>
                    <a:pt x="13" y="33"/>
                    <a:pt x="13" y="33"/>
                  </a:cubicBezTo>
                  <a:cubicBezTo>
                    <a:pt x="12" y="32"/>
                    <a:pt x="13" y="31"/>
                    <a:pt x="12" y="31"/>
                  </a:cubicBezTo>
                  <a:cubicBezTo>
                    <a:pt x="11" y="30"/>
                    <a:pt x="9" y="31"/>
                    <a:pt x="9" y="30"/>
                  </a:cubicBezTo>
                  <a:cubicBezTo>
                    <a:pt x="8" y="30"/>
                    <a:pt x="7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6" y="32"/>
                    <a:pt x="6" y="33"/>
                  </a:cubicBezTo>
                  <a:cubicBezTo>
                    <a:pt x="5" y="35"/>
                    <a:pt x="5" y="38"/>
                    <a:pt x="4" y="40"/>
                  </a:cubicBezTo>
                  <a:cubicBezTo>
                    <a:pt x="3" y="41"/>
                    <a:pt x="2" y="42"/>
                    <a:pt x="1" y="43"/>
                  </a:cubicBezTo>
                  <a:cubicBezTo>
                    <a:pt x="0" y="45"/>
                    <a:pt x="1" y="47"/>
                    <a:pt x="2" y="49"/>
                  </a:cubicBezTo>
                  <a:cubicBezTo>
                    <a:pt x="2" y="49"/>
                    <a:pt x="3" y="50"/>
                    <a:pt x="3" y="50"/>
                  </a:cubicBezTo>
                  <a:cubicBezTo>
                    <a:pt x="3" y="50"/>
                    <a:pt x="3" y="51"/>
                    <a:pt x="3" y="51"/>
                  </a:cubicBezTo>
                  <a:cubicBezTo>
                    <a:pt x="3" y="52"/>
                    <a:pt x="2" y="53"/>
                    <a:pt x="2" y="53"/>
                  </a:cubicBezTo>
                  <a:cubicBezTo>
                    <a:pt x="2" y="54"/>
                    <a:pt x="2" y="55"/>
                    <a:pt x="2" y="56"/>
                  </a:cubicBezTo>
                  <a:cubicBezTo>
                    <a:pt x="3" y="57"/>
                    <a:pt x="3" y="59"/>
                    <a:pt x="3" y="60"/>
                  </a:cubicBezTo>
                  <a:cubicBezTo>
                    <a:pt x="3" y="61"/>
                    <a:pt x="4" y="63"/>
                    <a:pt x="4" y="64"/>
                  </a:cubicBezTo>
                  <a:cubicBezTo>
                    <a:pt x="4" y="64"/>
                    <a:pt x="4" y="65"/>
                    <a:pt x="4" y="65"/>
                  </a:cubicBezTo>
                  <a:cubicBezTo>
                    <a:pt x="5" y="67"/>
                    <a:pt x="4" y="68"/>
                    <a:pt x="5" y="70"/>
                  </a:cubicBezTo>
                  <a:cubicBezTo>
                    <a:pt x="7" y="71"/>
                    <a:pt x="11" y="69"/>
                    <a:pt x="13" y="71"/>
                  </a:cubicBezTo>
                  <a:cubicBezTo>
                    <a:pt x="13" y="73"/>
                    <a:pt x="14" y="75"/>
                    <a:pt x="12" y="77"/>
                  </a:cubicBezTo>
                  <a:cubicBezTo>
                    <a:pt x="11" y="80"/>
                    <a:pt x="8" y="82"/>
                    <a:pt x="7" y="85"/>
                  </a:cubicBezTo>
                  <a:cubicBezTo>
                    <a:pt x="7" y="86"/>
                    <a:pt x="7" y="86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6"/>
                    <a:pt x="10" y="87"/>
                    <a:pt x="11" y="87"/>
                  </a:cubicBezTo>
                  <a:cubicBezTo>
                    <a:pt x="12" y="87"/>
                    <a:pt x="13" y="87"/>
                    <a:pt x="14" y="88"/>
                  </a:cubicBezTo>
                  <a:cubicBezTo>
                    <a:pt x="17" y="91"/>
                    <a:pt x="21" y="90"/>
                    <a:pt x="24" y="89"/>
                  </a:cubicBezTo>
                  <a:cubicBezTo>
                    <a:pt x="26" y="88"/>
                    <a:pt x="28" y="88"/>
                    <a:pt x="30" y="89"/>
                  </a:cubicBezTo>
                  <a:cubicBezTo>
                    <a:pt x="33" y="89"/>
                    <a:pt x="35" y="89"/>
                    <a:pt x="38" y="89"/>
                  </a:cubicBezTo>
                  <a:cubicBezTo>
                    <a:pt x="40" y="88"/>
                    <a:pt x="42" y="88"/>
                    <a:pt x="45" y="88"/>
                  </a:cubicBezTo>
                  <a:cubicBezTo>
                    <a:pt x="46" y="87"/>
                    <a:pt x="48" y="87"/>
                    <a:pt x="48" y="86"/>
                  </a:cubicBezTo>
                  <a:cubicBezTo>
                    <a:pt x="49" y="85"/>
                    <a:pt x="48" y="83"/>
                    <a:pt x="48" y="82"/>
                  </a:cubicBezTo>
                  <a:cubicBezTo>
                    <a:pt x="48" y="80"/>
                    <a:pt x="48" y="79"/>
                    <a:pt x="48" y="77"/>
                  </a:cubicBezTo>
                  <a:cubicBezTo>
                    <a:pt x="48" y="77"/>
                    <a:pt x="49" y="76"/>
                    <a:pt x="50" y="76"/>
                  </a:cubicBezTo>
                  <a:cubicBezTo>
                    <a:pt x="50" y="75"/>
                    <a:pt x="51" y="75"/>
                    <a:pt x="51" y="74"/>
                  </a:cubicBezTo>
                  <a:cubicBezTo>
                    <a:pt x="52" y="74"/>
                    <a:pt x="52" y="73"/>
                    <a:pt x="53" y="73"/>
                  </a:cubicBezTo>
                  <a:cubicBezTo>
                    <a:pt x="54" y="72"/>
                    <a:pt x="55" y="73"/>
                    <a:pt x="56" y="74"/>
                  </a:cubicBezTo>
                  <a:cubicBezTo>
                    <a:pt x="57" y="74"/>
                    <a:pt x="58" y="74"/>
                    <a:pt x="58" y="74"/>
                  </a:cubicBezTo>
                  <a:cubicBezTo>
                    <a:pt x="59" y="71"/>
                    <a:pt x="60" y="68"/>
                    <a:pt x="62" y="68"/>
                  </a:cubicBezTo>
                  <a:cubicBezTo>
                    <a:pt x="64" y="67"/>
                    <a:pt x="66" y="68"/>
                    <a:pt x="68" y="67"/>
                  </a:cubicBezTo>
                  <a:cubicBezTo>
                    <a:pt x="69" y="67"/>
                    <a:pt x="70" y="65"/>
                    <a:pt x="70" y="64"/>
                  </a:cubicBezTo>
                  <a:cubicBezTo>
                    <a:pt x="72" y="61"/>
                    <a:pt x="70" y="58"/>
                    <a:pt x="71" y="55"/>
                  </a:cubicBezTo>
                  <a:cubicBezTo>
                    <a:pt x="72" y="54"/>
                    <a:pt x="74" y="55"/>
                    <a:pt x="76" y="54"/>
                  </a:cubicBezTo>
                  <a:cubicBezTo>
                    <a:pt x="77" y="54"/>
                    <a:pt x="76" y="53"/>
                    <a:pt x="76" y="52"/>
                  </a:cubicBezTo>
                  <a:cubicBezTo>
                    <a:pt x="76" y="51"/>
                    <a:pt x="76" y="50"/>
                    <a:pt x="76" y="50"/>
                  </a:cubicBezTo>
                  <a:cubicBezTo>
                    <a:pt x="75" y="49"/>
                    <a:pt x="74" y="49"/>
                    <a:pt x="73" y="49"/>
                  </a:cubicBezTo>
                  <a:cubicBezTo>
                    <a:pt x="73" y="48"/>
                    <a:pt x="73" y="47"/>
                    <a:pt x="73" y="46"/>
                  </a:cubicBezTo>
                  <a:cubicBezTo>
                    <a:pt x="76" y="46"/>
                    <a:pt x="79" y="47"/>
                    <a:pt x="81" y="46"/>
                  </a:cubicBezTo>
                  <a:cubicBezTo>
                    <a:pt x="82" y="45"/>
                    <a:pt x="83" y="44"/>
                    <a:pt x="83" y="43"/>
                  </a:cubicBezTo>
                  <a:cubicBezTo>
                    <a:pt x="84" y="41"/>
                    <a:pt x="83" y="39"/>
                    <a:pt x="84" y="37"/>
                  </a:cubicBezTo>
                  <a:cubicBezTo>
                    <a:pt x="84" y="36"/>
                    <a:pt x="85" y="36"/>
                    <a:pt x="85" y="36"/>
                  </a:cubicBezTo>
                  <a:cubicBezTo>
                    <a:pt x="86" y="34"/>
                    <a:pt x="86" y="32"/>
                    <a:pt x="85" y="31"/>
                  </a:cubicBezTo>
                  <a:cubicBezTo>
                    <a:pt x="85" y="30"/>
                    <a:pt x="84" y="29"/>
                    <a:pt x="84" y="27"/>
                  </a:cubicBezTo>
                  <a:cubicBezTo>
                    <a:pt x="83" y="26"/>
                    <a:pt x="83" y="24"/>
                    <a:pt x="84" y="23"/>
                  </a:cubicBezTo>
                  <a:cubicBezTo>
                    <a:pt x="85" y="22"/>
                    <a:pt x="86" y="21"/>
                    <a:pt x="87" y="21"/>
                  </a:cubicBezTo>
                  <a:cubicBezTo>
                    <a:pt x="89" y="19"/>
                    <a:pt x="91" y="18"/>
                    <a:pt x="93" y="17"/>
                  </a:cubicBezTo>
                  <a:cubicBezTo>
                    <a:pt x="95" y="17"/>
                    <a:pt x="97" y="17"/>
                    <a:pt x="98" y="17"/>
                  </a:cubicBezTo>
                  <a:cubicBezTo>
                    <a:pt x="99" y="17"/>
                    <a:pt x="99" y="17"/>
                    <a:pt x="100" y="17"/>
                  </a:cubicBezTo>
                  <a:cubicBezTo>
                    <a:pt x="101" y="18"/>
                    <a:pt x="102" y="18"/>
                    <a:pt x="103" y="18"/>
                  </a:cubicBezTo>
                  <a:cubicBezTo>
                    <a:pt x="104" y="18"/>
                    <a:pt x="105" y="18"/>
                    <a:pt x="105" y="17"/>
                  </a:cubicBezTo>
                  <a:cubicBezTo>
                    <a:pt x="106" y="17"/>
                    <a:pt x="107" y="16"/>
                    <a:pt x="108" y="1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2" name="Freeform 210"/>
            <p:cNvSpPr>
              <a:spLocks/>
            </p:cNvSpPr>
            <p:nvPr/>
          </p:nvSpPr>
          <p:spPr bwMode="auto">
            <a:xfrm>
              <a:off x="7500748" y="4948023"/>
              <a:ext cx="166741" cy="140810"/>
            </a:xfrm>
            <a:custGeom>
              <a:avLst/>
              <a:gdLst>
                <a:gd name="T0" fmla="*/ 10292336 w 124"/>
                <a:gd name="T1" fmla="*/ 109415542 h 130"/>
                <a:gd name="T2" fmla="*/ 19961168 w 124"/>
                <a:gd name="T3" fmla="*/ 108536446 h 130"/>
                <a:gd name="T4" fmla="*/ 25566673 w 124"/>
                <a:gd name="T5" fmla="*/ 107695965 h 130"/>
                <a:gd name="T6" fmla="*/ 31138889 w 124"/>
                <a:gd name="T7" fmla="*/ 107695965 h 130"/>
                <a:gd name="T8" fmla="*/ 43656252 w 124"/>
                <a:gd name="T9" fmla="*/ 105861674 h 130"/>
                <a:gd name="T10" fmla="*/ 47166316 w 124"/>
                <a:gd name="T11" fmla="*/ 107695965 h 130"/>
                <a:gd name="T12" fmla="*/ 49253571 w 124"/>
                <a:gd name="T13" fmla="*/ 113240326 h 130"/>
                <a:gd name="T14" fmla="*/ 57465320 w 124"/>
                <a:gd name="T15" fmla="*/ 121634476 h 130"/>
                <a:gd name="T16" fmla="*/ 58707261 w 124"/>
                <a:gd name="T17" fmla="*/ 118770328 h 130"/>
                <a:gd name="T18" fmla="*/ 60411576 w 124"/>
                <a:gd name="T19" fmla="*/ 114946829 h 130"/>
                <a:gd name="T20" fmla="*/ 76308126 w 124"/>
                <a:gd name="T21" fmla="*/ 116095103 h 130"/>
                <a:gd name="T22" fmla="*/ 78309713 w 124"/>
                <a:gd name="T23" fmla="*/ 110564798 h 130"/>
                <a:gd name="T24" fmla="*/ 75575173 w 124"/>
                <a:gd name="T25" fmla="*/ 103876849 h 130"/>
                <a:gd name="T26" fmla="*/ 70730995 w 124"/>
                <a:gd name="T27" fmla="*/ 97466465 h 130"/>
                <a:gd name="T28" fmla="*/ 65129555 w 124"/>
                <a:gd name="T29" fmla="*/ 94641084 h 130"/>
                <a:gd name="T30" fmla="*/ 67127437 w 124"/>
                <a:gd name="T31" fmla="*/ 88754244 h 130"/>
                <a:gd name="T32" fmla="*/ 71858195 w 124"/>
                <a:gd name="T33" fmla="*/ 83187288 h 130"/>
                <a:gd name="T34" fmla="*/ 74728044 w 124"/>
                <a:gd name="T35" fmla="*/ 85264459 h 130"/>
                <a:gd name="T36" fmla="*/ 85091149 w 124"/>
                <a:gd name="T37" fmla="*/ 77647783 h 130"/>
                <a:gd name="T38" fmla="*/ 89486148 w 124"/>
                <a:gd name="T39" fmla="*/ 70128005 h 130"/>
                <a:gd name="T40" fmla="*/ 92694176 w 124"/>
                <a:gd name="T41" fmla="*/ 65429831 h 130"/>
                <a:gd name="T42" fmla="*/ 97066264 w 124"/>
                <a:gd name="T43" fmla="*/ 57913908 h 130"/>
                <a:gd name="T44" fmla="*/ 99935773 w 124"/>
                <a:gd name="T45" fmla="*/ 49516621 h 130"/>
                <a:gd name="T46" fmla="*/ 103155445 w 124"/>
                <a:gd name="T47" fmla="*/ 44827439 h 130"/>
                <a:gd name="T48" fmla="*/ 99935773 w 124"/>
                <a:gd name="T49" fmla="*/ 41909939 h 130"/>
                <a:gd name="T50" fmla="*/ 98271231 w 124"/>
                <a:gd name="T51" fmla="*/ 37210867 h 130"/>
                <a:gd name="T52" fmla="*/ 95553250 w 124"/>
                <a:gd name="T53" fmla="*/ 24152340 h 130"/>
                <a:gd name="T54" fmla="*/ 101997736 w 124"/>
                <a:gd name="T55" fmla="*/ 23315921 h 130"/>
                <a:gd name="T56" fmla="*/ 107575774 w 124"/>
                <a:gd name="T57" fmla="*/ 21454633 h 130"/>
                <a:gd name="T58" fmla="*/ 112296665 w 124"/>
                <a:gd name="T59" fmla="*/ 17123181 h 130"/>
                <a:gd name="T60" fmla="*/ 117026553 w 124"/>
                <a:gd name="T61" fmla="*/ 13923213 h 130"/>
                <a:gd name="T62" fmla="*/ 110293831 w 124"/>
                <a:gd name="T63" fmla="*/ 11069664 h 130"/>
                <a:gd name="T64" fmla="*/ 106730573 w 124"/>
                <a:gd name="T65" fmla="*/ 5539961 h 130"/>
                <a:gd name="T66" fmla="*/ 103155445 w 124"/>
                <a:gd name="T67" fmla="*/ 2825434 h 130"/>
                <a:gd name="T68" fmla="*/ 101153443 w 124"/>
                <a:gd name="T69" fmla="*/ 1984927 h 130"/>
                <a:gd name="T70" fmla="*/ 97066264 w 124"/>
                <a:gd name="T71" fmla="*/ 1984927 h 130"/>
                <a:gd name="T72" fmla="*/ 95553250 w 124"/>
                <a:gd name="T73" fmla="*/ 0 h 130"/>
                <a:gd name="T74" fmla="*/ 90707674 w 124"/>
                <a:gd name="T75" fmla="*/ 2825434 h 130"/>
                <a:gd name="T76" fmla="*/ 85882816 w 124"/>
                <a:gd name="T77" fmla="*/ 1984927 h 130"/>
                <a:gd name="T78" fmla="*/ 75575173 w 124"/>
                <a:gd name="T79" fmla="*/ 5539961 h 130"/>
                <a:gd name="T80" fmla="*/ 72732998 w 124"/>
                <a:gd name="T81" fmla="*/ 11069664 h 130"/>
                <a:gd name="T82" fmla="*/ 73578161 w 124"/>
                <a:gd name="T83" fmla="*/ 19825645 h 130"/>
                <a:gd name="T84" fmla="*/ 71858195 w 124"/>
                <a:gd name="T85" fmla="*/ 26141434 h 130"/>
                <a:gd name="T86" fmla="*/ 62411461 w 124"/>
                <a:gd name="T87" fmla="*/ 28855389 h 130"/>
                <a:gd name="T88" fmla="*/ 65129555 w 124"/>
                <a:gd name="T89" fmla="*/ 32880185 h 130"/>
                <a:gd name="T90" fmla="*/ 65129555 w 124"/>
                <a:gd name="T91" fmla="*/ 36368403 h 130"/>
                <a:gd name="T92" fmla="*/ 59552500 w 124"/>
                <a:gd name="T93" fmla="*/ 45960070 h 130"/>
                <a:gd name="T94" fmla="*/ 51896658 w 124"/>
                <a:gd name="T95" fmla="*/ 49516621 h 130"/>
                <a:gd name="T96" fmla="*/ 46318733 w 124"/>
                <a:gd name="T97" fmla="*/ 55061435 h 130"/>
                <a:gd name="T98" fmla="*/ 41589185 w 124"/>
                <a:gd name="T99" fmla="*/ 55061435 h 130"/>
                <a:gd name="T100" fmla="*/ 38718589 w 124"/>
                <a:gd name="T101" fmla="*/ 57913908 h 130"/>
                <a:gd name="T102" fmla="*/ 38718589 w 124"/>
                <a:gd name="T103" fmla="*/ 66637955 h 130"/>
                <a:gd name="T104" fmla="*/ 29049232 w 124"/>
                <a:gd name="T105" fmla="*/ 69248947 h 130"/>
                <a:gd name="T106" fmla="*/ 16027441 w 124"/>
                <a:gd name="T107" fmla="*/ 69248947 h 130"/>
                <a:gd name="T108" fmla="*/ 3575151 w 124"/>
                <a:gd name="T109" fmla="*/ 67263971 h 130"/>
                <a:gd name="T110" fmla="*/ 2002076 w 124"/>
                <a:gd name="T111" fmla="*/ 69248947 h 130"/>
                <a:gd name="T112" fmla="*/ 4730712 w 124"/>
                <a:gd name="T113" fmla="*/ 74157468 h 130"/>
                <a:gd name="T114" fmla="*/ 9669236 w 124"/>
                <a:gd name="T115" fmla="*/ 78484183 h 130"/>
                <a:gd name="T116" fmla="*/ 14025684 w 124"/>
                <a:gd name="T117" fmla="*/ 89953603 h 130"/>
                <a:gd name="T118" fmla="*/ 18758172 w 124"/>
                <a:gd name="T119" fmla="*/ 89953603 h 130"/>
                <a:gd name="T120" fmla="*/ 16027441 w 124"/>
                <a:gd name="T121" fmla="*/ 96333910 h 130"/>
                <a:gd name="T122" fmla="*/ 8447734 w 124"/>
                <a:gd name="T123" fmla="*/ 101023583 h 130"/>
                <a:gd name="T124" fmla="*/ 8447734 w 124"/>
                <a:gd name="T125" fmla="*/ 106562956 h 13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24"/>
                <a:gd name="T190" fmla="*/ 0 h 130"/>
                <a:gd name="T191" fmla="*/ 124 w 124"/>
                <a:gd name="T192" fmla="*/ 130 h 13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24" h="130">
                  <a:moveTo>
                    <a:pt x="9" y="116"/>
                  </a:moveTo>
                  <a:cubicBezTo>
                    <a:pt x="10" y="116"/>
                    <a:pt x="10" y="117"/>
                    <a:pt x="11" y="117"/>
                  </a:cubicBezTo>
                  <a:cubicBezTo>
                    <a:pt x="12" y="117"/>
                    <a:pt x="13" y="117"/>
                    <a:pt x="13" y="116"/>
                  </a:cubicBezTo>
                  <a:cubicBezTo>
                    <a:pt x="16" y="116"/>
                    <a:pt x="18" y="116"/>
                    <a:pt x="21" y="116"/>
                  </a:cubicBezTo>
                  <a:cubicBezTo>
                    <a:pt x="22" y="116"/>
                    <a:pt x="23" y="115"/>
                    <a:pt x="23" y="115"/>
                  </a:cubicBezTo>
                  <a:cubicBezTo>
                    <a:pt x="25" y="115"/>
                    <a:pt x="26" y="115"/>
                    <a:pt x="27" y="115"/>
                  </a:cubicBezTo>
                  <a:cubicBezTo>
                    <a:pt x="29" y="115"/>
                    <a:pt x="30" y="116"/>
                    <a:pt x="32" y="116"/>
                  </a:cubicBezTo>
                  <a:cubicBezTo>
                    <a:pt x="32" y="116"/>
                    <a:pt x="33" y="115"/>
                    <a:pt x="33" y="115"/>
                  </a:cubicBezTo>
                  <a:cubicBezTo>
                    <a:pt x="35" y="114"/>
                    <a:pt x="37" y="113"/>
                    <a:pt x="39" y="113"/>
                  </a:cubicBezTo>
                  <a:cubicBezTo>
                    <a:pt x="41" y="113"/>
                    <a:pt x="44" y="112"/>
                    <a:pt x="46" y="113"/>
                  </a:cubicBezTo>
                  <a:cubicBezTo>
                    <a:pt x="47" y="113"/>
                    <a:pt x="48" y="113"/>
                    <a:pt x="48" y="114"/>
                  </a:cubicBezTo>
                  <a:cubicBezTo>
                    <a:pt x="49" y="114"/>
                    <a:pt x="49" y="115"/>
                    <a:pt x="50" y="115"/>
                  </a:cubicBezTo>
                  <a:cubicBezTo>
                    <a:pt x="50" y="115"/>
                    <a:pt x="50" y="116"/>
                    <a:pt x="50" y="116"/>
                  </a:cubicBezTo>
                  <a:cubicBezTo>
                    <a:pt x="51" y="118"/>
                    <a:pt x="51" y="120"/>
                    <a:pt x="52" y="121"/>
                  </a:cubicBezTo>
                  <a:cubicBezTo>
                    <a:pt x="52" y="122"/>
                    <a:pt x="53" y="122"/>
                    <a:pt x="53" y="123"/>
                  </a:cubicBezTo>
                  <a:cubicBezTo>
                    <a:pt x="55" y="126"/>
                    <a:pt x="58" y="129"/>
                    <a:pt x="61" y="130"/>
                  </a:cubicBezTo>
                  <a:cubicBezTo>
                    <a:pt x="61" y="128"/>
                    <a:pt x="61" y="128"/>
                    <a:pt x="61" y="128"/>
                  </a:cubicBezTo>
                  <a:cubicBezTo>
                    <a:pt x="62" y="128"/>
                    <a:pt x="62" y="128"/>
                    <a:pt x="62" y="127"/>
                  </a:cubicBezTo>
                  <a:cubicBezTo>
                    <a:pt x="63" y="126"/>
                    <a:pt x="63" y="125"/>
                    <a:pt x="63" y="124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8" y="123"/>
                    <a:pt x="72" y="124"/>
                    <a:pt x="75" y="123"/>
                  </a:cubicBezTo>
                  <a:cubicBezTo>
                    <a:pt x="77" y="124"/>
                    <a:pt x="79" y="125"/>
                    <a:pt x="81" y="124"/>
                  </a:cubicBezTo>
                  <a:cubicBezTo>
                    <a:pt x="82" y="124"/>
                    <a:pt x="83" y="124"/>
                    <a:pt x="84" y="123"/>
                  </a:cubicBezTo>
                  <a:cubicBezTo>
                    <a:pt x="84" y="122"/>
                    <a:pt x="83" y="120"/>
                    <a:pt x="83" y="118"/>
                  </a:cubicBezTo>
                  <a:cubicBezTo>
                    <a:pt x="82" y="117"/>
                    <a:pt x="81" y="116"/>
                    <a:pt x="80" y="115"/>
                  </a:cubicBezTo>
                  <a:cubicBezTo>
                    <a:pt x="79" y="114"/>
                    <a:pt x="80" y="112"/>
                    <a:pt x="80" y="111"/>
                  </a:cubicBezTo>
                  <a:cubicBezTo>
                    <a:pt x="79" y="110"/>
                    <a:pt x="77" y="111"/>
                    <a:pt x="76" y="110"/>
                  </a:cubicBezTo>
                  <a:cubicBezTo>
                    <a:pt x="75" y="108"/>
                    <a:pt x="76" y="106"/>
                    <a:pt x="75" y="104"/>
                  </a:cubicBezTo>
                  <a:cubicBezTo>
                    <a:pt x="74" y="103"/>
                    <a:pt x="74" y="102"/>
                    <a:pt x="73" y="102"/>
                  </a:cubicBezTo>
                  <a:cubicBezTo>
                    <a:pt x="72" y="101"/>
                    <a:pt x="70" y="102"/>
                    <a:pt x="69" y="101"/>
                  </a:cubicBezTo>
                  <a:cubicBezTo>
                    <a:pt x="68" y="100"/>
                    <a:pt x="68" y="99"/>
                    <a:pt x="68" y="97"/>
                  </a:cubicBezTo>
                  <a:cubicBezTo>
                    <a:pt x="69" y="96"/>
                    <a:pt x="70" y="96"/>
                    <a:pt x="71" y="95"/>
                  </a:cubicBezTo>
                  <a:cubicBezTo>
                    <a:pt x="72" y="92"/>
                    <a:pt x="73" y="90"/>
                    <a:pt x="75" y="89"/>
                  </a:cubicBezTo>
                  <a:cubicBezTo>
                    <a:pt x="75" y="88"/>
                    <a:pt x="75" y="88"/>
                    <a:pt x="76" y="89"/>
                  </a:cubicBezTo>
                  <a:cubicBezTo>
                    <a:pt x="77" y="89"/>
                    <a:pt x="77" y="91"/>
                    <a:pt x="78" y="91"/>
                  </a:cubicBezTo>
                  <a:cubicBezTo>
                    <a:pt x="78" y="92"/>
                    <a:pt x="79" y="92"/>
                    <a:pt x="79" y="91"/>
                  </a:cubicBezTo>
                  <a:cubicBezTo>
                    <a:pt x="82" y="90"/>
                    <a:pt x="84" y="89"/>
                    <a:pt x="86" y="90"/>
                  </a:cubicBezTo>
                  <a:cubicBezTo>
                    <a:pt x="87" y="87"/>
                    <a:pt x="89" y="86"/>
                    <a:pt x="90" y="83"/>
                  </a:cubicBezTo>
                  <a:cubicBezTo>
                    <a:pt x="91" y="82"/>
                    <a:pt x="91" y="81"/>
                    <a:pt x="91" y="80"/>
                  </a:cubicBezTo>
                  <a:cubicBezTo>
                    <a:pt x="92" y="79"/>
                    <a:pt x="94" y="77"/>
                    <a:pt x="95" y="75"/>
                  </a:cubicBezTo>
                  <a:cubicBezTo>
                    <a:pt x="95" y="75"/>
                    <a:pt x="96" y="74"/>
                    <a:pt x="96" y="73"/>
                  </a:cubicBezTo>
                  <a:cubicBezTo>
                    <a:pt x="97" y="72"/>
                    <a:pt x="97" y="71"/>
                    <a:pt x="98" y="70"/>
                  </a:cubicBezTo>
                  <a:cubicBezTo>
                    <a:pt x="99" y="69"/>
                    <a:pt x="98" y="68"/>
                    <a:pt x="99" y="67"/>
                  </a:cubicBezTo>
                  <a:cubicBezTo>
                    <a:pt x="100" y="66"/>
                    <a:pt x="102" y="64"/>
                    <a:pt x="103" y="62"/>
                  </a:cubicBezTo>
                  <a:cubicBezTo>
                    <a:pt x="104" y="60"/>
                    <a:pt x="105" y="58"/>
                    <a:pt x="106" y="56"/>
                  </a:cubicBezTo>
                  <a:cubicBezTo>
                    <a:pt x="106" y="55"/>
                    <a:pt x="106" y="54"/>
                    <a:pt x="106" y="53"/>
                  </a:cubicBezTo>
                  <a:cubicBezTo>
                    <a:pt x="105" y="52"/>
                    <a:pt x="105" y="51"/>
                    <a:pt x="106" y="50"/>
                  </a:cubicBezTo>
                  <a:cubicBezTo>
                    <a:pt x="106" y="49"/>
                    <a:pt x="108" y="49"/>
                    <a:pt x="109" y="48"/>
                  </a:cubicBezTo>
                  <a:cubicBezTo>
                    <a:pt x="109" y="47"/>
                    <a:pt x="109" y="46"/>
                    <a:pt x="109" y="46"/>
                  </a:cubicBezTo>
                  <a:cubicBezTo>
                    <a:pt x="108" y="46"/>
                    <a:pt x="106" y="46"/>
                    <a:pt x="106" y="45"/>
                  </a:cubicBezTo>
                  <a:cubicBezTo>
                    <a:pt x="105" y="44"/>
                    <a:pt x="105" y="43"/>
                    <a:pt x="104" y="41"/>
                  </a:cubicBezTo>
                  <a:cubicBezTo>
                    <a:pt x="104" y="41"/>
                    <a:pt x="104" y="41"/>
                    <a:pt x="104" y="40"/>
                  </a:cubicBezTo>
                  <a:cubicBezTo>
                    <a:pt x="103" y="39"/>
                    <a:pt x="103" y="38"/>
                    <a:pt x="102" y="36"/>
                  </a:cubicBezTo>
                  <a:cubicBezTo>
                    <a:pt x="101" y="32"/>
                    <a:pt x="101" y="30"/>
                    <a:pt x="101" y="26"/>
                  </a:cubicBezTo>
                  <a:cubicBezTo>
                    <a:pt x="101" y="26"/>
                    <a:pt x="102" y="25"/>
                    <a:pt x="102" y="25"/>
                  </a:cubicBezTo>
                  <a:cubicBezTo>
                    <a:pt x="104" y="25"/>
                    <a:pt x="106" y="25"/>
                    <a:pt x="108" y="25"/>
                  </a:cubicBezTo>
                  <a:cubicBezTo>
                    <a:pt x="108" y="25"/>
                    <a:pt x="109" y="24"/>
                    <a:pt x="109" y="24"/>
                  </a:cubicBezTo>
                  <a:cubicBezTo>
                    <a:pt x="111" y="23"/>
                    <a:pt x="112" y="23"/>
                    <a:pt x="114" y="23"/>
                  </a:cubicBezTo>
                  <a:cubicBezTo>
                    <a:pt x="115" y="23"/>
                    <a:pt x="116" y="22"/>
                    <a:pt x="117" y="22"/>
                  </a:cubicBezTo>
                  <a:cubicBezTo>
                    <a:pt x="118" y="21"/>
                    <a:pt x="119" y="20"/>
                    <a:pt x="119" y="18"/>
                  </a:cubicBezTo>
                  <a:cubicBezTo>
                    <a:pt x="119" y="18"/>
                    <a:pt x="120" y="17"/>
                    <a:pt x="120" y="17"/>
                  </a:cubicBezTo>
                  <a:cubicBezTo>
                    <a:pt x="122" y="17"/>
                    <a:pt x="123" y="16"/>
                    <a:pt x="124" y="15"/>
                  </a:cubicBezTo>
                  <a:cubicBezTo>
                    <a:pt x="123" y="14"/>
                    <a:pt x="123" y="14"/>
                    <a:pt x="122" y="13"/>
                  </a:cubicBezTo>
                  <a:cubicBezTo>
                    <a:pt x="120" y="12"/>
                    <a:pt x="118" y="14"/>
                    <a:pt x="117" y="12"/>
                  </a:cubicBezTo>
                  <a:cubicBezTo>
                    <a:pt x="117" y="11"/>
                    <a:pt x="118" y="9"/>
                    <a:pt x="117" y="8"/>
                  </a:cubicBezTo>
                  <a:cubicBezTo>
                    <a:pt x="116" y="7"/>
                    <a:pt x="114" y="6"/>
                    <a:pt x="113" y="6"/>
                  </a:cubicBezTo>
                  <a:cubicBezTo>
                    <a:pt x="112" y="5"/>
                    <a:pt x="111" y="4"/>
                    <a:pt x="110" y="3"/>
                  </a:cubicBezTo>
                  <a:cubicBezTo>
                    <a:pt x="110" y="3"/>
                    <a:pt x="110" y="3"/>
                    <a:pt x="109" y="3"/>
                  </a:cubicBezTo>
                  <a:cubicBezTo>
                    <a:pt x="109" y="3"/>
                    <a:pt x="109" y="3"/>
                    <a:pt x="109" y="2"/>
                  </a:cubicBezTo>
                  <a:cubicBezTo>
                    <a:pt x="108" y="2"/>
                    <a:pt x="108" y="2"/>
                    <a:pt x="107" y="2"/>
                  </a:cubicBezTo>
                  <a:cubicBezTo>
                    <a:pt x="107" y="1"/>
                    <a:pt x="107" y="0"/>
                    <a:pt x="107" y="0"/>
                  </a:cubicBezTo>
                  <a:cubicBezTo>
                    <a:pt x="105" y="0"/>
                    <a:pt x="104" y="0"/>
                    <a:pt x="103" y="2"/>
                  </a:cubicBezTo>
                  <a:cubicBezTo>
                    <a:pt x="103" y="2"/>
                    <a:pt x="102" y="2"/>
                    <a:pt x="102" y="2"/>
                  </a:cubicBezTo>
                  <a:cubicBezTo>
                    <a:pt x="102" y="1"/>
                    <a:pt x="101" y="1"/>
                    <a:pt x="101" y="0"/>
                  </a:cubicBezTo>
                  <a:cubicBezTo>
                    <a:pt x="100" y="1"/>
                    <a:pt x="99" y="2"/>
                    <a:pt x="98" y="2"/>
                  </a:cubicBezTo>
                  <a:cubicBezTo>
                    <a:pt x="98" y="3"/>
                    <a:pt x="97" y="3"/>
                    <a:pt x="96" y="3"/>
                  </a:cubicBezTo>
                  <a:cubicBezTo>
                    <a:pt x="95" y="3"/>
                    <a:pt x="94" y="3"/>
                    <a:pt x="93" y="2"/>
                  </a:cubicBezTo>
                  <a:cubicBezTo>
                    <a:pt x="92" y="2"/>
                    <a:pt x="92" y="2"/>
                    <a:pt x="91" y="2"/>
                  </a:cubicBezTo>
                  <a:cubicBezTo>
                    <a:pt x="90" y="2"/>
                    <a:pt x="88" y="2"/>
                    <a:pt x="86" y="2"/>
                  </a:cubicBezTo>
                  <a:cubicBezTo>
                    <a:pt x="84" y="3"/>
                    <a:pt x="82" y="4"/>
                    <a:pt x="80" y="6"/>
                  </a:cubicBezTo>
                  <a:cubicBezTo>
                    <a:pt x="79" y="6"/>
                    <a:pt x="78" y="7"/>
                    <a:pt x="77" y="8"/>
                  </a:cubicBezTo>
                  <a:cubicBezTo>
                    <a:pt x="76" y="9"/>
                    <a:pt x="76" y="11"/>
                    <a:pt x="77" y="12"/>
                  </a:cubicBezTo>
                  <a:cubicBezTo>
                    <a:pt x="77" y="14"/>
                    <a:pt x="78" y="15"/>
                    <a:pt x="78" y="16"/>
                  </a:cubicBezTo>
                  <a:cubicBezTo>
                    <a:pt x="79" y="17"/>
                    <a:pt x="79" y="19"/>
                    <a:pt x="78" y="21"/>
                  </a:cubicBezTo>
                  <a:cubicBezTo>
                    <a:pt x="78" y="21"/>
                    <a:pt x="77" y="21"/>
                    <a:pt x="77" y="22"/>
                  </a:cubicBezTo>
                  <a:cubicBezTo>
                    <a:pt x="76" y="24"/>
                    <a:pt x="77" y="26"/>
                    <a:pt x="76" y="28"/>
                  </a:cubicBezTo>
                  <a:cubicBezTo>
                    <a:pt x="76" y="29"/>
                    <a:pt x="75" y="30"/>
                    <a:pt x="74" y="31"/>
                  </a:cubicBezTo>
                  <a:cubicBezTo>
                    <a:pt x="72" y="32"/>
                    <a:pt x="69" y="31"/>
                    <a:pt x="66" y="31"/>
                  </a:cubicBezTo>
                  <a:cubicBezTo>
                    <a:pt x="66" y="32"/>
                    <a:pt x="66" y="33"/>
                    <a:pt x="66" y="34"/>
                  </a:cubicBezTo>
                  <a:cubicBezTo>
                    <a:pt x="67" y="34"/>
                    <a:pt x="68" y="34"/>
                    <a:pt x="69" y="35"/>
                  </a:cubicBezTo>
                  <a:cubicBezTo>
                    <a:pt x="69" y="35"/>
                    <a:pt x="69" y="36"/>
                    <a:pt x="69" y="37"/>
                  </a:cubicBezTo>
                  <a:cubicBezTo>
                    <a:pt x="69" y="38"/>
                    <a:pt x="70" y="39"/>
                    <a:pt x="69" y="39"/>
                  </a:cubicBezTo>
                  <a:cubicBezTo>
                    <a:pt x="67" y="40"/>
                    <a:pt x="65" y="39"/>
                    <a:pt x="64" y="40"/>
                  </a:cubicBezTo>
                  <a:cubicBezTo>
                    <a:pt x="63" y="43"/>
                    <a:pt x="65" y="46"/>
                    <a:pt x="63" y="49"/>
                  </a:cubicBezTo>
                  <a:cubicBezTo>
                    <a:pt x="63" y="50"/>
                    <a:pt x="62" y="52"/>
                    <a:pt x="61" y="52"/>
                  </a:cubicBezTo>
                  <a:cubicBezTo>
                    <a:pt x="59" y="53"/>
                    <a:pt x="57" y="52"/>
                    <a:pt x="55" y="53"/>
                  </a:cubicBezTo>
                  <a:cubicBezTo>
                    <a:pt x="53" y="53"/>
                    <a:pt x="52" y="56"/>
                    <a:pt x="51" y="59"/>
                  </a:cubicBezTo>
                  <a:cubicBezTo>
                    <a:pt x="51" y="59"/>
                    <a:pt x="50" y="59"/>
                    <a:pt x="49" y="59"/>
                  </a:cubicBezTo>
                  <a:cubicBezTo>
                    <a:pt x="48" y="58"/>
                    <a:pt x="47" y="57"/>
                    <a:pt x="46" y="58"/>
                  </a:cubicBezTo>
                  <a:cubicBezTo>
                    <a:pt x="45" y="58"/>
                    <a:pt x="45" y="59"/>
                    <a:pt x="44" y="59"/>
                  </a:cubicBezTo>
                  <a:cubicBezTo>
                    <a:pt x="44" y="60"/>
                    <a:pt x="43" y="60"/>
                    <a:pt x="43" y="61"/>
                  </a:cubicBezTo>
                  <a:cubicBezTo>
                    <a:pt x="42" y="61"/>
                    <a:pt x="41" y="62"/>
                    <a:pt x="41" y="62"/>
                  </a:cubicBezTo>
                  <a:cubicBezTo>
                    <a:pt x="41" y="64"/>
                    <a:pt x="41" y="65"/>
                    <a:pt x="41" y="67"/>
                  </a:cubicBezTo>
                  <a:cubicBezTo>
                    <a:pt x="41" y="68"/>
                    <a:pt x="42" y="70"/>
                    <a:pt x="41" y="71"/>
                  </a:cubicBezTo>
                  <a:cubicBezTo>
                    <a:pt x="41" y="72"/>
                    <a:pt x="39" y="72"/>
                    <a:pt x="38" y="73"/>
                  </a:cubicBezTo>
                  <a:cubicBezTo>
                    <a:pt x="35" y="73"/>
                    <a:pt x="33" y="73"/>
                    <a:pt x="31" y="74"/>
                  </a:cubicBezTo>
                  <a:cubicBezTo>
                    <a:pt x="28" y="74"/>
                    <a:pt x="26" y="74"/>
                    <a:pt x="23" y="74"/>
                  </a:cubicBezTo>
                  <a:cubicBezTo>
                    <a:pt x="21" y="73"/>
                    <a:pt x="19" y="73"/>
                    <a:pt x="17" y="74"/>
                  </a:cubicBezTo>
                  <a:cubicBezTo>
                    <a:pt x="14" y="75"/>
                    <a:pt x="10" y="76"/>
                    <a:pt x="7" y="73"/>
                  </a:cubicBezTo>
                  <a:cubicBezTo>
                    <a:pt x="6" y="72"/>
                    <a:pt x="5" y="72"/>
                    <a:pt x="4" y="72"/>
                  </a:cubicBezTo>
                  <a:cubicBezTo>
                    <a:pt x="3" y="72"/>
                    <a:pt x="1" y="71"/>
                    <a:pt x="1" y="72"/>
                  </a:cubicBezTo>
                  <a:cubicBezTo>
                    <a:pt x="0" y="73"/>
                    <a:pt x="2" y="73"/>
                    <a:pt x="2" y="74"/>
                  </a:cubicBezTo>
                  <a:cubicBezTo>
                    <a:pt x="3" y="74"/>
                    <a:pt x="3" y="74"/>
                    <a:pt x="4" y="75"/>
                  </a:cubicBezTo>
                  <a:cubicBezTo>
                    <a:pt x="4" y="76"/>
                    <a:pt x="4" y="78"/>
                    <a:pt x="5" y="79"/>
                  </a:cubicBezTo>
                  <a:cubicBezTo>
                    <a:pt x="5" y="80"/>
                    <a:pt x="6" y="81"/>
                    <a:pt x="7" y="82"/>
                  </a:cubicBezTo>
                  <a:cubicBezTo>
                    <a:pt x="8" y="83"/>
                    <a:pt x="9" y="83"/>
                    <a:pt x="10" y="84"/>
                  </a:cubicBezTo>
                  <a:cubicBezTo>
                    <a:pt x="11" y="85"/>
                    <a:pt x="13" y="85"/>
                    <a:pt x="15" y="86"/>
                  </a:cubicBezTo>
                  <a:cubicBezTo>
                    <a:pt x="15" y="89"/>
                    <a:pt x="15" y="93"/>
                    <a:pt x="15" y="96"/>
                  </a:cubicBezTo>
                  <a:cubicBezTo>
                    <a:pt x="16" y="96"/>
                    <a:pt x="16" y="96"/>
                    <a:pt x="17" y="95"/>
                  </a:cubicBezTo>
                  <a:cubicBezTo>
                    <a:pt x="18" y="95"/>
                    <a:pt x="20" y="95"/>
                    <a:pt x="20" y="96"/>
                  </a:cubicBezTo>
                  <a:cubicBezTo>
                    <a:pt x="21" y="97"/>
                    <a:pt x="21" y="98"/>
                    <a:pt x="20" y="100"/>
                  </a:cubicBezTo>
                  <a:cubicBezTo>
                    <a:pt x="20" y="101"/>
                    <a:pt x="18" y="103"/>
                    <a:pt x="17" y="103"/>
                  </a:cubicBezTo>
                  <a:cubicBezTo>
                    <a:pt x="15" y="104"/>
                    <a:pt x="13" y="105"/>
                    <a:pt x="12" y="106"/>
                  </a:cubicBezTo>
                  <a:cubicBezTo>
                    <a:pt x="11" y="106"/>
                    <a:pt x="10" y="107"/>
                    <a:pt x="9" y="108"/>
                  </a:cubicBezTo>
                  <a:cubicBezTo>
                    <a:pt x="9" y="109"/>
                    <a:pt x="9" y="110"/>
                    <a:pt x="9" y="111"/>
                  </a:cubicBezTo>
                  <a:cubicBezTo>
                    <a:pt x="9" y="112"/>
                    <a:pt x="9" y="113"/>
                    <a:pt x="9" y="114"/>
                  </a:cubicBezTo>
                  <a:lnTo>
                    <a:pt x="9" y="11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3" name="Freeform 211"/>
            <p:cNvSpPr>
              <a:spLocks/>
            </p:cNvSpPr>
            <p:nvPr/>
          </p:nvSpPr>
          <p:spPr bwMode="auto">
            <a:xfrm>
              <a:off x="7339082" y="4928684"/>
              <a:ext cx="211688" cy="158336"/>
            </a:xfrm>
            <a:custGeom>
              <a:avLst/>
              <a:gdLst>
                <a:gd name="T0" fmla="*/ 134391328 w 157"/>
                <a:gd name="T1" fmla="*/ 137247975 h 146"/>
                <a:gd name="T2" fmla="*/ 115264107 w 157"/>
                <a:gd name="T3" fmla="*/ 135212079 h 146"/>
                <a:gd name="T4" fmla="*/ 107695974 w 157"/>
                <a:gd name="T5" fmla="*/ 134366612 h 146"/>
                <a:gd name="T6" fmla="*/ 102069253 w 157"/>
                <a:gd name="T7" fmla="*/ 125549890 h 146"/>
                <a:gd name="T8" fmla="*/ 95647336 w 157"/>
                <a:gd name="T9" fmla="*/ 120817513 h 146"/>
                <a:gd name="T10" fmla="*/ 86829922 w 157"/>
                <a:gd name="T11" fmla="*/ 124757884 h 146"/>
                <a:gd name="T12" fmla="*/ 79251751 w 157"/>
                <a:gd name="T13" fmla="*/ 122689851 h 146"/>
                <a:gd name="T14" fmla="*/ 69218894 w 157"/>
                <a:gd name="T15" fmla="*/ 119177695 h 146"/>
                <a:gd name="T16" fmla="*/ 62479835 w 157"/>
                <a:gd name="T17" fmla="*/ 114390648 h 146"/>
                <a:gd name="T18" fmla="*/ 58759931 w 157"/>
                <a:gd name="T19" fmla="*/ 110361427 h 146"/>
                <a:gd name="T20" fmla="*/ 54026861 w 157"/>
                <a:gd name="T21" fmla="*/ 100053777 h 146"/>
                <a:gd name="T22" fmla="*/ 51139282 w 157"/>
                <a:gd name="T23" fmla="*/ 95624773 h 146"/>
                <a:gd name="T24" fmla="*/ 41620437 w 157"/>
                <a:gd name="T25" fmla="*/ 92752786 h 146"/>
                <a:gd name="T26" fmla="*/ 36744761 w 157"/>
                <a:gd name="T27" fmla="*/ 91530900 h 146"/>
                <a:gd name="T28" fmla="*/ 32011314 w 157"/>
                <a:gd name="T29" fmla="*/ 80348217 h 146"/>
                <a:gd name="T30" fmla="*/ 28444138 w 157"/>
                <a:gd name="T31" fmla="*/ 71897762 h 146"/>
                <a:gd name="T32" fmla="*/ 17255147 w 157"/>
                <a:gd name="T33" fmla="*/ 64314041 h 146"/>
                <a:gd name="T34" fmla="*/ 13188270 w 157"/>
                <a:gd name="T35" fmla="*/ 57501079 h 146"/>
                <a:gd name="T36" fmla="*/ 14035841 w 157"/>
                <a:gd name="T37" fmla="*/ 46345693 h 146"/>
                <a:gd name="T38" fmla="*/ 17255147 w 157"/>
                <a:gd name="T39" fmla="*/ 38734835 h 146"/>
                <a:gd name="T40" fmla="*/ 10304358 w 157"/>
                <a:gd name="T41" fmla="*/ 34002458 h 146"/>
                <a:gd name="T42" fmla="*/ 4734975 w 157"/>
                <a:gd name="T43" fmla="*/ 26436469 h 146"/>
                <a:gd name="T44" fmla="*/ 2003750 w 157"/>
                <a:gd name="T45" fmla="*/ 15253006 h 146"/>
                <a:gd name="T46" fmla="*/ 0 w 157"/>
                <a:gd name="T47" fmla="*/ 5580195 h 146"/>
                <a:gd name="T48" fmla="*/ 6786502 w 157"/>
                <a:gd name="T49" fmla="*/ 3576719 h 146"/>
                <a:gd name="T50" fmla="*/ 16036887 w 157"/>
                <a:gd name="T51" fmla="*/ 10297787 h 146"/>
                <a:gd name="T52" fmla="*/ 27586614 w 157"/>
                <a:gd name="T53" fmla="*/ 2871636 h 146"/>
                <a:gd name="T54" fmla="*/ 30447084 w 157"/>
                <a:gd name="T55" fmla="*/ 6785715 h 146"/>
                <a:gd name="T56" fmla="*/ 34900197 w 157"/>
                <a:gd name="T57" fmla="*/ 15253006 h 146"/>
                <a:gd name="T58" fmla="*/ 81249101 w 157"/>
                <a:gd name="T59" fmla="*/ 18765123 h 146"/>
                <a:gd name="T60" fmla="*/ 96353304 w 157"/>
                <a:gd name="T61" fmla="*/ 17918494 h 146"/>
                <a:gd name="T62" fmla="*/ 109540293 w 157"/>
                <a:gd name="T63" fmla="*/ 21637039 h 146"/>
                <a:gd name="T64" fmla="*/ 115264107 w 157"/>
                <a:gd name="T65" fmla="*/ 27575612 h 146"/>
                <a:gd name="T66" fmla="*/ 119997630 w 157"/>
                <a:gd name="T67" fmla="*/ 32004824 h 146"/>
                <a:gd name="T68" fmla="*/ 127668527 w 157"/>
                <a:gd name="T69" fmla="*/ 40765882 h 146"/>
                <a:gd name="T70" fmla="*/ 127668527 w 157"/>
                <a:gd name="T71" fmla="*/ 42341615 h 146"/>
                <a:gd name="T72" fmla="*/ 122728567 w 157"/>
                <a:gd name="T73" fmla="*/ 54863692 h 146"/>
                <a:gd name="T74" fmla="*/ 124780986 w 157"/>
                <a:gd name="T75" fmla="*/ 62469719 h 146"/>
                <a:gd name="T76" fmla="*/ 124780986 w 157"/>
                <a:gd name="T77" fmla="*/ 70778677 h 146"/>
                <a:gd name="T78" fmla="*/ 126822591 w 157"/>
                <a:gd name="T79" fmla="*/ 80348217 h 146"/>
                <a:gd name="T80" fmla="*/ 128516581 w 157"/>
                <a:gd name="T81" fmla="*/ 94485233 h 146"/>
                <a:gd name="T82" fmla="*/ 130401052 w 157"/>
                <a:gd name="T83" fmla="*/ 98332974 h 146"/>
                <a:gd name="T84" fmla="*/ 135248758 w 157"/>
                <a:gd name="T85" fmla="*/ 105938851 h 146"/>
                <a:gd name="T86" fmla="*/ 142860598 w 157"/>
                <a:gd name="T87" fmla="*/ 119177695 h 146"/>
                <a:gd name="T88" fmla="*/ 147643348 w 157"/>
                <a:gd name="T89" fmla="*/ 122689851 h 146"/>
                <a:gd name="T90" fmla="*/ 137279550 w 157"/>
                <a:gd name="T91" fmla="*/ 130360228 h 146"/>
                <a:gd name="T92" fmla="*/ 137279550 w 157"/>
                <a:gd name="T93" fmla="*/ 137944024 h 14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7"/>
                <a:gd name="T142" fmla="*/ 0 h 146"/>
                <a:gd name="T143" fmla="*/ 157 w 157"/>
                <a:gd name="T144" fmla="*/ 146 h 14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7" h="146">
                  <a:moveTo>
                    <a:pt x="145" y="146"/>
                  </a:moveTo>
                  <a:cubicBezTo>
                    <a:pt x="145" y="146"/>
                    <a:pt x="144" y="146"/>
                    <a:pt x="143" y="146"/>
                  </a:cubicBezTo>
                  <a:cubicBezTo>
                    <a:pt x="143" y="146"/>
                    <a:pt x="142" y="145"/>
                    <a:pt x="142" y="145"/>
                  </a:cubicBezTo>
                  <a:cubicBezTo>
                    <a:pt x="138" y="145"/>
                    <a:pt x="133" y="145"/>
                    <a:pt x="129" y="145"/>
                  </a:cubicBezTo>
                  <a:cubicBezTo>
                    <a:pt x="127" y="145"/>
                    <a:pt x="126" y="145"/>
                    <a:pt x="124" y="144"/>
                  </a:cubicBezTo>
                  <a:cubicBezTo>
                    <a:pt x="124" y="144"/>
                    <a:pt x="123" y="143"/>
                    <a:pt x="122" y="143"/>
                  </a:cubicBezTo>
                  <a:cubicBezTo>
                    <a:pt x="121" y="142"/>
                    <a:pt x="119" y="143"/>
                    <a:pt x="118" y="143"/>
                  </a:cubicBezTo>
                  <a:cubicBezTo>
                    <a:pt x="117" y="142"/>
                    <a:pt x="117" y="142"/>
                    <a:pt x="117" y="142"/>
                  </a:cubicBezTo>
                  <a:cubicBezTo>
                    <a:pt x="116" y="142"/>
                    <a:pt x="115" y="143"/>
                    <a:pt x="114" y="142"/>
                  </a:cubicBezTo>
                  <a:cubicBezTo>
                    <a:pt x="113" y="141"/>
                    <a:pt x="112" y="140"/>
                    <a:pt x="111" y="139"/>
                  </a:cubicBezTo>
                  <a:cubicBezTo>
                    <a:pt x="110" y="138"/>
                    <a:pt x="110" y="137"/>
                    <a:pt x="110" y="136"/>
                  </a:cubicBezTo>
                  <a:cubicBezTo>
                    <a:pt x="109" y="135"/>
                    <a:pt x="108" y="134"/>
                    <a:pt x="108" y="133"/>
                  </a:cubicBezTo>
                  <a:cubicBezTo>
                    <a:pt x="107" y="131"/>
                    <a:pt x="107" y="129"/>
                    <a:pt x="106" y="128"/>
                  </a:cubicBezTo>
                  <a:cubicBezTo>
                    <a:pt x="105" y="127"/>
                    <a:pt x="104" y="127"/>
                    <a:pt x="102" y="127"/>
                  </a:cubicBezTo>
                  <a:cubicBezTo>
                    <a:pt x="102" y="128"/>
                    <a:pt x="101" y="128"/>
                    <a:pt x="101" y="128"/>
                  </a:cubicBezTo>
                  <a:cubicBezTo>
                    <a:pt x="100" y="128"/>
                    <a:pt x="98" y="128"/>
                    <a:pt x="97" y="129"/>
                  </a:cubicBezTo>
                  <a:cubicBezTo>
                    <a:pt x="96" y="130"/>
                    <a:pt x="95" y="131"/>
                    <a:pt x="94" y="132"/>
                  </a:cubicBezTo>
                  <a:cubicBezTo>
                    <a:pt x="93" y="132"/>
                    <a:pt x="93" y="132"/>
                    <a:pt x="92" y="132"/>
                  </a:cubicBezTo>
                  <a:cubicBezTo>
                    <a:pt x="91" y="132"/>
                    <a:pt x="91" y="133"/>
                    <a:pt x="90" y="132"/>
                  </a:cubicBezTo>
                  <a:cubicBezTo>
                    <a:pt x="89" y="132"/>
                    <a:pt x="89" y="131"/>
                    <a:pt x="88" y="131"/>
                  </a:cubicBezTo>
                  <a:cubicBezTo>
                    <a:pt x="87" y="131"/>
                    <a:pt x="86" y="130"/>
                    <a:pt x="84" y="130"/>
                  </a:cubicBezTo>
                  <a:cubicBezTo>
                    <a:pt x="84" y="130"/>
                    <a:pt x="83" y="130"/>
                    <a:pt x="82" y="130"/>
                  </a:cubicBezTo>
                  <a:cubicBezTo>
                    <a:pt x="81" y="129"/>
                    <a:pt x="80" y="128"/>
                    <a:pt x="78" y="128"/>
                  </a:cubicBezTo>
                  <a:cubicBezTo>
                    <a:pt x="77" y="127"/>
                    <a:pt x="75" y="127"/>
                    <a:pt x="73" y="126"/>
                  </a:cubicBezTo>
                  <a:cubicBezTo>
                    <a:pt x="73" y="126"/>
                    <a:pt x="72" y="126"/>
                    <a:pt x="72" y="126"/>
                  </a:cubicBezTo>
                  <a:cubicBezTo>
                    <a:pt x="72" y="124"/>
                    <a:pt x="72" y="122"/>
                    <a:pt x="71" y="122"/>
                  </a:cubicBezTo>
                  <a:cubicBezTo>
                    <a:pt x="70" y="121"/>
                    <a:pt x="68" y="121"/>
                    <a:pt x="66" y="121"/>
                  </a:cubicBezTo>
                  <a:cubicBezTo>
                    <a:pt x="66" y="121"/>
                    <a:pt x="65" y="121"/>
                    <a:pt x="64" y="120"/>
                  </a:cubicBezTo>
                  <a:cubicBezTo>
                    <a:pt x="63" y="120"/>
                    <a:pt x="63" y="119"/>
                    <a:pt x="63" y="119"/>
                  </a:cubicBezTo>
                  <a:cubicBezTo>
                    <a:pt x="62" y="118"/>
                    <a:pt x="62" y="117"/>
                    <a:pt x="62" y="117"/>
                  </a:cubicBezTo>
                  <a:cubicBezTo>
                    <a:pt x="61" y="116"/>
                    <a:pt x="61" y="115"/>
                    <a:pt x="60" y="114"/>
                  </a:cubicBezTo>
                  <a:cubicBezTo>
                    <a:pt x="59" y="113"/>
                    <a:pt x="59" y="111"/>
                    <a:pt x="59" y="110"/>
                  </a:cubicBezTo>
                  <a:cubicBezTo>
                    <a:pt x="59" y="109"/>
                    <a:pt x="58" y="107"/>
                    <a:pt x="57" y="106"/>
                  </a:cubicBezTo>
                  <a:cubicBezTo>
                    <a:pt x="57" y="105"/>
                    <a:pt x="56" y="104"/>
                    <a:pt x="56" y="104"/>
                  </a:cubicBezTo>
                  <a:cubicBezTo>
                    <a:pt x="55" y="103"/>
                    <a:pt x="55" y="103"/>
                    <a:pt x="55" y="102"/>
                  </a:cubicBezTo>
                  <a:cubicBezTo>
                    <a:pt x="55" y="102"/>
                    <a:pt x="54" y="102"/>
                    <a:pt x="54" y="101"/>
                  </a:cubicBezTo>
                  <a:cubicBezTo>
                    <a:pt x="54" y="100"/>
                    <a:pt x="53" y="99"/>
                    <a:pt x="52" y="98"/>
                  </a:cubicBezTo>
                  <a:cubicBezTo>
                    <a:pt x="51" y="98"/>
                    <a:pt x="49" y="99"/>
                    <a:pt x="48" y="98"/>
                  </a:cubicBezTo>
                  <a:cubicBezTo>
                    <a:pt x="47" y="98"/>
                    <a:pt x="45" y="98"/>
                    <a:pt x="44" y="98"/>
                  </a:cubicBezTo>
                  <a:cubicBezTo>
                    <a:pt x="43" y="99"/>
                    <a:pt x="42" y="100"/>
                    <a:pt x="40" y="100"/>
                  </a:cubicBezTo>
                  <a:cubicBezTo>
                    <a:pt x="39" y="99"/>
                    <a:pt x="39" y="99"/>
                    <a:pt x="39" y="99"/>
                  </a:cubicBezTo>
                  <a:cubicBezTo>
                    <a:pt x="39" y="98"/>
                    <a:pt x="39" y="97"/>
                    <a:pt x="39" y="97"/>
                  </a:cubicBezTo>
                  <a:cubicBezTo>
                    <a:pt x="39" y="96"/>
                    <a:pt x="38" y="96"/>
                    <a:pt x="38" y="95"/>
                  </a:cubicBezTo>
                  <a:cubicBezTo>
                    <a:pt x="37" y="92"/>
                    <a:pt x="35" y="90"/>
                    <a:pt x="34" y="88"/>
                  </a:cubicBezTo>
                  <a:cubicBezTo>
                    <a:pt x="33" y="87"/>
                    <a:pt x="33" y="86"/>
                    <a:pt x="34" y="85"/>
                  </a:cubicBezTo>
                  <a:cubicBezTo>
                    <a:pt x="35" y="83"/>
                    <a:pt x="35" y="81"/>
                    <a:pt x="34" y="80"/>
                  </a:cubicBezTo>
                  <a:cubicBezTo>
                    <a:pt x="33" y="80"/>
                    <a:pt x="33" y="79"/>
                    <a:pt x="32" y="79"/>
                  </a:cubicBezTo>
                  <a:cubicBezTo>
                    <a:pt x="31" y="78"/>
                    <a:pt x="31" y="76"/>
                    <a:pt x="30" y="76"/>
                  </a:cubicBezTo>
                  <a:cubicBezTo>
                    <a:pt x="29" y="75"/>
                    <a:pt x="27" y="75"/>
                    <a:pt x="26" y="74"/>
                  </a:cubicBezTo>
                  <a:cubicBezTo>
                    <a:pt x="24" y="73"/>
                    <a:pt x="24" y="71"/>
                    <a:pt x="23" y="70"/>
                  </a:cubicBezTo>
                  <a:cubicBezTo>
                    <a:pt x="22" y="69"/>
                    <a:pt x="20" y="69"/>
                    <a:pt x="18" y="68"/>
                  </a:cubicBezTo>
                  <a:cubicBezTo>
                    <a:pt x="18" y="68"/>
                    <a:pt x="18" y="68"/>
                    <a:pt x="17" y="67"/>
                  </a:cubicBezTo>
                  <a:cubicBezTo>
                    <a:pt x="17" y="66"/>
                    <a:pt x="17" y="65"/>
                    <a:pt x="16" y="64"/>
                  </a:cubicBezTo>
                  <a:cubicBezTo>
                    <a:pt x="16" y="63"/>
                    <a:pt x="15" y="62"/>
                    <a:pt x="14" y="61"/>
                  </a:cubicBezTo>
                  <a:cubicBezTo>
                    <a:pt x="14" y="59"/>
                    <a:pt x="14" y="57"/>
                    <a:pt x="15" y="54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2"/>
                    <a:pt x="15" y="51"/>
                    <a:pt x="15" y="49"/>
                  </a:cubicBezTo>
                  <a:cubicBezTo>
                    <a:pt x="17" y="48"/>
                    <a:pt x="17" y="47"/>
                    <a:pt x="17" y="45"/>
                  </a:cubicBezTo>
                  <a:cubicBezTo>
                    <a:pt x="17" y="45"/>
                    <a:pt x="18" y="45"/>
                    <a:pt x="18" y="44"/>
                  </a:cubicBezTo>
                  <a:cubicBezTo>
                    <a:pt x="18" y="43"/>
                    <a:pt x="19" y="41"/>
                    <a:pt x="18" y="41"/>
                  </a:cubicBezTo>
                  <a:cubicBezTo>
                    <a:pt x="16" y="40"/>
                    <a:pt x="14" y="41"/>
                    <a:pt x="12" y="40"/>
                  </a:cubicBezTo>
                  <a:cubicBezTo>
                    <a:pt x="12" y="40"/>
                    <a:pt x="12" y="40"/>
                    <a:pt x="12" y="39"/>
                  </a:cubicBezTo>
                  <a:cubicBezTo>
                    <a:pt x="11" y="38"/>
                    <a:pt x="11" y="37"/>
                    <a:pt x="11" y="36"/>
                  </a:cubicBezTo>
                  <a:cubicBezTo>
                    <a:pt x="10" y="35"/>
                    <a:pt x="9" y="34"/>
                    <a:pt x="8" y="33"/>
                  </a:cubicBezTo>
                  <a:cubicBezTo>
                    <a:pt x="8" y="31"/>
                    <a:pt x="6" y="30"/>
                    <a:pt x="6" y="29"/>
                  </a:cubicBezTo>
                  <a:cubicBezTo>
                    <a:pt x="6" y="29"/>
                    <a:pt x="5" y="29"/>
                    <a:pt x="5" y="28"/>
                  </a:cubicBezTo>
                  <a:cubicBezTo>
                    <a:pt x="4" y="27"/>
                    <a:pt x="5" y="26"/>
                    <a:pt x="5" y="25"/>
                  </a:cubicBezTo>
                  <a:cubicBezTo>
                    <a:pt x="4" y="24"/>
                    <a:pt x="3" y="23"/>
                    <a:pt x="2" y="22"/>
                  </a:cubicBezTo>
                  <a:cubicBezTo>
                    <a:pt x="2" y="20"/>
                    <a:pt x="2" y="18"/>
                    <a:pt x="2" y="16"/>
                  </a:cubicBezTo>
                  <a:cubicBezTo>
                    <a:pt x="2" y="16"/>
                    <a:pt x="2" y="16"/>
                    <a:pt x="2" y="15"/>
                  </a:cubicBezTo>
                  <a:cubicBezTo>
                    <a:pt x="1" y="14"/>
                    <a:pt x="2" y="11"/>
                    <a:pt x="1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4"/>
                    <a:pt x="0" y="3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3" y="1"/>
                    <a:pt x="5" y="3"/>
                    <a:pt x="7" y="4"/>
                  </a:cubicBezTo>
                  <a:cubicBezTo>
                    <a:pt x="8" y="5"/>
                    <a:pt x="9" y="6"/>
                    <a:pt x="10" y="7"/>
                  </a:cubicBezTo>
                  <a:cubicBezTo>
                    <a:pt x="11" y="8"/>
                    <a:pt x="12" y="9"/>
                    <a:pt x="13" y="10"/>
                  </a:cubicBezTo>
                  <a:cubicBezTo>
                    <a:pt x="14" y="11"/>
                    <a:pt x="15" y="11"/>
                    <a:pt x="17" y="11"/>
                  </a:cubicBezTo>
                  <a:cubicBezTo>
                    <a:pt x="17" y="10"/>
                    <a:pt x="18" y="10"/>
                    <a:pt x="19" y="9"/>
                  </a:cubicBezTo>
                  <a:cubicBezTo>
                    <a:pt x="20" y="9"/>
                    <a:pt x="21" y="9"/>
                    <a:pt x="22" y="9"/>
                  </a:cubicBezTo>
                  <a:cubicBezTo>
                    <a:pt x="25" y="8"/>
                    <a:pt x="27" y="5"/>
                    <a:pt x="29" y="3"/>
                  </a:cubicBezTo>
                  <a:cubicBezTo>
                    <a:pt x="29" y="3"/>
                    <a:pt x="30" y="3"/>
                    <a:pt x="30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5"/>
                    <a:pt x="31" y="6"/>
                    <a:pt x="32" y="7"/>
                  </a:cubicBezTo>
                  <a:cubicBezTo>
                    <a:pt x="32" y="8"/>
                    <a:pt x="32" y="9"/>
                    <a:pt x="32" y="10"/>
                  </a:cubicBezTo>
                  <a:cubicBezTo>
                    <a:pt x="32" y="11"/>
                    <a:pt x="30" y="12"/>
                    <a:pt x="31" y="13"/>
                  </a:cubicBezTo>
                  <a:cubicBezTo>
                    <a:pt x="32" y="16"/>
                    <a:pt x="35" y="16"/>
                    <a:pt x="37" y="1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8" y="26"/>
                    <a:pt x="80" y="26"/>
                    <a:pt x="82" y="25"/>
                  </a:cubicBezTo>
                  <a:cubicBezTo>
                    <a:pt x="84" y="24"/>
                    <a:pt x="84" y="21"/>
                    <a:pt x="86" y="20"/>
                  </a:cubicBezTo>
                  <a:cubicBezTo>
                    <a:pt x="89" y="18"/>
                    <a:pt x="91" y="19"/>
                    <a:pt x="94" y="19"/>
                  </a:cubicBezTo>
                  <a:cubicBezTo>
                    <a:pt x="94" y="19"/>
                    <a:pt x="95" y="18"/>
                    <a:pt x="96" y="18"/>
                  </a:cubicBezTo>
                  <a:cubicBezTo>
                    <a:pt x="98" y="17"/>
                    <a:pt x="100" y="18"/>
                    <a:pt x="102" y="19"/>
                  </a:cubicBezTo>
                  <a:cubicBezTo>
                    <a:pt x="103" y="19"/>
                    <a:pt x="104" y="20"/>
                    <a:pt x="105" y="21"/>
                  </a:cubicBezTo>
                  <a:cubicBezTo>
                    <a:pt x="106" y="22"/>
                    <a:pt x="108" y="22"/>
                    <a:pt x="109" y="22"/>
                  </a:cubicBezTo>
                  <a:cubicBezTo>
                    <a:pt x="111" y="22"/>
                    <a:pt x="114" y="23"/>
                    <a:pt x="116" y="23"/>
                  </a:cubicBezTo>
                  <a:cubicBezTo>
                    <a:pt x="117" y="23"/>
                    <a:pt x="118" y="24"/>
                    <a:pt x="119" y="25"/>
                  </a:cubicBezTo>
                  <a:cubicBezTo>
                    <a:pt x="120" y="26"/>
                    <a:pt x="120" y="27"/>
                    <a:pt x="121" y="28"/>
                  </a:cubicBezTo>
                  <a:cubicBezTo>
                    <a:pt x="121" y="29"/>
                    <a:pt x="121" y="29"/>
                    <a:pt x="122" y="29"/>
                  </a:cubicBezTo>
                  <a:cubicBezTo>
                    <a:pt x="122" y="30"/>
                    <a:pt x="123" y="29"/>
                    <a:pt x="124" y="30"/>
                  </a:cubicBezTo>
                  <a:cubicBezTo>
                    <a:pt x="125" y="30"/>
                    <a:pt x="125" y="32"/>
                    <a:pt x="127" y="33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9" y="34"/>
                    <a:pt x="132" y="33"/>
                    <a:pt x="132" y="35"/>
                  </a:cubicBezTo>
                  <a:cubicBezTo>
                    <a:pt x="133" y="36"/>
                    <a:pt x="132" y="39"/>
                    <a:pt x="133" y="40"/>
                  </a:cubicBezTo>
                  <a:cubicBezTo>
                    <a:pt x="133" y="41"/>
                    <a:pt x="134" y="42"/>
                    <a:pt x="135" y="43"/>
                  </a:cubicBezTo>
                  <a:cubicBezTo>
                    <a:pt x="135" y="44"/>
                    <a:pt x="135" y="44"/>
                    <a:pt x="135" y="45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6"/>
                    <a:pt x="135" y="47"/>
                    <a:pt x="135" y="48"/>
                  </a:cubicBezTo>
                  <a:cubicBezTo>
                    <a:pt x="134" y="50"/>
                    <a:pt x="134" y="53"/>
                    <a:pt x="133" y="55"/>
                  </a:cubicBezTo>
                  <a:cubicBezTo>
                    <a:pt x="132" y="56"/>
                    <a:pt x="131" y="57"/>
                    <a:pt x="130" y="58"/>
                  </a:cubicBezTo>
                  <a:cubicBezTo>
                    <a:pt x="129" y="60"/>
                    <a:pt x="130" y="62"/>
                    <a:pt x="131" y="64"/>
                  </a:cubicBezTo>
                  <a:cubicBezTo>
                    <a:pt x="131" y="64"/>
                    <a:pt x="132" y="65"/>
                    <a:pt x="132" y="65"/>
                  </a:cubicBezTo>
                  <a:cubicBezTo>
                    <a:pt x="132" y="65"/>
                    <a:pt x="132" y="66"/>
                    <a:pt x="132" y="66"/>
                  </a:cubicBezTo>
                  <a:cubicBezTo>
                    <a:pt x="132" y="67"/>
                    <a:pt x="131" y="68"/>
                    <a:pt x="131" y="68"/>
                  </a:cubicBezTo>
                  <a:cubicBezTo>
                    <a:pt x="131" y="69"/>
                    <a:pt x="131" y="70"/>
                    <a:pt x="131" y="71"/>
                  </a:cubicBezTo>
                  <a:cubicBezTo>
                    <a:pt x="132" y="72"/>
                    <a:pt x="132" y="74"/>
                    <a:pt x="132" y="75"/>
                  </a:cubicBezTo>
                  <a:cubicBezTo>
                    <a:pt x="132" y="76"/>
                    <a:pt x="133" y="78"/>
                    <a:pt x="133" y="79"/>
                  </a:cubicBezTo>
                  <a:cubicBezTo>
                    <a:pt x="133" y="79"/>
                    <a:pt x="133" y="80"/>
                    <a:pt x="133" y="80"/>
                  </a:cubicBezTo>
                  <a:cubicBezTo>
                    <a:pt x="134" y="82"/>
                    <a:pt x="133" y="83"/>
                    <a:pt x="134" y="85"/>
                  </a:cubicBezTo>
                  <a:cubicBezTo>
                    <a:pt x="136" y="86"/>
                    <a:pt x="140" y="84"/>
                    <a:pt x="142" y="86"/>
                  </a:cubicBezTo>
                  <a:cubicBezTo>
                    <a:pt x="142" y="88"/>
                    <a:pt x="143" y="90"/>
                    <a:pt x="141" y="92"/>
                  </a:cubicBezTo>
                  <a:cubicBezTo>
                    <a:pt x="140" y="95"/>
                    <a:pt x="137" y="97"/>
                    <a:pt x="136" y="100"/>
                  </a:cubicBezTo>
                  <a:cubicBezTo>
                    <a:pt x="136" y="101"/>
                    <a:pt x="136" y="101"/>
                    <a:pt x="137" y="102"/>
                  </a:cubicBezTo>
                  <a:cubicBezTo>
                    <a:pt x="137" y="102"/>
                    <a:pt x="137" y="102"/>
                    <a:pt x="137" y="102"/>
                  </a:cubicBezTo>
                  <a:cubicBezTo>
                    <a:pt x="136" y="103"/>
                    <a:pt x="138" y="103"/>
                    <a:pt x="138" y="104"/>
                  </a:cubicBezTo>
                  <a:cubicBezTo>
                    <a:pt x="139" y="104"/>
                    <a:pt x="139" y="104"/>
                    <a:pt x="140" y="105"/>
                  </a:cubicBezTo>
                  <a:cubicBezTo>
                    <a:pt x="140" y="106"/>
                    <a:pt x="140" y="108"/>
                    <a:pt x="141" y="109"/>
                  </a:cubicBezTo>
                  <a:cubicBezTo>
                    <a:pt x="141" y="110"/>
                    <a:pt x="142" y="111"/>
                    <a:pt x="143" y="112"/>
                  </a:cubicBezTo>
                  <a:cubicBezTo>
                    <a:pt x="144" y="113"/>
                    <a:pt x="145" y="113"/>
                    <a:pt x="146" y="114"/>
                  </a:cubicBezTo>
                  <a:cubicBezTo>
                    <a:pt x="147" y="115"/>
                    <a:pt x="149" y="115"/>
                    <a:pt x="151" y="116"/>
                  </a:cubicBezTo>
                  <a:cubicBezTo>
                    <a:pt x="151" y="119"/>
                    <a:pt x="151" y="123"/>
                    <a:pt x="151" y="126"/>
                  </a:cubicBezTo>
                  <a:cubicBezTo>
                    <a:pt x="152" y="126"/>
                    <a:pt x="152" y="126"/>
                    <a:pt x="153" y="125"/>
                  </a:cubicBezTo>
                  <a:cubicBezTo>
                    <a:pt x="154" y="125"/>
                    <a:pt x="156" y="125"/>
                    <a:pt x="156" y="126"/>
                  </a:cubicBezTo>
                  <a:cubicBezTo>
                    <a:pt x="157" y="127"/>
                    <a:pt x="157" y="128"/>
                    <a:pt x="156" y="130"/>
                  </a:cubicBezTo>
                  <a:cubicBezTo>
                    <a:pt x="156" y="131"/>
                    <a:pt x="154" y="133"/>
                    <a:pt x="153" y="133"/>
                  </a:cubicBezTo>
                  <a:cubicBezTo>
                    <a:pt x="151" y="134"/>
                    <a:pt x="149" y="135"/>
                    <a:pt x="148" y="136"/>
                  </a:cubicBezTo>
                  <a:cubicBezTo>
                    <a:pt x="147" y="136"/>
                    <a:pt x="146" y="137"/>
                    <a:pt x="145" y="138"/>
                  </a:cubicBezTo>
                  <a:cubicBezTo>
                    <a:pt x="145" y="139"/>
                    <a:pt x="145" y="140"/>
                    <a:pt x="145" y="141"/>
                  </a:cubicBezTo>
                  <a:cubicBezTo>
                    <a:pt x="145" y="142"/>
                    <a:pt x="145" y="143"/>
                    <a:pt x="145" y="144"/>
                  </a:cubicBezTo>
                  <a:lnTo>
                    <a:pt x="145" y="14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4" name="Freeform 212"/>
            <p:cNvSpPr>
              <a:spLocks/>
            </p:cNvSpPr>
            <p:nvPr/>
          </p:nvSpPr>
          <p:spPr bwMode="auto">
            <a:xfrm>
              <a:off x="7270210" y="4943189"/>
              <a:ext cx="101495" cy="89441"/>
            </a:xfrm>
            <a:custGeom>
              <a:avLst/>
              <a:gdLst>
                <a:gd name="T0" fmla="*/ 73069303 w 75"/>
                <a:gd name="T1" fmla="*/ 70101268 h 83"/>
                <a:gd name="T2" fmla="*/ 69974021 w 75"/>
                <a:gd name="T3" fmla="*/ 68110098 h 83"/>
                <a:gd name="T4" fmla="*/ 64956873 w 75"/>
                <a:gd name="T5" fmla="*/ 70941678 h 83"/>
                <a:gd name="T6" fmla="*/ 62760192 w 75"/>
                <a:gd name="T7" fmla="*/ 76825681 h 83"/>
                <a:gd name="T8" fmla="*/ 51608606 w 75"/>
                <a:gd name="T9" fmla="*/ 77611872 h 83"/>
                <a:gd name="T10" fmla="*/ 38511599 w 75"/>
                <a:gd name="T11" fmla="*/ 72925518 h 83"/>
                <a:gd name="T12" fmla="*/ 31678737 w 75"/>
                <a:gd name="T13" fmla="*/ 67233265 h 83"/>
                <a:gd name="T14" fmla="*/ 29483443 w 75"/>
                <a:gd name="T15" fmla="*/ 62545022 h 83"/>
                <a:gd name="T16" fmla="*/ 22134656 w 75"/>
                <a:gd name="T17" fmla="*/ 58999265 h 83"/>
                <a:gd name="T18" fmla="*/ 9004055 w 75"/>
                <a:gd name="T19" fmla="*/ 51481672 h 83"/>
                <a:gd name="T20" fmla="*/ 3027054 w 75"/>
                <a:gd name="T21" fmla="*/ 45943762 h 83"/>
                <a:gd name="T22" fmla="*/ 0 w 75"/>
                <a:gd name="T23" fmla="*/ 36355852 h 83"/>
                <a:gd name="T24" fmla="*/ 5907863 w 75"/>
                <a:gd name="T25" fmla="*/ 32866260 h 83"/>
                <a:gd name="T26" fmla="*/ 16226801 w 75"/>
                <a:gd name="T27" fmla="*/ 23300575 h 83"/>
                <a:gd name="T28" fmla="*/ 15296616 w 75"/>
                <a:gd name="T29" fmla="*/ 13917860 h 83"/>
                <a:gd name="T30" fmla="*/ 19255648 w 75"/>
                <a:gd name="T31" fmla="*/ 7510493 h 83"/>
                <a:gd name="T32" fmla="*/ 23575041 w 75"/>
                <a:gd name="T33" fmla="*/ 3552753 h 83"/>
                <a:gd name="T34" fmla="*/ 30396094 w 75"/>
                <a:gd name="T35" fmla="*/ 1984455 h 83"/>
                <a:gd name="T36" fmla="*/ 38511599 w 75"/>
                <a:gd name="T37" fmla="*/ 2824655 h 83"/>
                <a:gd name="T38" fmla="*/ 40466551 w 75"/>
                <a:gd name="T39" fmla="*/ 2824655 h 83"/>
                <a:gd name="T40" fmla="*/ 43495265 w 75"/>
                <a:gd name="T41" fmla="*/ 7510493 h 83"/>
                <a:gd name="T42" fmla="*/ 47838881 w 75"/>
                <a:gd name="T43" fmla="*/ 13077479 h 83"/>
                <a:gd name="T44" fmla="*/ 53813375 w 75"/>
                <a:gd name="T45" fmla="*/ 15125815 h 83"/>
                <a:gd name="T46" fmla="*/ 52532915 w 75"/>
                <a:gd name="T47" fmla="*/ 18615502 h 83"/>
                <a:gd name="T48" fmla="*/ 50717182 w 75"/>
                <a:gd name="T49" fmla="*/ 26972490 h 83"/>
                <a:gd name="T50" fmla="*/ 49506251 w 75"/>
                <a:gd name="T51" fmla="*/ 33745057 h 83"/>
                <a:gd name="T52" fmla="*/ 52532915 w 75"/>
                <a:gd name="T53" fmla="*/ 39271613 h 83"/>
                <a:gd name="T54" fmla="*/ 58957430 w 75"/>
                <a:gd name="T55" fmla="*/ 41881699 h 83"/>
                <a:gd name="T56" fmla="*/ 65630292 w 75"/>
                <a:gd name="T57" fmla="*/ 47421233 h 83"/>
                <a:gd name="T58" fmla="*/ 69974021 w 75"/>
                <a:gd name="T59" fmla="*/ 51481672 h 83"/>
                <a:gd name="T60" fmla="*/ 69974021 w 75"/>
                <a:gd name="T61" fmla="*/ 58999265 h 83"/>
                <a:gd name="T62" fmla="*/ 75184189 w 75"/>
                <a:gd name="T63" fmla="*/ 67233265 h 83"/>
                <a:gd name="T64" fmla="*/ 75951022 w 75"/>
                <a:gd name="T65" fmla="*/ 70101268 h 8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5"/>
                <a:gd name="T100" fmla="*/ 0 h 83"/>
                <a:gd name="T101" fmla="*/ 75 w 75"/>
                <a:gd name="T102" fmla="*/ 83 h 8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5" h="83">
                  <a:moveTo>
                    <a:pt x="75" y="75"/>
                  </a:moveTo>
                  <a:cubicBezTo>
                    <a:pt x="74" y="75"/>
                    <a:pt x="73" y="76"/>
                    <a:pt x="72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0" y="75"/>
                    <a:pt x="69" y="74"/>
                    <a:pt x="69" y="73"/>
                  </a:cubicBezTo>
                  <a:cubicBezTo>
                    <a:pt x="68" y="73"/>
                    <a:pt x="67" y="73"/>
                    <a:pt x="66" y="73"/>
                  </a:cubicBezTo>
                  <a:cubicBezTo>
                    <a:pt x="65" y="74"/>
                    <a:pt x="65" y="75"/>
                    <a:pt x="64" y="76"/>
                  </a:cubicBezTo>
                  <a:cubicBezTo>
                    <a:pt x="63" y="77"/>
                    <a:pt x="62" y="77"/>
                    <a:pt x="62" y="78"/>
                  </a:cubicBezTo>
                  <a:cubicBezTo>
                    <a:pt x="61" y="79"/>
                    <a:pt x="62" y="81"/>
                    <a:pt x="62" y="82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59" y="83"/>
                    <a:pt x="54" y="83"/>
                    <a:pt x="51" y="83"/>
                  </a:cubicBezTo>
                  <a:cubicBezTo>
                    <a:pt x="49" y="82"/>
                    <a:pt x="47" y="82"/>
                    <a:pt x="45" y="81"/>
                  </a:cubicBezTo>
                  <a:cubicBezTo>
                    <a:pt x="42" y="81"/>
                    <a:pt x="40" y="79"/>
                    <a:pt x="38" y="78"/>
                  </a:cubicBezTo>
                  <a:cubicBezTo>
                    <a:pt x="36" y="77"/>
                    <a:pt x="35" y="77"/>
                    <a:pt x="34" y="76"/>
                  </a:cubicBezTo>
                  <a:cubicBezTo>
                    <a:pt x="33" y="75"/>
                    <a:pt x="32" y="74"/>
                    <a:pt x="31" y="72"/>
                  </a:cubicBezTo>
                  <a:cubicBezTo>
                    <a:pt x="31" y="71"/>
                    <a:pt x="31" y="70"/>
                    <a:pt x="30" y="70"/>
                  </a:cubicBezTo>
                  <a:cubicBezTo>
                    <a:pt x="30" y="69"/>
                    <a:pt x="29" y="68"/>
                    <a:pt x="29" y="67"/>
                  </a:cubicBezTo>
                  <a:cubicBezTo>
                    <a:pt x="28" y="66"/>
                    <a:pt x="26" y="66"/>
                    <a:pt x="25" y="65"/>
                  </a:cubicBezTo>
                  <a:cubicBezTo>
                    <a:pt x="24" y="64"/>
                    <a:pt x="23" y="64"/>
                    <a:pt x="22" y="63"/>
                  </a:cubicBezTo>
                  <a:cubicBezTo>
                    <a:pt x="19" y="61"/>
                    <a:pt x="16" y="59"/>
                    <a:pt x="12" y="57"/>
                  </a:cubicBezTo>
                  <a:cubicBezTo>
                    <a:pt x="11" y="56"/>
                    <a:pt x="10" y="55"/>
                    <a:pt x="9" y="55"/>
                  </a:cubicBezTo>
                  <a:cubicBezTo>
                    <a:pt x="7" y="54"/>
                    <a:pt x="5" y="52"/>
                    <a:pt x="3" y="50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2" y="49"/>
                    <a:pt x="1" y="48"/>
                    <a:pt x="0" y="47"/>
                  </a:cubicBezTo>
                  <a:cubicBezTo>
                    <a:pt x="0" y="44"/>
                    <a:pt x="0" y="42"/>
                    <a:pt x="0" y="39"/>
                  </a:cubicBezTo>
                  <a:cubicBezTo>
                    <a:pt x="1" y="39"/>
                    <a:pt x="1" y="39"/>
                    <a:pt x="3" y="38"/>
                  </a:cubicBezTo>
                  <a:cubicBezTo>
                    <a:pt x="4" y="37"/>
                    <a:pt x="5" y="36"/>
                    <a:pt x="6" y="35"/>
                  </a:cubicBezTo>
                  <a:cubicBezTo>
                    <a:pt x="9" y="34"/>
                    <a:pt x="12" y="32"/>
                    <a:pt x="14" y="29"/>
                  </a:cubicBezTo>
                  <a:cubicBezTo>
                    <a:pt x="14" y="27"/>
                    <a:pt x="15" y="26"/>
                    <a:pt x="16" y="25"/>
                  </a:cubicBezTo>
                  <a:cubicBezTo>
                    <a:pt x="16" y="22"/>
                    <a:pt x="16" y="19"/>
                    <a:pt x="16" y="16"/>
                  </a:cubicBezTo>
                  <a:cubicBezTo>
                    <a:pt x="16" y="15"/>
                    <a:pt x="15" y="15"/>
                    <a:pt x="15" y="15"/>
                  </a:cubicBezTo>
                  <a:cubicBezTo>
                    <a:pt x="14" y="13"/>
                    <a:pt x="15" y="11"/>
                    <a:pt x="16" y="9"/>
                  </a:cubicBezTo>
                  <a:cubicBezTo>
                    <a:pt x="17" y="9"/>
                    <a:pt x="18" y="9"/>
                    <a:pt x="19" y="8"/>
                  </a:cubicBezTo>
                  <a:cubicBezTo>
                    <a:pt x="21" y="7"/>
                    <a:pt x="22" y="6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5" y="3"/>
                    <a:pt x="26" y="2"/>
                    <a:pt x="27" y="1"/>
                  </a:cubicBezTo>
                  <a:cubicBezTo>
                    <a:pt x="29" y="0"/>
                    <a:pt x="29" y="1"/>
                    <a:pt x="30" y="2"/>
                  </a:cubicBezTo>
                  <a:cubicBezTo>
                    <a:pt x="32" y="2"/>
                    <a:pt x="34" y="1"/>
                    <a:pt x="36" y="2"/>
                  </a:cubicBezTo>
                  <a:cubicBezTo>
                    <a:pt x="37" y="2"/>
                    <a:pt x="37" y="3"/>
                    <a:pt x="38" y="3"/>
                  </a:cubicBezTo>
                  <a:cubicBezTo>
                    <a:pt x="39" y="4"/>
                    <a:pt x="39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4"/>
                    <a:pt x="41" y="4"/>
                    <a:pt x="41" y="4"/>
                  </a:cubicBezTo>
                  <a:cubicBezTo>
                    <a:pt x="41" y="5"/>
                    <a:pt x="43" y="6"/>
                    <a:pt x="43" y="8"/>
                  </a:cubicBezTo>
                  <a:cubicBezTo>
                    <a:pt x="44" y="9"/>
                    <a:pt x="45" y="10"/>
                    <a:pt x="46" y="11"/>
                  </a:cubicBezTo>
                  <a:cubicBezTo>
                    <a:pt x="46" y="12"/>
                    <a:pt x="46" y="13"/>
                    <a:pt x="47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9" y="16"/>
                    <a:pt x="51" y="15"/>
                    <a:pt x="53" y="16"/>
                  </a:cubicBezTo>
                  <a:cubicBezTo>
                    <a:pt x="54" y="16"/>
                    <a:pt x="53" y="18"/>
                    <a:pt x="53" y="19"/>
                  </a:cubicBezTo>
                  <a:cubicBezTo>
                    <a:pt x="53" y="20"/>
                    <a:pt x="52" y="20"/>
                    <a:pt x="52" y="20"/>
                  </a:cubicBezTo>
                  <a:cubicBezTo>
                    <a:pt x="52" y="22"/>
                    <a:pt x="52" y="23"/>
                    <a:pt x="50" y="24"/>
                  </a:cubicBezTo>
                  <a:cubicBezTo>
                    <a:pt x="50" y="26"/>
                    <a:pt x="50" y="27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49" y="32"/>
                    <a:pt x="49" y="34"/>
                    <a:pt x="49" y="36"/>
                  </a:cubicBezTo>
                  <a:cubicBezTo>
                    <a:pt x="50" y="37"/>
                    <a:pt x="51" y="38"/>
                    <a:pt x="51" y="39"/>
                  </a:cubicBezTo>
                  <a:cubicBezTo>
                    <a:pt x="52" y="40"/>
                    <a:pt x="52" y="41"/>
                    <a:pt x="52" y="42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5" y="44"/>
                    <a:pt x="57" y="44"/>
                    <a:pt x="58" y="45"/>
                  </a:cubicBezTo>
                  <a:cubicBezTo>
                    <a:pt x="59" y="46"/>
                    <a:pt x="59" y="48"/>
                    <a:pt x="61" y="49"/>
                  </a:cubicBezTo>
                  <a:cubicBezTo>
                    <a:pt x="62" y="50"/>
                    <a:pt x="64" y="50"/>
                    <a:pt x="65" y="51"/>
                  </a:cubicBezTo>
                  <a:cubicBezTo>
                    <a:pt x="66" y="51"/>
                    <a:pt x="66" y="53"/>
                    <a:pt x="67" y="54"/>
                  </a:cubicBezTo>
                  <a:cubicBezTo>
                    <a:pt x="68" y="54"/>
                    <a:pt x="68" y="55"/>
                    <a:pt x="69" y="55"/>
                  </a:cubicBezTo>
                  <a:cubicBezTo>
                    <a:pt x="70" y="56"/>
                    <a:pt x="70" y="58"/>
                    <a:pt x="69" y="60"/>
                  </a:cubicBezTo>
                  <a:cubicBezTo>
                    <a:pt x="68" y="61"/>
                    <a:pt x="68" y="62"/>
                    <a:pt x="69" y="63"/>
                  </a:cubicBezTo>
                  <a:cubicBezTo>
                    <a:pt x="70" y="65"/>
                    <a:pt x="72" y="67"/>
                    <a:pt x="73" y="70"/>
                  </a:cubicBezTo>
                  <a:cubicBezTo>
                    <a:pt x="73" y="71"/>
                    <a:pt x="74" y="71"/>
                    <a:pt x="74" y="72"/>
                  </a:cubicBezTo>
                  <a:cubicBezTo>
                    <a:pt x="74" y="72"/>
                    <a:pt x="74" y="73"/>
                    <a:pt x="74" y="74"/>
                  </a:cubicBezTo>
                  <a:lnTo>
                    <a:pt x="75" y="75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5" name="Freeform 213"/>
            <p:cNvSpPr>
              <a:spLocks/>
            </p:cNvSpPr>
            <p:nvPr/>
          </p:nvSpPr>
          <p:spPr bwMode="auto">
            <a:xfrm>
              <a:off x="7352856" y="5021752"/>
              <a:ext cx="18850" cy="19339"/>
            </a:xfrm>
            <a:custGeom>
              <a:avLst/>
              <a:gdLst>
                <a:gd name="T0" fmla="*/ 12766089 w 14"/>
                <a:gd name="T1" fmla="*/ 17885570 h 18"/>
                <a:gd name="T2" fmla="*/ 12766089 w 14"/>
                <a:gd name="T3" fmla="*/ 15574178 h 18"/>
                <a:gd name="T4" fmla="*/ 11919092 w 14"/>
                <a:gd name="T5" fmla="*/ 14605101 h 18"/>
                <a:gd name="T6" fmla="*/ 10823097 w 14"/>
                <a:gd name="T7" fmla="*/ 12233175 h 18"/>
                <a:gd name="T8" fmla="*/ 8174845 w 14"/>
                <a:gd name="T9" fmla="*/ 8850068 h 18"/>
                <a:gd name="T10" fmla="*/ 8174845 w 14"/>
                <a:gd name="T11" fmla="*/ 8080076 h 18"/>
                <a:gd name="T12" fmla="*/ 9969095 w 14"/>
                <a:gd name="T13" fmla="*/ 6519426 h 18"/>
                <a:gd name="T14" fmla="*/ 9969095 w 14"/>
                <a:gd name="T15" fmla="*/ 4697331 h 18"/>
                <a:gd name="T16" fmla="*/ 9969095 w 14"/>
                <a:gd name="T17" fmla="*/ 2384158 h 18"/>
                <a:gd name="T18" fmla="*/ 9297269 w 14"/>
                <a:gd name="T19" fmla="*/ 2384158 h 18"/>
                <a:gd name="T20" fmla="*/ 7350477 w 14"/>
                <a:gd name="T21" fmla="*/ 0 h 18"/>
                <a:gd name="T22" fmla="*/ 4591618 w 14"/>
                <a:gd name="T23" fmla="*/ 0 h 18"/>
                <a:gd name="T24" fmla="*/ 2769339 w 14"/>
                <a:gd name="T25" fmla="*/ 3382358 h 18"/>
                <a:gd name="T26" fmla="*/ 826407 w 14"/>
                <a:gd name="T27" fmla="*/ 5695489 h 18"/>
                <a:gd name="T28" fmla="*/ 826407 w 14"/>
                <a:gd name="T29" fmla="*/ 10471513 h 18"/>
                <a:gd name="T30" fmla="*/ 826407 w 14"/>
                <a:gd name="T31" fmla="*/ 11221395 h 18"/>
                <a:gd name="T32" fmla="*/ 2769339 w 14"/>
                <a:gd name="T33" fmla="*/ 12233175 h 18"/>
                <a:gd name="T34" fmla="*/ 4591618 w 14"/>
                <a:gd name="T35" fmla="*/ 12233175 h 18"/>
                <a:gd name="T36" fmla="*/ 7350477 w 14"/>
                <a:gd name="T37" fmla="*/ 15574178 h 18"/>
                <a:gd name="T38" fmla="*/ 7350477 w 14"/>
                <a:gd name="T39" fmla="*/ 19302400 h 18"/>
                <a:gd name="T40" fmla="*/ 10823097 w 14"/>
                <a:gd name="T41" fmla="*/ 17885570 h 18"/>
                <a:gd name="T42" fmla="*/ 12766089 w 14"/>
                <a:gd name="T43" fmla="*/ 17885570 h 1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4"/>
                <a:gd name="T67" fmla="*/ 0 h 18"/>
                <a:gd name="T68" fmla="*/ 14 w 14"/>
                <a:gd name="T69" fmla="*/ 18 h 1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4" h="18">
                  <a:moveTo>
                    <a:pt x="14" y="16"/>
                  </a:moveTo>
                  <a:cubicBezTo>
                    <a:pt x="14" y="15"/>
                    <a:pt x="14" y="15"/>
                    <a:pt x="14" y="14"/>
                  </a:cubicBezTo>
                  <a:cubicBezTo>
                    <a:pt x="13" y="14"/>
                    <a:pt x="14" y="13"/>
                    <a:pt x="13" y="13"/>
                  </a:cubicBezTo>
                  <a:cubicBezTo>
                    <a:pt x="13" y="12"/>
                    <a:pt x="13" y="12"/>
                    <a:pt x="12" y="11"/>
                  </a:cubicBezTo>
                  <a:cubicBezTo>
                    <a:pt x="11" y="10"/>
                    <a:pt x="10" y="9"/>
                    <a:pt x="9" y="8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6"/>
                    <a:pt x="11" y="6"/>
                    <a:pt x="11" y="6"/>
                  </a:cubicBezTo>
                  <a:cubicBezTo>
                    <a:pt x="12" y="5"/>
                    <a:pt x="12" y="5"/>
                    <a:pt x="11" y="4"/>
                  </a:cubicBezTo>
                  <a:cubicBezTo>
                    <a:pt x="11" y="4"/>
                    <a:pt x="11" y="3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8" y="1"/>
                    <a:pt x="8" y="0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4" y="1"/>
                    <a:pt x="4" y="2"/>
                    <a:pt x="3" y="3"/>
                  </a:cubicBezTo>
                  <a:cubicBezTo>
                    <a:pt x="2" y="4"/>
                    <a:pt x="1" y="4"/>
                    <a:pt x="1" y="5"/>
                  </a:cubicBezTo>
                  <a:cubicBezTo>
                    <a:pt x="0" y="6"/>
                    <a:pt x="1" y="8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10"/>
                    <a:pt x="2" y="11"/>
                    <a:pt x="3" y="11"/>
                  </a:cubicBezTo>
                  <a:cubicBezTo>
                    <a:pt x="3" y="11"/>
                    <a:pt x="4" y="11"/>
                    <a:pt x="5" y="11"/>
                  </a:cubicBezTo>
                  <a:cubicBezTo>
                    <a:pt x="6" y="12"/>
                    <a:pt x="7" y="13"/>
                    <a:pt x="8" y="14"/>
                  </a:cubicBezTo>
                  <a:cubicBezTo>
                    <a:pt x="8" y="15"/>
                    <a:pt x="7" y="16"/>
                    <a:pt x="8" y="17"/>
                  </a:cubicBezTo>
                  <a:cubicBezTo>
                    <a:pt x="10" y="18"/>
                    <a:pt x="10" y="17"/>
                    <a:pt x="12" y="16"/>
                  </a:cubicBezTo>
                  <a:lnTo>
                    <a:pt x="14" y="1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6" name="Freeform 214"/>
            <p:cNvSpPr>
              <a:spLocks/>
            </p:cNvSpPr>
            <p:nvPr/>
          </p:nvSpPr>
          <p:spPr bwMode="auto">
            <a:xfrm>
              <a:off x="7232512" y="4946211"/>
              <a:ext cx="68872" cy="53181"/>
            </a:xfrm>
            <a:custGeom>
              <a:avLst/>
              <a:gdLst>
                <a:gd name="T0" fmla="*/ 2103193 w 51"/>
                <a:gd name="T1" fmla="*/ 25537539 h 49"/>
                <a:gd name="T2" fmla="*/ 886470 w 51"/>
                <a:gd name="T3" fmla="*/ 17697575 h 49"/>
                <a:gd name="T4" fmla="*/ 886470 w 51"/>
                <a:gd name="T5" fmla="*/ 14750295 h 49"/>
                <a:gd name="T6" fmla="*/ 2103193 w 51"/>
                <a:gd name="T7" fmla="*/ 14750295 h 49"/>
                <a:gd name="T8" fmla="*/ 4989927 w 51"/>
                <a:gd name="T9" fmla="*/ 11438226 h 49"/>
                <a:gd name="T10" fmla="*/ 4989927 w 51"/>
                <a:gd name="T11" fmla="*/ 6978664 h 49"/>
                <a:gd name="T12" fmla="*/ 7160325 w 51"/>
                <a:gd name="T13" fmla="*/ 5733436 h 49"/>
                <a:gd name="T14" fmla="*/ 15230455 w 51"/>
                <a:gd name="T15" fmla="*/ 3647911 h 49"/>
                <a:gd name="T16" fmla="*/ 24148546 w 51"/>
                <a:gd name="T17" fmla="*/ 4831667 h 49"/>
                <a:gd name="T18" fmla="*/ 32218285 w 51"/>
                <a:gd name="T19" fmla="*/ 4831667 h 49"/>
                <a:gd name="T20" fmla="*/ 39543614 w 51"/>
                <a:gd name="T21" fmla="*/ 2040963 h 49"/>
                <a:gd name="T22" fmla="*/ 42408694 w 51"/>
                <a:gd name="T23" fmla="*/ 862131 h 49"/>
                <a:gd name="T24" fmla="*/ 46353463 w 51"/>
                <a:gd name="T25" fmla="*/ 862131 h 49"/>
                <a:gd name="T26" fmla="*/ 51405283 w 51"/>
                <a:gd name="T27" fmla="*/ 862131 h 49"/>
                <a:gd name="T28" fmla="*/ 51405283 w 51"/>
                <a:gd name="T29" fmla="*/ 862131 h 49"/>
                <a:gd name="T30" fmla="*/ 47622112 w 51"/>
                <a:gd name="T31" fmla="*/ 4831667 h 49"/>
                <a:gd name="T32" fmla="*/ 44220865 w 51"/>
                <a:gd name="T33" fmla="*/ 5733436 h 49"/>
                <a:gd name="T34" fmla="*/ 43323358 w 51"/>
                <a:gd name="T35" fmla="*/ 11438226 h 49"/>
                <a:gd name="T36" fmla="*/ 44220865 w 51"/>
                <a:gd name="T37" fmla="*/ 12710902 h 49"/>
                <a:gd name="T38" fmla="*/ 44220865 w 51"/>
                <a:gd name="T39" fmla="*/ 21345859 h 49"/>
                <a:gd name="T40" fmla="*/ 42408694 w 51"/>
                <a:gd name="T41" fmla="*/ 25537539 h 49"/>
                <a:gd name="T42" fmla="*/ 34417087 w 51"/>
                <a:gd name="T43" fmla="*/ 31226594 h 49"/>
                <a:gd name="T44" fmla="*/ 31564032 w 51"/>
                <a:gd name="T45" fmla="*/ 34017278 h 49"/>
                <a:gd name="T46" fmla="*/ 28088229 w 51"/>
                <a:gd name="T47" fmla="*/ 34919048 h 49"/>
                <a:gd name="T48" fmla="*/ 20072129 w 51"/>
                <a:gd name="T49" fmla="*/ 39906544 h 49"/>
                <a:gd name="T50" fmla="*/ 16988219 w 51"/>
                <a:gd name="T51" fmla="*/ 41896289 h 49"/>
                <a:gd name="T52" fmla="*/ 13303851 w 51"/>
                <a:gd name="T53" fmla="*/ 45705406 h 49"/>
                <a:gd name="T54" fmla="*/ 7160325 w 51"/>
                <a:gd name="T55" fmla="*/ 46882375 h 49"/>
                <a:gd name="T56" fmla="*/ 4989927 w 51"/>
                <a:gd name="T57" fmla="*/ 45705406 h 49"/>
                <a:gd name="T58" fmla="*/ 0 w 51"/>
                <a:gd name="T59" fmla="*/ 44799603 h 49"/>
                <a:gd name="T60" fmla="*/ 0 w 51"/>
                <a:gd name="T61" fmla="*/ 41896289 h 49"/>
                <a:gd name="T62" fmla="*/ 0 w 51"/>
                <a:gd name="T63" fmla="*/ 41896289 h 49"/>
                <a:gd name="T64" fmla="*/ 886470 w 51"/>
                <a:gd name="T65" fmla="*/ 37865504 h 49"/>
                <a:gd name="T66" fmla="*/ 2103193 w 51"/>
                <a:gd name="T67" fmla="*/ 36095789 h 49"/>
                <a:gd name="T68" fmla="*/ 3017989 w 51"/>
                <a:gd name="T69" fmla="*/ 34017278 h 49"/>
                <a:gd name="T70" fmla="*/ 3780109 w 51"/>
                <a:gd name="T71" fmla="*/ 32132075 h 49"/>
                <a:gd name="T72" fmla="*/ 7160325 w 51"/>
                <a:gd name="T73" fmla="*/ 29185468 h 49"/>
                <a:gd name="T74" fmla="*/ 7160325 w 51"/>
                <a:gd name="T75" fmla="*/ 27078246 h 49"/>
                <a:gd name="T76" fmla="*/ 3017989 w 51"/>
                <a:gd name="T77" fmla="*/ 25537539 h 49"/>
                <a:gd name="T78" fmla="*/ 2103193 w 51"/>
                <a:gd name="T79" fmla="*/ 25537539 h 4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1"/>
                <a:gd name="T121" fmla="*/ 0 h 49"/>
                <a:gd name="T122" fmla="*/ 51 w 51"/>
                <a:gd name="T123" fmla="*/ 49 h 4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1" h="49">
                  <a:moveTo>
                    <a:pt x="2" y="26"/>
                  </a:moveTo>
                  <a:cubicBezTo>
                    <a:pt x="2" y="24"/>
                    <a:pt x="2" y="21"/>
                    <a:pt x="1" y="18"/>
                  </a:cubicBezTo>
                  <a:cubicBezTo>
                    <a:pt x="1" y="17"/>
                    <a:pt x="1" y="16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3" y="14"/>
                    <a:pt x="4" y="13"/>
                    <a:pt x="5" y="12"/>
                  </a:cubicBezTo>
                  <a:cubicBezTo>
                    <a:pt x="6" y="10"/>
                    <a:pt x="5" y="9"/>
                    <a:pt x="5" y="7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10" y="5"/>
                    <a:pt x="13" y="6"/>
                    <a:pt x="15" y="4"/>
                  </a:cubicBezTo>
                  <a:cubicBezTo>
                    <a:pt x="18" y="4"/>
                    <a:pt x="21" y="4"/>
                    <a:pt x="24" y="5"/>
                  </a:cubicBezTo>
                  <a:cubicBezTo>
                    <a:pt x="26" y="5"/>
                    <a:pt x="29" y="5"/>
                    <a:pt x="32" y="5"/>
                  </a:cubicBezTo>
                  <a:cubicBezTo>
                    <a:pt x="34" y="4"/>
                    <a:pt x="37" y="3"/>
                    <a:pt x="39" y="2"/>
                  </a:cubicBezTo>
                  <a:cubicBezTo>
                    <a:pt x="40" y="2"/>
                    <a:pt x="41" y="1"/>
                    <a:pt x="42" y="1"/>
                  </a:cubicBezTo>
                  <a:cubicBezTo>
                    <a:pt x="44" y="0"/>
                    <a:pt x="45" y="0"/>
                    <a:pt x="46" y="1"/>
                  </a:cubicBezTo>
                  <a:cubicBezTo>
                    <a:pt x="48" y="1"/>
                    <a:pt x="50" y="2"/>
                    <a:pt x="51" y="1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0" y="3"/>
                    <a:pt x="49" y="4"/>
                    <a:pt x="47" y="5"/>
                  </a:cubicBezTo>
                  <a:cubicBezTo>
                    <a:pt x="46" y="6"/>
                    <a:pt x="45" y="6"/>
                    <a:pt x="44" y="6"/>
                  </a:cubicBezTo>
                  <a:cubicBezTo>
                    <a:pt x="43" y="8"/>
                    <a:pt x="42" y="10"/>
                    <a:pt x="43" y="12"/>
                  </a:cubicBezTo>
                  <a:cubicBezTo>
                    <a:pt x="43" y="12"/>
                    <a:pt x="44" y="12"/>
                    <a:pt x="44" y="13"/>
                  </a:cubicBezTo>
                  <a:cubicBezTo>
                    <a:pt x="44" y="16"/>
                    <a:pt x="44" y="19"/>
                    <a:pt x="44" y="22"/>
                  </a:cubicBezTo>
                  <a:cubicBezTo>
                    <a:pt x="43" y="23"/>
                    <a:pt x="42" y="24"/>
                    <a:pt x="42" y="26"/>
                  </a:cubicBezTo>
                  <a:cubicBezTo>
                    <a:pt x="40" y="29"/>
                    <a:pt x="37" y="31"/>
                    <a:pt x="34" y="32"/>
                  </a:cubicBezTo>
                  <a:cubicBezTo>
                    <a:pt x="33" y="33"/>
                    <a:pt x="32" y="34"/>
                    <a:pt x="31" y="35"/>
                  </a:cubicBezTo>
                  <a:cubicBezTo>
                    <a:pt x="29" y="36"/>
                    <a:pt x="29" y="36"/>
                    <a:pt x="28" y="36"/>
                  </a:cubicBezTo>
                  <a:cubicBezTo>
                    <a:pt x="25" y="38"/>
                    <a:pt x="22" y="40"/>
                    <a:pt x="20" y="41"/>
                  </a:cubicBezTo>
                  <a:cubicBezTo>
                    <a:pt x="19" y="42"/>
                    <a:pt x="18" y="42"/>
                    <a:pt x="17" y="43"/>
                  </a:cubicBezTo>
                  <a:cubicBezTo>
                    <a:pt x="15" y="44"/>
                    <a:pt x="14" y="45"/>
                    <a:pt x="13" y="47"/>
                  </a:cubicBezTo>
                  <a:cubicBezTo>
                    <a:pt x="11" y="48"/>
                    <a:pt x="9" y="49"/>
                    <a:pt x="7" y="48"/>
                  </a:cubicBezTo>
                  <a:cubicBezTo>
                    <a:pt x="7" y="48"/>
                    <a:pt x="6" y="47"/>
                    <a:pt x="5" y="47"/>
                  </a:cubicBezTo>
                  <a:cubicBezTo>
                    <a:pt x="3" y="46"/>
                    <a:pt x="2" y="46"/>
                    <a:pt x="0" y="46"/>
                  </a:cubicBezTo>
                  <a:cubicBezTo>
                    <a:pt x="0" y="45"/>
                    <a:pt x="0" y="44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1"/>
                    <a:pt x="1" y="40"/>
                    <a:pt x="1" y="39"/>
                  </a:cubicBezTo>
                  <a:cubicBezTo>
                    <a:pt x="1" y="39"/>
                    <a:pt x="2" y="38"/>
                    <a:pt x="2" y="37"/>
                  </a:cubicBezTo>
                  <a:cubicBezTo>
                    <a:pt x="3" y="37"/>
                    <a:pt x="3" y="36"/>
                    <a:pt x="3" y="35"/>
                  </a:cubicBezTo>
                  <a:cubicBezTo>
                    <a:pt x="3" y="35"/>
                    <a:pt x="4" y="34"/>
                    <a:pt x="4" y="33"/>
                  </a:cubicBezTo>
                  <a:cubicBezTo>
                    <a:pt x="5" y="32"/>
                    <a:pt x="6" y="31"/>
                    <a:pt x="7" y="30"/>
                  </a:cubicBezTo>
                  <a:cubicBezTo>
                    <a:pt x="7" y="29"/>
                    <a:pt x="7" y="28"/>
                    <a:pt x="7" y="28"/>
                  </a:cubicBezTo>
                  <a:cubicBezTo>
                    <a:pt x="6" y="27"/>
                    <a:pt x="4" y="27"/>
                    <a:pt x="3" y="26"/>
                  </a:cubicBezTo>
                  <a:lnTo>
                    <a:pt x="2" y="2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7" name="Freeform 215"/>
            <p:cNvSpPr>
              <a:spLocks/>
            </p:cNvSpPr>
            <p:nvPr/>
          </p:nvSpPr>
          <p:spPr bwMode="auto">
            <a:xfrm>
              <a:off x="7227437" y="4974009"/>
              <a:ext cx="14500" cy="18129"/>
            </a:xfrm>
            <a:custGeom>
              <a:avLst/>
              <a:gdLst>
                <a:gd name="T0" fmla="*/ 0 w 11"/>
                <a:gd name="T1" fmla="*/ 14978991 h 17"/>
                <a:gd name="T2" fmla="*/ 849380 w 11"/>
                <a:gd name="T3" fmla="*/ 12471472 h 17"/>
                <a:gd name="T4" fmla="*/ 2894074 w 11"/>
                <a:gd name="T5" fmla="*/ 6023953 h 17"/>
                <a:gd name="T6" fmla="*/ 5595820 w 11"/>
                <a:gd name="T7" fmla="*/ 1898557 h 17"/>
                <a:gd name="T8" fmla="*/ 5595820 w 11"/>
                <a:gd name="T9" fmla="*/ 0 h 17"/>
                <a:gd name="T10" fmla="*/ 6840539 w 11"/>
                <a:gd name="T11" fmla="*/ 0 h 17"/>
                <a:gd name="T12" fmla="*/ 10341118 w 11"/>
                <a:gd name="T13" fmla="*/ 1898557 h 17"/>
                <a:gd name="T14" fmla="*/ 10341118 w 11"/>
                <a:gd name="T15" fmla="*/ 3318400 h 17"/>
                <a:gd name="T16" fmla="*/ 7630664 w 11"/>
                <a:gd name="T17" fmla="*/ 6023953 h 17"/>
                <a:gd name="T18" fmla="*/ 6840539 w 11"/>
                <a:gd name="T19" fmla="*/ 7807999 h 17"/>
                <a:gd name="T20" fmla="*/ 5595820 w 11"/>
                <a:gd name="T21" fmla="*/ 9768793 h 17"/>
                <a:gd name="T22" fmla="*/ 4745295 w 11"/>
                <a:gd name="T23" fmla="*/ 11661007 h 17"/>
                <a:gd name="T24" fmla="*/ 3587761 w 11"/>
                <a:gd name="T25" fmla="*/ 14978991 h 17"/>
                <a:gd name="T26" fmla="*/ 849380 w 11"/>
                <a:gd name="T27" fmla="*/ 14978991 h 17"/>
                <a:gd name="T28" fmla="*/ 0 w 11"/>
                <a:gd name="T29" fmla="*/ 14978991 h 1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"/>
                <a:gd name="T46" fmla="*/ 0 h 17"/>
                <a:gd name="T47" fmla="*/ 11 w 11"/>
                <a:gd name="T48" fmla="*/ 17 h 1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" h="17">
                  <a:moveTo>
                    <a:pt x="0" y="17"/>
                  </a:moveTo>
                  <a:cubicBezTo>
                    <a:pt x="0" y="16"/>
                    <a:pt x="1" y="15"/>
                    <a:pt x="1" y="14"/>
                  </a:cubicBezTo>
                  <a:cubicBezTo>
                    <a:pt x="3" y="12"/>
                    <a:pt x="2" y="9"/>
                    <a:pt x="3" y="7"/>
                  </a:cubicBezTo>
                  <a:cubicBezTo>
                    <a:pt x="3" y="5"/>
                    <a:pt x="5" y="3"/>
                    <a:pt x="6" y="2"/>
                  </a:cubicBezTo>
                  <a:cubicBezTo>
                    <a:pt x="6" y="1"/>
                    <a:pt x="6" y="1"/>
                    <a:pt x="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1"/>
                    <a:pt x="10" y="1"/>
                    <a:pt x="11" y="2"/>
                  </a:cubicBezTo>
                  <a:cubicBezTo>
                    <a:pt x="11" y="2"/>
                    <a:pt x="11" y="3"/>
                    <a:pt x="11" y="4"/>
                  </a:cubicBezTo>
                  <a:cubicBezTo>
                    <a:pt x="10" y="5"/>
                    <a:pt x="9" y="6"/>
                    <a:pt x="8" y="7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7" y="10"/>
                    <a:pt x="7" y="11"/>
                    <a:pt x="6" y="11"/>
                  </a:cubicBezTo>
                  <a:cubicBezTo>
                    <a:pt x="6" y="12"/>
                    <a:pt x="5" y="13"/>
                    <a:pt x="5" y="13"/>
                  </a:cubicBezTo>
                  <a:cubicBezTo>
                    <a:pt x="5" y="14"/>
                    <a:pt x="4" y="15"/>
                    <a:pt x="4" y="17"/>
                  </a:cubicBezTo>
                  <a:cubicBezTo>
                    <a:pt x="3" y="17"/>
                    <a:pt x="2" y="16"/>
                    <a:pt x="1" y="17"/>
                  </a:cubicBezTo>
                  <a:lnTo>
                    <a:pt x="0" y="17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8" name="Freeform 216"/>
            <p:cNvSpPr>
              <a:spLocks/>
            </p:cNvSpPr>
            <p:nvPr/>
          </p:nvSpPr>
          <p:spPr bwMode="auto">
            <a:xfrm>
              <a:off x="7220188" y="4991535"/>
              <a:ext cx="13775" cy="36864"/>
            </a:xfrm>
            <a:custGeom>
              <a:avLst/>
              <a:gdLst>
                <a:gd name="T0" fmla="*/ 0 w 10"/>
                <a:gd name="T1" fmla="*/ 14978991 h 34"/>
                <a:gd name="T2" fmla="*/ 2554647 w 10"/>
                <a:gd name="T3" fmla="*/ 14174003 h 34"/>
                <a:gd name="T4" fmla="*/ 5085394 w 10"/>
                <a:gd name="T5" fmla="*/ 7173119 h 34"/>
                <a:gd name="T6" fmla="*/ 6131150 w 10"/>
                <a:gd name="T7" fmla="*/ 806887 h 34"/>
                <a:gd name="T8" fmla="*/ 7196548 w 10"/>
                <a:gd name="T9" fmla="*/ 806887 h 34"/>
                <a:gd name="T10" fmla="*/ 11140513 w 10"/>
                <a:gd name="T11" fmla="*/ 806887 h 34"/>
                <a:gd name="T12" fmla="*/ 11140513 w 10"/>
                <a:gd name="T13" fmla="*/ 806887 h 34"/>
                <a:gd name="T14" fmla="*/ 11140513 w 10"/>
                <a:gd name="T15" fmla="*/ 3318400 h 34"/>
                <a:gd name="T16" fmla="*/ 11140513 w 10"/>
                <a:gd name="T17" fmla="*/ 4467192 h 34"/>
                <a:gd name="T18" fmla="*/ 8585865 w 10"/>
                <a:gd name="T19" fmla="*/ 8957156 h 34"/>
                <a:gd name="T20" fmla="*/ 7196548 w 10"/>
                <a:gd name="T21" fmla="*/ 9768793 h 34"/>
                <a:gd name="T22" fmla="*/ 7196548 w 10"/>
                <a:gd name="T23" fmla="*/ 14174003 h 34"/>
                <a:gd name="T24" fmla="*/ 11140513 w 10"/>
                <a:gd name="T25" fmla="*/ 14174003 h 34"/>
                <a:gd name="T26" fmla="*/ 11140513 w 10"/>
                <a:gd name="T27" fmla="*/ 15774699 h 34"/>
                <a:gd name="T28" fmla="*/ 6131150 w 10"/>
                <a:gd name="T29" fmla="*/ 29948683 h 34"/>
                <a:gd name="T30" fmla="*/ 0 w 10"/>
                <a:gd name="T31" fmla="*/ 15774699 h 34"/>
                <a:gd name="T32" fmla="*/ 0 w 10"/>
                <a:gd name="T33" fmla="*/ 14978991 h 3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"/>
                <a:gd name="T52" fmla="*/ 0 h 34"/>
                <a:gd name="T53" fmla="*/ 10 w 10"/>
                <a:gd name="T54" fmla="*/ 34 h 3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" h="34">
                  <a:moveTo>
                    <a:pt x="0" y="17"/>
                  </a:moveTo>
                  <a:cubicBezTo>
                    <a:pt x="0" y="17"/>
                    <a:pt x="1" y="16"/>
                    <a:pt x="2" y="16"/>
                  </a:cubicBezTo>
                  <a:cubicBezTo>
                    <a:pt x="3" y="13"/>
                    <a:pt x="4" y="11"/>
                    <a:pt x="4" y="8"/>
                  </a:cubicBezTo>
                  <a:cubicBezTo>
                    <a:pt x="5" y="6"/>
                    <a:pt x="4" y="3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0"/>
                    <a:pt x="8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9" y="3"/>
                    <a:pt x="9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7"/>
                    <a:pt x="8" y="8"/>
                    <a:pt x="7" y="10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6" y="12"/>
                    <a:pt x="4" y="14"/>
                    <a:pt x="6" y="16"/>
                  </a:cubicBezTo>
                  <a:cubicBezTo>
                    <a:pt x="6" y="17"/>
                    <a:pt x="8" y="16"/>
                    <a:pt x="9" y="16"/>
                  </a:cubicBezTo>
                  <a:cubicBezTo>
                    <a:pt x="10" y="17"/>
                    <a:pt x="10" y="18"/>
                    <a:pt x="9" y="18"/>
                  </a:cubicBezTo>
                  <a:cubicBezTo>
                    <a:pt x="8" y="22"/>
                    <a:pt x="7" y="31"/>
                    <a:pt x="5" y="34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17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9" name="Freeform 217"/>
            <p:cNvSpPr>
              <a:spLocks/>
            </p:cNvSpPr>
            <p:nvPr/>
          </p:nvSpPr>
          <p:spPr bwMode="auto">
            <a:xfrm>
              <a:off x="7225989" y="4995766"/>
              <a:ext cx="224739" cy="174049"/>
            </a:xfrm>
            <a:custGeom>
              <a:avLst/>
              <a:gdLst>
                <a:gd name="T0" fmla="*/ 855203 w 167"/>
                <a:gd name="T1" fmla="*/ 39700592 h 161"/>
                <a:gd name="T2" fmla="*/ 5639635 w 167"/>
                <a:gd name="T3" fmla="*/ 42477234 h 161"/>
                <a:gd name="T4" fmla="*/ 6895229 w 167"/>
                <a:gd name="T5" fmla="*/ 46636332 h 161"/>
                <a:gd name="T6" fmla="*/ 12532693 w 167"/>
                <a:gd name="T7" fmla="*/ 55124574 h 161"/>
                <a:gd name="T8" fmla="*/ 13339249 w 167"/>
                <a:gd name="T9" fmla="*/ 58015061 h 161"/>
                <a:gd name="T10" fmla="*/ 19066861 w 167"/>
                <a:gd name="T11" fmla="*/ 65847926 h 161"/>
                <a:gd name="T12" fmla="*/ 21980905 w 167"/>
                <a:gd name="T13" fmla="*/ 75690425 h 161"/>
                <a:gd name="T14" fmla="*/ 24004099 w 167"/>
                <a:gd name="T15" fmla="*/ 78415639 h 161"/>
                <a:gd name="T16" fmla="*/ 32405741 w 167"/>
                <a:gd name="T17" fmla="*/ 86211455 h 161"/>
                <a:gd name="T18" fmla="*/ 33638235 w 167"/>
                <a:gd name="T19" fmla="*/ 89999682 h 161"/>
                <a:gd name="T20" fmla="*/ 35688639 w 167"/>
                <a:gd name="T21" fmla="*/ 102619533 h 161"/>
                <a:gd name="T22" fmla="*/ 37407735 w 167"/>
                <a:gd name="T23" fmla="*/ 107426132 h 161"/>
                <a:gd name="T24" fmla="*/ 43075609 w 167"/>
                <a:gd name="T25" fmla="*/ 115172366 h 161"/>
                <a:gd name="T26" fmla="*/ 46999685 w 167"/>
                <a:gd name="T27" fmla="*/ 116068364 h 161"/>
                <a:gd name="T28" fmla="*/ 49882550 w 167"/>
                <a:gd name="T29" fmla="*/ 122980998 h 161"/>
                <a:gd name="T30" fmla="*/ 55559346 w 167"/>
                <a:gd name="T31" fmla="*/ 130449996 h 161"/>
                <a:gd name="T32" fmla="*/ 59692246 w 167"/>
                <a:gd name="T33" fmla="*/ 137290236 h 161"/>
                <a:gd name="T34" fmla="*/ 63309896 w 167"/>
                <a:gd name="T35" fmla="*/ 144235281 h 161"/>
                <a:gd name="T36" fmla="*/ 65329722 w 167"/>
                <a:gd name="T37" fmla="*/ 149930836 h 161"/>
                <a:gd name="T38" fmla="*/ 67456420 w 167"/>
                <a:gd name="T39" fmla="*/ 148031384 h 161"/>
                <a:gd name="T40" fmla="*/ 70114073 w 167"/>
                <a:gd name="T41" fmla="*/ 141461791 h 161"/>
                <a:gd name="T42" fmla="*/ 80779902 w 167"/>
                <a:gd name="T43" fmla="*/ 141461791 h 161"/>
                <a:gd name="T44" fmla="*/ 91240974 w 167"/>
                <a:gd name="T45" fmla="*/ 147156135 h 161"/>
                <a:gd name="T46" fmla="*/ 97735737 w 167"/>
                <a:gd name="T47" fmla="*/ 150808054 h 161"/>
                <a:gd name="T48" fmla="*/ 120096948 w 167"/>
                <a:gd name="T49" fmla="*/ 129546956 h 161"/>
                <a:gd name="T50" fmla="*/ 123646743 w 167"/>
                <a:gd name="T51" fmla="*/ 128688442 h 161"/>
                <a:gd name="T52" fmla="*/ 133436003 w 167"/>
                <a:gd name="T53" fmla="*/ 125910712 h 161"/>
                <a:gd name="T54" fmla="*/ 139100992 w 167"/>
                <a:gd name="T55" fmla="*/ 122980998 h 161"/>
                <a:gd name="T56" fmla="*/ 147655695 w 167"/>
                <a:gd name="T57" fmla="*/ 118966121 h 161"/>
                <a:gd name="T58" fmla="*/ 155421951 w 167"/>
                <a:gd name="T59" fmla="*/ 116068364 h 161"/>
                <a:gd name="T60" fmla="*/ 157444653 w 167"/>
                <a:gd name="T61" fmla="*/ 108330990 h 161"/>
                <a:gd name="T62" fmla="*/ 160201194 w 167"/>
                <a:gd name="T63" fmla="*/ 97742962 h 161"/>
                <a:gd name="T64" fmla="*/ 149744928 w 167"/>
                <a:gd name="T65" fmla="*/ 93949813 h 161"/>
                <a:gd name="T66" fmla="*/ 131412772 w 167"/>
                <a:gd name="T67" fmla="*/ 89113680 h 161"/>
                <a:gd name="T68" fmla="*/ 130671629 w 167"/>
                <a:gd name="T69" fmla="*/ 80135979 h 161"/>
                <a:gd name="T70" fmla="*/ 128651727 w 167"/>
                <a:gd name="T71" fmla="*/ 76500966 h 161"/>
                <a:gd name="T72" fmla="*/ 126628723 w 167"/>
                <a:gd name="T73" fmla="*/ 74468613 h 161"/>
                <a:gd name="T74" fmla="*/ 123646743 w 167"/>
                <a:gd name="T75" fmla="*/ 73562884 h 161"/>
                <a:gd name="T76" fmla="*/ 122972055 w 167"/>
                <a:gd name="T77" fmla="*/ 71531024 h 161"/>
                <a:gd name="T78" fmla="*/ 120948748 w 167"/>
                <a:gd name="T79" fmla="*/ 66657558 h 161"/>
                <a:gd name="T80" fmla="*/ 117332498 w 167"/>
                <a:gd name="T81" fmla="*/ 60949848 h 161"/>
                <a:gd name="T82" fmla="*/ 115947094 w 167"/>
                <a:gd name="T83" fmla="*/ 53206379 h 161"/>
                <a:gd name="T84" fmla="*/ 111166905 w 167"/>
                <a:gd name="T85" fmla="*/ 51107576 h 161"/>
                <a:gd name="T86" fmla="*/ 107550125 w 167"/>
                <a:gd name="T87" fmla="*/ 47534489 h 161"/>
                <a:gd name="T88" fmla="*/ 106669413 w 167"/>
                <a:gd name="T89" fmla="*/ 42477234 h 161"/>
                <a:gd name="T90" fmla="*/ 101885364 w 167"/>
                <a:gd name="T91" fmla="*/ 38832272 h 161"/>
                <a:gd name="T92" fmla="*/ 97735737 w 167"/>
                <a:gd name="T93" fmla="*/ 36798329 h 161"/>
                <a:gd name="T94" fmla="*/ 92951461 w 167"/>
                <a:gd name="T95" fmla="*/ 33863239 h 161"/>
                <a:gd name="T96" fmla="*/ 80779902 w 167"/>
                <a:gd name="T97" fmla="*/ 32640821 h 161"/>
                <a:gd name="T98" fmla="*/ 68092280 w 167"/>
                <a:gd name="T99" fmla="*/ 28167646 h 161"/>
                <a:gd name="T100" fmla="*/ 61194059 w 167"/>
                <a:gd name="T101" fmla="*/ 22120700 h 161"/>
                <a:gd name="T102" fmla="*/ 59692246 w 167"/>
                <a:gd name="T103" fmla="*/ 17581818 h 161"/>
                <a:gd name="T104" fmla="*/ 52637160 w 167"/>
                <a:gd name="T105" fmla="*/ 13515844 h 161"/>
                <a:gd name="T106" fmla="*/ 40104340 w 167"/>
                <a:gd name="T107" fmla="*/ 5711422 h 161"/>
                <a:gd name="T108" fmla="*/ 34464887 w 167"/>
                <a:gd name="T109" fmla="*/ 0 h 161"/>
                <a:gd name="T110" fmla="*/ 25871923 w 167"/>
                <a:gd name="T111" fmla="*/ 6934176 h 161"/>
                <a:gd name="T112" fmla="*/ 18211712 w 167"/>
                <a:gd name="T113" fmla="*/ 9843453 h 161"/>
                <a:gd name="T114" fmla="*/ 21089596 w 167"/>
                <a:gd name="T115" fmla="*/ 16409446 h 161"/>
                <a:gd name="T116" fmla="*/ 19066861 w 167"/>
                <a:gd name="T117" fmla="*/ 20356534 h 161"/>
                <a:gd name="T118" fmla="*/ 13339249 w 167"/>
                <a:gd name="T119" fmla="*/ 24152731 h 161"/>
                <a:gd name="T120" fmla="*/ 9786954 w 167"/>
                <a:gd name="T121" fmla="*/ 29054860 h 16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7"/>
                <a:gd name="T184" fmla="*/ 0 h 161"/>
                <a:gd name="T185" fmla="*/ 167 w 167"/>
                <a:gd name="T186" fmla="*/ 161 h 16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7" h="161">
                  <a:moveTo>
                    <a:pt x="2" y="30"/>
                  </a:moveTo>
                  <a:cubicBezTo>
                    <a:pt x="2" y="34"/>
                    <a:pt x="2" y="38"/>
                    <a:pt x="1" y="41"/>
                  </a:cubicBezTo>
                  <a:cubicBezTo>
                    <a:pt x="1" y="42"/>
                    <a:pt x="0" y="44"/>
                    <a:pt x="1" y="44"/>
                  </a:cubicBezTo>
                  <a:cubicBezTo>
                    <a:pt x="2" y="45"/>
                    <a:pt x="4" y="43"/>
                    <a:pt x="6" y="44"/>
                  </a:cubicBezTo>
                  <a:cubicBezTo>
                    <a:pt x="6" y="44"/>
                    <a:pt x="7" y="45"/>
                    <a:pt x="7" y="45"/>
                  </a:cubicBezTo>
                  <a:cubicBezTo>
                    <a:pt x="7" y="46"/>
                    <a:pt x="6" y="48"/>
                    <a:pt x="7" y="48"/>
                  </a:cubicBezTo>
                  <a:cubicBezTo>
                    <a:pt x="9" y="51"/>
                    <a:pt x="10" y="53"/>
                    <a:pt x="11" y="55"/>
                  </a:cubicBezTo>
                  <a:cubicBezTo>
                    <a:pt x="11" y="56"/>
                    <a:pt x="12" y="56"/>
                    <a:pt x="13" y="57"/>
                  </a:cubicBezTo>
                  <a:cubicBezTo>
                    <a:pt x="13" y="58"/>
                    <a:pt x="14" y="59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6" y="62"/>
                    <a:pt x="17" y="64"/>
                    <a:pt x="19" y="66"/>
                  </a:cubicBezTo>
                  <a:cubicBezTo>
                    <a:pt x="19" y="66"/>
                    <a:pt x="19" y="67"/>
                    <a:pt x="20" y="68"/>
                  </a:cubicBezTo>
                  <a:cubicBezTo>
                    <a:pt x="20" y="69"/>
                    <a:pt x="21" y="70"/>
                    <a:pt x="22" y="71"/>
                  </a:cubicBezTo>
                  <a:cubicBezTo>
                    <a:pt x="23" y="73"/>
                    <a:pt x="22" y="76"/>
                    <a:pt x="23" y="78"/>
                  </a:cubicBezTo>
                  <a:cubicBezTo>
                    <a:pt x="23" y="79"/>
                    <a:pt x="24" y="79"/>
                    <a:pt x="24" y="80"/>
                  </a:cubicBezTo>
                  <a:cubicBezTo>
                    <a:pt x="25" y="80"/>
                    <a:pt x="25" y="81"/>
                    <a:pt x="25" y="81"/>
                  </a:cubicBezTo>
                  <a:cubicBezTo>
                    <a:pt x="26" y="82"/>
                    <a:pt x="28" y="82"/>
                    <a:pt x="28" y="82"/>
                  </a:cubicBezTo>
                  <a:cubicBezTo>
                    <a:pt x="30" y="84"/>
                    <a:pt x="32" y="87"/>
                    <a:pt x="34" y="89"/>
                  </a:cubicBezTo>
                  <a:cubicBezTo>
                    <a:pt x="34" y="89"/>
                    <a:pt x="34" y="90"/>
                    <a:pt x="35" y="91"/>
                  </a:cubicBezTo>
                  <a:cubicBezTo>
                    <a:pt x="35" y="91"/>
                    <a:pt x="35" y="92"/>
                    <a:pt x="35" y="93"/>
                  </a:cubicBezTo>
                  <a:cubicBezTo>
                    <a:pt x="36" y="94"/>
                    <a:pt x="36" y="95"/>
                    <a:pt x="36" y="96"/>
                  </a:cubicBezTo>
                  <a:cubicBezTo>
                    <a:pt x="37" y="100"/>
                    <a:pt x="36" y="103"/>
                    <a:pt x="37" y="106"/>
                  </a:cubicBezTo>
                  <a:cubicBezTo>
                    <a:pt x="37" y="107"/>
                    <a:pt x="38" y="109"/>
                    <a:pt x="38" y="110"/>
                  </a:cubicBezTo>
                  <a:cubicBezTo>
                    <a:pt x="38" y="111"/>
                    <a:pt x="39" y="111"/>
                    <a:pt x="39" y="111"/>
                  </a:cubicBezTo>
                  <a:cubicBezTo>
                    <a:pt x="40" y="113"/>
                    <a:pt x="41" y="115"/>
                    <a:pt x="43" y="116"/>
                  </a:cubicBezTo>
                  <a:cubicBezTo>
                    <a:pt x="44" y="116"/>
                    <a:pt x="44" y="118"/>
                    <a:pt x="45" y="119"/>
                  </a:cubicBezTo>
                  <a:cubicBezTo>
                    <a:pt x="46" y="119"/>
                    <a:pt x="46" y="119"/>
                    <a:pt x="47" y="119"/>
                  </a:cubicBezTo>
                  <a:cubicBezTo>
                    <a:pt x="48" y="119"/>
                    <a:pt x="48" y="119"/>
                    <a:pt x="49" y="120"/>
                  </a:cubicBezTo>
                  <a:cubicBezTo>
                    <a:pt x="50" y="122"/>
                    <a:pt x="50" y="123"/>
                    <a:pt x="51" y="125"/>
                  </a:cubicBezTo>
                  <a:cubicBezTo>
                    <a:pt x="52" y="126"/>
                    <a:pt x="52" y="126"/>
                    <a:pt x="52" y="127"/>
                  </a:cubicBezTo>
                  <a:cubicBezTo>
                    <a:pt x="54" y="129"/>
                    <a:pt x="56" y="131"/>
                    <a:pt x="57" y="134"/>
                  </a:cubicBezTo>
                  <a:cubicBezTo>
                    <a:pt x="57" y="135"/>
                    <a:pt x="57" y="135"/>
                    <a:pt x="58" y="135"/>
                  </a:cubicBezTo>
                  <a:cubicBezTo>
                    <a:pt x="58" y="136"/>
                    <a:pt x="58" y="136"/>
                    <a:pt x="58" y="137"/>
                  </a:cubicBezTo>
                  <a:cubicBezTo>
                    <a:pt x="59" y="139"/>
                    <a:pt x="61" y="140"/>
                    <a:pt x="62" y="142"/>
                  </a:cubicBezTo>
                  <a:cubicBezTo>
                    <a:pt x="62" y="144"/>
                    <a:pt x="64" y="145"/>
                    <a:pt x="65" y="146"/>
                  </a:cubicBezTo>
                  <a:cubicBezTo>
                    <a:pt x="65" y="147"/>
                    <a:pt x="66" y="148"/>
                    <a:pt x="66" y="149"/>
                  </a:cubicBezTo>
                  <a:cubicBezTo>
                    <a:pt x="66" y="150"/>
                    <a:pt x="66" y="151"/>
                    <a:pt x="66" y="152"/>
                  </a:cubicBezTo>
                  <a:cubicBezTo>
                    <a:pt x="67" y="153"/>
                    <a:pt x="67" y="154"/>
                    <a:pt x="68" y="155"/>
                  </a:cubicBezTo>
                  <a:cubicBezTo>
                    <a:pt x="69" y="153"/>
                    <a:pt x="69" y="153"/>
                    <a:pt x="69" y="153"/>
                  </a:cubicBezTo>
                  <a:cubicBezTo>
                    <a:pt x="69" y="153"/>
                    <a:pt x="69" y="153"/>
                    <a:pt x="70" y="153"/>
                  </a:cubicBezTo>
                  <a:cubicBezTo>
                    <a:pt x="71" y="151"/>
                    <a:pt x="71" y="149"/>
                    <a:pt x="72" y="147"/>
                  </a:cubicBezTo>
                  <a:cubicBezTo>
                    <a:pt x="72" y="146"/>
                    <a:pt x="72" y="146"/>
                    <a:pt x="73" y="146"/>
                  </a:cubicBezTo>
                  <a:cubicBezTo>
                    <a:pt x="74" y="145"/>
                    <a:pt x="75" y="146"/>
                    <a:pt x="75" y="147"/>
                  </a:cubicBezTo>
                  <a:cubicBezTo>
                    <a:pt x="78" y="147"/>
                    <a:pt x="81" y="146"/>
                    <a:pt x="84" y="146"/>
                  </a:cubicBezTo>
                  <a:cubicBezTo>
                    <a:pt x="86" y="147"/>
                    <a:pt x="88" y="148"/>
                    <a:pt x="90" y="149"/>
                  </a:cubicBezTo>
                  <a:cubicBezTo>
                    <a:pt x="92" y="150"/>
                    <a:pt x="93" y="151"/>
                    <a:pt x="95" y="152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102" y="156"/>
                    <a:pt x="102" y="156"/>
                    <a:pt x="102" y="156"/>
                  </a:cubicBezTo>
                  <a:cubicBezTo>
                    <a:pt x="111" y="137"/>
                    <a:pt x="111" y="137"/>
                    <a:pt x="111" y="137"/>
                  </a:cubicBezTo>
                  <a:cubicBezTo>
                    <a:pt x="116" y="136"/>
                    <a:pt x="121" y="136"/>
                    <a:pt x="125" y="134"/>
                  </a:cubicBezTo>
                  <a:cubicBezTo>
                    <a:pt x="126" y="134"/>
                    <a:pt x="126" y="134"/>
                    <a:pt x="127" y="134"/>
                  </a:cubicBezTo>
                  <a:cubicBezTo>
                    <a:pt x="128" y="133"/>
                    <a:pt x="129" y="133"/>
                    <a:pt x="129" y="133"/>
                  </a:cubicBezTo>
                  <a:cubicBezTo>
                    <a:pt x="131" y="132"/>
                    <a:pt x="132" y="132"/>
                    <a:pt x="134" y="132"/>
                  </a:cubicBezTo>
                  <a:cubicBezTo>
                    <a:pt x="136" y="131"/>
                    <a:pt x="137" y="130"/>
                    <a:pt x="139" y="130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41" y="129"/>
                    <a:pt x="143" y="128"/>
                    <a:pt x="145" y="127"/>
                  </a:cubicBezTo>
                  <a:cubicBezTo>
                    <a:pt x="147" y="127"/>
                    <a:pt x="149" y="127"/>
                    <a:pt x="150" y="126"/>
                  </a:cubicBezTo>
                  <a:cubicBezTo>
                    <a:pt x="152" y="125"/>
                    <a:pt x="153" y="124"/>
                    <a:pt x="154" y="123"/>
                  </a:cubicBezTo>
                  <a:cubicBezTo>
                    <a:pt x="156" y="122"/>
                    <a:pt x="159" y="123"/>
                    <a:pt x="161" y="122"/>
                  </a:cubicBezTo>
                  <a:cubicBezTo>
                    <a:pt x="161" y="122"/>
                    <a:pt x="162" y="121"/>
                    <a:pt x="162" y="120"/>
                  </a:cubicBezTo>
                  <a:cubicBezTo>
                    <a:pt x="163" y="120"/>
                    <a:pt x="162" y="119"/>
                    <a:pt x="162" y="118"/>
                  </a:cubicBezTo>
                  <a:cubicBezTo>
                    <a:pt x="163" y="116"/>
                    <a:pt x="163" y="114"/>
                    <a:pt x="164" y="112"/>
                  </a:cubicBezTo>
                  <a:cubicBezTo>
                    <a:pt x="164" y="110"/>
                    <a:pt x="165" y="109"/>
                    <a:pt x="165" y="108"/>
                  </a:cubicBezTo>
                  <a:cubicBezTo>
                    <a:pt x="166" y="105"/>
                    <a:pt x="167" y="103"/>
                    <a:pt x="167" y="101"/>
                  </a:cubicBezTo>
                  <a:cubicBezTo>
                    <a:pt x="165" y="100"/>
                    <a:pt x="164" y="98"/>
                    <a:pt x="163" y="97"/>
                  </a:cubicBezTo>
                  <a:cubicBezTo>
                    <a:pt x="161" y="98"/>
                    <a:pt x="158" y="98"/>
                    <a:pt x="156" y="97"/>
                  </a:cubicBezTo>
                  <a:cubicBezTo>
                    <a:pt x="154" y="97"/>
                    <a:pt x="153" y="96"/>
                    <a:pt x="151" y="96"/>
                  </a:cubicBezTo>
                  <a:cubicBezTo>
                    <a:pt x="146" y="95"/>
                    <a:pt x="142" y="94"/>
                    <a:pt x="137" y="92"/>
                  </a:cubicBezTo>
                  <a:cubicBezTo>
                    <a:pt x="135" y="90"/>
                    <a:pt x="136" y="87"/>
                    <a:pt x="136" y="84"/>
                  </a:cubicBezTo>
                  <a:cubicBezTo>
                    <a:pt x="136" y="83"/>
                    <a:pt x="136" y="83"/>
                    <a:pt x="136" y="83"/>
                  </a:cubicBezTo>
                  <a:cubicBezTo>
                    <a:pt x="135" y="83"/>
                    <a:pt x="135" y="82"/>
                    <a:pt x="134" y="81"/>
                  </a:cubicBezTo>
                  <a:cubicBezTo>
                    <a:pt x="134" y="80"/>
                    <a:pt x="134" y="80"/>
                    <a:pt x="134" y="79"/>
                  </a:cubicBezTo>
                  <a:cubicBezTo>
                    <a:pt x="133" y="79"/>
                    <a:pt x="133" y="78"/>
                    <a:pt x="133" y="78"/>
                  </a:cubicBezTo>
                  <a:cubicBezTo>
                    <a:pt x="132" y="77"/>
                    <a:pt x="132" y="77"/>
                    <a:pt x="132" y="77"/>
                  </a:cubicBezTo>
                  <a:cubicBezTo>
                    <a:pt x="131" y="76"/>
                    <a:pt x="131" y="76"/>
                    <a:pt x="130" y="76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29" y="75"/>
                    <a:pt x="128" y="75"/>
                    <a:pt x="128" y="74"/>
                  </a:cubicBezTo>
                  <a:cubicBezTo>
                    <a:pt x="128" y="74"/>
                    <a:pt x="128" y="73"/>
                    <a:pt x="127" y="73"/>
                  </a:cubicBezTo>
                  <a:cubicBezTo>
                    <a:pt x="126" y="72"/>
                    <a:pt x="127" y="70"/>
                    <a:pt x="126" y="69"/>
                  </a:cubicBezTo>
                  <a:cubicBezTo>
                    <a:pt x="125" y="69"/>
                    <a:pt x="125" y="68"/>
                    <a:pt x="124" y="68"/>
                  </a:cubicBezTo>
                  <a:cubicBezTo>
                    <a:pt x="123" y="66"/>
                    <a:pt x="123" y="65"/>
                    <a:pt x="122" y="63"/>
                  </a:cubicBezTo>
                  <a:cubicBezTo>
                    <a:pt x="122" y="63"/>
                    <a:pt x="122" y="62"/>
                    <a:pt x="122" y="62"/>
                  </a:cubicBezTo>
                  <a:cubicBezTo>
                    <a:pt x="121" y="59"/>
                    <a:pt x="122" y="57"/>
                    <a:pt x="121" y="55"/>
                  </a:cubicBezTo>
                  <a:cubicBezTo>
                    <a:pt x="120" y="54"/>
                    <a:pt x="120" y="53"/>
                    <a:pt x="119" y="53"/>
                  </a:cubicBezTo>
                  <a:cubicBezTo>
                    <a:pt x="118" y="53"/>
                    <a:pt x="117" y="53"/>
                    <a:pt x="116" y="53"/>
                  </a:cubicBezTo>
                  <a:cubicBezTo>
                    <a:pt x="116" y="52"/>
                    <a:pt x="116" y="50"/>
                    <a:pt x="115" y="50"/>
                  </a:cubicBezTo>
                  <a:cubicBezTo>
                    <a:pt x="115" y="49"/>
                    <a:pt x="113" y="49"/>
                    <a:pt x="112" y="49"/>
                  </a:cubicBezTo>
                  <a:cubicBezTo>
                    <a:pt x="112" y="49"/>
                    <a:pt x="111" y="48"/>
                    <a:pt x="111" y="48"/>
                  </a:cubicBezTo>
                  <a:cubicBezTo>
                    <a:pt x="111" y="46"/>
                    <a:pt x="111" y="45"/>
                    <a:pt x="111" y="44"/>
                  </a:cubicBezTo>
                  <a:cubicBezTo>
                    <a:pt x="110" y="42"/>
                    <a:pt x="109" y="41"/>
                    <a:pt x="108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4" y="41"/>
                    <a:pt x="104" y="42"/>
                    <a:pt x="102" y="41"/>
                  </a:cubicBezTo>
                  <a:cubicBezTo>
                    <a:pt x="101" y="40"/>
                    <a:pt x="102" y="39"/>
                    <a:pt x="102" y="38"/>
                  </a:cubicBezTo>
                  <a:cubicBezTo>
                    <a:pt x="101" y="37"/>
                    <a:pt x="100" y="36"/>
                    <a:pt x="99" y="35"/>
                  </a:cubicBezTo>
                  <a:cubicBezTo>
                    <a:pt x="98" y="35"/>
                    <a:pt x="97" y="35"/>
                    <a:pt x="97" y="35"/>
                  </a:cubicBezTo>
                  <a:cubicBezTo>
                    <a:pt x="96" y="35"/>
                    <a:pt x="96" y="34"/>
                    <a:pt x="95" y="34"/>
                  </a:cubicBezTo>
                  <a:cubicBezTo>
                    <a:pt x="92" y="34"/>
                    <a:pt x="87" y="34"/>
                    <a:pt x="84" y="34"/>
                  </a:cubicBezTo>
                  <a:cubicBezTo>
                    <a:pt x="82" y="33"/>
                    <a:pt x="80" y="33"/>
                    <a:pt x="78" y="32"/>
                  </a:cubicBezTo>
                  <a:cubicBezTo>
                    <a:pt x="75" y="32"/>
                    <a:pt x="73" y="30"/>
                    <a:pt x="71" y="29"/>
                  </a:cubicBezTo>
                  <a:cubicBezTo>
                    <a:pt x="69" y="28"/>
                    <a:pt x="68" y="28"/>
                    <a:pt x="67" y="27"/>
                  </a:cubicBezTo>
                  <a:cubicBezTo>
                    <a:pt x="66" y="26"/>
                    <a:pt x="65" y="25"/>
                    <a:pt x="64" y="23"/>
                  </a:cubicBezTo>
                  <a:cubicBezTo>
                    <a:pt x="64" y="22"/>
                    <a:pt x="64" y="21"/>
                    <a:pt x="63" y="21"/>
                  </a:cubicBezTo>
                  <a:cubicBezTo>
                    <a:pt x="63" y="20"/>
                    <a:pt x="62" y="19"/>
                    <a:pt x="62" y="18"/>
                  </a:cubicBezTo>
                  <a:cubicBezTo>
                    <a:pt x="61" y="17"/>
                    <a:pt x="59" y="17"/>
                    <a:pt x="58" y="16"/>
                  </a:cubicBezTo>
                  <a:cubicBezTo>
                    <a:pt x="57" y="15"/>
                    <a:pt x="56" y="15"/>
                    <a:pt x="55" y="14"/>
                  </a:cubicBezTo>
                  <a:cubicBezTo>
                    <a:pt x="52" y="12"/>
                    <a:pt x="49" y="10"/>
                    <a:pt x="45" y="8"/>
                  </a:cubicBezTo>
                  <a:cubicBezTo>
                    <a:pt x="44" y="7"/>
                    <a:pt x="43" y="6"/>
                    <a:pt x="42" y="6"/>
                  </a:cubicBezTo>
                  <a:cubicBezTo>
                    <a:pt x="40" y="5"/>
                    <a:pt x="38" y="3"/>
                    <a:pt x="36" y="1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"/>
                    <a:pt x="36" y="2"/>
                    <a:pt x="36" y="2"/>
                  </a:cubicBezTo>
                  <a:cubicBezTo>
                    <a:pt x="33" y="4"/>
                    <a:pt x="30" y="5"/>
                    <a:pt x="27" y="7"/>
                  </a:cubicBezTo>
                  <a:cubicBezTo>
                    <a:pt x="26" y="8"/>
                    <a:pt x="24" y="8"/>
                    <a:pt x="22" y="9"/>
                  </a:cubicBezTo>
                  <a:cubicBezTo>
                    <a:pt x="21" y="10"/>
                    <a:pt x="19" y="10"/>
                    <a:pt x="19" y="10"/>
                  </a:cubicBezTo>
                  <a:cubicBezTo>
                    <a:pt x="18" y="11"/>
                    <a:pt x="18" y="12"/>
                    <a:pt x="19" y="13"/>
                  </a:cubicBezTo>
                  <a:cubicBezTo>
                    <a:pt x="19" y="14"/>
                    <a:pt x="20" y="15"/>
                    <a:pt x="22" y="17"/>
                  </a:cubicBezTo>
                  <a:cubicBezTo>
                    <a:pt x="23" y="17"/>
                    <a:pt x="24" y="19"/>
                    <a:pt x="23" y="19"/>
                  </a:cubicBezTo>
                  <a:cubicBezTo>
                    <a:pt x="22" y="20"/>
                    <a:pt x="21" y="20"/>
                    <a:pt x="20" y="21"/>
                  </a:cubicBezTo>
                  <a:cubicBezTo>
                    <a:pt x="19" y="22"/>
                    <a:pt x="18" y="24"/>
                    <a:pt x="17" y="24"/>
                  </a:cubicBezTo>
                  <a:cubicBezTo>
                    <a:pt x="16" y="25"/>
                    <a:pt x="14" y="25"/>
                    <a:pt x="14" y="25"/>
                  </a:cubicBezTo>
                  <a:cubicBezTo>
                    <a:pt x="13" y="26"/>
                    <a:pt x="13" y="27"/>
                    <a:pt x="12" y="27"/>
                  </a:cubicBezTo>
                  <a:cubicBezTo>
                    <a:pt x="12" y="28"/>
                    <a:pt x="11" y="30"/>
                    <a:pt x="10" y="30"/>
                  </a:cubicBezTo>
                  <a:cubicBezTo>
                    <a:pt x="7" y="30"/>
                    <a:pt x="4" y="30"/>
                    <a:pt x="2" y="3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0" name="Freeform 218"/>
            <p:cNvSpPr>
              <a:spLocks/>
            </p:cNvSpPr>
            <p:nvPr/>
          </p:nvSpPr>
          <p:spPr bwMode="auto">
            <a:xfrm>
              <a:off x="7225989" y="4984887"/>
              <a:ext cx="48574" cy="43512"/>
            </a:xfrm>
            <a:custGeom>
              <a:avLst/>
              <a:gdLst>
                <a:gd name="T0" fmla="*/ 2384158 w 36"/>
                <a:gd name="T1" fmla="*/ 34605476 h 40"/>
                <a:gd name="T2" fmla="*/ 11221395 w 36"/>
                <a:gd name="T3" fmla="*/ 34605476 h 40"/>
                <a:gd name="T4" fmla="*/ 13605887 w 36"/>
                <a:gd name="T5" fmla="*/ 31938622 h 40"/>
                <a:gd name="T6" fmla="*/ 15574178 w 36"/>
                <a:gd name="T7" fmla="*/ 30260102 h 40"/>
                <a:gd name="T8" fmla="*/ 19302400 w 36"/>
                <a:gd name="T9" fmla="*/ 29479413 h 40"/>
                <a:gd name="T10" fmla="*/ 22686800 w 36"/>
                <a:gd name="T11" fmla="*/ 26920716 h 40"/>
                <a:gd name="T12" fmla="*/ 25839310 w 36"/>
                <a:gd name="T13" fmla="*/ 25070759 h 40"/>
                <a:gd name="T14" fmla="*/ 25015278 w 36"/>
                <a:gd name="T15" fmla="*/ 23202096 h 40"/>
                <a:gd name="T16" fmla="*/ 21141820 w 36"/>
                <a:gd name="T17" fmla="*/ 19857972 h 40"/>
                <a:gd name="T18" fmla="*/ 21141820 w 36"/>
                <a:gd name="T19" fmla="*/ 17186742 h 40"/>
                <a:gd name="T20" fmla="*/ 25015278 w 36"/>
                <a:gd name="T21" fmla="*/ 16597127 h 40"/>
                <a:gd name="T22" fmla="*/ 30118764 w 36"/>
                <a:gd name="T23" fmla="*/ 14725738 h 40"/>
                <a:gd name="T24" fmla="*/ 40446414 w 36"/>
                <a:gd name="T25" fmla="*/ 10318870 h 40"/>
                <a:gd name="T26" fmla="*/ 40446414 w 36"/>
                <a:gd name="T27" fmla="*/ 9534738 h 40"/>
                <a:gd name="T28" fmla="*/ 40446414 w 36"/>
                <a:gd name="T29" fmla="*/ 8799889 h 40"/>
                <a:gd name="T30" fmla="*/ 37204970 w 36"/>
                <a:gd name="T31" fmla="*/ 7062610 h 40"/>
                <a:gd name="T32" fmla="*/ 37204970 w 36"/>
                <a:gd name="T33" fmla="*/ 0 h 40"/>
                <a:gd name="T34" fmla="*/ 28223420 w 36"/>
                <a:gd name="T35" fmla="*/ 4391010 h 40"/>
                <a:gd name="T36" fmla="*/ 25015278 w 36"/>
                <a:gd name="T37" fmla="*/ 5927927 h 40"/>
                <a:gd name="T38" fmla="*/ 20313258 w 36"/>
                <a:gd name="T39" fmla="*/ 9534738 h 40"/>
                <a:gd name="T40" fmla="*/ 13605887 w 36"/>
                <a:gd name="T41" fmla="*/ 10318870 h 40"/>
                <a:gd name="T42" fmla="*/ 11221395 w 36"/>
                <a:gd name="T43" fmla="*/ 9534738 h 40"/>
                <a:gd name="T44" fmla="*/ 5695489 w 36"/>
                <a:gd name="T45" fmla="*/ 8799889 h 40"/>
                <a:gd name="T46" fmla="*/ 5695489 w 36"/>
                <a:gd name="T47" fmla="*/ 9534738 h 40"/>
                <a:gd name="T48" fmla="*/ 3382358 w 36"/>
                <a:gd name="T49" fmla="*/ 13930621 h 40"/>
                <a:gd name="T50" fmla="*/ 2384158 w 36"/>
                <a:gd name="T51" fmla="*/ 14725738 h 40"/>
                <a:gd name="T52" fmla="*/ 2384158 w 36"/>
                <a:gd name="T53" fmla="*/ 19118601 h 40"/>
                <a:gd name="T54" fmla="*/ 5695489 w 36"/>
                <a:gd name="T55" fmla="*/ 19118601 h 40"/>
                <a:gd name="T56" fmla="*/ 5695489 w 36"/>
                <a:gd name="T57" fmla="*/ 20679738 h 40"/>
                <a:gd name="T58" fmla="*/ 998020 w 36"/>
                <a:gd name="T59" fmla="*/ 34605476 h 40"/>
                <a:gd name="T60" fmla="*/ 2384158 w 36"/>
                <a:gd name="T61" fmla="*/ 34605476 h 4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6"/>
                <a:gd name="T94" fmla="*/ 0 h 40"/>
                <a:gd name="T95" fmla="*/ 36 w 36"/>
                <a:gd name="T96" fmla="*/ 40 h 4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6" h="40">
                  <a:moveTo>
                    <a:pt x="2" y="40"/>
                  </a:moveTo>
                  <a:cubicBezTo>
                    <a:pt x="4" y="40"/>
                    <a:pt x="7" y="40"/>
                    <a:pt x="10" y="40"/>
                  </a:cubicBezTo>
                  <a:cubicBezTo>
                    <a:pt x="11" y="40"/>
                    <a:pt x="12" y="38"/>
                    <a:pt x="12" y="37"/>
                  </a:cubicBezTo>
                  <a:cubicBezTo>
                    <a:pt x="13" y="37"/>
                    <a:pt x="13" y="36"/>
                    <a:pt x="14" y="35"/>
                  </a:cubicBezTo>
                  <a:cubicBezTo>
                    <a:pt x="14" y="35"/>
                    <a:pt x="16" y="35"/>
                    <a:pt x="17" y="34"/>
                  </a:cubicBezTo>
                  <a:cubicBezTo>
                    <a:pt x="18" y="34"/>
                    <a:pt x="19" y="32"/>
                    <a:pt x="20" y="31"/>
                  </a:cubicBezTo>
                  <a:cubicBezTo>
                    <a:pt x="21" y="30"/>
                    <a:pt x="22" y="30"/>
                    <a:pt x="23" y="29"/>
                  </a:cubicBezTo>
                  <a:cubicBezTo>
                    <a:pt x="24" y="29"/>
                    <a:pt x="23" y="27"/>
                    <a:pt x="22" y="27"/>
                  </a:cubicBezTo>
                  <a:cubicBezTo>
                    <a:pt x="20" y="25"/>
                    <a:pt x="19" y="24"/>
                    <a:pt x="19" y="23"/>
                  </a:cubicBezTo>
                  <a:cubicBezTo>
                    <a:pt x="18" y="22"/>
                    <a:pt x="18" y="21"/>
                    <a:pt x="19" y="20"/>
                  </a:cubicBezTo>
                  <a:cubicBezTo>
                    <a:pt x="19" y="20"/>
                    <a:pt x="21" y="20"/>
                    <a:pt x="22" y="19"/>
                  </a:cubicBezTo>
                  <a:cubicBezTo>
                    <a:pt x="24" y="18"/>
                    <a:pt x="26" y="18"/>
                    <a:pt x="27" y="17"/>
                  </a:cubicBezTo>
                  <a:cubicBezTo>
                    <a:pt x="30" y="15"/>
                    <a:pt x="33" y="14"/>
                    <a:pt x="36" y="12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5" y="10"/>
                    <a:pt x="34" y="9"/>
                    <a:pt x="33" y="8"/>
                  </a:cubicBezTo>
                  <a:cubicBezTo>
                    <a:pt x="33" y="5"/>
                    <a:pt x="33" y="3"/>
                    <a:pt x="33" y="0"/>
                  </a:cubicBezTo>
                  <a:cubicBezTo>
                    <a:pt x="30" y="2"/>
                    <a:pt x="27" y="4"/>
                    <a:pt x="25" y="5"/>
                  </a:cubicBezTo>
                  <a:cubicBezTo>
                    <a:pt x="24" y="6"/>
                    <a:pt x="23" y="6"/>
                    <a:pt x="22" y="7"/>
                  </a:cubicBezTo>
                  <a:cubicBezTo>
                    <a:pt x="20" y="8"/>
                    <a:pt x="19" y="9"/>
                    <a:pt x="18" y="11"/>
                  </a:cubicBezTo>
                  <a:cubicBezTo>
                    <a:pt x="16" y="12"/>
                    <a:pt x="14" y="13"/>
                    <a:pt x="12" y="12"/>
                  </a:cubicBezTo>
                  <a:cubicBezTo>
                    <a:pt x="12" y="12"/>
                    <a:pt x="11" y="11"/>
                    <a:pt x="10" y="11"/>
                  </a:cubicBezTo>
                  <a:cubicBezTo>
                    <a:pt x="8" y="10"/>
                    <a:pt x="7" y="10"/>
                    <a:pt x="5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4" y="14"/>
                    <a:pt x="3" y="16"/>
                  </a:cubicBezTo>
                  <a:cubicBezTo>
                    <a:pt x="2" y="16"/>
                    <a:pt x="2" y="17"/>
                    <a:pt x="2" y="17"/>
                  </a:cubicBezTo>
                  <a:cubicBezTo>
                    <a:pt x="2" y="18"/>
                    <a:pt x="0" y="20"/>
                    <a:pt x="2" y="22"/>
                  </a:cubicBezTo>
                  <a:cubicBezTo>
                    <a:pt x="2" y="23"/>
                    <a:pt x="4" y="22"/>
                    <a:pt x="5" y="22"/>
                  </a:cubicBezTo>
                  <a:cubicBezTo>
                    <a:pt x="6" y="23"/>
                    <a:pt x="6" y="24"/>
                    <a:pt x="5" y="24"/>
                  </a:cubicBezTo>
                  <a:cubicBezTo>
                    <a:pt x="4" y="28"/>
                    <a:pt x="3" y="37"/>
                    <a:pt x="1" y="40"/>
                  </a:cubicBezTo>
                  <a:lnTo>
                    <a:pt x="2" y="4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1" name="Freeform 219"/>
            <p:cNvSpPr>
              <a:spLocks/>
            </p:cNvSpPr>
            <p:nvPr/>
          </p:nvSpPr>
          <p:spPr bwMode="auto">
            <a:xfrm>
              <a:off x="7396355" y="5062847"/>
              <a:ext cx="13775" cy="17525"/>
            </a:xfrm>
            <a:custGeom>
              <a:avLst/>
              <a:gdLst>
                <a:gd name="T0" fmla="*/ 3577445 w 10"/>
                <a:gd name="T1" fmla="*/ 14143703 h 16"/>
                <a:gd name="T2" fmla="*/ 6131150 w 10"/>
                <a:gd name="T3" fmla="*/ 15456858 h 16"/>
                <a:gd name="T4" fmla="*/ 7196548 w 10"/>
                <a:gd name="T5" fmla="*/ 16353582 h 16"/>
                <a:gd name="T6" fmla="*/ 7196548 w 10"/>
                <a:gd name="T7" fmla="*/ 15456858 h 16"/>
                <a:gd name="T8" fmla="*/ 11140513 w 10"/>
                <a:gd name="T9" fmla="*/ 13463332 h 16"/>
                <a:gd name="T10" fmla="*/ 11140513 w 10"/>
                <a:gd name="T11" fmla="*/ 11241359 h 16"/>
                <a:gd name="T12" fmla="*/ 8585865 w 10"/>
                <a:gd name="T13" fmla="*/ 7279645 h 16"/>
                <a:gd name="T14" fmla="*/ 7196548 w 10"/>
                <a:gd name="T15" fmla="*/ 2129866 h 16"/>
                <a:gd name="T16" fmla="*/ 3577445 w 10"/>
                <a:gd name="T17" fmla="*/ 896786 h 16"/>
                <a:gd name="T18" fmla="*/ 1064436 w 10"/>
                <a:gd name="T19" fmla="*/ 4351847 h 16"/>
                <a:gd name="T20" fmla="*/ 1064436 w 10"/>
                <a:gd name="T21" fmla="*/ 5955246 h 16"/>
                <a:gd name="T22" fmla="*/ 1064436 w 10"/>
                <a:gd name="T23" fmla="*/ 7279645 h 16"/>
                <a:gd name="T24" fmla="*/ 2554647 w 10"/>
                <a:gd name="T25" fmla="*/ 14143703 h 16"/>
                <a:gd name="T26" fmla="*/ 3577445 w 10"/>
                <a:gd name="T27" fmla="*/ 14143703 h 1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"/>
                <a:gd name="T43" fmla="*/ 0 h 16"/>
                <a:gd name="T44" fmla="*/ 10 w 10"/>
                <a:gd name="T45" fmla="*/ 16 h 1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" h="16">
                  <a:moveTo>
                    <a:pt x="3" y="14"/>
                  </a:moveTo>
                  <a:cubicBezTo>
                    <a:pt x="4" y="14"/>
                    <a:pt x="4" y="14"/>
                    <a:pt x="5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4"/>
                    <a:pt x="8" y="14"/>
                    <a:pt x="9" y="13"/>
                  </a:cubicBezTo>
                  <a:cubicBezTo>
                    <a:pt x="9" y="12"/>
                    <a:pt x="10" y="12"/>
                    <a:pt x="9" y="11"/>
                  </a:cubicBezTo>
                  <a:cubicBezTo>
                    <a:pt x="9" y="9"/>
                    <a:pt x="7" y="9"/>
                    <a:pt x="7" y="7"/>
                  </a:cubicBezTo>
                  <a:cubicBezTo>
                    <a:pt x="6" y="6"/>
                    <a:pt x="7" y="4"/>
                    <a:pt x="6" y="2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2" y="2"/>
                    <a:pt x="1" y="3"/>
                    <a:pt x="1" y="4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1" y="6"/>
                    <a:pt x="1" y="6"/>
                    <a:pt x="1" y="7"/>
                  </a:cubicBezTo>
                  <a:cubicBezTo>
                    <a:pt x="2" y="9"/>
                    <a:pt x="2" y="11"/>
                    <a:pt x="2" y="14"/>
                  </a:cubicBezTo>
                  <a:lnTo>
                    <a:pt x="3" y="1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2" name="Freeform 220"/>
            <p:cNvSpPr>
              <a:spLocks/>
            </p:cNvSpPr>
            <p:nvPr/>
          </p:nvSpPr>
          <p:spPr bwMode="auto">
            <a:xfrm>
              <a:off x="7407954" y="5061035"/>
              <a:ext cx="52198" cy="41096"/>
            </a:xfrm>
            <a:custGeom>
              <a:avLst/>
              <a:gdLst>
                <a:gd name="T0" fmla="*/ 42634369 w 39"/>
                <a:gd name="T1" fmla="*/ 15706817 h 38"/>
                <a:gd name="T2" fmla="*/ 42634369 w 39"/>
                <a:gd name="T3" fmla="*/ 13640503 h 38"/>
                <a:gd name="T4" fmla="*/ 42634369 w 39"/>
                <a:gd name="T5" fmla="*/ 10840510 h 38"/>
                <a:gd name="T6" fmla="*/ 39412955 w 39"/>
                <a:gd name="T7" fmla="*/ 7881242 h 38"/>
                <a:gd name="T8" fmla="*/ 40405117 w 39"/>
                <a:gd name="T9" fmla="*/ 5759327 h 38"/>
                <a:gd name="T10" fmla="*/ 40405117 w 39"/>
                <a:gd name="T11" fmla="*/ 865359 h 38"/>
                <a:gd name="T12" fmla="*/ 38069597 w 39"/>
                <a:gd name="T13" fmla="*/ 865359 h 38"/>
                <a:gd name="T14" fmla="*/ 34823259 w 39"/>
                <a:gd name="T15" fmla="*/ 7008797 h 38"/>
                <a:gd name="T16" fmla="*/ 33870978 w 39"/>
                <a:gd name="T17" fmla="*/ 7881242 h 38"/>
                <a:gd name="T18" fmla="*/ 29417853 w 39"/>
                <a:gd name="T19" fmla="*/ 12773055 h 38"/>
                <a:gd name="T20" fmla="*/ 27490875 w 39"/>
                <a:gd name="T21" fmla="*/ 14822601 h 38"/>
                <a:gd name="T22" fmla="*/ 23877154 w 39"/>
                <a:gd name="T23" fmla="*/ 18666092 h 38"/>
                <a:gd name="T24" fmla="*/ 20559755 w 39"/>
                <a:gd name="T25" fmla="*/ 19416389 h 38"/>
                <a:gd name="T26" fmla="*/ 18871300 w 39"/>
                <a:gd name="T27" fmla="*/ 21466005 h 38"/>
                <a:gd name="T28" fmla="*/ 17480450 w 39"/>
                <a:gd name="T29" fmla="*/ 21466005 h 38"/>
                <a:gd name="T30" fmla="*/ 13281821 w 39"/>
                <a:gd name="T31" fmla="*/ 21466005 h 38"/>
                <a:gd name="T32" fmla="*/ 6350665 w 39"/>
                <a:gd name="T33" fmla="*/ 21466005 h 38"/>
                <a:gd name="T34" fmla="*/ 979497 w 39"/>
                <a:gd name="T35" fmla="*/ 22374834 h 38"/>
                <a:gd name="T36" fmla="*/ 979497 w 39"/>
                <a:gd name="T37" fmla="*/ 23608573 h 38"/>
                <a:gd name="T38" fmla="*/ 2335723 w 39"/>
                <a:gd name="T39" fmla="*/ 31441222 h 38"/>
                <a:gd name="T40" fmla="*/ 17480450 w 39"/>
                <a:gd name="T41" fmla="*/ 35106153 h 38"/>
                <a:gd name="T42" fmla="*/ 22883075 w 39"/>
                <a:gd name="T43" fmla="*/ 36383698 h 38"/>
                <a:gd name="T44" fmla="*/ 30791468 w 39"/>
                <a:gd name="T45" fmla="*/ 36383698 h 38"/>
                <a:gd name="T46" fmla="*/ 30791468 w 39"/>
                <a:gd name="T47" fmla="*/ 36383698 h 38"/>
                <a:gd name="T48" fmla="*/ 31672020 w 39"/>
                <a:gd name="T49" fmla="*/ 34448850 h 38"/>
                <a:gd name="T50" fmla="*/ 31672020 w 39"/>
                <a:gd name="T51" fmla="*/ 33584529 h 38"/>
                <a:gd name="T52" fmla="*/ 34823259 w 39"/>
                <a:gd name="T53" fmla="*/ 26570670 h 38"/>
                <a:gd name="T54" fmla="*/ 36112344 w 39"/>
                <a:gd name="T55" fmla="*/ 15706817 h 38"/>
                <a:gd name="T56" fmla="*/ 41684148 w 39"/>
                <a:gd name="T57" fmla="*/ 15706817 h 38"/>
                <a:gd name="T58" fmla="*/ 42634369 w 39"/>
                <a:gd name="T59" fmla="*/ 15706817 h 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9"/>
                <a:gd name="T91" fmla="*/ 0 h 38"/>
                <a:gd name="T92" fmla="*/ 39 w 39"/>
                <a:gd name="T93" fmla="*/ 38 h 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9" h="38">
                  <a:moveTo>
                    <a:pt x="39" y="16"/>
                  </a:moveTo>
                  <a:cubicBezTo>
                    <a:pt x="39" y="15"/>
                    <a:pt x="39" y="15"/>
                    <a:pt x="39" y="14"/>
                  </a:cubicBezTo>
                  <a:cubicBezTo>
                    <a:pt x="39" y="13"/>
                    <a:pt x="39" y="12"/>
                    <a:pt x="39" y="11"/>
                  </a:cubicBezTo>
                  <a:cubicBezTo>
                    <a:pt x="38" y="9"/>
                    <a:pt x="37" y="9"/>
                    <a:pt x="36" y="8"/>
                  </a:cubicBezTo>
                  <a:cubicBezTo>
                    <a:pt x="36" y="7"/>
                    <a:pt x="37" y="6"/>
                    <a:pt x="37" y="6"/>
                  </a:cubicBezTo>
                  <a:cubicBezTo>
                    <a:pt x="38" y="4"/>
                    <a:pt x="38" y="2"/>
                    <a:pt x="37" y="1"/>
                  </a:cubicBezTo>
                  <a:cubicBezTo>
                    <a:pt x="37" y="0"/>
                    <a:pt x="36" y="0"/>
                    <a:pt x="35" y="1"/>
                  </a:cubicBezTo>
                  <a:cubicBezTo>
                    <a:pt x="35" y="3"/>
                    <a:pt x="34" y="5"/>
                    <a:pt x="32" y="7"/>
                  </a:cubicBezTo>
                  <a:cubicBezTo>
                    <a:pt x="32" y="7"/>
                    <a:pt x="31" y="8"/>
                    <a:pt x="31" y="8"/>
                  </a:cubicBezTo>
                  <a:cubicBezTo>
                    <a:pt x="29" y="10"/>
                    <a:pt x="28" y="12"/>
                    <a:pt x="27" y="13"/>
                  </a:cubicBezTo>
                  <a:cubicBezTo>
                    <a:pt x="26" y="14"/>
                    <a:pt x="26" y="15"/>
                    <a:pt x="25" y="15"/>
                  </a:cubicBezTo>
                  <a:cubicBezTo>
                    <a:pt x="24" y="17"/>
                    <a:pt x="23" y="18"/>
                    <a:pt x="22" y="19"/>
                  </a:cubicBezTo>
                  <a:cubicBezTo>
                    <a:pt x="21" y="20"/>
                    <a:pt x="20" y="20"/>
                    <a:pt x="19" y="20"/>
                  </a:cubicBezTo>
                  <a:cubicBezTo>
                    <a:pt x="18" y="20"/>
                    <a:pt x="18" y="21"/>
                    <a:pt x="17" y="22"/>
                  </a:cubicBezTo>
                  <a:cubicBezTo>
                    <a:pt x="17" y="22"/>
                    <a:pt x="16" y="22"/>
                    <a:pt x="16" y="22"/>
                  </a:cubicBezTo>
                  <a:cubicBezTo>
                    <a:pt x="15" y="22"/>
                    <a:pt x="14" y="22"/>
                    <a:pt x="12" y="22"/>
                  </a:cubicBezTo>
                  <a:cubicBezTo>
                    <a:pt x="10" y="21"/>
                    <a:pt x="8" y="21"/>
                    <a:pt x="6" y="22"/>
                  </a:cubicBezTo>
                  <a:cubicBezTo>
                    <a:pt x="4" y="23"/>
                    <a:pt x="3" y="24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7"/>
                    <a:pt x="0" y="30"/>
                    <a:pt x="2" y="32"/>
                  </a:cubicBezTo>
                  <a:cubicBezTo>
                    <a:pt x="7" y="34"/>
                    <a:pt x="11" y="35"/>
                    <a:pt x="16" y="36"/>
                  </a:cubicBezTo>
                  <a:cubicBezTo>
                    <a:pt x="18" y="36"/>
                    <a:pt x="19" y="37"/>
                    <a:pt x="21" y="37"/>
                  </a:cubicBezTo>
                  <a:cubicBezTo>
                    <a:pt x="23" y="38"/>
                    <a:pt x="26" y="38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6"/>
                    <a:pt x="29" y="36"/>
                    <a:pt x="29" y="35"/>
                  </a:cubicBezTo>
                  <a:cubicBezTo>
                    <a:pt x="29" y="35"/>
                    <a:pt x="29" y="34"/>
                    <a:pt x="29" y="34"/>
                  </a:cubicBezTo>
                  <a:cubicBezTo>
                    <a:pt x="30" y="31"/>
                    <a:pt x="31" y="29"/>
                    <a:pt x="32" y="27"/>
                  </a:cubicBezTo>
                  <a:cubicBezTo>
                    <a:pt x="33" y="23"/>
                    <a:pt x="33" y="20"/>
                    <a:pt x="33" y="16"/>
                  </a:cubicBezTo>
                  <a:cubicBezTo>
                    <a:pt x="35" y="15"/>
                    <a:pt x="37" y="16"/>
                    <a:pt x="38" y="16"/>
                  </a:cubicBezTo>
                  <a:lnTo>
                    <a:pt x="39" y="1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3" name="Freeform 221"/>
            <p:cNvSpPr>
              <a:spLocks/>
            </p:cNvSpPr>
            <p:nvPr/>
          </p:nvSpPr>
          <p:spPr bwMode="auto">
            <a:xfrm>
              <a:off x="7413029" y="5076746"/>
              <a:ext cx="83370" cy="85211"/>
            </a:xfrm>
            <a:custGeom>
              <a:avLst/>
              <a:gdLst>
                <a:gd name="T0" fmla="*/ 9187257 w 62"/>
                <a:gd name="T1" fmla="*/ 71740062 h 78"/>
                <a:gd name="T2" fmla="*/ 10618742 w 62"/>
                <a:gd name="T3" fmla="*/ 70879999 h 78"/>
                <a:gd name="T4" fmla="*/ 15128078 w 62"/>
                <a:gd name="T5" fmla="*/ 68240251 h 78"/>
                <a:gd name="T6" fmla="*/ 15964809 w 62"/>
                <a:gd name="T7" fmla="*/ 67106510 h 78"/>
                <a:gd name="T8" fmla="*/ 19657308 w 62"/>
                <a:gd name="T9" fmla="*/ 67106510 h 78"/>
                <a:gd name="T10" fmla="*/ 23201344 w 62"/>
                <a:gd name="T11" fmla="*/ 68240251 h 78"/>
                <a:gd name="T12" fmla="*/ 23201344 w 62"/>
                <a:gd name="T13" fmla="*/ 62272804 h 78"/>
                <a:gd name="T14" fmla="*/ 25817776 w 62"/>
                <a:gd name="T15" fmla="*/ 60811259 h 78"/>
                <a:gd name="T16" fmla="*/ 25005414 w 62"/>
                <a:gd name="T17" fmla="*/ 61643505 h 78"/>
                <a:gd name="T18" fmla="*/ 30322337 w 62"/>
                <a:gd name="T19" fmla="*/ 60811259 h 78"/>
                <a:gd name="T20" fmla="*/ 33054703 w 62"/>
                <a:gd name="T21" fmla="*/ 56178462 h 78"/>
                <a:gd name="T22" fmla="*/ 35624170 w 62"/>
                <a:gd name="T23" fmla="*/ 53382531 h 78"/>
                <a:gd name="T24" fmla="*/ 39509418 w 62"/>
                <a:gd name="T25" fmla="*/ 52176775 h 78"/>
                <a:gd name="T26" fmla="*/ 40945869 w 62"/>
                <a:gd name="T27" fmla="*/ 50715532 h 78"/>
                <a:gd name="T28" fmla="*/ 40945869 w 62"/>
                <a:gd name="T29" fmla="*/ 47924093 h 78"/>
                <a:gd name="T30" fmla="*/ 42103809 w 62"/>
                <a:gd name="T31" fmla="*/ 42459465 h 78"/>
                <a:gd name="T32" fmla="*/ 42103809 w 62"/>
                <a:gd name="T33" fmla="*/ 41339160 h 78"/>
                <a:gd name="T34" fmla="*/ 42858374 w 62"/>
                <a:gd name="T35" fmla="*/ 37828621 h 78"/>
                <a:gd name="T36" fmla="*/ 44831050 w 62"/>
                <a:gd name="T37" fmla="*/ 39285089 h 78"/>
                <a:gd name="T38" fmla="*/ 47389648 w 62"/>
                <a:gd name="T39" fmla="*/ 35005515 h 78"/>
                <a:gd name="T40" fmla="*/ 47389648 w 62"/>
                <a:gd name="T41" fmla="*/ 35005515 h 78"/>
                <a:gd name="T42" fmla="*/ 52103393 w 62"/>
                <a:gd name="T43" fmla="*/ 26398262 h 78"/>
                <a:gd name="T44" fmla="*/ 54635428 w 62"/>
                <a:gd name="T45" fmla="*/ 22982846 h 78"/>
                <a:gd name="T46" fmla="*/ 55454196 w 62"/>
                <a:gd name="T47" fmla="*/ 20315659 h 78"/>
                <a:gd name="T48" fmla="*/ 53524322 w 62"/>
                <a:gd name="T49" fmla="*/ 18351884 h 78"/>
                <a:gd name="T50" fmla="*/ 52103393 w 62"/>
                <a:gd name="T51" fmla="*/ 18351884 h 78"/>
                <a:gd name="T52" fmla="*/ 49378073 w 62"/>
                <a:gd name="T53" fmla="*/ 14839297 h 78"/>
                <a:gd name="T54" fmla="*/ 48202802 w 62"/>
                <a:gd name="T55" fmla="*/ 13719388 h 78"/>
                <a:gd name="T56" fmla="*/ 47389648 w 62"/>
                <a:gd name="T57" fmla="*/ 12059200 h 78"/>
                <a:gd name="T58" fmla="*/ 46289769 w 62"/>
                <a:gd name="T59" fmla="*/ 10927930 h 78"/>
                <a:gd name="T60" fmla="*/ 40945869 w 62"/>
                <a:gd name="T61" fmla="*/ 10095401 h 78"/>
                <a:gd name="T62" fmla="*/ 40326189 w 62"/>
                <a:gd name="T63" fmla="*/ 9376294 h 78"/>
                <a:gd name="T64" fmla="*/ 35624170 w 62"/>
                <a:gd name="T65" fmla="*/ 9376294 h 78"/>
                <a:gd name="T66" fmla="*/ 34978078 w 62"/>
                <a:gd name="T67" fmla="*/ 8254343 h 78"/>
                <a:gd name="T68" fmla="*/ 32253248 w 62"/>
                <a:gd name="T69" fmla="*/ 4632494 h 78"/>
                <a:gd name="T70" fmla="*/ 31076639 w 62"/>
                <a:gd name="T71" fmla="*/ 832470 h 78"/>
                <a:gd name="T72" fmla="*/ 30322337 w 62"/>
                <a:gd name="T73" fmla="*/ 832470 h 78"/>
                <a:gd name="T74" fmla="*/ 25817776 w 62"/>
                <a:gd name="T75" fmla="*/ 832470 h 78"/>
                <a:gd name="T76" fmla="*/ 25005414 w 62"/>
                <a:gd name="T77" fmla="*/ 10927930 h 78"/>
                <a:gd name="T78" fmla="*/ 22384253 w 62"/>
                <a:gd name="T79" fmla="*/ 17524214 h 78"/>
                <a:gd name="T80" fmla="*/ 22384253 w 62"/>
                <a:gd name="T81" fmla="*/ 18351884 h 78"/>
                <a:gd name="T82" fmla="*/ 21634510 w 62"/>
                <a:gd name="T83" fmla="*/ 20315659 h 78"/>
                <a:gd name="T84" fmla="*/ 21634510 w 62"/>
                <a:gd name="T85" fmla="*/ 20315659 h 78"/>
                <a:gd name="T86" fmla="*/ 25005414 w 62"/>
                <a:gd name="T87" fmla="*/ 23814790 h 78"/>
                <a:gd name="T88" fmla="*/ 23201344 w 62"/>
                <a:gd name="T89" fmla="*/ 30411555 h 78"/>
                <a:gd name="T90" fmla="*/ 22384253 w 62"/>
                <a:gd name="T91" fmla="*/ 33910385 h 78"/>
                <a:gd name="T92" fmla="*/ 20469694 w 62"/>
                <a:gd name="T93" fmla="*/ 39285089 h 78"/>
                <a:gd name="T94" fmla="*/ 20469694 w 62"/>
                <a:gd name="T95" fmla="*/ 41339160 h 78"/>
                <a:gd name="T96" fmla="*/ 19657308 w 62"/>
                <a:gd name="T97" fmla="*/ 43291597 h 78"/>
                <a:gd name="T98" fmla="*/ 13196932 w 62"/>
                <a:gd name="T99" fmla="*/ 44119239 h 78"/>
                <a:gd name="T100" fmla="*/ 9852626 w 62"/>
                <a:gd name="T101" fmla="*/ 46805449 h 78"/>
                <a:gd name="T102" fmla="*/ 5348066 w 62"/>
                <a:gd name="T103" fmla="*/ 47924093 h 78"/>
                <a:gd name="T104" fmla="*/ 813185 w 62"/>
                <a:gd name="T105" fmla="*/ 50715532 h 78"/>
                <a:gd name="T106" fmla="*/ 813185 w 62"/>
                <a:gd name="T107" fmla="*/ 51399257 h 78"/>
                <a:gd name="T108" fmla="*/ 2596311 w 62"/>
                <a:gd name="T109" fmla="*/ 56178462 h 78"/>
                <a:gd name="T110" fmla="*/ 9187257 w 62"/>
                <a:gd name="T111" fmla="*/ 70879999 h 78"/>
                <a:gd name="T112" fmla="*/ 9187257 w 62"/>
                <a:gd name="T113" fmla="*/ 71740062 h 7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2"/>
                <a:gd name="T172" fmla="*/ 0 h 78"/>
                <a:gd name="T173" fmla="*/ 62 w 62"/>
                <a:gd name="T174" fmla="*/ 78 h 7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2" h="78">
                  <a:moveTo>
                    <a:pt x="10" y="78"/>
                  </a:moveTo>
                  <a:cubicBezTo>
                    <a:pt x="10" y="77"/>
                    <a:pt x="11" y="77"/>
                    <a:pt x="12" y="77"/>
                  </a:cubicBezTo>
                  <a:cubicBezTo>
                    <a:pt x="14" y="76"/>
                    <a:pt x="15" y="75"/>
                    <a:pt x="17" y="74"/>
                  </a:cubicBezTo>
                  <a:cubicBezTo>
                    <a:pt x="18" y="74"/>
                    <a:pt x="18" y="73"/>
                    <a:pt x="18" y="73"/>
                  </a:cubicBezTo>
                  <a:cubicBezTo>
                    <a:pt x="19" y="72"/>
                    <a:pt x="21" y="72"/>
                    <a:pt x="22" y="73"/>
                  </a:cubicBezTo>
                  <a:cubicBezTo>
                    <a:pt x="23" y="73"/>
                    <a:pt x="24" y="74"/>
                    <a:pt x="26" y="74"/>
                  </a:cubicBezTo>
                  <a:cubicBezTo>
                    <a:pt x="26" y="72"/>
                    <a:pt x="26" y="70"/>
                    <a:pt x="26" y="68"/>
                  </a:cubicBezTo>
                  <a:cubicBezTo>
                    <a:pt x="27" y="67"/>
                    <a:pt x="28" y="67"/>
                    <a:pt x="29" y="66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30" y="66"/>
                    <a:pt x="32" y="66"/>
                    <a:pt x="34" y="66"/>
                  </a:cubicBezTo>
                  <a:cubicBezTo>
                    <a:pt x="36" y="64"/>
                    <a:pt x="36" y="63"/>
                    <a:pt x="37" y="61"/>
                  </a:cubicBezTo>
                  <a:cubicBezTo>
                    <a:pt x="38" y="59"/>
                    <a:pt x="39" y="58"/>
                    <a:pt x="40" y="58"/>
                  </a:cubicBezTo>
                  <a:cubicBezTo>
                    <a:pt x="41" y="57"/>
                    <a:pt x="43" y="57"/>
                    <a:pt x="44" y="57"/>
                  </a:cubicBezTo>
                  <a:cubicBezTo>
                    <a:pt x="45" y="56"/>
                    <a:pt x="46" y="56"/>
                    <a:pt x="46" y="55"/>
                  </a:cubicBezTo>
                  <a:cubicBezTo>
                    <a:pt x="46" y="54"/>
                    <a:pt x="47" y="53"/>
                    <a:pt x="46" y="52"/>
                  </a:cubicBezTo>
                  <a:cubicBezTo>
                    <a:pt x="45" y="50"/>
                    <a:pt x="45" y="48"/>
                    <a:pt x="47" y="46"/>
                  </a:cubicBezTo>
                  <a:cubicBezTo>
                    <a:pt x="47" y="46"/>
                    <a:pt x="47" y="45"/>
                    <a:pt x="47" y="45"/>
                  </a:cubicBezTo>
                  <a:cubicBezTo>
                    <a:pt x="48" y="44"/>
                    <a:pt x="48" y="43"/>
                    <a:pt x="48" y="41"/>
                  </a:cubicBezTo>
                  <a:cubicBezTo>
                    <a:pt x="49" y="40"/>
                    <a:pt x="49" y="42"/>
                    <a:pt x="50" y="43"/>
                  </a:cubicBezTo>
                  <a:cubicBezTo>
                    <a:pt x="53" y="43"/>
                    <a:pt x="52" y="40"/>
                    <a:pt x="53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5" y="35"/>
                    <a:pt x="57" y="32"/>
                    <a:pt x="58" y="29"/>
                  </a:cubicBezTo>
                  <a:cubicBezTo>
                    <a:pt x="59" y="27"/>
                    <a:pt x="60" y="26"/>
                    <a:pt x="61" y="25"/>
                  </a:cubicBezTo>
                  <a:cubicBezTo>
                    <a:pt x="61" y="24"/>
                    <a:pt x="62" y="23"/>
                    <a:pt x="62" y="22"/>
                  </a:cubicBezTo>
                  <a:cubicBezTo>
                    <a:pt x="61" y="21"/>
                    <a:pt x="61" y="21"/>
                    <a:pt x="60" y="20"/>
                  </a:cubicBezTo>
                  <a:cubicBezTo>
                    <a:pt x="59" y="20"/>
                    <a:pt x="58" y="20"/>
                    <a:pt x="58" y="20"/>
                  </a:cubicBezTo>
                  <a:cubicBezTo>
                    <a:pt x="56" y="19"/>
                    <a:pt x="56" y="17"/>
                    <a:pt x="55" y="16"/>
                  </a:cubicBezTo>
                  <a:cubicBezTo>
                    <a:pt x="55" y="16"/>
                    <a:pt x="54" y="15"/>
                    <a:pt x="54" y="15"/>
                  </a:cubicBezTo>
                  <a:cubicBezTo>
                    <a:pt x="54" y="14"/>
                    <a:pt x="54" y="13"/>
                    <a:pt x="53" y="13"/>
                  </a:cubicBezTo>
                  <a:cubicBezTo>
                    <a:pt x="53" y="12"/>
                    <a:pt x="52" y="12"/>
                    <a:pt x="52" y="12"/>
                  </a:cubicBezTo>
                  <a:cubicBezTo>
                    <a:pt x="50" y="11"/>
                    <a:pt x="48" y="12"/>
                    <a:pt x="46" y="11"/>
                  </a:cubicBezTo>
                  <a:cubicBezTo>
                    <a:pt x="46" y="11"/>
                    <a:pt x="45" y="10"/>
                    <a:pt x="45" y="10"/>
                  </a:cubicBezTo>
                  <a:cubicBezTo>
                    <a:pt x="43" y="10"/>
                    <a:pt x="42" y="10"/>
                    <a:pt x="40" y="10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8" y="8"/>
                    <a:pt x="37" y="7"/>
                    <a:pt x="36" y="5"/>
                  </a:cubicBezTo>
                  <a:cubicBezTo>
                    <a:pt x="35" y="4"/>
                    <a:pt x="36" y="3"/>
                    <a:pt x="35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3" y="1"/>
                    <a:pt x="31" y="0"/>
                    <a:pt x="29" y="1"/>
                  </a:cubicBezTo>
                  <a:cubicBezTo>
                    <a:pt x="29" y="5"/>
                    <a:pt x="29" y="8"/>
                    <a:pt x="28" y="12"/>
                  </a:cubicBezTo>
                  <a:cubicBezTo>
                    <a:pt x="27" y="14"/>
                    <a:pt x="26" y="16"/>
                    <a:pt x="25" y="19"/>
                  </a:cubicBezTo>
                  <a:cubicBezTo>
                    <a:pt x="25" y="19"/>
                    <a:pt x="25" y="20"/>
                    <a:pt x="25" y="20"/>
                  </a:cubicBezTo>
                  <a:cubicBezTo>
                    <a:pt x="25" y="21"/>
                    <a:pt x="24" y="21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3"/>
                    <a:pt x="26" y="25"/>
                    <a:pt x="28" y="26"/>
                  </a:cubicBezTo>
                  <a:cubicBezTo>
                    <a:pt x="28" y="28"/>
                    <a:pt x="27" y="30"/>
                    <a:pt x="26" y="33"/>
                  </a:cubicBezTo>
                  <a:cubicBezTo>
                    <a:pt x="26" y="34"/>
                    <a:pt x="25" y="35"/>
                    <a:pt x="25" y="37"/>
                  </a:cubicBezTo>
                  <a:cubicBezTo>
                    <a:pt x="24" y="39"/>
                    <a:pt x="24" y="41"/>
                    <a:pt x="23" y="43"/>
                  </a:cubicBezTo>
                  <a:cubicBezTo>
                    <a:pt x="23" y="44"/>
                    <a:pt x="24" y="45"/>
                    <a:pt x="23" y="45"/>
                  </a:cubicBezTo>
                  <a:cubicBezTo>
                    <a:pt x="23" y="46"/>
                    <a:pt x="22" y="47"/>
                    <a:pt x="22" y="47"/>
                  </a:cubicBezTo>
                  <a:cubicBezTo>
                    <a:pt x="20" y="48"/>
                    <a:pt x="17" y="47"/>
                    <a:pt x="15" y="48"/>
                  </a:cubicBezTo>
                  <a:cubicBezTo>
                    <a:pt x="14" y="49"/>
                    <a:pt x="13" y="50"/>
                    <a:pt x="11" y="51"/>
                  </a:cubicBezTo>
                  <a:cubicBezTo>
                    <a:pt x="10" y="52"/>
                    <a:pt x="8" y="52"/>
                    <a:pt x="6" y="52"/>
                  </a:cubicBezTo>
                  <a:cubicBezTo>
                    <a:pt x="4" y="53"/>
                    <a:pt x="2" y="54"/>
                    <a:pt x="1" y="55"/>
                  </a:cubicBezTo>
                  <a:cubicBezTo>
                    <a:pt x="0" y="55"/>
                    <a:pt x="0" y="56"/>
                    <a:pt x="1" y="56"/>
                  </a:cubicBezTo>
                  <a:cubicBezTo>
                    <a:pt x="2" y="58"/>
                    <a:pt x="2" y="59"/>
                    <a:pt x="3" y="61"/>
                  </a:cubicBezTo>
                  <a:cubicBezTo>
                    <a:pt x="5" y="67"/>
                    <a:pt x="7" y="72"/>
                    <a:pt x="10" y="77"/>
                  </a:cubicBezTo>
                  <a:lnTo>
                    <a:pt x="10" y="7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4" name="Freeform 223"/>
            <p:cNvSpPr>
              <a:spLocks/>
            </p:cNvSpPr>
            <p:nvPr/>
          </p:nvSpPr>
          <p:spPr bwMode="auto">
            <a:xfrm>
              <a:off x="7791459" y="5057407"/>
              <a:ext cx="51473" cy="54391"/>
            </a:xfrm>
            <a:custGeom>
              <a:avLst/>
              <a:gdLst>
                <a:gd name="T0" fmla="*/ 26919051 w 38"/>
                <a:gd name="T1" fmla="*/ 45582442 h 50"/>
                <a:gd name="T2" fmla="*/ 26919051 w 38"/>
                <a:gd name="T3" fmla="*/ 43525467 h 50"/>
                <a:gd name="T4" fmla="*/ 25533856 w 38"/>
                <a:gd name="T5" fmla="*/ 36921216 h 50"/>
                <a:gd name="T6" fmla="*/ 25533856 w 38"/>
                <a:gd name="T7" fmla="*/ 36058042 h 50"/>
                <a:gd name="T8" fmla="*/ 21390411 w 38"/>
                <a:gd name="T9" fmla="*/ 34087443 h 50"/>
                <a:gd name="T10" fmla="*/ 21390411 w 38"/>
                <a:gd name="T11" fmla="*/ 36921216 h 50"/>
                <a:gd name="T12" fmla="*/ 19587801 w 38"/>
                <a:gd name="T13" fmla="*/ 34087443 h 50"/>
                <a:gd name="T14" fmla="*/ 17170524 w 38"/>
                <a:gd name="T15" fmla="*/ 34087443 h 50"/>
                <a:gd name="T16" fmla="*/ 18252192 w 38"/>
                <a:gd name="T17" fmla="*/ 36921216 h 50"/>
                <a:gd name="T18" fmla="*/ 18252192 w 38"/>
                <a:gd name="T19" fmla="*/ 38894799 h 50"/>
                <a:gd name="T20" fmla="*/ 17170524 w 38"/>
                <a:gd name="T21" fmla="*/ 39573289 h 50"/>
                <a:gd name="T22" fmla="*/ 15689949 w 38"/>
                <a:gd name="T23" fmla="*/ 39573289 h 50"/>
                <a:gd name="T24" fmla="*/ 14680483 w 38"/>
                <a:gd name="T25" fmla="*/ 38894799 h 50"/>
                <a:gd name="T26" fmla="*/ 13027061 w 38"/>
                <a:gd name="T27" fmla="*/ 38894799 h 50"/>
                <a:gd name="T28" fmla="*/ 10458606 w 38"/>
                <a:gd name="T29" fmla="*/ 41551677 h 50"/>
                <a:gd name="T30" fmla="*/ 9132987 w 38"/>
                <a:gd name="T31" fmla="*/ 40715331 h 50"/>
                <a:gd name="T32" fmla="*/ 9132987 w 38"/>
                <a:gd name="T33" fmla="*/ 39573289 h 50"/>
                <a:gd name="T34" fmla="*/ 7331239 w 38"/>
                <a:gd name="T35" fmla="*/ 38894799 h 50"/>
                <a:gd name="T36" fmla="*/ 6699081 w 38"/>
                <a:gd name="T37" fmla="*/ 35226680 h 50"/>
                <a:gd name="T38" fmla="*/ 5562116 w 38"/>
                <a:gd name="T39" fmla="*/ 29733301 h 50"/>
                <a:gd name="T40" fmla="*/ 4907354 w 38"/>
                <a:gd name="T41" fmla="*/ 27916384 h 50"/>
                <a:gd name="T42" fmla="*/ 4221836 w 38"/>
                <a:gd name="T43" fmla="*/ 20413475 h 50"/>
                <a:gd name="T44" fmla="*/ 2374836 w 38"/>
                <a:gd name="T45" fmla="*/ 20413475 h 50"/>
                <a:gd name="T46" fmla="*/ 2374836 w 38"/>
                <a:gd name="T47" fmla="*/ 19578455 h 50"/>
                <a:gd name="T48" fmla="*/ 769642 w 38"/>
                <a:gd name="T49" fmla="*/ 18442993 h 50"/>
                <a:gd name="T50" fmla="*/ 769642 w 38"/>
                <a:gd name="T51" fmla="*/ 16480852 h 50"/>
                <a:gd name="T52" fmla="*/ 2374836 w 38"/>
                <a:gd name="T53" fmla="*/ 15644591 h 50"/>
                <a:gd name="T54" fmla="*/ 2374836 w 38"/>
                <a:gd name="T55" fmla="*/ 9524393 h 50"/>
                <a:gd name="T56" fmla="*/ 769642 w 38"/>
                <a:gd name="T57" fmla="*/ 7460446 h 50"/>
                <a:gd name="T58" fmla="*/ 769642 w 38"/>
                <a:gd name="T59" fmla="*/ 3515237 h 50"/>
                <a:gd name="T60" fmla="*/ 1802582 w 38"/>
                <a:gd name="T61" fmla="*/ 0 h 50"/>
                <a:gd name="T62" fmla="*/ 1802582 w 38"/>
                <a:gd name="T63" fmla="*/ 0 h 50"/>
                <a:gd name="T64" fmla="*/ 4907354 w 38"/>
                <a:gd name="T65" fmla="*/ 3515237 h 50"/>
                <a:gd name="T66" fmla="*/ 5562116 w 38"/>
                <a:gd name="T67" fmla="*/ 3515237 h 50"/>
                <a:gd name="T68" fmla="*/ 5562116 w 38"/>
                <a:gd name="T69" fmla="*/ 2808927 h 50"/>
                <a:gd name="T70" fmla="*/ 9132987 w 38"/>
                <a:gd name="T71" fmla="*/ 5488568 h 50"/>
                <a:gd name="T72" fmla="*/ 9887985 w 38"/>
                <a:gd name="T73" fmla="*/ 9524393 h 50"/>
                <a:gd name="T74" fmla="*/ 11493535 w 38"/>
                <a:gd name="T75" fmla="*/ 10144084 h 50"/>
                <a:gd name="T76" fmla="*/ 16459658 w 38"/>
                <a:gd name="T77" fmla="*/ 12953021 h 50"/>
                <a:gd name="T78" fmla="*/ 17170524 w 38"/>
                <a:gd name="T79" fmla="*/ 12953021 h 50"/>
                <a:gd name="T80" fmla="*/ 23158699 w 38"/>
                <a:gd name="T81" fmla="*/ 13821180 h 50"/>
                <a:gd name="T82" fmla="*/ 24495142 w 38"/>
                <a:gd name="T83" fmla="*/ 13821180 h 50"/>
                <a:gd name="T84" fmla="*/ 26919051 w 38"/>
                <a:gd name="T85" fmla="*/ 13821180 h 50"/>
                <a:gd name="T86" fmla="*/ 27951132 w 38"/>
                <a:gd name="T87" fmla="*/ 17606647 h 50"/>
                <a:gd name="T88" fmla="*/ 26288838 w 38"/>
                <a:gd name="T89" fmla="*/ 18442993 h 50"/>
                <a:gd name="T90" fmla="*/ 20601796 w 38"/>
                <a:gd name="T91" fmla="*/ 25070678 h 50"/>
                <a:gd name="T92" fmla="*/ 20601796 w 38"/>
                <a:gd name="T93" fmla="*/ 27916384 h 50"/>
                <a:gd name="T94" fmla="*/ 23731260 w 38"/>
                <a:gd name="T95" fmla="*/ 30569118 h 50"/>
                <a:gd name="T96" fmla="*/ 24495142 w 38"/>
                <a:gd name="T97" fmla="*/ 30569118 h 50"/>
                <a:gd name="T98" fmla="*/ 25533856 w 38"/>
                <a:gd name="T99" fmla="*/ 28597593 h 50"/>
                <a:gd name="T100" fmla="*/ 25533856 w 38"/>
                <a:gd name="T101" fmla="*/ 26625087 h 50"/>
                <a:gd name="T102" fmla="*/ 26288838 w 38"/>
                <a:gd name="T103" fmla="*/ 25902097 h 50"/>
                <a:gd name="T104" fmla="*/ 28720860 w 38"/>
                <a:gd name="T105" fmla="*/ 27916384 h 50"/>
                <a:gd name="T106" fmla="*/ 29417196 w 38"/>
                <a:gd name="T107" fmla="*/ 32617975 h 50"/>
                <a:gd name="T108" fmla="*/ 30510734 w 38"/>
                <a:gd name="T109" fmla="*/ 34087443 h 50"/>
                <a:gd name="T110" fmla="*/ 30510734 w 38"/>
                <a:gd name="T111" fmla="*/ 41551677 h 50"/>
                <a:gd name="T112" fmla="*/ 31081326 w 38"/>
                <a:gd name="T113" fmla="*/ 41551677 h 50"/>
                <a:gd name="T114" fmla="*/ 31081326 w 38"/>
                <a:gd name="T115" fmla="*/ 41551677 h 50"/>
                <a:gd name="T116" fmla="*/ 30510734 w 38"/>
                <a:gd name="T117" fmla="*/ 45582442 h 50"/>
                <a:gd name="T118" fmla="*/ 27951132 w 38"/>
                <a:gd name="T119" fmla="*/ 45582442 h 50"/>
                <a:gd name="T120" fmla="*/ 26919051 w 38"/>
                <a:gd name="T121" fmla="*/ 45582442 h 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8"/>
                <a:gd name="T184" fmla="*/ 0 h 50"/>
                <a:gd name="T185" fmla="*/ 38 w 38"/>
                <a:gd name="T186" fmla="*/ 50 h 5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8" h="50">
                  <a:moveTo>
                    <a:pt x="33" y="49"/>
                  </a:moveTo>
                  <a:cubicBezTo>
                    <a:pt x="33" y="49"/>
                    <a:pt x="33" y="48"/>
                    <a:pt x="33" y="47"/>
                  </a:cubicBezTo>
                  <a:cubicBezTo>
                    <a:pt x="32" y="45"/>
                    <a:pt x="33" y="42"/>
                    <a:pt x="31" y="40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0" y="37"/>
                    <a:pt x="28" y="36"/>
                    <a:pt x="26" y="37"/>
                  </a:cubicBezTo>
                  <a:cubicBezTo>
                    <a:pt x="26" y="37"/>
                    <a:pt x="26" y="39"/>
                    <a:pt x="26" y="40"/>
                  </a:cubicBezTo>
                  <a:cubicBezTo>
                    <a:pt x="24" y="39"/>
                    <a:pt x="25" y="37"/>
                    <a:pt x="24" y="37"/>
                  </a:cubicBezTo>
                  <a:cubicBezTo>
                    <a:pt x="23" y="36"/>
                    <a:pt x="22" y="36"/>
                    <a:pt x="21" y="37"/>
                  </a:cubicBezTo>
                  <a:cubicBezTo>
                    <a:pt x="20" y="38"/>
                    <a:pt x="21" y="39"/>
                    <a:pt x="22" y="40"/>
                  </a:cubicBezTo>
                  <a:cubicBezTo>
                    <a:pt x="22" y="41"/>
                    <a:pt x="22" y="41"/>
                    <a:pt x="22" y="42"/>
                  </a:cubicBezTo>
                  <a:cubicBezTo>
                    <a:pt x="21" y="42"/>
                    <a:pt x="21" y="42"/>
                    <a:pt x="21" y="43"/>
                  </a:cubicBezTo>
                  <a:cubicBezTo>
                    <a:pt x="20" y="43"/>
                    <a:pt x="19" y="43"/>
                    <a:pt x="19" y="43"/>
                  </a:cubicBezTo>
                  <a:cubicBezTo>
                    <a:pt x="18" y="43"/>
                    <a:pt x="18" y="42"/>
                    <a:pt x="18" y="42"/>
                  </a:cubicBezTo>
                  <a:cubicBezTo>
                    <a:pt x="17" y="42"/>
                    <a:pt x="16" y="42"/>
                    <a:pt x="16" y="42"/>
                  </a:cubicBezTo>
                  <a:cubicBezTo>
                    <a:pt x="16" y="44"/>
                    <a:pt x="15" y="45"/>
                    <a:pt x="13" y="45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3"/>
                    <a:pt x="11" y="43"/>
                  </a:cubicBezTo>
                  <a:cubicBezTo>
                    <a:pt x="10" y="43"/>
                    <a:pt x="10" y="42"/>
                    <a:pt x="9" y="42"/>
                  </a:cubicBezTo>
                  <a:cubicBezTo>
                    <a:pt x="8" y="41"/>
                    <a:pt x="8" y="39"/>
                    <a:pt x="8" y="38"/>
                  </a:cubicBezTo>
                  <a:cubicBezTo>
                    <a:pt x="7" y="36"/>
                    <a:pt x="8" y="34"/>
                    <a:pt x="7" y="32"/>
                  </a:cubicBezTo>
                  <a:cubicBezTo>
                    <a:pt x="7" y="31"/>
                    <a:pt x="6" y="31"/>
                    <a:pt x="6" y="30"/>
                  </a:cubicBezTo>
                  <a:cubicBezTo>
                    <a:pt x="5" y="27"/>
                    <a:pt x="7" y="24"/>
                    <a:pt x="5" y="22"/>
                  </a:cubicBezTo>
                  <a:cubicBezTo>
                    <a:pt x="5" y="22"/>
                    <a:pt x="4" y="22"/>
                    <a:pt x="3" y="22"/>
                  </a:cubicBezTo>
                  <a:cubicBezTo>
                    <a:pt x="3" y="22"/>
                    <a:pt x="3" y="21"/>
                    <a:pt x="3" y="21"/>
                  </a:cubicBezTo>
                  <a:cubicBezTo>
                    <a:pt x="2" y="20"/>
                    <a:pt x="1" y="21"/>
                    <a:pt x="1" y="20"/>
                  </a:cubicBezTo>
                  <a:cubicBezTo>
                    <a:pt x="0" y="20"/>
                    <a:pt x="1" y="19"/>
                    <a:pt x="1" y="18"/>
                  </a:cubicBezTo>
                  <a:cubicBezTo>
                    <a:pt x="2" y="18"/>
                    <a:pt x="3" y="18"/>
                    <a:pt x="3" y="17"/>
                  </a:cubicBezTo>
                  <a:cubicBezTo>
                    <a:pt x="4" y="15"/>
                    <a:pt x="3" y="12"/>
                    <a:pt x="3" y="10"/>
                  </a:cubicBezTo>
                  <a:cubicBezTo>
                    <a:pt x="3" y="9"/>
                    <a:pt x="1" y="9"/>
                    <a:pt x="1" y="8"/>
                  </a:cubicBezTo>
                  <a:cubicBezTo>
                    <a:pt x="1" y="7"/>
                    <a:pt x="0" y="5"/>
                    <a:pt x="1" y="4"/>
                  </a:cubicBezTo>
                  <a:cubicBezTo>
                    <a:pt x="2" y="3"/>
                    <a:pt x="1" y="2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5" y="3"/>
                    <a:pt x="6" y="4"/>
                  </a:cubicBezTo>
                  <a:cubicBezTo>
                    <a:pt x="6" y="5"/>
                    <a:pt x="6" y="4"/>
                    <a:pt x="7" y="4"/>
                  </a:cubicBezTo>
                  <a:cubicBezTo>
                    <a:pt x="7" y="4"/>
                    <a:pt x="7" y="3"/>
                    <a:pt x="7" y="3"/>
                  </a:cubicBezTo>
                  <a:cubicBezTo>
                    <a:pt x="9" y="3"/>
                    <a:pt x="11" y="5"/>
                    <a:pt x="11" y="6"/>
                  </a:cubicBezTo>
                  <a:cubicBezTo>
                    <a:pt x="12" y="7"/>
                    <a:pt x="12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6" y="12"/>
                    <a:pt x="18" y="13"/>
                    <a:pt x="20" y="14"/>
                  </a:cubicBezTo>
                  <a:cubicBezTo>
                    <a:pt x="20" y="15"/>
                    <a:pt x="21" y="15"/>
                    <a:pt x="21" y="14"/>
                  </a:cubicBezTo>
                  <a:cubicBezTo>
                    <a:pt x="23" y="12"/>
                    <a:pt x="26" y="14"/>
                    <a:pt x="28" y="15"/>
                  </a:cubicBezTo>
                  <a:cubicBezTo>
                    <a:pt x="29" y="15"/>
                    <a:pt x="30" y="15"/>
                    <a:pt x="30" y="15"/>
                  </a:cubicBezTo>
                  <a:cubicBezTo>
                    <a:pt x="31" y="14"/>
                    <a:pt x="32" y="14"/>
                    <a:pt x="33" y="15"/>
                  </a:cubicBezTo>
                  <a:cubicBezTo>
                    <a:pt x="35" y="15"/>
                    <a:pt x="36" y="18"/>
                    <a:pt x="34" y="19"/>
                  </a:cubicBezTo>
                  <a:cubicBezTo>
                    <a:pt x="34" y="20"/>
                    <a:pt x="32" y="20"/>
                    <a:pt x="32" y="20"/>
                  </a:cubicBezTo>
                  <a:cubicBezTo>
                    <a:pt x="30" y="23"/>
                    <a:pt x="27" y="25"/>
                    <a:pt x="25" y="27"/>
                  </a:cubicBezTo>
                  <a:cubicBezTo>
                    <a:pt x="24" y="28"/>
                    <a:pt x="25" y="29"/>
                    <a:pt x="25" y="30"/>
                  </a:cubicBezTo>
                  <a:cubicBezTo>
                    <a:pt x="26" y="31"/>
                    <a:pt x="28" y="32"/>
                    <a:pt x="29" y="33"/>
                  </a:cubicBezTo>
                  <a:cubicBezTo>
                    <a:pt x="29" y="33"/>
                    <a:pt x="29" y="33"/>
                    <a:pt x="30" y="33"/>
                  </a:cubicBezTo>
                  <a:cubicBezTo>
                    <a:pt x="30" y="33"/>
                    <a:pt x="31" y="32"/>
                    <a:pt x="31" y="31"/>
                  </a:cubicBezTo>
                  <a:cubicBezTo>
                    <a:pt x="31" y="31"/>
                    <a:pt x="31" y="30"/>
                    <a:pt x="31" y="29"/>
                  </a:cubicBezTo>
                  <a:cubicBezTo>
                    <a:pt x="31" y="29"/>
                    <a:pt x="31" y="28"/>
                    <a:pt x="32" y="28"/>
                  </a:cubicBezTo>
                  <a:cubicBezTo>
                    <a:pt x="33" y="27"/>
                    <a:pt x="35" y="28"/>
                    <a:pt x="35" y="30"/>
                  </a:cubicBezTo>
                  <a:cubicBezTo>
                    <a:pt x="36" y="31"/>
                    <a:pt x="35" y="33"/>
                    <a:pt x="36" y="35"/>
                  </a:cubicBezTo>
                  <a:cubicBezTo>
                    <a:pt x="36" y="36"/>
                    <a:pt x="36" y="37"/>
                    <a:pt x="37" y="37"/>
                  </a:cubicBezTo>
                  <a:cubicBezTo>
                    <a:pt x="37" y="40"/>
                    <a:pt x="36" y="42"/>
                    <a:pt x="37" y="45"/>
                  </a:cubicBezTo>
                  <a:cubicBezTo>
                    <a:pt x="37" y="45"/>
                    <a:pt x="37" y="45"/>
                    <a:pt x="38" y="45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6" y="46"/>
                    <a:pt x="37" y="47"/>
                    <a:pt x="37" y="49"/>
                  </a:cubicBezTo>
                  <a:cubicBezTo>
                    <a:pt x="37" y="50"/>
                    <a:pt x="35" y="49"/>
                    <a:pt x="34" y="49"/>
                  </a:cubicBezTo>
                  <a:lnTo>
                    <a:pt x="33" y="49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5" name="Freeform 224"/>
            <p:cNvSpPr>
              <a:spLocks/>
            </p:cNvSpPr>
            <p:nvPr/>
          </p:nvSpPr>
          <p:spPr bwMode="auto">
            <a:xfrm>
              <a:off x="7703011" y="5018127"/>
              <a:ext cx="88445" cy="44117"/>
            </a:xfrm>
            <a:custGeom>
              <a:avLst/>
              <a:gdLst>
                <a:gd name="T0" fmla="*/ 61811426 w 66"/>
                <a:gd name="T1" fmla="*/ 31975401 h 40"/>
                <a:gd name="T2" fmla="*/ 61811426 w 66"/>
                <a:gd name="T3" fmla="*/ 24547145 h 40"/>
                <a:gd name="T4" fmla="*/ 58931611 w 66"/>
                <a:gd name="T5" fmla="*/ 25484852 h 40"/>
                <a:gd name="T6" fmla="*/ 49435583 w 66"/>
                <a:gd name="T7" fmla="*/ 22349397 h 40"/>
                <a:gd name="T8" fmla="*/ 48586036 w 66"/>
                <a:gd name="T9" fmla="*/ 22349397 h 40"/>
                <a:gd name="T10" fmla="*/ 43839705 w 66"/>
                <a:gd name="T11" fmla="*/ 23798963 h 40"/>
                <a:gd name="T12" fmla="*/ 42630772 w 66"/>
                <a:gd name="T13" fmla="*/ 22349397 h 40"/>
                <a:gd name="T14" fmla="*/ 40962007 w 66"/>
                <a:gd name="T15" fmla="*/ 21639804 h 40"/>
                <a:gd name="T16" fmla="*/ 36149069 w 66"/>
                <a:gd name="T17" fmla="*/ 18521929 h 40"/>
                <a:gd name="T18" fmla="*/ 32133915 w 66"/>
                <a:gd name="T19" fmla="*/ 17289162 h 40"/>
                <a:gd name="T20" fmla="*/ 31262565 w 66"/>
                <a:gd name="T21" fmla="*/ 15581405 h 40"/>
                <a:gd name="T22" fmla="*/ 30553758 w 66"/>
                <a:gd name="T23" fmla="*/ 11242633 h 40"/>
                <a:gd name="T24" fmla="*/ 29407055 w 66"/>
                <a:gd name="T25" fmla="*/ 8176459 h 40"/>
                <a:gd name="T26" fmla="*/ 27670974 w 66"/>
                <a:gd name="T27" fmla="*/ 8176459 h 40"/>
                <a:gd name="T28" fmla="*/ 26510883 w 66"/>
                <a:gd name="T29" fmla="*/ 11242633 h 40"/>
                <a:gd name="T30" fmla="*/ 24442627 w 66"/>
                <a:gd name="T31" fmla="*/ 10335640 h 40"/>
                <a:gd name="T32" fmla="*/ 20043996 w 66"/>
                <a:gd name="T33" fmla="*/ 7279650 h 40"/>
                <a:gd name="T34" fmla="*/ 17330084 w 66"/>
                <a:gd name="T35" fmla="*/ 4351850 h 40"/>
                <a:gd name="T36" fmla="*/ 12441453 w 66"/>
                <a:gd name="T37" fmla="*/ 2129867 h 40"/>
                <a:gd name="T38" fmla="*/ 11216144 w 66"/>
                <a:gd name="T39" fmla="*/ 896786 h 40"/>
                <a:gd name="T40" fmla="*/ 6840533 w 66"/>
                <a:gd name="T41" fmla="*/ 896786 h 40"/>
                <a:gd name="T42" fmla="*/ 6840533 w 66"/>
                <a:gd name="T43" fmla="*/ 896786 h 40"/>
                <a:gd name="T44" fmla="*/ 6840533 w 66"/>
                <a:gd name="T45" fmla="*/ 3065116 h 40"/>
                <a:gd name="T46" fmla="*/ 4745294 w 66"/>
                <a:gd name="T47" fmla="*/ 4351850 h 40"/>
                <a:gd name="T48" fmla="*/ 4745294 w 66"/>
                <a:gd name="T49" fmla="*/ 4351850 h 40"/>
                <a:gd name="T50" fmla="*/ 849380 w 66"/>
                <a:gd name="T51" fmla="*/ 9111496 h 40"/>
                <a:gd name="T52" fmla="*/ 2894072 w 66"/>
                <a:gd name="T53" fmla="*/ 18521929 h 40"/>
                <a:gd name="T54" fmla="*/ 7630663 w 66"/>
                <a:gd name="T55" fmla="*/ 20733999 h 40"/>
                <a:gd name="T56" fmla="*/ 8480158 w 66"/>
                <a:gd name="T57" fmla="*/ 20733999 h 40"/>
                <a:gd name="T58" fmla="*/ 12441453 w 66"/>
                <a:gd name="T59" fmla="*/ 23798963 h 40"/>
                <a:gd name="T60" fmla="*/ 16168527 w 66"/>
                <a:gd name="T61" fmla="*/ 26701250 h 40"/>
                <a:gd name="T62" fmla="*/ 21764401 w 66"/>
                <a:gd name="T63" fmla="*/ 28532717 h 40"/>
                <a:gd name="T64" fmla="*/ 24442627 w 66"/>
                <a:gd name="T65" fmla="*/ 30663471 h 40"/>
                <a:gd name="T66" fmla="*/ 29407055 w 66"/>
                <a:gd name="T67" fmla="*/ 29754340 h 40"/>
                <a:gd name="T68" fmla="*/ 35002574 w 66"/>
                <a:gd name="T69" fmla="*/ 29754340 h 40"/>
                <a:gd name="T70" fmla="*/ 35002574 w 66"/>
                <a:gd name="T71" fmla="*/ 32884513 h 40"/>
                <a:gd name="T72" fmla="*/ 38216494 w 66"/>
                <a:gd name="T73" fmla="*/ 35788852 h 40"/>
                <a:gd name="T74" fmla="*/ 41744238 w 66"/>
                <a:gd name="T75" fmla="*/ 37005820 h 40"/>
                <a:gd name="T76" fmla="*/ 42630772 w 66"/>
                <a:gd name="T77" fmla="*/ 37942938 h 40"/>
                <a:gd name="T78" fmla="*/ 42630772 w 66"/>
                <a:gd name="T79" fmla="*/ 37942938 h 40"/>
                <a:gd name="T80" fmla="*/ 48586036 w 66"/>
                <a:gd name="T81" fmla="*/ 38839757 h 40"/>
                <a:gd name="T82" fmla="*/ 50082122 w 66"/>
                <a:gd name="T83" fmla="*/ 40170146 h 40"/>
                <a:gd name="T84" fmla="*/ 54185658 w 66"/>
                <a:gd name="T85" fmla="*/ 40170146 h 40"/>
                <a:gd name="T86" fmla="*/ 55073742 w 66"/>
                <a:gd name="T87" fmla="*/ 41061739 h 40"/>
                <a:gd name="T88" fmla="*/ 58931611 w 66"/>
                <a:gd name="T89" fmla="*/ 41061739 h 40"/>
                <a:gd name="T90" fmla="*/ 61811426 w 66"/>
                <a:gd name="T91" fmla="*/ 38839757 h 40"/>
                <a:gd name="T92" fmla="*/ 61811426 w 66"/>
                <a:gd name="T93" fmla="*/ 31975401 h 4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6"/>
                <a:gd name="T142" fmla="*/ 0 h 40"/>
                <a:gd name="T143" fmla="*/ 66 w 66"/>
                <a:gd name="T144" fmla="*/ 40 h 4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6" h="40">
                  <a:moveTo>
                    <a:pt x="65" y="31"/>
                  </a:moveTo>
                  <a:cubicBezTo>
                    <a:pt x="65" y="29"/>
                    <a:pt x="66" y="26"/>
                    <a:pt x="65" y="24"/>
                  </a:cubicBezTo>
                  <a:cubicBezTo>
                    <a:pt x="64" y="24"/>
                    <a:pt x="63" y="24"/>
                    <a:pt x="62" y="25"/>
                  </a:cubicBezTo>
                  <a:cubicBezTo>
                    <a:pt x="59" y="25"/>
                    <a:pt x="55" y="25"/>
                    <a:pt x="52" y="22"/>
                  </a:cubicBezTo>
                  <a:cubicBezTo>
                    <a:pt x="52" y="22"/>
                    <a:pt x="51" y="22"/>
                    <a:pt x="51" y="22"/>
                  </a:cubicBezTo>
                  <a:cubicBezTo>
                    <a:pt x="50" y="23"/>
                    <a:pt x="48" y="24"/>
                    <a:pt x="46" y="23"/>
                  </a:cubicBezTo>
                  <a:cubicBezTo>
                    <a:pt x="46" y="23"/>
                    <a:pt x="45" y="22"/>
                    <a:pt x="45" y="22"/>
                  </a:cubicBezTo>
                  <a:cubicBezTo>
                    <a:pt x="44" y="21"/>
                    <a:pt x="43" y="21"/>
                    <a:pt x="43" y="21"/>
                  </a:cubicBezTo>
                  <a:cubicBezTo>
                    <a:pt x="41" y="19"/>
                    <a:pt x="40" y="19"/>
                    <a:pt x="38" y="18"/>
                  </a:cubicBezTo>
                  <a:cubicBezTo>
                    <a:pt x="37" y="17"/>
                    <a:pt x="35" y="17"/>
                    <a:pt x="34" y="17"/>
                  </a:cubicBezTo>
                  <a:cubicBezTo>
                    <a:pt x="33" y="16"/>
                    <a:pt x="33" y="15"/>
                    <a:pt x="33" y="15"/>
                  </a:cubicBezTo>
                  <a:cubicBezTo>
                    <a:pt x="32" y="14"/>
                    <a:pt x="33" y="13"/>
                    <a:pt x="32" y="11"/>
                  </a:cubicBezTo>
                  <a:cubicBezTo>
                    <a:pt x="32" y="10"/>
                    <a:pt x="32" y="9"/>
                    <a:pt x="31" y="8"/>
                  </a:cubicBezTo>
                  <a:cubicBezTo>
                    <a:pt x="30" y="8"/>
                    <a:pt x="30" y="8"/>
                    <a:pt x="29" y="8"/>
                  </a:cubicBezTo>
                  <a:cubicBezTo>
                    <a:pt x="29" y="9"/>
                    <a:pt x="29" y="10"/>
                    <a:pt x="28" y="11"/>
                  </a:cubicBezTo>
                  <a:cubicBezTo>
                    <a:pt x="28" y="11"/>
                    <a:pt x="27" y="11"/>
                    <a:pt x="26" y="10"/>
                  </a:cubicBezTo>
                  <a:cubicBezTo>
                    <a:pt x="25" y="9"/>
                    <a:pt x="24" y="7"/>
                    <a:pt x="21" y="7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5" y="2"/>
                    <a:pt x="13" y="2"/>
                  </a:cubicBezTo>
                  <a:cubicBezTo>
                    <a:pt x="13" y="2"/>
                    <a:pt x="12" y="1"/>
                    <a:pt x="12" y="1"/>
                  </a:cubicBezTo>
                  <a:cubicBezTo>
                    <a:pt x="11" y="0"/>
                    <a:pt x="9" y="0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8" y="2"/>
                    <a:pt x="7" y="3"/>
                  </a:cubicBezTo>
                  <a:cubicBezTo>
                    <a:pt x="7" y="4"/>
                    <a:pt x="5" y="3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6"/>
                    <a:pt x="2" y="8"/>
                    <a:pt x="1" y="9"/>
                  </a:cubicBezTo>
                  <a:cubicBezTo>
                    <a:pt x="1" y="12"/>
                    <a:pt x="0" y="16"/>
                    <a:pt x="3" y="18"/>
                  </a:cubicBezTo>
                  <a:cubicBezTo>
                    <a:pt x="4" y="19"/>
                    <a:pt x="6" y="19"/>
                    <a:pt x="8" y="20"/>
                  </a:cubicBezTo>
                  <a:cubicBezTo>
                    <a:pt x="8" y="20"/>
                    <a:pt x="9" y="20"/>
                    <a:pt x="9" y="20"/>
                  </a:cubicBezTo>
                  <a:cubicBezTo>
                    <a:pt x="10" y="21"/>
                    <a:pt x="11" y="22"/>
                    <a:pt x="13" y="23"/>
                  </a:cubicBezTo>
                  <a:cubicBezTo>
                    <a:pt x="14" y="24"/>
                    <a:pt x="15" y="25"/>
                    <a:pt x="17" y="26"/>
                  </a:cubicBezTo>
                  <a:cubicBezTo>
                    <a:pt x="19" y="26"/>
                    <a:pt x="21" y="27"/>
                    <a:pt x="23" y="28"/>
                  </a:cubicBezTo>
                  <a:cubicBezTo>
                    <a:pt x="24" y="29"/>
                    <a:pt x="25" y="30"/>
                    <a:pt x="26" y="30"/>
                  </a:cubicBezTo>
                  <a:cubicBezTo>
                    <a:pt x="28" y="30"/>
                    <a:pt x="30" y="31"/>
                    <a:pt x="31" y="29"/>
                  </a:cubicBezTo>
                  <a:cubicBezTo>
                    <a:pt x="33" y="28"/>
                    <a:pt x="35" y="28"/>
                    <a:pt x="37" y="29"/>
                  </a:cubicBezTo>
                  <a:cubicBezTo>
                    <a:pt x="38" y="30"/>
                    <a:pt x="37" y="31"/>
                    <a:pt x="37" y="32"/>
                  </a:cubicBezTo>
                  <a:cubicBezTo>
                    <a:pt x="38" y="33"/>
                    <a:pt x="39" y="34"/>
                    <a:pt x="40" y="35"/>
                  </a:cubicBezTo>
                  <a:cubicBezTo>
                    <a:pt x="41" y="36"/>
                    <a:pt x="43" y="35"/>
                    <a:pt x="44" y="36"/>
                  </a:cubicBezTo>
                  <a:cubicBezTo>
                    <a:pt x="44" y="36"/>
                    <a:pt x="44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7" y="38"/>
                    <a:pt x="49" y="37"/>
                    <a:pt x="51" y="38"/>
                  </a:cubicBezTo>
                  <a:cubicBezTo>
                    <a:pt x="52" y="38"/>
                    <a:pt x="52" y="38"/>
                    <a:pt x="53" y="39"/>
                  </a:cubicBezTo>
                  <a:cubicBezTo>
                    <a:pt x="54" y="39"/>
                    <a:pt x="56" y="38"/>
                    <a:pt x="57" y="39"/>
                  </a:cubicBezTo>
                  <a:cubicBezTo>
                    <a:pt x="57" y="39"/>
                    <a:pt x="58" y="39"/>
                    <a:pt x="58" y="40"/>
                  </a:cubicBezTo>
                  <a:cubicBezTo>
                    <a:pt x="59" y="40"/>
                    <a:pt x="61" y="40"/>
                    <a:pt x="62" y="40"/>
                  </a:cubicBezTo>
                  <a:cubicBezTo>
                    <a:pt x="63" y="39"/>
                    <a:pt x="64" y="38"/>
                    <a:pt x="65" y="38"/>
                  </a:cubicBezTo>
                  <a:cubicBezTo>
                    <a:pt x="65" y="35"/>
                    <a:pt x="65" y="33"/>
                    <a:pt x="65" y="3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6" name="Freeform 225"/>
            <p:cNvSpPr>
              <a:spLocks/>
            </p:cNvSpPr>
            <p:nvPr/>
          </p:nvSpPr>
          <p:spPr bwMode="auto">
            <a:xfrm>
              <a:off x="7797257" y="5040487"/>
              <a:ext cx="35524" cy="16923"/>
            </a:xfrm>
            <a:custGeom>
              <a:avLst/>
              <a:gdLst>
                <a:gd name="T0" fmla="*/ 27490878 w 26"/>
                <a:gd name="T1" fmla="*/ 7279645 h 16"/>
                <a:gd name="T2" fmla="*/ 26129511 w 26"/>
                <a:gd name="T3" fmla="*/ 7279645 h 16"/>
                <a:gd name="T4" fmla="*/ 18871302 w 26"/>
                <a:gd name="T5" fmla="*/ 3065115 h 16"/>
                <a:gd name="T6" fmla="*/ 11938254 w 26"/>
                <a:gd name="T7" fmla="*/ 896786 h 16"/>
                <a:gd name="T8" fmla="*/ 7913775 w 26"/>
                <a:gd name="T9" fmla="*/ 896786 h 16"/>
                <a:gd name="T10" fmla="*/ 4595099 w 26"/>
                <a:gd name="T11" fmla="*/ 4351847 h 16"/>
                <a:gd name="T12" fmla="*/ 2335724 w 26"/>
                <a:gd name="T13" fmla="*/ 7279645 h 16"/>
                <a:gd name="T14" fmla="*/ 2335724 w 26"/>
                <a:gd name="T15" fmla="*/ 8176458 h 16"/>
                <a:gd name="T16" fmla="*/ 979497 w 26"/>
                <a:gd name="T17" fmla="*/ 9111496 h 16"/>
                <a:gd name="T18" fmla="*/ 0 w 26"/>
                <a:gd name="T19" fmla="*/ 11241359 h 16"/>
                <a:gd name="T20" fmla="*/ 0 w 26"/>
                <a:gd name="T21" fmla="*/ 12013775 h 16"/>
                <a:gd name="T22" fmla="*/ 0 w 26"/>
                <a:gd name="T23" fmla="*/ 13463332 h 16"/>
                <a:gd name="T24" fmla="*/ 4595099 w 26"/>
                <a:gd name="T25" fmla="*/ 15456858 h 16"/>
                <a:gd name="T26" fmla="*/ 13281841 w 26"/>
                <a:gd name="T27" fmla="*/ 15456858 h 16"/>
                <a:gd name="T28" fmla="*/ 25150083 w 26"/>
                <a:gd name="T29" fmla="*/ 14143703 h 16"/>
                <a:gd name="T30" fmla="*/ 27490878 w 26"/>
                <a:gd name="T31" fmla="*/ 13463332 h 16"/>
                <a:gd name="T32" fmla="*/ 28468131 w 26"/>
                <a:gd name="T33" fmla="*/ 13463332 h 16"/>
                <a:gd name="T34" fmla="*/ 27490878 w 26"/>
                <a:gd name="T35" fmla="*/ 11241359 h 16"/>
                <a:gd name="T36" fmla="*/ 27490878 w 26"/>
                <a:gd name="T37" fmla="*/ 8176458 h 16"/>
                <a:gd name="T38" fmla="*/ 27490878 w 26"/>
                <a:gd name="T39" fmla="*/ 7279645 h 1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6"/>
                <a:gd name="T61" fmla="*/ 0 h 16"/>
                <a:gd name="T62" fmla="*/ 26 w 26"/>
                <a:gd name="T63" fmla="*/ 16 h 1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6" h="16">
                  <a:moveTo>
                    <a:pt x="25" y="7"/>
                  </a:moveTo>
                  <a:cubicBezTo>
                    <a:pt x="24" y="8"/>
                    <a:pt x="24" y="8"/>
                    <a:pt x="24" y="7"/>
                  </a:cubicBezTo>
                  <a:cubicBezTo>
                    <a:pt x="22" y="6"/>
                    <a:pt x="20" y="4"/>
                    <a:pt x="17" y="3"/>
                  </a:cubicBezTo>
                  <a:cubicBezTo>
                    <a:pt x="15" y="3"/>
                    <a:pt x="13" y="2"/>
                    <a:pt x="11" y="1"/>
                  </a:cubicBezTo>
                  <a:cubicBezTo>
                    <a:pt x="10" y="0"/>
                    <a:pt x="8" y="0"/>
                    <a:pt x="7" y="1"/>
                  </a:cubicBezTo>
                  <a:cubicBezTo>
                    <a:pt x="6" y="1"/>
                    <a:pt x="5" y="3"/>
                    <a:pt x="4" y="4"/>
                  </a:cubicBezTo>
                  <a:cubicBezTo>
                    <a:pt x="4" y="5"/>
                    <a:pt x="3" y="5"/>
                    <a:pt x="2" y="7"/>
                  </a:cubicBezTo>
                  <a:cubicBezTo>
                    <a:pt x="2" y="7"/>
                    <a:pt x="2" y="8"/>
                    <a:pt x="2" y="8"/>
                  </a:cubicBezTo>
                  <a:cubicBezTo>
                    <a:pt x="2" y="9"/>
                    <a:pt x="1" y="9"/>
                    <a:pt x="1" y="9"/>
                  </a:cubicBezTo>
                  <a:cubicBezTo>
                    <a:pt x="1" y="10"/>
                    <a:pt x="1" y="11"/>
                    <a:pt x="0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1" y="14"/>
                    <a:pt x="3" y="14"/>
                    <a:pt x="4" y="15"/>
                  </a:cubicBezTo>
                  <a:cubicBezTo>
                    <a:pt x="6" y="16"/>
                    <a:pt x="9" y="15"/>
                    <a:pt x="12" y="15"/>
                  </a:cubicBezTo>
                  <a:cubicBezTo>
                    <a:pt x="15" y="13"/>
                    <a:pt x="19" y="15"/>
                    <a:pt x="23" y="14"/>
                  </a:cubicBezTo>
                  <a:cubicBezTo>
                    <a:pt x="24" y="14"/>
                    <a:pt x="24" y="13"/>
                    <a:pt x="25" y="13"/>
                  </a:cubicBezTo>
                  <a:cubicBezTo>
                    <a:pt x="25" y="13"/>
                    <a:pt x="25" y="13"/>
                    <a:pt x="26" y="13"/>
                  </a:cubicBezTo>
                  <a:cubicBezTo>
                    <a:pt x="26" y="12"/>
                    <a:pt x="26" y="11"/>
                    <a:pt x="25" y="11"/>
                  </a:cubicBezTo>
                  <a:cubicBezTo>
                    <a:pt x="25" y="10"/>
                    <a:pt x="25" y="9"/>
                    <a:pt x="25" y="8"/>
                  </a:cubicBezTo>
                  <a:cubicBezTo>
                    <a:pt x="25" y="8"/>
                    <a:pt x="24" y="8"/>
                    <a:pt x="25" y="7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7" name="Freeform 226"/>
            <p:cNvSpPr>
              <a:spLocks/>
            </p:cNvSpPr>
            <p:nvPr/>
          </p:nvSpPr>
          <p:spPr bwMode="auto">
            <a:xfrm>
              <a:off x="7942250" y="5091855"/>
              <a:ext cx="85546" cy="148064"/>
            </a:xfrm>
            <a:custGeom>
              <a:avLst/>
              <a:gdLst>
                <a:gd name="T0" fmla="*/ 25852440 w 63"/>
                <a:gd name="T1" fmla="*/ 110176769 h 137"/>
                <a:gd name="T2" fmla="*/ 29619462 w 63"/>
                <a:gd name="T3" fmla="*/ 114129269 h 137"/>
                <a:gd name="T4" fmla="*/ 27960198 w 63"/>
                <a:gd name="T5" fmla="*/ 118232282 h 137"/>
                <a:gd name="T6" fmla="*/ 28765555 w 63"/>
                <a:gd name="T7" fmla="*/ 122121709 h 137"/>
                <a:gd name="T8" fmla="*/ 28765555 w 63"/>
                <a:gd name="T9" fmla="*/ 124975123 h 137"/>
                <a:gd name="T10" fmla="*/ 32379944 w 63"/>
                <a:gd name="T11" fmla="*/ 124122668 h 137"/>
                <a:gd name="T12" fmla="*/ 34398775 w 63"/>
                <a:gd name="T13" fmla="*/ 121347566 h 137"/>
                <a:gd name="T14" fmla="*/ 35653837 w 63"/>
                <a:gd name="T15" fmla="*/ 118232282 h 137"/>
                <a:gd name="T16" fmla="*/ 40073990 w 63"/>
                <a:gd name="T17" fmla="*/ 116778603 h 137"/>
                <a:gd name="T18" fmla="*/ 44202017 w 63"/>
                <a:gd name="T19" fmla="*/ 110176769 h 137"/>
                <a:gd name="T20" fmla="*/ 58383521 w 63"/>
                <a:gd name="T21" fmla="*/ 99377540 h 137"/>
                <a:gd name="T22" fmla="*/ 59601178 w 63"/>
                <a:gd name="T23" fmla="*/ 94772364 h 137"/>
                <a:gd name="T24" fmla="*/ 59601178 w 63"/>
                <a:gd name="T25" fmla="*/ 91184642 h 137"/>
                <a:gd name="T26" fmla="*/ 59601178 w 63"/>
                <a:gd name="T27" fmla="*/ 81148239 h 137"/>
                <a:gd name="T28" fmla="*/ 58383521 w 63"/>
                <a:gd name="T29" fmla="*/ 75721785 h 137"/>
                <a:gd name="T30" fmla="*/ 57579660 w 63"/>
                <a:gd name="T31" fmla="*/ 73779071 h 137"/>
                <a:gd name="T32" fmla="*/ 52597706 w 63"/>
                <a:gd name="T33" fmla="*/ 64597915 h 137"/>
                <a:gd name="T34" fmla="*/ 47816463 w 63"/>
                <a:gd name="T35" fmla="*/ 57577209 h 137"/>
                <a:gd name="T36" fmla="*/ 42143150 w 63"/>
                <a:gd name="T37" fmla="*/ 53751231 h 137"/>
                <a:gd name="T38" fmla="*/ 36508387 w 63"/>
                <a:gd name="T39" fmla="*/ 46406639 h 137"/>
                <a:gd name="T40" fmla="*/ 29619462 w 63"/>
                <a:gd name="T41" fmla="*/ 38171840 h 137"/>
                <a:gd name="T42" fmla="*/ 29619462 w 63"/>
                <a:gd name="T43" fmla="*/ 32831959 h 137"/>
                <a:gd name="T44" fmla="*/ 31525772 w 63"/>
                <a:gd name="T45" fmla="*/ 27399130 h 137"/>
                <a:gd name="T46" fmla="*/ 37361954 w 63"/>
                <a:gd name="T47" fmla="*/ 21969960 h 137"/>
                <a:gd name="T48" fmla="*/ 42143150 w 63"/>
                <a:gd name="T49" fmla="*/ 18229636 h 137"/>
                <a:gd name="T50" fmla="*/ 42143150 w 63"/>
                <a:gd name="T51" fmla="*/ 15426365 h 137"/>
                <a:gd name="T52" fmla="*/ 38528751 w 63"/>
                <a:gd name="T53" fmla="*/ 12800409 h 137"/>
                <a:gd name="T54" fmla="*/ 34398775 w 63"/>
                <a:gd name="T55" fmla="*/ 8192924 h 137"/>
                <a:gd name="T56" fmla="*/ 30872424 w 63"/>
                <a:gd name="T57" fmla="*/ 3475018 h 137"/>
                <a:gd name="T58" fmla="*/ 23092866 w 63"/>
                <a:gd name="T59" fmla="*/ 0 h 137"/>
                <a:gd name="T60" fmla="*/ 19050355 w 63"/>
                <a:gd name="T61" fmla="*/ 3475018 h 137"/>
                <a:gd name="T62" fmla="*/ 14204583 w 63"/>
                <a:gd name="T63" fmla="*/ 5429276 h 137"/>
                <a:gd name="T64" fmla="*/ 11308080 w 63"/>
                <a:gd name="T65" fmla="*/ 5429276 h 137"/>
                <a:gd name="T66" fmla="*/ 6888011 w 63"/>
                <a:gd name="T67" fmla="*/ 6543074 h 137"/>
                <a:gd name="T68" fmla="*/ 0 w 63"/>
                <a:gd name="T69" fmla="*/ 7371293 h 137"/>
                <a:gd name="T70" fmla="*/ 854775 w 63"/>
                <a:gd name="T71" fmla="*/ 8192924 h 137"/>
                <a:gd name="T72" fmla="*/ 4781270 w 63"/>
                <a:gd name="T73" fmla="*/ 11971530 h 137"/>
                <a:gd name="T74" fmla="*/ 6888011 w 63"/>
                <a:gd name="T75" fmla="*/ 13622517 h 137"/>
                <a:gd name="T76" fmla="*/ 7693651 w 63"/>
                <a:gd name="T77" fmla="*/ 19316160 h 137"/>
                <a:gd name="T78" fmla="*/ 8548424 w 63"/>
                <a:gd name="T79" fmla="*/ 20790789 h 137"/>
                <a:gd name="T80" fmla="*/ 19050355 w 63"/>
                <a:gd name="T81" fmla="*/ 21969960 h 137"/>
                <a:gd name="T82" fmla="*/ 21963115 w 63"/>
                <a:gd name="T83" fmla="*/ 28224840 h 137"/>
                <a:gd name="T84" fmla="*/ 17457730 w 63"/>
                <a:gd name="T85" fmla="*/ 31026914 h 137"/>
                <a:gd name="T86" fmla="*/ 16290686 w 63"/>
                <a:gd name="T87" fmla="*/ 33591315 h 137"/>
                <a:gd name="T88" fmla="*/ 23984349 w 63"/>
                <a:gd name="T89" fmla="*/ 38171840 h 137"/>
                <a:gd name="T90" fmla="*/ 32379944 w 63"/>
                <a:gd name="T91" fmla="*/ 50148081 h 137"/>
                <a:gd name="T92" fmla="*/ 37361954 w 63"/>
                <a:gd name="T93" fmla="*/ 55773050 h 137"/>
                <a:gd name="T94" fmla="*/ 41288921 w 63"/>
                <a:gd name="T95" fmla="*/ 61834168 h 137"/>
                <a:gd name="T96" fmla="*/ 45055602 w 63"/>
                <a:gd name="T97" fmla="*/ 66544666 h 137"/>
                <a:gd name="T98" fmla="*/ 46288206 w 63"/>
                <a:gd name="T99" fmla="*/ 71978457 h 137"/>
                <a:gd name="T100" fmla="*/ 46961705 w 63"/>
                <a:gd name="T101" fmla="*/ 83101667 h 137"/>
                <a:gd name="T102" fmla="*/ 46961705 w 63"/>
                <a:gd name="T103" fmla="*/ 92771255 h 137"/>
                <a:gd name="T104" fmla="*/ 44202017 w 63"/>
                <a:gd name="T105" fmla="*/ 94772364 h 137"/>
                <a:gd name="T106" fmla="*/ 39268056 w 63"/>
                <a:gd name="T107" fmla="*/ 96602665 h 137"/>
                <a:gd name="T108" fmla="*/ 35653837 w 63"/>
                <a:gd name="T109" fmla="*/ 98549076 h 137"/>
                <a:gd name="T110" fmla="*/ 36508387 w 63"/>
                <a:gd name="T111" fmla="*/ 101330817 h 137"/>
                <a:gd name="T112" fmla="*/ 38528751 w 63"/>
                <a:gd name="T113" fmla="*/ 104805975 h 137"/>
                <a:gd name="T114" fmla="*/ 29619462 w 63"/>
                <a:gd name="T115" fmla="*/ 106748765 h 137"/>
                <a:gd name="T116" fmla="*/ 25852440 w 63"/>
                <a:gd name="T117" fmla="*/ 108695176 h 13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"/>
                <a:gd name="T178" fmla="*/ 0 h 137"/>
                <a:gd name="T179" fmla="*/ 63 w 63"/>
                <a:gd name="T180" fmla="*/ 137 h 13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" h="137">
                  <a:moveTo>
                    <a:pt x="26" y="120"/>
                  </a:moveTo>
                  <a:cubicBezTo>
                    <a:pt x="26" y="120"/>
                    <a:pt x="27" y="121"/>
                    <a:pt x="27" y="121"/>
                  </a:cubicBezTo>
                  <a:cubicBezTo>
                    <a:pt x="27" y="122"/>
                    <a:pt x="29" y="121"/>
                    <a:pt x="30" y="122"/>
                  </a:cubicBezTo>
                  <a:cubicBezTo>
                    <a:pt x="31" y="123"/>
                    <a:pt x="32" y="124"/>
                    <a:pt x="31" y="125"/>
                  </a:cubicBezTo>
                  <a:cubicBezTo>
                    <a:pt x="31" y="126"/>
                    <a:pt x="29" y="126"/>
                    <a:pt x="29" y="127"/>
                  </a:cubicBezTo>
                  <a:cubicBezTo>
                    <a:pt x="29" y="128"/>
                    <a:pt x="29" y="129"/>
                    <a:pt x="29" y="130"/>
                  </a:cubicBezTo>
                  <a:cubicBezTo>
                    <a:pt x="29" y="131"/>
                    <a:pt x="29" y="132"/>
                    <a:pt x="30" y="133"/>
                  </a:cubicBezTo>
                  <a:cubicBezTo>
                    <a:pt x="30" y="133"/>
                    <a:pt x="30" y="133"/>
                    <a:pt x="30" y="134"/>
                  </a:cubicBezTo>
                  <a:cubicBezTo>
                    <a:pt x="30" y="134"/>
                    <a:pt x="30" y="135"/>
                    <a:pt x="30" y="135"/>
                  </a:cubicBezTo>
                  <a:cubicBezTo>
                    <a:pt x="30" y="136"/>
                    <a:pt x="29" y="136"/>
                    <a:pt x="30" y="137"/>
                  </a:cubicBezTo>
                  <a:cubicBezTo>
                    <a:pt x="30" y="137"/>
                    <a:pt x="31" y="137"/>
                    <a:pt x="31" y="137"/>
                  </a:cubicBezTo>
                  <a:cubicBezTo>
                    <a:pt x="32" y="136"/>
                    <a:pt x="33" y="137"/>
                    <a:pt x="34" y="136"/>
                  </a:cubicBezTo>
                  <a:cubicBezTo>
                    <a:pt x="34" y="136"/>
                    <a:pt x="34" y="136"/>
                    <a:pt x="34" y="136"/>
                  </a:cubicBezTo>
                  <a:cubicBezTo>
                    <a:pt x="35" y="135"/>
                    <a:pt x="35" y="134"/>
                    <a:pt x="36" y="133"/>
                  </a:cubicBezTo>
                  <a:cubicBezTo>
                    <a:pt x="36" y="132"/>
                    <a:pt x="36" y="132"/>
                    <a:pt x="36" y="131"/>
                  </a:cubicBezTo>
                  <a:cubicBezTo>
                    <a:pt x="36" y="131"/>
                    <a:pt x="37" y="130"/>
                    <a:pt x="37" y="130"/>
                  </a:cubicBezTo>
                  <a:cubicBezTo>
                    <a:pt x="39" y="130"/>
                    <a:pt x="40" y="129"/>
                    <a:pt x="41" y="128"/>
                  </a:cubicBezTo>
                  <a:cubicBezTo>
                    <a:pt x="41" y="128"/>
                    <a:pt x="42" y="128"/>
                    <a:pt x="42" y="128"/>
                  </a:cubicBezTo>
                  <a:cubicBezTo>
                    <a:pt x="44" y="127"/>
                    <a:pt x="45" y="125"/>
                    <a:pt x="46" y="125"/>
                  </a:cubicBezTo>
                  <a:cubicBezTo>
                    <a:pt x="47" y="124"/>
                    <a:pt x="46" y="123"/>
                    <a:pt x="46" y="121"/>
                  </a:cubicBezTo>
                  <a:cubicBezTo>
                    <a:pt x="49" y="120"/>
                    <a:pt x="52" y="118"/>
                    <a:pt x="54" y="116"/>
                  </a:cubicBezTo>
                  <a:cubicBezTo>
                    <a:pt x="57" y="115"/>
                    <a:pt x="60" y="112"/>
                    <a:pt x="61" y="109"/>
                  </a:cubicBezTo>
                  <a:cubicBezTo>
                    <a:pt x="62" y="109"/>
                    <a:pt x="62" y="109"/>
                    <a:pt x="62" y="108"/>
                  </a:cubicBezTo>
                  <a:cubicBezTo>
                    <a:pt x="62" y="107"/>
                    <a:pt x="62" y="105"/>
                    <a:pt x="62" y="104"/>
                  </a:cubicBezTo>
                  <a:cubicBezTo>
                    <a:pt x="62" y="104"/>
                    <a:pt x="62" y="103"/>
                    <a:pt x="61" y="103"/>
                  </a:cubicBezTo>
                  <a:cubicBezTo>
                    <a:pt x="61" y="102"/>
                    <a:pt x="61" y="101"/>
                    <a:pt x="62" y="100"/>
                  </a:cubicBezTo>
                  <a:cubicBezTo>
                    <a:pt x="62" y="100"/>
                    <a:pt x="62" y="99"/>
                    <a:pt x="62" y="98"/>
                  </a:cubicBezTo>
                  <a:cubicBezTo>
                    <a:pt x="62" y="95"/>
                    <a:pt x="63" y="92"/>
                    <a:pt x="62" y="89"/>
                  </a:cubicBezTo>
                  <a:cubicBezTo>
                    <a:pt x="62" y="87"/>
                    <a:pt x="62" y="85"/>
                    <a:pt x="62" y="83"/>
                  </a:cubicBezTo>
                  <a:cubicBezTo>
                    <a:pt x="62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2"/>
                  </a:cubicBezTo>
                  <a:cubicBezTo>
                    <a:pt x="61" y="82"/>
                    <a:pt x="61" y="81"/>
                    <a:pt x="60" y="81"/>
                  </a:cubicBezTo>
                  <a:cubicBezTo>
                    <a:pt x="60" y="79"/>
                    <a:pt x="60" y="78"/>
                    <a:pt x="59" y="76"/>
                  </a:cubicBezTo>
                  <a:cubicBezTo>
                    <a:pt x="58" y="74"/>
                    <a:pt x="57" y="73"/>
                    <a:pt x="55" y="71"/>
                  </a:cubicBezTo>
                  <a:cubicBezTo>
                    <a:pt x="54" y="69"/>
                    <a:pt x="53" y="67"/>
                    <a:pt x="52" y="65"/>
                  </a:cubicBezTo>
                  <a:cubicBezTo>
                    <a:pt x="51" y="64"/>
                    <a:pt x="51" y="64"/>
                    <a:pt x="50" y="63"/>
                  </a:cubicBezTo>
                  <a:cubicBezTo>
                    <a:pt x="50" y="63"/>
                    <a:pt x="50" y="63"/>
                    <a:pt x="49" y="63"/>
                  </a:cubicBezTo>
                  <a:cubicBezTo>
                    <a:pt x="47" y="62"/>
                    <a:pt x="46" y="60"/>
                    <a:pt x="44" y="59"/>
                  </a:cubicBezTo>
                  <a:cubicBezTo>
                    <a:pt x="42" y="58"/>
                    <a:pt x="40" y="56"/>
                    <a:pt x="39" y="54"/>
                  </a:cubicBezTo>
                  <a:cubicBezTo>
                    <a:pt x="38" y="53"/>
                    <a:pt x="39" y="52"/>
                    <a:pt x="38" y="51"/>
                  </a:cubicBezTo>
                  <a:cubicBezTo>
                    <a:pt x="38" y="50"/>
                    <a:pt x="37" y="48"/>
                    <a:pt x="36" y="48"/>
                  </a:cubicBezTo>
                  <a:cubicBezTo>
                    <a:pt x="34" y="47"/>
                    <a:pt x="32" y="45"/>
                    <a:pt x="31" y="42"/>
                  </a:cubicBezTo>
                  <a:cubicBezTo>
                    <a:pt x="30" y="41"/>
                    <a:pt x="30" y="39"/>
                    <a:pt x="31" y="38"/>
                  </a:cubicBezTo>
                  <a:cubicBezTo>
                    <a:pt x="31" y="37"/>
                    <a:pt x="31" y="36"/>
                    <a:pt x="31" y="36"/>
                  </a:cubicBezTo>
                  <a:cubicBezTo>
                    <a:pt x="31" y="35"/>
                    <a:pt x="31" y="33"/>
                    <a:pt x="31" y="32"/>
                  </a:cubicBezTo>
                  <a:cubicBezTo>
                    <a:pt x="32" y="31"/>
                    <a:pt x="32" y="31"/>
                    <a:pt x="33" y="30"/>
                  </a:cubicBezTo>
                  <a:cubicBezTo>
                    <a:pt x="34" y="30"/>
                    <a:pt x="35" y="29"/>
                    <a:pt x="36" y="28"/>
                  </a:cubicBezTo>
                  <a:cubicBezTo>
                    <a:pt x="37" y="26"/>
                    <a:pt x="37" y="25"/>
                    <a:pt x="39" y="24"/>
                  </a:cubicBezTo>
                  <a:cubicBezTo>
                    <a:pt x="40" y="23"/>
                    <a:pt x="42" y="22"/>
                    <a:pt x="43" y="21"/>
                  </a:cubicBezTo>
                  <a:cubicBezTo>
                    <a:pt x="43" y="21"/>
                    <a:pt x="44" y="21"/>
                    <a:pt x="44" y="20"/>
                  </a:cubicBezTo>
                  <a:cubicBezTo>
                    <a:pt x="45" y="20"/>
                    <a:pt x="45" y="18"/>
                    <a:pt x="46" y="17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1" y="16"/>
                    <a:pt x="41" y="16"/>
                  </a:cubicBezTo>
                  <a:cubicBezTo>
                    <a:pt x="40" y="16"/>
                    <a:pt x="40" y="14"/>
                    <a:pt x="40" y="14"/>
                  </a:cubicBezTo>
                  <a:cubicBezTo>
                    <a:pt x="39" y="12"/>
                    <a:pt x="38" y="13"/>
                    <a:pt x="37" y="12"/>
                  </a:cubicBezTo>
                  <a:cubicBezTo>
                    <a:pt x="36" y="11"/>
                    <a:pt x="36" y="10"/>
                    <a:pt x="36" y="9"/>
                  </a:cubicBezTo>
                  <a:cubicBezTo>
                    <a:pt x="37" y="7"/>
                    <a:pt x="37" y="6"/>
                    <a:pt x="37" y="5"/>
                  </a:cubicBezTo>
                  <a:cubicBezTo>
                    <a:pt x="36" y="3"/>
                    <a:pt x="34" y="4"/>
                    <a:pt x="32" y="4"/>
                  </a:cubicBezTo>
                  <a:cubicBezTo>
                    <a:pt x="31" y="4"/>
                    <a:pt x="29" y="4"/>
                    <a:pt x="28" y="4"/>
                  </a:cubicBezTo>
                  <a:cubicBezTo>
                    <a:pt x="27" y="3"/>
                    <a:pt x="26" y="1"/>
                    <a:pt x="24" y="0"/>
                  </a:cubicBezTo>
                  <a:cubicBezTo>
                    <a:pt x="23" y="0"/>
                    <a:pt x="21" y="0"/>
                    <a:pt x="21" y="1"/>
                  </a:cubicBezTo>
                  <a:cubicBezTo>
                    <a:pt x="21" y="2"/>
                    <a:pt x="21" y="4"/>
                    <a:pt x="20" y="4"/>
                  </a:cubicBezTo>
                  <a:cubicBezTo>
                    <a:pt x="19" y="5"/>
                    <a:pt x="18" y="6"/>
                    <a:pt x="16" y="6"/>
                  </a:cubicBezTo>
                  <a:cubicBezTo>
                    <a:pt x="16" y="6"/>
                    <a:pt x="15" y="6"/>
                    <a:pt x="15" y="6"/>
                  </a:cubicBezTo>
                  <a:cubicBezTo>
                    <a:pt x="15" y="7"/>
                    <a:pt x="14" y="7"/>
                    <a:pt x="13" y="7"/>
                  </a:cubicBezTo>
                  <a:cubicBezTo>
                    <a:pt x="13" y="6"/>
                    <a:pt x="12" y="6"/>
                    <a:pt x="12" y="6"/>
                  </a:cubicBezTo>
                  <a:cubicBezTo>
                    <a:pt x="11" y="5"/>
                    <a:pt x="10" y="6"/>
                    <a:pt x="8" y="6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8"/>
                    <a:pt x="5" y="7"/>
                    <a:pt x="4" y="7"/>
                  </a:cubicBezTo>
                  <a:cubicBezTo>
                    <a:pt x="2" y="6"/>
                    <a:pt x="1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2" y="10"/>
                    <a:pt x="3" y="11"/>
                    <a:pt x="5" y="1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4"/>
                    <a:pt x="5" y="14"/>
                    <a:pt x="6" y="15"/>
                  </a:cubicBezTo>
                  <a:cubicBezTo>
                    <a:pt x="6" y="15"/>
                    <a:pt x="7" y="15"/>
                    <a:pt x="7" y="15"/>
                  </a:cubicBezTo>
                  <a:cubicBezTo>
                    <a:pt x="7" y="17"/>
                    <a:pt x="7" y="18"/>
                    <a:pt x="7" y="19"/>
                  </a:cubicBezTo>
                  <a:cubicBezTo>
                    <a:pt x="7" y="20"/>
                    <a:pt x="7" y="20"/>
                    <a:pt x="8" y="21"/>
                  </a:cubicBezTo>
                  <a:cubicBezTo>
                    <a:pt x="8" y="21"/>
                    <a:pt x="8" y="22"/>
                    <a:pt x="8" y="22"/>
                  </a:cubicBezTo>
                  <a:cubicBezTo>
                    <a:pt x="8" y="23"/>
                    <a:pt x="9" y="23"/>
                    <a:pt x="9" y="23"/>
                  </a:cubicBezTo>
                  <a:cubicBezTo>
                    <a:pt x="12" y="24"/>
                    <a:pt x="16" y="23"/>
                    <a:pt x="19" y="24"/>
                  </a:cubicBezTo>
                  <a:cubicBezTo>
                    <a:pt x="19" y="24"/>
                    <a:pt x="20" y="24"/>
                    <a:pt x="20" y="24"/>
                  </a:cubicBezTo>
                  <a:cubicBezTo>
                    <a:pt x="20" y="26"/>
                    <a:pt x="22" y="26"/>
                    <a:pt x="23" y="27"/>
                  </a:cubicBezTo>
                  <a:cubicBezTo>
                    <a:pt x="24" y="29"/>
                    <a:pt x="23" y="30"/>
                    <a:pt x="23" y="31"/>
                  </a:cubicBezTo>
                  <a:cubicBezTo>
                    <a:pt x="23" y="32"/>
                    <a:pt x="22" y="33"/>
                    <a:pt x="22" y="33"/>
                  </a:cubicBezTo>
                  <a:cubicBezTo>
                    <a:pt x="21" y="34"/>
                    <a:pt x="19" y="33"/>
                    <a:pt x="18" y="34"/>
                  </a:cubicBezTo>
                  <a:cubicBezTo>
                    <a:pt x="18" y="34"/>
                    <a:pt x="17" y="35"/>
                    <a:pt x="17" y="36"/>
                  </a:cubicBezTo>
                  <a:cubicBezTo>
                    <a:pt x="17" y="36"/>
                    <a:pt x="16" y="37"/>
                    <a:pt x="17" y="37"/>
                  </a:cubicBezTo>
                  <a:cubicBezTo>
                    <a:pt x="19" y="39"/>
                    <a:pt x="22" y="39"/>
                    <a:pt x="24" y="41"/>
                  </a:cubicBezTo>
                  <a:cubicBezTo>
                    <a:pt x="24" y="41"/>
                    <a:pt x="24" y="41"/>
                    <a:pt x="25" y="42"/>
                  </a:cubicBezTo>
                  <a:cubicBezTo>
                    <a:pt x="26" y="44"/>
                    <a:pt x="26" y="45"/>
                    <a:pt x="27" y="47"/>
                  </a:cubicBezTo>
                  <a:cubicBezTo>
                    <a:pt x="29" y="50"/>
                    <a:pt x="32" y="52"/>
                    <a:pt x="34" y="55"/>
                  </a:cubicBezTo>
                  <a:cubicBezTo>
                    <a:pt x="36" y="56"/>
                    <a:pt x="37" y="57"/>
                    <a:pt x="38" y="59"/>
                  </a:cubicBezTo>
                  <a:cubicBezTo>
                    <a:pt x="39" y="59"/>
                    <a:pt x="39" y="60"/>
                    <a:pt x="39" y="61"/>
                  </a:cubicBezTo>
                  <a:cubicBezTo>
                    <a:pt x="40" y="63"/>
                    <a:pt x="42" y="64"/>
                    <a:pt x="43" y="65"/>
                  </a:cubicBezTo>
                  <a:cubicBezTo>
                    <a:pt x="43" y="66"/>
                    <a:pt x="43" y="67"/>
                    <a:pt x="43" y="68"/>
                  </a:cubicBezTo>
                  <a:cubicBezTo>
                    <a:pt x="44" y="69"/>
                    <a:pt x="44" y="70"/>
                    <a:pt x="45" y="70"/>
                  </a:cubicBezTo>
                  <a:cubicBezTo>
                    <a:pt x="46" y="71"/>
                    <a:pt x="47" y="72"/>
                    <a:pt x="47" y="73"/>
                  </a:cubicBezTo>
                  <a:cubicBezTo>
                    <a:pt x="48" y="74"/>
                    <a:pt x="47" y="76"/>
                    <a:pt x="47" y="78"/>
                  </a:cubicBezTo>
                  <a:cubicBezTo>
                    <a:pt x="47" y="79"/>
                    <a:pt x="48" y="79"/>
                    <a:pt x="48" y="79"/>
                  </a:cubicBezTo>
                  <a:cubicBezTo>
                    <a:pt x="49" y="82"/>
                    <a:pt x="48" y="84"/>
                    <a:pt x="49" y="87"/>
                  </a:cubicBezTo>
                  <a:cubicBezTo>
                    <a:pt x="49" y="88"/>
                    <a:pt x="49" y="89"/>
                    <a:pt x="49" y="91"/>
                  </a:cubicBezTo>
                  <a:cubicBezTo>
                    <a:pt x="50" y="93"/>
                    <a:pt x="50" y="95"/>
                    <a:pt x="49" y="96"/>
                  </a:cubicBezTo>
                  <a:cubicBezTo>
                    <a:pt x="49" y="98"/>
                    <a:pt x="49" y="100"/>
                    <a:pt x="49" y="102"/>
                  </a:cubicBezTo>
                  <a:cubicBezTo>
                    <a:pt x="49" y="103"/>
                    <a:pt x="48" y="103"/>
                    <a:pt x="48" y="104"/>
                  </a:cubicBezTo>
                  <a:cubicBezTo>
                    <a:pt x="47" y="104"/>
                    <a:pt x="46" y="104"/>
                    <a:pt x="46" y="104"/>
                  </a:cubicBezTo>
                  <a:cubicBezTo>
                    <a:pt x="45" y="104"/>
                    <a:pt x="45" y="105"/>
                    <a:pt x="44" y="105"/>
                  </a:cubicBezTo>
                  <a:cubicBezTo>
                    <a:pt x="43" y="106"/>
                    <a:pt x="42" y="106"/>
                    <a:pt x="41" y="106"/>
                  </a:cubicBezTo>
                  <a:cubicBezTo>
                    <a:pt x="41" y="106"/>
                    <a:pt x="40" y="106"/>
                    <a:pt x="39" y="107"/>
                  </a:cubicBezTo>
                  <a:cubicBezTo>
                    <a:pt x="39" y="107"/>
                    <a:pt x="38" y="107"/>
                    <a:pt x="37" y="108"/>
                  </a:cubicBezTo>
                  <a:cubicBezTo>
                    <a:pt x="37" y="109"/>
                    <a:pt x="37" y="110"/>
                    <a:pt x="37" y="110"/>
                  </a:cubicBezTo>
                  <a:cubicBezTo>
                    <a:pt x="37" y="111"/>
                    <a:pt x="38" y="111"/>
                    <a:pt x="38" y="111"/>
                  </a:cubicBezTo>
                  <a:cubicBezTo>
                    <a:pt x="38" y="112"/>
                    <a:pt x="38" y="113"/>
                    <a:pt x="39" y="113"/>
                  </a:cubicBezTo>
                  <a:cubicBezTo>
                    <a:pt x="39" y="114"/>
                    <a:pt x="39" y="114"/>
                    <a:pt x="40" y="115"/>
                  </a:cubicBezTo>
                  <a:cubicBezTo>
                    <a:pt x="40" y="116"/>
                    <a:pt x="39" y="117"/>
                    <a:pt x="39" y="116"/>
                  </a:cubicBezTo>
                  <a:cubicBezTo>
                    <a:pt x="36" y="115"/>
                    <a:pt x="33" y="115"/>
                    <a:pt x="31" y="117"/>
                  </a:cubicBezTo>
                  <a:cubicBezTo>
                    <a:pt x="30" y="117"/>
                    <a:pt x="29" y="117"/>
                    <a:pt x="28" y="118"/>
                  </a:cubicBezTo>
                  <a:cubicBezTo>
                    <a:pt x="28" y="118"/>
                    <a:pt x="27" y="119"/>
                    <a:pt x="27" y="119"/>
                  </a:cubicBezTo>
                  <a:lnTo>
                    <a:pt x="26" y="12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8" name="Freeform 227"/>
            <p:cNvSpPr>
              <a:spLocks/>
            </p:cNvSpPr>
            <p:nvPr/>
          </p:nvSpPr>
          <p:spPr bwMode="auto">
            <a:xfrm>
              <a:off x="7951674" y="5180088"/>
              <a:ext cx="57995" cy="41699"/>
            </a:xfrm>
            <a:custGeom>
              <a:avLst/>
              <a:gdLst>
                <a:gd name="T0" fmla="*/ 5161223 w 43"/>
                <a:gd name="T1" fmla="*/ 22982846 h 39"/>
                <a:gd name="T2" fmla="*/ 5161223 w 43"/>
                <a:gd name="T3" fmla="*/ 25778701 h 39"/>
                <a:gd name="T4" fmla="*/ 5893195 w 43"/>
                <a:gd name="T5" fmla="*/ 25778701 h 39"/>
                <a:gd name="T6" fmla="*/ 8402175 w 43"/>
                <a:gd name="T7" fmla="*/ 31243763 h 39"/>
                <a:gd name="T8" fmla="*/ 10262278 w 43"/>
                <a:gd name="T9" fmla="*/ 30411555 h 39"/>
                <a:gd name="T10" fmla="*/ 10262278 w 43"/>
                <a:gd name="T11" fmla="*/ 33196125 h 39"/>
                <a:gd name="T12" fmla="*/ 13842148 w 43"/>
                <a:gd name="T13" fmla="*/ 33196125 h 39"/>
                <a:gd name="T14" fmla="*/ 15426147 w 43"/>
                <a:gd name="T15" fmla="*/ 35005515 h 39"/>
                <a:gd name="T16" fmla="*/ 16494699 w 43"/>
                <a:gd name="T17" fmla="*/ 35874560 h 39"/>
                <a:gd name="T18" fmla="*/ 17081927 w 43"/>
                <a:gd name="T19" fmla="*/ 35005515 h 39"/>
                <a:gd name="T20" fmla="*/ 17874011 w 43"/>
                <a:gd name="T21" fmla="*/ 33910385 h 39"/>
                <a:gd name="T22" fmla="*/ 20531245 w 43"/>
                <a:gd name="T23" fmla="*/ 33196125 h 39"/>
                <a:gd name="T24" fmla="*/ 27351777 w 43"/>
                <a:gd name="T25" fmla="*/ 32363672 h 39"/>
                <a:gd name="T26" fmla="*/ 28474633 w 43"/>
                <a:gd name="T27" fmla="*/ 31243763 h 39"/>
                <a:gd name="T28" fmla="*/ 27351777 w 43"/>
                <a:gd name="T29" fmla="*/ 29280663 h 39"/>
                <a:gd name="T30" fmla="*/ 26613378 w 43"/>
                <a:gd name="T31" fmla="*/ 27583618 h 39"/>
                <a:gd name="T32" fmla="*/ 25490446 w 43"/>
                <a:gd name="T33" fmla="*/ 26398262 h 39"/>
                <a:gd name="T34" fmla="*/ 25490446 w 43"/>
                <a:gd name="T35" fmla="*/ 24946606 h 39"/>
                <a:gd name="T36" fmla="*/ 27351777 w 43"/>
                <a:gd name="T37" fmla="*/ 23814790 h 39"/>
                <a:gd name="T38" fmla="*/ 29266792 w 43"/>
                <a:gd name="T39" fmla="*/ 22982846 h 39"/>
                <a:gd name="T40" fmla="*/ 31720857 w 43"/>
                <a:gd name="T41" fmla="*/ 22118424 h 39"/>
                <a:gd name="T42" fmla="*/ 33580966 w 43"/>
                <a:gd name="T43" fmla="*/ 21019765 h 39"/>
                <a:gd name="T44" fmla="*/ 34971703 w 43"/>
                <a:gd name="T45" fmla="*/ 21019765 h 39"/>
                <a:gd name="T46" fmla="*/ 36233498 w 43"/>
                <a:gd name="T47" fmla="*/ 19471774 h 39"/>
                <a:gd name="T48" fmla="*/ 36233498 w 43"/>
                <a:gd name="T49" fmla="*/ 13719388 h 39"/>
                <a:gd name="T50" fmla="*/ 36233498 w 43"/>
                <a:gd name="T51" fmla="*/ 9376294 h 39"/>
                <a:gd name="T52" fmla="*/ 36233498 w 43"/>
                <a:gd name="T53" fmla="*/ 5465031 h 39"/>
                <a:gd name="T54" fmla="*/ 34971703 w 43"/>
                <a:gd name="T55" fmla="*/ 2796248 h 39"/>
                <a:gd name="T56" fmla="*/ 30003951 w 43"/>
                <a:gd name="T57" fmla="*/ 832470 h 39"/>
                <a:gd name="T58" fmla="*/ 26613378 w 43"/>
                <a:gd name="T59" fmla="*/ 832470 h 39"/>
                <a:gd name="T60" fmla="*/ 24896472 w 43"/>
                <a:gd name="T61" fmla="*/ 2796248 h 39"/>
                <a:gd name="T62" fmla="*/ 20531245 w 43"/>
                <a:gd name="T63" fmla="*/ 2796248 h 39"/>
                <a:gd name="T64" fmla="*/ 17874011 w 43"/>
                <a:gd name="T65" fmla="*/ 0 h 39"/>
                <a:gd name="T66" fmla="*/ 12122866 w 43"/>
                <a:gd name="T67" fmla="*/ 832470 h 39"/>
                <a:gd name="T68" fmla="*/ 5893195 w 43"/>
                <a:gd name="T69" fmla="*/ 1963775 h 39"/>
                <a:gd name="T70" fmla="*/ 4369091 w 43"/>
                <a:gd name="T71" fmla="*/ 3499125 h 39"/>
                <a:gd name="T72" fmla="*/ 791927 w 43"/>
                <a:gd name="T73" fmla="*/ 9376294 h 39"/>
                <a:gd name="T74" fmla="*/ 791927 w 43"/>
                <a:gd name="T75" fmla="*/ 12059200 h 39"/>
                <a:gd name="T76" fmla="*/ 1860108 w 43"/>
                <a:gd name="T77" fmla="*/ 13719388 h 39"/>
                <a:gd name="T78" fmla="*/ 4369091 w 43"/>
                <a:gd name="T79" fmla="*/ 16386029 h 39"/>
                <a:gd name="T80" fmla="*/ 5161223 w 43"/>
                <a:gd name="T81" fmla="*/ 18351884 h 39"/>
                <a:gd name="T82" fmla="*/ 5161223 w 43"/>
                <a:gd name="T83" fmla="*/ 21019765 h 39"/>
                <a:gd name="T84" fmla="*/ 5161223 w 43"/>
                <a:gd name="T85" fmla="*/ 22982846 h 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3"/>
                <a:gd name="T130" fmla="*/ 0 h 39"/>
                <a:gd name="T131" fmla="*/ 43 w 43"/>
                <a:gd name="T132" fmla="*/ 39 h 3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3" h="39">
                  <a:moveTo>
                    <a:pt x="6" y="25"/>
                  </a:moveTo>
                  <a:cubicBezTo>
                    <a:pt x="6" y="26"/>
                    <a:pt x="6" y="27"/>
                    <a:pt x="6" y="28"/>
                  </a:cubicBezTo>
                  <a:cubicBezTo>
                    <a:pt x="6" y="28"/>
                    <a:pt x="7" y="28"/>
                    <a:pt x="7" y="28"/>
                  </a:cubicBezTo>
                  <a:cubicBezTo>
                    <a:pt x="8" y="30"/>
                    <a:pt x="6" y="35"/>
                    <a:pt x="10" y="34"/>
                  </a:cubicBezTo>
                  <a:cubicBezTo>
                    <a:pt x="10" y="34"/>
                    <a:pt x="11" y="33"/>
                    <a:pt x="12" y="33"/>
                  </a:cubicBezTo>
                  <a:cubicBezTo>
                    <a:pt x="12" y="34"/>
                    <a:pt x="11" y="35"/>
                    <a:pt x="12" y="36"/>
                  </a:cubicBezTo>
                  <a:cubicBezTo>
                    <a:pt x="13" y="37"/>
                    <a:pt x="14" y="36"/>
                    <a:pt x="16" y="36"/>
                  </a:cubicBezTo>
                  <a:cubicBezTo>
                    <a:pt x="17" y="37"/>
                    <a:pt x="17" y="38"/>
                    <a:pt x="18" y="38"/>
                  </a:cubicBezTo>
                  <a:cubicBezTo>
                    <a:pt x="18" y="39"/>
                    <a:pt x="19" y="39"/>
                    <a:pt x="19" y="39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38"/>
                    <a:pt x="21" y="37"/>
                    <a:pt x="21" y="37"/>
                  </a:cubicBezTo>
                  <a:cubicBezTo>
                    <a:pt x="22" y="36"/>
                    <a:pt x="23" y="36"/>
                    <a:pt x="24" y="36"/>
                  </a:cubicBezTo>
                  <a:cubicBezTo>
                    <a:pt x="26" y="34"/>
                    <a:pt x="29" y="34"/>
                    <a:pt x="32" y="35"/>
                  </a:cubicBezTo>
                  <a:cubicBezTo>
                    <a:pt x="32" y="36"/>
                    <a:pt x="33" y="35"/>
                    <a:pt x="33" y="34"/>
                  </a:cubicBezTo>
                  <a:cubicBezTo>
                    <a:pt x="32" y="33"/>
                    <a:pt x="32" y="33"/>
                    <a:pt x="32" y="32"/>
                  </a:cubicBezTo>
                  <a:cubicBezTo>
                    <a:pt x="31" y="32"/>
                    <a:pt x="31" y="31"/>
                    <a:pt x="31" y="30"/>
                  </a:cubicBezTo>
                  <a:cubicBezTo>
                    <a:pt x="31" y="30"/>
                    <a:pt x="30" y="30"/>
                    <a:pt x="30" y="29"/>
                  </a:cubicBezTo>
                  <a:cubicBezTo>
                    <a:pt x="30" y="29"/>
                    <a:pt x="30" y="28"/>
                    <a:pt x="30" y="27"/>
                  </a:cubicBezTo>
                  <a:cubicBezTo>
                    <a:pt x="31" y="26"/>
                    <a:pt x="32" y="26"/>
                    <a:pt x="32" y="26"/>
                  </a:cubicBezTo>
                  <a:cubicBezTo>
                    <a:pt x="33" y="25"/>
                    <a:pt x="34" y="25"/>
                    <a:pt x="34" y="25"/>
                  </a:cubicBezTo>
                  <a:cubicBezTo>
                    <a:pt x="35" y="25"/>
                    <a:pt x="36" y="25"/>
                    <a:pt x="37" y="24"/>
                  </a:cubicBezTo>
                  <a:cubicBezTo>
                    <a:pt x="38" y="24"/>
                    <a:pt x="38" y="23"/>
                    <a:pt x="39" y="23"/>
                  </a:cubicBezTo>
                  <a:cubicBezTo>
                    <a:pt x="39" y="23"/>
                    <a:pt x="40" y="23"/>
                    <a:pt x="41" y="23"/>
                  </a:cubicBezTo>
                  <a:cubicBezTo>
                    <a:pt x="41" y="22"/>
                    <a:pt x="42" y="22"/>
                    <a:pt x="42" y="21"/>
                  </a:cubicBezTo>
                  <a:cubicBezTo>
                    <a:pt x="42" y="19"/>
                    <a:pt x="42" y="17"/>
                    <a:pt x="42" y="15"/>
                  </a:cubicBezTo>
                  <a:cubicBezTo>
                    <a:pt x="43" y="14"/>
                    <a:pt x="43" y="12"/>
                    <a:pt x="42" y="10"/>
                  </a:cubicBezTo>
                  <a:cubicBezTo>
                    <a:pt x="42" y="8"/>
                    <a:pt x="42" y="7"/>
                    <a:pt x="42" y="6"/>
                  </a:cubicBezTo>
                  <a:cubicBezTo>
                    <a:pt x="41" y="5"/>
                    <a:pt x="41" y="5"/>
                    <a:pt x="41" y="3"/>
                  </a:cubicBezTo>
                  <a:cubicBezTo>
                    <a:pt x="39" y="4"/>
                    <a:pt x="37" y="2"/>
                    <a:pt x="35" y="1"/>
                  </a:cubicBezTo>
                  <a:cubicBezTo>
                    <a:pt x="34" y="1"/>
                    <a:pt x="32" y="1"/>
                    <a:pt x="31" y="1"/>
                  </a:cubicBezTo>
                  <a:cubicBezTo>
                    <a:pt x="31" y="2"/>
                    <a:pt x="30" y="3"/>
                    <a:pt x="29" y="3"/>
                  </a:cubicBezTo>
                  <a:cubicBezTo>
                    <a:pt x="28" y="4"/>
                    <a:pt x="26" y="4"/>
                    <a:pt x="24" y="3"/>
                  </a:cubicBezTo>
                  <a:cubicBezTo>
                    <a:pt x="23" y="3"/>
                    <a:pt x="22" y="1"/>
                    <a:pt x="21" y="0"/>
                  </a:cubicBezTo>
                  <a:cubicBezTo>
                    <a:pt x="19" y="0"/>
                    <a:pt x="16" y="0"/>
                    <a:pt x="14" y="1"/>
                  </a:cubicBezTo>
                  <a:cubicBezTo>
                    <a:pt x="12" y="2"/>
                    <a:pt x="9" y="1"/>
                    <a:pt x="7" y="2"/>
                  </a:cubicBezTo>
                  <a:cubicBezTo>
                    <a:pt x="6" y="2"/>
                    <a:pt x="5" y="3"/>
                    <a:pt x="5" y="4"/>
                  </a:cubicBezTo>
                  <a:cubicBezTo>
                    <a:pt x="4" y="6"/>
                    <a:pt x="2" y="8"/>
                    <a:pt x="1" y="10"/>
                  </a:cubicBezTo>
                  <a:cubicBezTo>
                    <a:pt x="0" y="11"/>
                    <a:pt x="1" y="12"/>
                    <a:pt x="1" y="13"/>
                  </a:cubicBezTo>
                  <a:cubicBezTo>
                    <a:pt x="1" y="14"/>
                    <a:pt x="2" y="14"/>
                    <a:pt x="2" y="15"/>
                  </a:cubicBezTo>
                  <a:cubicBezTo>
                    <a:pt x="3" y="16"/>
                    <a:pt x="4" y="17"/>
                    <a:pt x="5" y="18"/>
                  </a:cubicBezTo>
                  <a:cubicBezTo>
                    <a:pt x="5" y="19"/>
                    <a:pt x="6" y="19"/>
                    <a:pt x="6" y="20"/>
                  </a:cubicBezTo>
                  <a:cubicBezTo>
                    <a:pt x="6" y="21"/>
                    <a:pt x="6" y="22"/>
                    <a:pt x="6" y="23"/>
                  </a:cubicBezTo>
                  <a:lnTo>
                    <a:pt x="6" y="25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9" name="Freeform 228"/>
            <p:cNvSpPr>
              <a:spLocks/>
            </p:cNvSpPr>
            <p:nvPr/>
          </p:nvSpPr>
          <p:spPr bwMode="auto">
            <a:xfrm>
              <a:off x="7922677" y="5100921"/>
              <a:ext cx="84820" cy="83397"/>
            </a:xfrm>
            <a:custGeom>
              <a:avLst/>
              <a:gdLst>
                <a:gd name="T0" fmla="*/ 46288206 w 63"/>
                <a:gd name="T1" fmla="*/ 63557528 h 77"/>
                <a:gd name="T2" fmla="*/ 45055602 w 63"/>
                <a:gd name="T3" fmla="*/ 58009170 h 77"/>
                <a:gd name="T4" fmla="*/ 45055602 w 63"/>
                <a:gd name="T5" fmla="*/ 53928896 h 77"/>
                <a:gd name="T6" fmla="*/ 39268056 w 63"/>
                <a:gd name="T7" fmla="*/ 47646872 h 77"/>
                <a:gd name="T8" fmla="*/ 38528751 w 63"/>
                <a:gd name="T9" fmla="*/ 40752289 h 77"/>
                <a:gd name="T10" fmla="*/ 33594951 w 63"/>
                <a:gd name="T11" fmla="*/ 37255662 h 77"/>
                <a:gd name="T12" fmla="*/ 29619462 w 63"/>
                <a:gd name="T13" fmla="*/ 33986361 h 77"/>
                <a:gd name="T14" fmla="*/ 21071934 w 63"/>
                <a:gd name="T15" fmla="*/ 38079818 h 77"/>
                <a:gd name="T16" fmla="*/ 14204583 w 63"/>
                <a:gd name="T17" fmla="*/ 36663731 h 77"/>
                <a:gd name="T18" fmla="*/ 8548424 w 63"/>
                <a:gd name="T19" fmla="*/ 36663731 h 77"/>
                <a:gd name="T20" fmla="*/ 9764102 w 63"/>
                <a:gd name="T21" fmla="*/ 27690479 h 77"/>
                <a:gd name="T22" fmla="*/ 3614435 w 63"/>
                <a:gd name="T23" fmla="*/ 23282411 h 77"/>
                <a:gd name="T24" fmla="*/ 4781270 w 63"/>
                <a:gd name="T25" fmla="*/ 19212437 h 77"/>
                <a:gd name="T26" fmla="*/ 854775 w 63"/>
                <a:gd name="T27" fmla="*/ 15597281 h 77"/>
                <a:gd name="T28" fmla="*/ 2912380 w 63"/>
                <a:gd name="T29" fmla="*/ 12242426 h 77"/>
                <a:gd name="T30" fmla="*/ 2021611 w 63"/>
                <a:gd name="T31" fmla="*/ 7691362 h 77"/>
                <a:gd name="T32" fmla="*/ 2912380 w 63"/>
                <a:gd name="T33" fmla="*/ 7081923 h 77"/>
                <a:gd name="T34" fmla="*/ 7693651 w 63"/>
                <a:gd name="T35" fmla="*/ 7081923 h 77"/>
                <a:gd name="T36" fmla="*/ 11308080 w 63"/>
                <a:gd name="T37" fmla="*/ 8828850 h 77"/>
                <a:gd name="T38" fmla="*/ 10437561 w 63"/>
                <a:gd name="T39" fmla="*/ 3272017 h 77"/>
                <a:gd name="T40" fmla="*/ 14204583 w 63"/>
                <a:gd name="T41" fmla="*/ 0 h 77"/>
                <a:gd name="T42" fmla="*/ 15436439 w 63"/>
                <a:gd name="T43" fmla="*/ 798010 h 77"/>
                <a:gd name="T44" fmla="*/ 19050355 w 63"/>
                <a:gd name="T45" fmla="*/ 4409446 h 77"/>
                <a:gd name="T46" fmla="*/ 21071934 w 63"/>
                <a:gd name="T47" fmla="*/ 5944426 h 77"/>
                <a:gd name="T48" fmla="*/ 21963115 w 63"/>
                <a:gd name="T49" fmla="*/ 11502480 h 77"/>
                <a:gd name="T50" fmla="*/ 23092866 w 63"/>
                <a:gd name="T51" fmla="*/ 12917410 h 77"/>
                <a:gd name="T52" fmla="*/ 33594951 w 63"/>
                <a:gd name="T53" fmla="*/ 13973256 h 77"/>
                <a:gd name="T54" fmla="*/ 36508387 w 63"/>
                <a:gd name="T55" fmla="*/ 20016608 h 77"/>
                <a:gd name="T56" fmla="*/ 31525772 w 63"/>
                <a:gd name="T57" fmla="*/ 22484469 h 77"/>
                <a:gd name="T58" fmla="*/ 30872424 w 63"/>
                <a:gd name="T59" fmla="*/ 25162460 h 77"/>
                <a:gd name="T60" fmla="*/ 38528751 w 63"/>
                <a:gd name="T61" fmla="*/ 29566296 h 77"/>
                <a:gd name="T62" fmla="*/ 46961705 w 63"/>
                <a:gd name="T63" fmla="*/ 40752289 h 77"/>
                <a:gd name="T64" fmla="*/ 51944490 w 63"/>
                <a:gd name="T65" fmla="*/ 46212902 h 77"/>
                <a:gd name="T66" fmla="*/ 55510121 w 63"/>
                <a:gd name="T67" fmla="*/ 52048377 h 77"/>
                <a:gd name="T68" fmla="*/ 59601178 w 63"/>
                <a:gd name="T69" fmla="*/ 56602204 h 77"/>
                <a:gd name="T70" fmla="*/ 60339196 w 63"/>
                <a:gd name="T71" fmla="*/ 61819703 h 77"/>
                <a:gd name="T72" fmla="*/ 54616462 w 63"/>
                <a:gd name="T73" fmla="*/ 64292735 h 77"/>
                <a:gd name="T74" fmla="*/ 48983298 w 63"/>
                <a:gd name="T75" fmla="*/ 66230008 h 7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3"/>
                <a:gd name="T115" fmla="*/ 0 h 77"/>
                <a:gd name="T116" fmla="*/ 63 w 63"/>
                <a:gd name="T117" fmla="*/ 77 h 7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3" h="77">
                  <a:moveTo>
                    <a:pt x="46" y="76"/>
                  </a:moveTo>
                  <a:cubicBezTo>
                    <a:pt x="47" y="75"/>
                    <a:pt x="47" y="74"/>
                    <a:pt x="48" y="73"/>
                  </a:cubicBezTo>
                  <a:cubicBezTo>
                    <a:pt x="49" y="71"/>
                    <a:pt x="48" y="69"/>
                    <a:pt x="48" y="68"/>
                  </a:cubicBezTo>
                  <a:cubicBezTo>
                    <a:pt x="48" y="67"/>
                    <a:pt x="48" y="67"/>
                    <a:pt x="47" y="67"/>
                  </a:cubicBezTo>
                  <a:cubicBezTo>
                    <a:pt x="47" y="66"/>
                    <a:pt x="47" y="65"/>
                    <a:pt x="47" y="64"/>
                  </a:cubicBezTo>
                  <a:cubicBezTo>
                    <a:pt x="47" y="63"/>
                    <a:pt x="48" y="63"/>
                    <a:pt x="47" y="62"/>
                  </a:cubicBezTo>
                  <a:cubicBezTo>
                    <a:pt x="47" y="61"/>
                    <a:pt x="46" y="60"/>
                    <a:pt x="45" y="60"/>
                  </a:cubicBezTo>
                  <a:cubicBezTo>
                    <a:pt x="43" y="59"/>
                    <a:pt x="42" y="57"/>
                    <a:pt x="41" y="55"/>
                  </a:cubicBezTo>
                  <a:cubicBezTo>
                    <a:pt x="41" y="54"/>
                    <a:pt x="41" y="54"/>
                    <a:pt x="40" y="53"/>
                  </a:cubicBezTo>
                  <a:cubicBezTo>
                    <a:pt x="40" y="51"/>
                    <a:pt x="40" y="49"/>
                    <a:pt x="40" y="47"/>
                  </a:cubicBezTo>
                  <a:cubicBezTo>
                    <a:pt x="40" y="46"/>
                    <a:pt x="38" y="45"/>
                    <a:pt x="37" y="45"/>
                  </a:cubicBezTo>
                  <a:cubicBezTo>
                    <a:pt x="36" y="44"/>
                    <a:pt x="35" y="44"/>
                    <a:pt x="35" y="43"/>
                  </a:cubicBezTo>
                  <a:cubicBezTo>
                    <a:pt x="34" y="43"/>
                    <a:pt x="34" y="42"/>
                    <a:pt x="34" y="41"/>
                  </a:cubicBezTo>
                  <a:cubicBezTo>
                    <a:pt x="33" y="40"/>
                    <a:pt x="32" y="40"/>
                    <a:pt x="31" y="39"/>
                  </a:cubicBezTo>
                  <a:cubicBezTo>
                    <a:pt x="30" y="38"/>
                    <a:pt x="27" y="38"/>
                    <a:pt x="26" y="40"/>
                  </a:cubicBezTo>
                  <a:cubicBezTo>
                    <a:pt x="25" y="41"/>
                    <a:pt x="24" y="43"/>
                    <a:pt x="22" y="44"/>
                  </a:cubicBezTo>
                  <a:cubicBezTo>
                    <a:pt x="22" y="45"/>
                    <a:pt x="21" y="45"/>
                    <a:pt x="20" y="44"/>
                  </a:cubicBezTo>
                  <a:cubicBezTo>
                    <a:pt x="18" y="43"/>
                    <a:pt x="17" y="40"/>
                    <a:pt x="15" y="42"/>
                  </a:cubicBezTo>
                  <a:cubicBezTo>
                    <a:pt x="14" y="43"/>
                    <a:pt x="12" y="46"/>
                    <a:pt x="10" y="45"/>
                  </a:cubicBezTo>
                  <a:cubicBezTo>
                    <a:pt x="10" y="44"/>
                    <a:pt x="9" y="43"/>
                    <a:pt x="9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0" y="38"/>
                    <a:pt x="11" y="35"/>
                    <a:pt x="10" y="32"/>
                  </a:cubicBezTo>
                  <a:cubicBezTo>
                    <a:pt x="10" y="31"/>
                    <a:pt x="10" y="29"/>
                    <a:pt x="10" y="27"/>
                  </a:cubicBezTo>
                  <a:cubicBezTo>
                    <a:pt x="8" y="26"/>
                    <a:pt x="6" y="28"/>
                    <a:pt x="4" y="27"/>
                  </a:cubicBezTo>
                  <a:cubicBezTo>
                    <a:pt x="4" y="27"/>
                    <a:pt x="4" y="26"/>
                    <a:pt x="4" y="25"/>
                  </a:cubicBezTo>
                  <a:cubicBezTo>
                    <a:pt x="5" y="25"/>
                    <a:pt x="5" y="23"/>
                    <a:pt x="5" y="22"/>
                  </a:cubicBezTo>
                  <a:cubicBezTo>
                    <a:pt x="4" y="21"/>
                    <a:pt x="4" y="21"/>
                    <a:pt x="3" y="20"/>
                  </a:cubicBezTo>
                  <a:cubicBezTo>
                    <a:pt x="2" y="20"/>
                    <a:pt x="1" y="19"/>
                    <a:pt x="1" y="18"/>
                  </a:cubicBezTo>
                  <a:cubicBezTo>
                    <a:pt x="1" y="18"/>
                    <a:pt x="0" y="17"/>
                    <a:pt x="1" y="16"/>
                  </a:cubicBezTo>
                  <a:cubicBezTo>
                    <a:pt x="1" y="15"/>
                    <a:pt x="3" y="15"/>
                    <a:pt x="3" y="14"/>
                  </a:cubicBezTo>
                  <a:cubicBezTo>
                    <a:pt x="4" y="13"/>
                    <a:pt x="4" y="12"/>
                    <a:pt x="3" y="11"/>
                  </a:cubicBezTo>
                  <a:cubicBezTo>
                    <a:pt x="3" y="10"/>
                    <a:pt x="2" y="9"/>
                    <a:pt x="2" y="9"/>
                  </a:cubicBezTo>
                  <a:cubicBezTo>
                    <a:pt x="2" y="9"/>
                    <a:pt x="2" y="9"/>
                    <a:pt x="3" y="9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5" y="6"/>
                    <a:pt x="6" y="7"/>
                  </a:cubicBezTo>
                  <a:cubicBezTo>
                    <a:pt x="7" y="7"/>
                    <a:pt x="8" y="7"/>
                    <a:pt x="8" y="8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10" y="11"/>
                    <a:pt x="12" y="11"/>
                    <a:pt x="12" y="10"/>
                  </a:cubicBezTo>
                  <a:cubicBezTo>
                    <a:pt x="13" y="10"/>
                    <a:pt x="13" y="9"/>
                    <a:pt x="13" y="8"/>
                  </a:cubicBezTo>
                  <a:cubicBezTo>
                    <a:pt x="12" y="7"/>
                    <a:pt x="12" y="5"/>
                    <a:pt x="11" y="4"/>
                  </a:cubicBezTo>
                  <a:cubicBezTo>
                    <a:pt x="10" y="3"/>
                    <a:pt x="11" y="2"/>
                    <a:pt x="10" y="0"/>
                  </a:cubicBezTo>
                  <a:cubicBezTo>
                    <a:pt x="12" y="0"/>
                    <a:pt x="14" y="1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1"/>
                    <a:pt x="16" y="1"/>
                  </a:cubicBezTo>
                  <a:cubicBezTo>
                    <a:pt x="17" y="2"/>
                    <a:pt x="18" y="3"/>
                    <a:pt x="20" y="4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6"/>
                    <a:pt x="20" y="6"/>
                    <a:pt x="21" y="7"/>
                  </a:cubicBezTo>
                  <a:cubicBezTo>
                    <a:pt x="21" y="7"/>
                    <a:pt x="22" y="7"/>
                    <a:pt x="22" y="7"/>
                  </a:cubicBezTo>
                  <a:cubicBezTo>
                    <a:pt x="22" y="9"/>
                    <a:pt x="22" y="10"/>
                    <a:pt x="22" y="11"/>
                  </a:cubicBezTo>
                  <a:cubicBezTo>
                    <a:pt x="22" y="12"/>
                    <a:pt x="22" y="12"/>
                    <a:pt x="23" y="13"/>
                  </a:cubicBezTo>
                  <a:cubicBezTo>
                    <a:pt x="23" y="13"/>
                    <a:pt x="23" y="14"/>
                    <a:pt x="23" y="14"/>
                  </a:cubicBezTo>
                  <a:cubicBezTo>
                    <a:pt x="23" y="15"/>
                    <a:pt x="24" y="15"/>
                    <a:pt x="24" y="15"/>
                  </a:cubicBezTo>
                  <a:cubicBezTo>
                    <a:pt x="27" y="16"/>
                    <a:pt x="31" y="15"/>
                    <a:pt x="34" y="16"/>
                  </a:cubicBezTo>
                  <a:cubicBezTo>
                    <a:pt x="34" y="16"/>
                    <a:pt x="35" y="16"/>
                    <a:pt x="35" y="16"/>
                  </a:cubicBezTo>
                  <a:cubicBezTo>
                    <a:pt x="35" y="18"/>
                    <a:pt x="37" y="18"/>
                    <a:pt x="38" y="19"/>
                  </a:cubicBezTo>
                  <a:cubicBezTo>
                    <a:pt x="39" y="21"/>
                    <a:pt x="38" y="22"/>
                    <a:pt x="38" y="23"/>
                  </a:cubicBezTo>
                  <a:cubicBezTo>
                    <a:pt x="38" y="24"/>
                    <a:pt x="37" y="25"/>
                    <a:pt x="37" y="25"/>
                  </a:cubicBezTo>
                  <a:cubicBezTo>
                    <a:pt x="36" y="26"/>
                    <a:pt x="34" y="25"/>
                    <a:pt x="33" y="26"/>
                  </a:cubicBezTo>
                  <a:cubicBezTo>
                    <a:pt x="33" y="26"/>
                    <a:pt x="32" y="27"/>
                    <a:pt x="32" y="28"/>
                  </a:cubicBezTo>
                  <a:cubicBezTo>
                    <a:pt x="32" y="28"/>
                    <a:pt x="31" y="29"/>
                    <a:pt x="32" y="29"/>
                  </a:cubicBezTo>
                  <a:cubicBezTo>
                    <a:pt x="34" y="31"/>
                    <a:pt x="37" y="31"/>
                    <a:pt x="39" y="33"/>
                  </a:cubicBezTo>
                  <a:cubicBezTo>
                    <a:pt x="39" y="33"/>
                    <a:pt x="39" y="33"/>
                    <a:pt x="40" y="34"/>
                  </a:cubicBezTo>
                  <a:cubicBezTo>
                    <a:pt x="41" y="36"/>
                    <a:pt x="41" y="37"/>
                    <a:pt x="42" y="39"/>
                  </a:cubicBezTo>
                  <a:cubicBezTo>
                    <a:pt x="44" y="42"/>
                    <a:pt x="47" y="44"/>
                    <a:pt x="49" y="47"/>
                  </a:cubicBezTo>
                  <a:cubicBezTo>
                    <a:pt x="51" y="48"/>
                    <a:pt x="52" y="49"/>
                    <a:pt x="53" y="51"/>
                  </a:cubicBezTo>
                  <a:cubicBezTo>
                    <a:pt x="54" y="51"/>
                    <a:pt x="54" y="52"/>
                    <a:pt x="54" y="53"/>
                  </a:cubicBezTo>
                  <a:cubicBezTo>
                    <a:pt x="55" y="55"/>
                    <a:pt x="57" y="56"/>
                    <a:pt x="58" y="57"/>
                  </a:cubicBezTo>
                  <a:cubicBezTo>
                    <a:pt x="58" y="58"/>
                    <a:pt x="58" y="59"/>
                    <a:pt x="58" y="60"/>
                  </a:cubicBezTo>
                  <a:cubicBezTo>
                    <a:pt x="59" y="61"/>
                    <a:pt x="59" y="62"/>
                    <a:pt x="60" y="62"/>
                  </a:cubicBezTo>
                  <a:cubicBezTo>
                    <a:pt x="61" y="63"/>
                    <a:pt x="62" y="64"/>
                    <a:pt x="62" y="65"/>
                  </a:cubicBezTo>
                  <a:cubicBezTo>
                    <a:pt x="63" y="66"/>
                    <a:pt x="62" y="68"/>
                    <a:pt x="62" y="70"/>
                  </a:cubicBezTo>
                  <a:cubicBezTo>
                    <a:pt x="62" y="71"/>
                    <a:pt x="63" y="71"/>
                    <a:pt x="63" y="71"/>
                  </a:cubicBezTo>
                  <a:cubicBezTo>
                    <a:pt x="63" y="73"/>
                    <a:pt x="63" y="75"/>
                    <a:pt x="63" y="76"/>
                  </a:cubicBezTo>
                  <a:cubicBezTo>
                    <a:pt x="61" y="77"/>
                    <a:pt x="59" y="75"/>
                    <a:pt x="57" y="74"/>
                  </a:cubicBezTo>
                  <a:cubicBezTo>
                    <a:pt x="56" y="74"/>
                    <a:pt x="54" y="74"/>
                    <a:pt x="53" y="74"/>
                  </a:cubicBezTo>
                  <a:cubicBezTo>
                    <a:pt x="53" y="75"/>
                    <a:pt x="52" y="76"/>
                    <a:pt x="51" y="76"/>
                  </a:cubicBezTo>
                  <a:cubicBezTo>
                    <a:pt x="50" y="77"/>
                    <a:pt x="48" y="77"/>
                    <a:pt x="46" y="76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0" name="Freeform 229"/>
            <p:cNvSpPr>
              <a:spLocks/>
            </p:cNvSpPr>
            <p:nvPr/>
          </p:nvSpPr>
          <p:spPr bwMode="auto">
            <a:xfrm>
              <a:off x="7898028" y="5120260"/>
              <a:ext cx="90621" cy="150480"/>
            </a:xfrm>
            <a:custGeom>
              <a:avLst/>
              <a:gdLst>
                <a:gd name="T0" fmla="*/ 11131851 w 67"/>
                <a:gd name="T1" fmla="*/ 97915971 h 139"/>
                <a:gd name="T2" fmla="*/ 13334802 w 67"/>
                <a:gd name="T3" fmla="*/ 104584703 h 139"/>
                <a:gd name="T4" fmla="*/ 18310474 w 67"/>
                <a:gd name="T5" fmla="*/ 108048608 h 139"/>
                <a:gd name="T6" fmla="*/ 23538378 w 67"/>
                <a:gd name="T7" fmla="*/ 112041768 h 139"/>
                <a:gd name="T8" fmla="*/ 26417368 w 67"/>
                <a:gd name="T9" fmla="*/ 119010656 h 139"/>
                <a:gd name="T10" fmla="*/ 29442316 w 67"/>
                <a:gd name="T11" fmla="*/ 119010656 h 139"/>
                <a:gd name="T12" fmla="*/ 35452551 w 67"/>
                <a:gd name="T13" fmla="*/ 127666530 h 139"/>
                <a:gd name="T14" fmla="*/ 40428261 w 67"/>
                <a:gd name="T15" fmla="*/ 126461831 h 139"/>
                <a:gd name="T16" fmla="*/ 43453190 w 67"/>
                <a:gd name="T17" fmla="*/ 123016577 h 139"/>
                <a:gd name="T18" fmla="*/ 38477517 w 67"/>
                <a:gd name="T19" fmla="*/ 119010656 h 139"/>
                <a:gd name="T20" fmla="*/ 27345662 w 67"/>
                <a:gd name="T21" fmla="*/ 112871178 h 139"/>
                <a:gd name="T22" fmla="*/ 24214455 w 67"/>
                <a:gd name="T23" fmla="*/ 103403488 h 139"/>
                <a:gd name="T24" fmla="*/ 17035808 w 67"/>
                <a:gd name="T25" fmla="*/ 95078427 h 139"/>
                <a:gd name="T26" fmla="*/ 18310474 w 67"/>
                <a:gd name="T27" fmla="*/ 84109282 h 139"/>
                <a:gd name="T28" fmla="*/ 23538378 w 67"/>
                <a:gd name="T29" fmla="*/ 72012213 h 139"/>
                <a:gd name="T30" fmla="*/ 23538378 w 67"/>
                <a:gd name="T31" fmla="*/ 62741228 h 139"/>
                <a:gd name="T32" fmla="*/ 29442316 w 67"/>
                <a:gd name="T33" fmla="*/ 59075596 h 139"/>
                <a:gd name="T34" fmla="*/ 30208629 w 67"/>
                <a:gd name="T35" fmla="*/ 67387103 h 139"/>
                <a:gd name="T36" fmla="*/ 41356555 w 67"/>
                <a:gd name="T37" fmla="*/ 72012213 h 139"/>
                <a:gd name="T38" fmla="*/ 46546427 w 67"/>
                <a:gd name="T39" fmla="*/ 72012213 h 139"/>
                <a:gd name="T40" fmla="*/ 42563018 w 67"/>
                <a:gd name="T41" fmla="*/ 64556205 h 139"/>
                <a:gd name="T42" fmla="*/ 45656141 w 67"/>
                <a:gd name="T43" fmla="*/ 54429570 h 139"/>
                <a:gd name="T44" fmla="*/ 61763641 w 67"/>
                <a:gd name="T45" fmla="*/ 50906087 h 139"/>
                <a:gd name="T46" fmla="*/ 67007657 w 67"/>
                <a:gd name="T47" fmla="*/ 50906087 h 139"/>
                <a:gd name="T48" fmla="*/ 65570982 w 67"/>
                <a:gd name="T49" fmla="*/ 42619310 h 139"/>
                <a:gd name="T50" fmla="*/ 59666968 w 67"/>
                <a:gd name="T51" fmla="*/ 34037673 h 139"/>
                <a:gd name="T52" fmla="*/ 55859703 w 67"/>
                <a:gd name="T53" fmla="*/ 25035092 h 139"/>
                <a:gd name="T54" fmla="*/ 49447383 w 67"/>
                <a:gd name="T55" fmla="*/ 19554422 h 139"/>
                <a:gd name="T56" fmla="*/ 38477517 w 67"/>
                <a:gd name="T57" fmla="*/ 23900429 h 139"/>
                <a:gd name="T58" fmla="*/ 27345662 w 67"/>
                <a:gd name="T59" fmla="*/ 22444015 h 139"/>
                <a:gd name="T60" fmla="*/ 28235948 w 67"/>
                <a:gd name="T61" fmla="*/ 8286784 h 139"/>
                <a:gd name="T62" fmla="*/ 23538378 w 67"/>
                <a:gd name="T63" fmla="*/ 3511778 h 139"/>
                <a:gd name="T64" fmla="*/ 17035808 w 67"/>
                <a:gd name="T65" fmla="*/ 834356 h 139"/>
                <a:gd name="T66" fmla="*/ 10203576 w 67"/>
                <a:gd name="T67" fmla="*/ 7452065 h 139"/>
                <a:gd name="T68" fmla="*/ 2112690 w 67"/>
                <a:gd name="T69" fmla="*/ 10962968 h 139"/>
                <a:gd name="T70" fmla="*/ 3024951 w 67"/>
                <a:gd name="T71" fmla="*/ 20388858 h 139"/>
                <a:gd name="T72" fmla="*/ 8997191 w 67"/>
                <a:gd name="T73" fmla="*/ 33360172 h 139"/>
                <a:gd name="T74" fmla="*/ 10203576 w 67"/>
                <a:gd name="T75" fmla="*/ 40659428 h 139"/>
                <a:gd name="T76" fmla="*/ 11898173 w 67"/>
                <a:gd name="T77" fmla="*/ 53592081 h 139"/>
                <a:gd name="T78" fmla="*/ 15285508 w 67"/>
                <a:gd name="T79" fmla="*/ 65697286 h 139"/>
                <a:gd name="T80" fmla="*/ 19238759 w 67"/>
                <a:gd name="T81" fmla="*/ 74838241 h 139"/>
                <a:gd name="T82" fmla="*/ 14010851 w 67"/>
                <a:gd name="T83" fmla="*/ 85817637 h 13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7"/>
                <a:gd name="T127" fmla="*/ 0 h 139"/>
                <a:gd name="T128" fmla="*/ 67 w 67"/>
                <a:gd name="T129" fmla="*/ 139 h 13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7" h="139">
                  <a:moveTo>
                    <a:pt x="12" y="98"/>
                  </a:moveTo>
                  <a:cubicBezTo>
                    <a:pt x="12" y="100"/>
                    <a:pt x="12" y="102"/>
                    <a:pt x="12" y="104"/>
                  </a:cubicBezTo>
                  <a:cubicBezTo>
                    <a:pt x="12" y="105"/>
                    <a:pt x="11" y="105"/>
                    <a:pt x="11" y="106"/>
                  </a:cubicBezTo>
                  <a:cubicBezTo>
                    <a:pt x="11" y="109"/>
                    <a:pt x="10" y="113"/>
                    <a:pt x="10" y="116"/>
                  </a:cubicBezTo>
                  <a:cubicBezTo>
                    <a:pt x="10" y="116"/>
                    <a:pt x="11" y="117"/>
                    <a:pt x="11" y="116"/>
                  </a:cubicBezTo>
                  <a:cubicBezTo>
                    <a:pt x="12" y="115"/>
                    <a:pt x="12" y="114"/>
                    <a:pt x="13" y="113"/>
                  </a:cubicBezTo>
                  <a:cubicBezTo>
                    <a:pt x="13" y="113"/>
                    <a:pt x="14" y="113"/>
                    <a:pt x="14" y="113"/>
                  </a:cubicBezTo>
                  <a:cubicBezTo>
                    <a:pt x="14" y="114"/>
                    <a:pt x="14" y="115"/>
                    <a:pt x="15" y="116"/>
                  </a:cubicBezTo>
                  <a:cubicBezTo>
                    <a:pt x="16" y="116"/>
                    <a:pt x="17" y="116"/>
                    <a:pt x="18" y="117"/>
                  </a:cubicBezTo>
                  <a:cubicBezTo>
                    <a:pt x="19" y="118"/>
                    <a:pt x="19" y="119"/>
                    <a:pt x="20" y="120"/>
                  </a:cubicBezTo>
                  <a:cubicBezTo>
                    <a:pt x="20" y="121"/>
                    <a:pt x="20" y="121"/>
                    <a:pt x="21" y="121"/>
                  </a:cubicBezTo>
                  <a:cubicBezTo>
                    <a:pt x="21" y="121"/>
                    <a:pt x="22" y="121"/>
                    <a:pt x="23" y="121"/>
                  </a:cubicBezTo>
                  <a:cubicBezTo>
                    <a:pt x="24" y="122"/>
                    <a:pt x="24" y="122"/>
                    <a:pt x="24" y="123"/>
                  </a:cubicBezTo>
                  <a:cubicBezTo>
                    <a:pt x="24" y="124"/>
                    <a:pt x="24" y="126"/>
                    <a:pt x="25" y="127"/>
                  </a:cubicBezTo>
                  <a:cubicBezTo>
                    <a:pt x="25" y="128"/>
                    <a:pt x="25" y="128"/>
                    <a:pt x="26" y="129"/>
                  </a:cubicBezTo>
                  <a:cubicBezTo>
                    <a:pt x="26" y="128"/>
                    <a:pt x="26" y="128"/>
                    <a:pt x="26" y="128"/>
                  </a:cubicBezTo>
                  <a:cubicBezTo>
                    <a:pt x="27" y="128"/>
                    <a:pt x="28" y="127"/>
                    <a:pt x="29" y="128"/>
                  </a:cubicBezTo>
                  <a:cubicBezTo>
                    <a:pt x="29" y="128"/>
                    <a:pt x="29" y="129"/>
                    <a:pt x="29" y="129"/>
                  </a:cubicBezTo>
                  <a:cubicBezTo>
                    <a:pt x="31" y="130"/>
                    <a:pt x="33" y="131"/>
                    <a:pt x="34" y="133"/>
                  </a:cubicBezTo>
                  <a:cubicBezTo>
                    <a:pt x="35" y="134"/>
                    <a:pt x="33" y="136"/>
                    <a:pt x="34" y="137"/>
                  </a:cubicBezTo>
                  <a:cubicBezTo>
                    <a:pt x="34" y="138"/>
                    <a:pt x="35" y="138"/>
                    <a:pt x="35" y="138"/>
                  </a:cubicBezTo>
                  <a:cubicBezTo>
                    <a:pt x="35" y="139"/>
                    <a:pt x="36" y="138"/>
                    <a:pt x="36" y="138"/>
                  </a:cubicBezTo>
                  <a:cubicBezTo>
                    <a:pt x="36" y="138"/>
                    <a:pt x="36" y="137"/>
                    <a:pt x="37" y="137"/>
                  </a:cubicBezTo>
                  <a:cubicBezTo>
                    <a:pt x="38" y="136"/>
                    <a:pt x="39" y="137"/>
                    <a:pt x="40" y="137"/>
                  </a:cubicBezTo>
                  <a:cubicBezTo>
                    <a:pt x="40" y="136"/>
                    <a:pt x="40" y="135"/>
                    <a:pt x="41" y="135"/>
                  </a:cubicBezTo>
                  <a:cubicBezTo>
                    <a:pt x="41" y="135"/>
                    <a:pt x="42" y="134"/>
                    <a:pt x="42" y="134"/>
                  </a:cubicBezTo>
                  <a:cubicBezTo>
                    <a:pt x="43" y="133"/>
                    <a:pt x="43" y="133"/>
                    <a:pt x="43" y="133"/>
                  </a:cubicBezTo>
                  <a:cubicBezTo>
                    <a:pt x="43" y="133"/>
                    <a:pt x="42" y="133"/>
                    <a:pt x="42" y="133"/>
                  </a:cubicBezTo>
                  <a:cubicBezTo>
                    <a:pt x="41" y="132"/>
                    <a:pt x="40" y="130"/>
                    <a:pt x="39" y="129"/>
                  </a:cubicBezTo>
                  <a:cubicBezTo>
                    <a:pt x="39" y="129"/>
                    <a:pt x="38" y="129"/>
                    <a:pt x="38" y="129"/>
                  </a:cubicBezTo>
                  <a:cubicBezTo>
                    <a:pt x="38" y="128"/>
                    <a:pt x="38" y="128"/>
                    <a:pt x="37" y="127"/>
                  </a:cubicBezTo>
                  <a:cubicBezTo>
                    <a:pt x="35" y="126"/>
                    <a:pt x="32" y="128"/>
                    <a:pt x="30" y="126"/>
                  </a:cubicBezTo>
                  <a:cubicBezTo>
                    <a:pt x="29" y="125"/>
                    <a:pt x="28" y="124"/>
                    <a:pt x="27" y="122"/>
                  </a:cubicBezTo>
                  <a:cubicBezTo>
                    <a:pt x="27" y="121"/>
                    <a:pt x="28" y="119"/>
                    <a:pt x="27" y="118"/>
                  </a:cubicBezTo>
                  <a:cubicBezTo>
                    <a:pt x="26" y="116"/>
                    <a:pt x="27" y="115"/>
                    <a:pt x="26" y="113"/>
                  </a:cubicBezTo>
                  <a:cubicBezTo>
                    <a:pt x="25" y="113"/>
                    <a:pt x="25" y="112"/>
                    <a:pt x="24" y="112"/>
                  </a:cubicBezTo>
                  <a:cubicBezTo>
                    <a:pt x="24" y="111"/>
                    <a:pt x="25" y="109"/>
                    <a:pt x="24" y="108"/>
                  </a:cubicBezTo>
                  <a:cubicBezTo>
                    <a:pt x="23" y="107"/>
                    <a:pt x="23" y="106"/>
                    <a:pt x="22" y="105"/>
                  </a:cubicBezTo>
                  <a:cubicBezTo>
                    <a:pt x="20" y="104"/>
                    <a:pt x="17" y="106"/>
                    <a:pt x="17" y="103"/>
                  </a:cubicBezTo>
                  <a:cubicBezTo>
                    <a:pt x="17" y="101"/>
                    <a:pt x="17" y="99"/>
                    <a:pt x="17" y="96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5"/>
                    <a:pt x="17" y="93"/>
                    <a:pt x="18" y="91"/>
                  </a:cubicBezTo>
                  <a:cubicBezTo>
                    <a:pt x="18" y="91"/>
                    <a:pt x="19" y="91"/>
                    <a:pt x="20" y="90"/>
                  </a:cubicBezTo>
                  <a:cubicBezTo>
                    <a:pt x="21" y="87"/>
                    <a:pt x="20" y="84"/>
                    <a:pt x="22" y="81"/>
                  </a:cubicBezTo>
                  <a:cubicBezTo>
                    <a:pt x="22" y="80"/>
                    <a:pt x="23" y="79"/>
                    <a:pt x="23" y="78"/>
                  </a:cubicBezTo>
                  <a:cubicBezTo>
                    <a:pt x="24" y="76"/>
                    <a:pt x="21" y="73"/>
                    <a:pt x="22" y="72"/>
                  </a:cubicBezTo>
                  <a:cubicBezTo>
                    <a:pt x="23" y="70"/>
                    <a:pt x="23" y="69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7"/>
                    <a:pt x="22" y="66"/>
                    <a:pt x="23" y="65"/>
                  </a:cubicBezTo>
                  <a:cubicBezTo>
                    <a:pt x="24" y="65"/>
                    <a:pt x="25" y="65"/>
                    <a:pt x="26" y="65"/>
                  </a:cubicBezTo>
                  <a:cubicBezTo>
                    <a:pt x="27" y="64"/>
                    <a:pt x="28" y="64"/>
                    <a:pt x="29" y="64"/>
                  </a:cubicBezTo>
                  <a:cubicBezTo>
                    <a:pt x="30" y="65"/>
                    <a:pt x="29" y="67"/>
                    <a:pt x="29" y="68"/>
                  </a:cubicBezTo>
                  <a:cubicBezTo>
                    <a:pt x="30" y="69"/>
                    <a:pt x="29" y="71"/>
                    <a:pt x="30" y="72"/>
                  </a:cubicBezTo>
                  <a:cubicBezTo>
                    <a:pt x="30" y="72"/>
                    <a:pt x="30" y="73"/>
                    <a:pt x="30" y="73"/>
                  </a:cubicBezTo>
                  <a:cubicBezTo>
                    <a:pt x="33" y="73"/>
                    <a:pt x="35" y="73"/>
                    <a:pt x="37" y="73"/>
                  </a:cubicBezTo>
                  <a:cubicBezTo>
                    <a:pt x="38" y="73"/>
                    <a:pt x="39" y="74"/>
                    <a:pt x="39" y="75"/>
                  </a:cubicBezTo>
                  <a:cubicBezTo>
                    <a:pt x="39" y="76"/>
                    <a:pt x="40" y="77"/>
                    <a:pt x="41" y="78"/>
                  </a:cubicBezTo>
                  <a:cubicBezTo>
                    <a:pt x="42" y="79"/>
                    <a:pt x="44" y="78"/>
                    <a:pt x="45" y="79"/>
                  </a:cubicBezTo>
                  <a:cubicBezTo>
                    <a:pt x="45" y="79"/>
                    <a:pt x="45" y="79"/>
                    <a:pt x="46" y="80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7"/>
                    <a:pt x="46" y="76"/>
                    <a:pt x="46" y="75"/>
                  </a:cubicBezTo>
                  <a:cubicBezTo>
                    <a:pt x="46" y="74"/>
                    <a:pt x="45" y="74"/>
                    <a:pt x="45" y="73"/>
                  </a:cubicBezTo>
                  <a:cubicBezTo>
                    <a:pt x="44" y="72"/>
                    <a:pt x="43" y="71"/>
                    <a:pt x="42" y="70"/>
                  </a:cubicBezTo>
                  <a:cubicBezTo>
                    <a:pt x="42" y="69"/>
                    <a:pt x="41" y="69"/>
                    <a:pt x="41" y="68"/>
                  </a:cubicBezTo>
                  <a:cubicBezTo>
                    <a:pt x="41" y="67"/>
                    <a:pt x="40" y="66"/>
                    <a:pt x="41" y="65"/>
                  </a:cubicBezTo>
                  <a:cubicBezTo>
                    <a:pt x="42" y="63"/>
                    <a:pt x="44" y="61"/>
                    <a:pt x="45" y="59"/>
                  </a:cubicBezTo>
                  <a:cubicBezTo>
                    <a:pt x="45" y="58"/>
                    <a:pt x="46" y="57"/>
                    <a:pt x="47" y="57"/>
                  </a:cubicBezTo>
                  <a:cubicBezTo>
                    <a:pt x="49" y="56"/>
                    <a:pt x="52" y="57"/>
                    <a:pt x="54" y="56"/>
                  </a:cubicBezTo>
                  <a:cubicBezTo>
                    <a:pt x="56" y="55"/>
                    <a:pt x="59" y="55"/>
                    <a:pt x="61" y="55"/>
                  </a:cubicBezTo>
                  <a:cubicBezTo>
                    <a:pt x="62" y="56"/>
                    <a:pt x="63" y="58"/>
                    <a:pt x="64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5" y="57"/>
                    <a:pt x="65" y="56"/>
                    <a:pt x="66" y="55"/>
                  </a:cubicBezTo>
                  <a:cubicBezTo>
                    <a:pt x="67" y="53"/>
                    <a:pt x="66" y="51"/>
                    <a:pt x="66" y="50"/>
                  </a:cubicBezTo>
                  <a:cubicBezTo>
                    <a:pt x="66" y="49"/>
                    <a:pt x="66" y="49"/>
                    <a:pt x="65" y="49"/>
                  </a:cubicBezTo>
                  <a:cubicBezTo>
                    <a:pt x="65" y="48"/>
                    <a:pt x="65" y="47"/>
                    <a:pt x="65" y="46"/>
                  </a:cubicBezTo>
                  <a:cubicBezTo>
                    <a:pt x="65" y="45"/>
                    <a:pt x="66" y="45"/>
                    <a:pt x="65" y="44"/>
                  </a:cubicBezTo>
                  <a:cubicBezTo>
                    <a:pt x="65" y="43"/>
                    <a:pt x="64" y="42"/>
                    <a:pt x="63" y="42"/>
                  </a:cubicBezTo>
                  <a:cubicBezTo>
                    <a:pt x="61" y="41"/>
                    <a:pt x="60" y="39"/>
                    <a:pt x="59" y="37"/>
                  </a:cubicBezTo>
                  <a:cubicBezTo>
                    <a:pt x="59" y="36"/>
                    <a:pt x="59" y="36"/>
                    <a:pt x="58" y="35"/>
                  </a:cubicBezTo>
                  <a:cubicBezTo>
                    <a:pt x="58" y="33"/>
                    <a:pt x="58" y="31"/>
                    <a:pt x="58" y="29"/>
                  </a:cubicBezTo>
                  <a:cubicBezTo>
                    <a:pt x="58" y="28"/>
                    <a:pt x="56" y="27"/>
                    <a:pt x="55" y="27"/>
                  </a:cubicBezTo>
                  <a:cubicBezTo>
                    <a:pt x="54" y="26"/>
                    <a:pt x="53" y="26"/>
                    <a:pt x="53" y="25"/>
                  </a:cubicBezTo>
                  <a:cubicBezTo>
                    <a:pt x="52" y="25"/>
                    <a:pt x="52" y="24"/>
                    <a:pt x="52" y="23"/>
                  </a:cubicBezTo>
                  <a:cubicBezTo>
                    <a:pt x="51" y="22"/>
                    <a:pt x="50" y="22"/>
                    <a:pt x="49" y="21"/>
                  </a:cubicBezTo>
                  <a:cubicBezTo>
                    <a:pt x="48" y="20"/>
                    <a:pt x="45" y="20"/>
                    <a:pt x="44" y="22"/>
                  </a:cubicBezTo>
                  <a:cubicBezTo>
                    <a:pt x="43" y="23"/>
                    <a:pt x="42" y="25"/>
                    <a:pt x="40" y="26"/>
                  </a:cubicBezTo>
                  <a:cubicBezTo>
                    <a:pt x="40" y="27"/>
                    <a:pt x="39" y="27"/>
                    <a:pt x="38" y="26"/>
                  </a:cubicBezTo>
                  <a:cubicBezTo>
                    <a:pt x="36" y="25"/>
                    <a:pt x="35" y="22"/>
                    <a:pt x="33" y="24"/>
                  </a:cubicBezTo>
                  <a:cubicBezTo>
                    <a:pt x="32" y="25"/>
                    <a:pt x="30" y="28"/>
                    <a:pt x="28" y="27"/>
                  </a:cubicBezTo>
                  <a:cubicBezTo>
                    <a:pt x="28" y="26"/>
                    <a:pt x="27" y="25"/>
                    <a:pt x="27" y="24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0"/>
                    <a:pt x="29" y="17"/>
                    <a:pt x="28" y="14"/>
                  </a:cubicBezTo>
                  <a:cubicBezTo>
                    <a:pt x="28" y="13"/>
                    <a:pt x="28" y="11"/>
                    <a:pt x="28" y="9"/>
                  </a:cubicBezTo>
                  <a:cubicBezTo>
                    <a:pt x="26" y="8"/>
                    <a:pt x="24" y="10"/>
                    <a:pt x="22" y="9"/>
                  </a:cubicBezTo>
                  <a:cubicBezTo>
                    <a:pt x="22" y="9"/>
                    <a:pt x="22" y="8"/>
                    <a:pt x="22" y="7"/>
                  </a:cubicBezTo>
                  <a:cubicBezTo>
                    <a:pt x="23" y="7"/>
                    <a:pt x="23" y="5"/>
                    <a:pt x="23" y="4"/>
                  </a:cubicBezTo>
                  <a:cubicBezTo>
                    <a:pt x="22" y="3"/>
                    <a:pt x="22" y="3"/>
                    <a:pt x="21" y="2"/>
                  </a:cubicBezTo>
                  <a:cubicBezTo>
                    <a:pt x="20" y="2"/>
                    <a:pt x="19" y="1"/>
                    <a:pt x="19" y="0"/>
                  </a:cubicBezTo>
                  <a:cubicBezTo>
                    <a:pt x="18" y="0"/>
                    <a:pt x="17" y="1"/>
                    <a:pt x="17" y="1"/>
                  </a:cubicBezTo>
                  <a:cubicBezTo>
                    <a:pt x="16" y="1"/>
                    <a:pt x="15" y="2"/>
                    <a:pt x="15" y="3"/>
                  </a:cubicBezTo>
                  <a:cubicBezTo>
                    <a:pt x="15" y="4"/>
                    <a:pt x="14" y="4"/>
                    <a:pt x="13" y="5"/>
                  </a:cubicBezTo>
                  <a:cubicBezTo>
                    <a:pt x="12" y="5"/>
                    <a:pt x="11" y="7"/>
                    <a:pt x="10" y="8"/>
                  </a:cubicBezTo>
                  <a:cubicBezTo>
                    <a:pt x="10" y="8"/>
                    <a:pt x="9" y="8"/>
                    <a:pt x="9" y="8"/>
                  </a:cubicBezTo>
                  <a:cubicBezTo>
                    <a:pt x="8" y="8"/>
                    <a:pt x="6" y="8"/>
                    <a:pt x="5" y="8"/>
                  </a:cubicBezTo>
                  <a:cubicBezTo>
                    <a:pt x="3" y="9"/>
                    <a:pt x="2" y="10"/>
                    <a:pt x="2" y="12"/>
                  </a:cubicBezTo>
                  <a:cubicBezTo>
                    <a:pt x="2" y="14"/>
                    <a:pt x="2" y="15"/>
                    <a:pt x="2" y="17"/>
                  </a:cubicBezTo>
                  <a:cubicBezTo>
                    <a:pt x="1" y="18"/>
                    <a:pt x="0" y="19"/>
                    <a:pt x="1" y="20"/>
                  </a:cubicBezTo>
                  <a:cubicBezTo>
                    <a:pt x="1" y="21"/>
                    <a:pt x="2" y="21"/>
                    <a:pt x="3" y="22"/>
                  </a:cubicBezTo>
                  <a:cubicBezTo>
                    <a:pt x="3" y="24"/>
                    <a:pt x="3" y="26"/>
                    <a:pt x="3" y="27"/>
                  </a:cubicBezTo>
                  <a:cubicBezTo>
                    <a:pt x="4" y="29"/>
                    <a:pt x="6" y="29"/>
                    <a:pt x="7" y="31"/>
                  </a:cubicBezTo>
                  <a:cubicBezTo>
                    <a:pt x="8" y="32"/>
                    <a:pt x="8" y="34"/>
                    <a:pt x="9" y="36"/>
                  </a:cubicBezTo>
                  <a:cubicBezTo>
                    <a:pt x="10" y="37"/>
                    <a:pt x="10" y="37"/>
                    <a:pt x="11" y="38"/>
                  </a:cubicBezTo>
                  <a:cubicBezTo>
                    <a:pt x="12" y="39"/>
                    <a:pt x="12" y="41"/>
                    <a:pt x="12" y="42"/>
                  </a:cubicBezTo>
                  <a:cubicBezTo>
                    <a:pt x="11" y="43"/>
                    <a:pt x="10" y="43"/>
                    <a:pt x="10" y="44"/>
                  </a:cubicBezTo>
                  <a:cubicBezTo>
                    <a:pt x="9" y="45"/>
                    <a:pt x="10" y="47"/>
                    <a:pt x="9" y="48"/>
                  </a:cubicBezTo>
                  <a:cubicBezTo>
                    <a:pt x="8" y="50"/>
                    <a:pt x="7" y="52"/>
                    <a:pt x="8" y="54"/>
                  </a:cubicBezTo>
                  <a:cubicBezTo>
                    <a:pt x="10" y="55"/>
                    <a:pt x="11" y="57"/>
                    <a:pt x="12" y="58"/>
                  </a:cubicBezTo>
                  <a:cubicBezTo>
                    <a:pt x="12" y="59"/>
                    <a:pt x="13" y="59"/>
                    <a:pt x="14" y="60"/>
                  </a:cubicBezTo>
                  <a:cubicBezTo>
                    <a:pt x="14" y="61"/>
                    <a:pt x="15" y="62"/>
                    <a:pt x="15" y="64"/>
                  </a:cubicBezTo>
                  <a:cubicBezTo>
                    <a:pt x="15" y="66"/>
                    <a:pt x="14" y="69"/>
                    <a:pt x="15" y="71"/>
                  </a:cubicBezTo>
                  <a:cubicBezTo>
                    <a:pt x="15" y="71"/>
                    <a:pt x="16" y="72"/>
                    <a:pt x="16" y="72"/>
                  </a:cubicBezTo>
                  <a:cubicBezTo>
                    <a:pt x="16" y="73"/>
                    <a:pt x="18" y="74"/>
                    <a:pt x="19" y="76"/>
                  </a:cubicBezTo>
                  <a:cubicBezTo>
                    <a:pt x="19" y="78"/>
                    <a:pt x="19" y="80"/>
                    <a:pt x="19" y="81"/>
                  </a:cubicBezTo>
                  <a:cubicBezTo>
                    <a:pt x="18" y="82"/>
                    <a:pt x="18" y="82"/>
                    <a:pt x="18" y="83"/>
                  </a:cubicBezTo>
                  <a:cubicBezTo>
                    <a:pt x="17" y="84"/>
                    <a:pt x="17" y="86"/>
                    <a:pt x="16" y="88"/>
                  </a:cubicBezTo>
                  <a:cubicBezTo>
                    <a:pt x="15" y="89"/>
                    <a:pt x="15" y="91"/>
                    <a:pt x="14" y="93"/>
                  </a:cubicBezTo>
                  <a:cubicBezTo>
                    <a:pt x="14" y="94"/>
                    <a:pt x="13" y="95"/>
                    <a:pt x="13" y="97"/>
                  </a:cubicBezTo>
                  <a:lnTo>
                    <a:pt x="12" y="9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1" name="Freeform 230"/>
            <p:cNvSpPr>
              <a:spLocks/>
            </p:cNvSpPr>
            <p:nvPr/>
          </p:nvSpPr>
          <p:spPr bwMode="auto">
            <a:xfrm>
              <a:off x="7836405" y="5040487"/>
              <a:ext cx="91347" cy="186136"/>
            </a:xfrm>
            <a:custGeom>
              <a:avLst/>
              <a:gdLst>
                <a:gd name="T0" fmla="*/ 54083270 w 68"/>
                <a:gd name="T1" fmla="*/ 74389825 h 172"/>
                <a:gd name="T2" fmla="*/ 48439752 w 68"/>
                <a:gd name="T3" fmla="*/ 79192650 h 172"/>
                <a:gd name="T4" fmla="*/ 42415774 w 68"/>
                <a:gd name="T5" fmla="*/ 87801303 h 172"/>
                <a:gd name="T6" fmla="*/ 43227632 w 68"/>
                <a:gd name="T7" fmla="*/ 97625636 h 172"/>
                <a:gd name="T8" fmla="*/ 50223770 w 68"/>
                <a:gd name="T9" fmla="*/ 108226562 h 172"/>
                <a:gd name="T10" fmla="*/ 48439752 w 68"/>
                <a:gd name="T11" fmla="*/ 118056044 h 172"/>
                <a:gd name="T12" fmla="*/ 52929313 w 68"/>
                <a:gd name="T13" fmla="*/ 129425840 h 172"/>
                <a:gd name="T14" fmla="*/ 54826197 w 68"/>
                <a:gd name="T15" fmla="*/ 140807980 h 172"/>
                <a:gd name="T16" fmla="*/ 56589433 w 68"/>
                <a:gd name="T17" fmla="*/ 151837713 h 172"/>
                <a:gd name="T18" fmla="*/ 52084814 w 68"/>
                <a:gd name="T19" fmla="*/ 165305320 h 172"/>
                <a:gd name="T20" fmla="*/ 50223770 w 68"/>
                <a:gd name="T21" fmla="*/ 160499314 h 172"/>
                <a:gd name="T22" fmla="*/ 51019441 w 68"/>
                <a:gd name="T23" fmla="*/ 149767655 h 172"/>
                <a:gd name="T24" fmla="*/ 51019441 w 68"/>
                <a:gd name="T25" fmla="*/ 138033111 h 172"/>
                <a:gd name="T26" fmla="*/ 44975697 w 68"/>
                <a:gd name="T27" fmla="*/ 124555396 h 172"/>
                <a:gd name="T28" fmla="*/ 43227632 w 68"/>
                <a:gd name="T29" fmla="*/ 118056044 h 172"/>
                <a:gd name="T30" fmla="*/ 41611294 w 68"/>
                <a:gd name="T31" fmla="*/ 108226562 h 172"/>
                <a:gd name="T32" fmla="*/ 37948265 w 68"/>
                <a:gd name="T33" fmla="*/ 101296206 h 172"/>
                <a:gd name="T34" fmla="*/ 35244662 w 68"/>
                <a:gd name="T35" fmla="*/ 106101455 h 172"/>
                <a:gd name="T36" fmla="*/ 29344636 w 68"/>
                <a:gd name="T37" fmla="*/ 113042260 h 172"/>
                <a:gd name="T38" fmla="*/ 24731857 w 68"/>
                <a:gd name="T39" fmla="*/ 113900178 h 172"/>
                <a:gd name="T40" fmla="*/ 18371752 w 68"/>
                <a:gd name="T41" fmla="*/ 109029507 h 172"/>
                <a:gd name="T42" fmla="*/ 19433342 w 68"/>
                <a:gd name="T43" fmla="*/ 98369593 h 172"/>
                <a:gd name="T44" fmla="*/ 17684806 w 68"/>
                <a:gd name="T45" fmla="*/ 89028739 h 172"/>
                <a:gd name="T46" fmla="*/ 15774699 w 68"/>
                <a:gd name="T47" fmla="*/ 82099897 h 172"/>
                <a:gd name="T48" fmla="*/ 7807999 w 68"/>
                <a:gd name="T49" fmla="*/ 75534119 h 172"/>
                <a:gd name="T50" fmla="*/ 2560181 w 68"/>
                <a:gd name="T51" fmla="*/ 67827775 h 172"/>
                <a:gd name="T52" fmla="*/ 0 w 68"/>
                <a:gd name="T53" fmla="*/ 62769581 h 172"/>
                <a:gd name="T54" fmla="*/ 4467192 w 68"/>
                <a:gd name="T55" fmla="*/ 58869425 h 172"/>
                <a:gd name="T56" fmla="*/ 7173119 w 68"/>
                <a:gd name="T57" fmla="*/ 49374288 h 172"/>
                <a:gd name="T58" fmla="*/ 12471472 w 68"/>
                <a:gd name="T59" fmla="*/ 42429735 h 172"/>
                <a:gd name="T60" fmla="*/ 14978991 w 68"/>
                <a:gd name="T61" fmla="*/ 34695801 h 172"/>
                <a:gd name="T62" fmla="*/ 14174003 w 68"/>
                <a:gd name="T63" fmla="*/ 25354908 h 172"/>
                <a:gd name="T64" fmla="*/ 18371752 w 68"/>
                <a:gd name="T65" fmla="*/ 23275006 h 172"/>
                <a:gd name="T66" fmla="*/ 22985392 w 68"/>
                <a:gd name="T67" fmla="*/ 10715099 h 172"/>
                <a:gd name="T68" fmla="*/ 28048994 w 68"/>
                <a:gd name="T69" fmla="*/ 9836124 h 172"/>
                <a:gd name="T70" fmla="*/ 30754932 w 68"/>
                <a:gd name="T71" fmla="*/ 8596601 h 172"/>
                <a:gd name="T72" fmla="*/ 32654658 w 68"/>
                <a:gd name="T73" fmla="*/ 0 h 172"/>
                <a:gd name="T74" fmla="*/ 39712716 w 68"/>
                <a:gd name="T75" fmla="*/ 6928863 h 172"/>
                <a:gd name="T76" fmla="*/ 43227632 w 68"/>
                <a:gd name="T77" fmla="*/ 13489987 h 172"/>
                <a:gd name="T78" fmla="*/ 41611294 w 68"/>
                <a:gd name="T79" fmla="*/ 29027315 h 172"/>
                <a:gd name="T80" fmla="*/ 39013959 w 68"/>
                <a:gd name="T81" fmla="*/ 37623947 h 172"/>
                <a:gd name="T82" fmla="*/ 45725476 w 68"/>
                <a:gd name="T83" fmla="*/ 40396704 h 172"/>
                <a:gd name="T84" fmla="*/ 52929313 w 68"/>
                <a:gd name="T85" fmla="*/ 50233380 h 172"/>
                <a:gd name="T86" fmla="*/ 54826197 w 68"/>
                <a:gd name="T87" fmla="*/ 57965847 h 172"/>
                <a:gd name="T88" fmla="*/ 59295465 w 68"/>
                <a:gd name="T89" fmla="*/ 64895445 h 172"/>
                <a:gd name="T90" fmla="*/ 57385179 w 68"/>
                <a:gd name="T91" fmla="*/ 71461659 h 17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68"/>
                <a:gd name="T139" fmla="*/ 0 h 172"/>
                <a:gd name="T140" fmla="*/ 68 w 68"/>
                <a:gd name="T141" fmla="*/ 172 h 17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68" h="172">
                  <a:moveTo>
                    <a:pt x="65" y="74"/>
                  </a:moveTo>
                  <a:cubicBezTo>
                    <a:pt x="64" y="74"/>
                    <a:pt x="63" y="75"/>
                    <a:pt x="63" y="75"/>
                  </a:cubicBezTo>
                  <a:cubicBezTo>
                    <a:pt x="62" y="75"/>
                    <a:pt x="61" y="76"/>
                    <a:pt x="61" y="77"/>
                  </a:cubicBezTo>
                  <a:cubicBezTo>
                    <a:pt x="61" y="78"/>
                    <a:pt x="60" y="78"/>
                    <a:pt x="59" y="79"/>
                  </a:cubicBezTo>
                  <a:cubicBezTo>
                    <a:pt x="58" y="79"/>
                    <a:pt x="57" y="81"/>
                    <a:pt x="56" y="82"/>
                  </a:cubicBezTo>
                  <a:cubicBezTo>
                    <a:pt x="56" y="82"/>
                    <a:pt x="55" y="82"/>
                    <a:pt x="55" y="82"/>
                  </a:cubicBezTo>
                  <a:cubicBezTo>
                    <a:pt x="54" y="82"/>
                    <a:pt x="52" y="82"/>
                    <a:pt x="51" y="82"/>
                  </a:cubicBezTo>
                  <a:cubicBezTo>
                    <a:pt x="49" y="83"/>
                    <a:pt x="48" y="84"/>
                    <a:pt x="48" y="86"/>
                  </a:cubicBezTo>
                  <a:cubicBezTo>
                    <a:pt x="48" y="88"/>
                    <a:pt x="48" y="89"/>
                    <a:pt x="48" y="91"/>
                  </a:cubicBezTo>
                  <a:cubicBezTo>
                    <a:pt x="47" y="92"/>
                    <a:pt x="46" y="93"/>
                    <a:pt x="47" y="94"/>
                  </a:cubicBezTo>
                  <a:cubicBezTo>
                    <a:pt x="47" y="95"/>
                    <a:pt x="48" y="95"/>
                    <a:pt x="49" y="96"/>
                  </a:cubicBezTo>
                  <a:cubicBezTo>
                    <a:pt x="49" y="98"/>
                    <a:pt x="49" y="100"/>
                    <a:pt x="49" y="101"/>
                  </a:cubicBezTo>
                  <a:cubicBezTo>
                    <a:pt x="50" y="103"/>
                    <a:pt x="52" y="103"/>
                    <a:pt x="53" y="105"/>
                  </a:cubicBezTo>
                  <a:cubicBezTo>
                    <a:pt x="54" y="106"/>
                    <a:pt x="54" y="108"/>
                    <a:pt x="55" y="110"/>
                  </a:cubicBezTo>
                  <a:cubicBezTo>
                    <a:pt x="56" y="111"/>
                    <a:pt x="56" y="111"/>
                    <a:pt x="57" y="112"/>
                  </a:cubicBezTo>
                  <a:cubicBezTo>
                    <a:pt x="58" y="113"/>
                    <a:pt x="58" y="115"/>
                    <a:pt x="58" y="116"/>
                  </a:cubicBezTo>
                  <a:cubicBezTo>
                    <a:pt x="57" y="117"/>
                    <a:pt x="56" y="117"/>
                    <a:pt x="56" y="118"/>
                  </a:cubicBezTo>
                  <a:cubicBezTo>
                    <a:pt x="55" y="119"/>
                    <a:pt x="56" y="121"/>
                    <a:pt x="55" y="122"/>
                  </a:cubicBezTo>
                  <a:cubicBezTo>
                    <a:pt x="54" y="124"/>
                    <a:pt x="53" y="126"/>
                    <a:pt x="54" y="128"/>
                  </a:cubicBezTo>
                  <a:cubicBezTo>
                    <a:pt x="56" y="129"/>
                    <a:pt x="57" y="131"/>
                    <a:pt x="58" y="132"/>
                  </a:cubicBezTo>
                  <a:cubicBezTo>
                    <a:pt x="58" y="133"/>
                    <a:pt x="59" y="133"/>
                    <a:pt x="60" y="134"/>
                  </a:cubicBezTo>
                  <a:cubicBezTo>
                    <a:pt x="60" y="135"/>
                    <a:pt x="61" y="136"/>
                    <a:pt x="61" y="138"/>
                  </a:cubicBezTo>
                  <a:cubicBezTo>
                    <a:pt x="61" y="140"/>
                    <a:pt x="60" y="143"/>
                    <a:pt x="61" y="145"/>
                  </a:cubicBezTo>
                  <a:cubicBezTo>
                    <a:pt x="61" y="145"/>
                    <a:pt x="62" y="146"/>
                    <a:pt x="62" y="146"/>
                  </a:cubicBezTo>
                  <a:cubicBezTo>
                    <a:pt x="62" y="147"/>
                    <a:pt x="64" y="148"/>
                    <a:pt x="65" y="150"/>
                  </a:cubicBezTo>
                  <a:cubicBezTo>
                    <a:pt x="65" y="152"/>
                    <a:pt x="65" y="154"/>
                    <a:pt x="65" y="155"/>
                  </a:cubicBezTo>
                  <a:cubicBezTo>
                    <a:pt x="64" y="156"/>
                    <a:pt x="64" y="156"/>
                    <a:pt x="64" y="157"/>
                  </a:cubicBezTo>
                  <a:cubicBezTo>
                    <a:pt x="63" y="158"/>
                    <a:pt x="63" y="160"/>
                    <a:pt x="62" y="162"/>
                  </a:cubicBezTo>
                  <a:cubicBezTo>
                    <a:pt x="61" y="163"/>
                    <a:pt x="61" y="165"/>
                    <a:pt x="60" y="167"/>
                  </a:cubicBezTo>
                  <a:cubicBezTo>
                    <a:pt x="60" y="168"/>
                    <a:pt x="59" y="169"/>
                    <a:pt x="59" y="171"/>
                  </a:cubicBezTo>
                  <a:cubicBezTo>
                    <a:pt x="58" y="172"/>
                    <a:pt x="58" y="172"/>
                    <a:pt x="58" y="172"/>
                  </a:cubicBezTo>
                  <a:cubicBezTo>
                    <a:pt x="58" y="171"/>
                    <a:pt x="58" y="170"/>
                    <a:pt x="58" y="169"/>
                  </a:cubicBezTo>
                  <a:cubicBezTo>
                    <a:pt x="58" y="168"/>
                    <a:pt x="58" y="167"/>
                    <a:pt x="57" y="166"/>
                  </a:cubicBezTo>
                  <a:cubicBezTo>
                    <a:pt x="57" y="164"/>
                    <a:pt x="58" y="163"/>
                    <a:pt x="58" y="162"/>
                  </a:cubicBezTo>
                  <a:cubicBezTo>
                    <a:pt x="59" y="160"/>
                    <a:pt x="59" y="159"/>
                    <a:pt x="58" y="157"/>
                  </a:cubicBezTo>
                  <a:cubicBezTo>
                    <a:pt x="58" y="156"/>
                    <a:pt x="58" y="156"/>
                    <a:pt x="58" y="155"/>
                  </a:cubicBezTo>
                  <a:cubicBezTo>
                    <a:pt x="57" y="154"/>
                    <a:pt x="57" y="152"/>
                    <a:pt x="58" y="150"/>
                  </a:cubicBezTo>
                  <a:cubicBezTo>
                    <a:pt x="58" y="150"/>
                    <a:pt x="58" y="149"/>
                    <a:pt x="58" y="149"/>
                  </a:cubicBezTo>
                  <a:cubicBezTo>
                    <a:pt x="58" y="147"/>
                    <a:pt x="59" y="145"/>
                    <a:pt x="58" y="143"/>
                  </a:cubicBezTo>
                  <a:cubicBezTo>
                    <a:pt x="57" y="141"/>
                    <a:pt x="56" y="139"/>
                    <a:pt x="55" y="137"/>
                  </a:cubicBezTo>
                  <a:cubicBezTo>
                    <a:pt x="54" y="136"/>
                    <a:pt x="54" y="135"/>
                    <a:pt x="54" y="135"/>
                  </a:cubicBezTo>
                  <a:cubicBezTo>
                    <a:pt x="53" y="133"/>
                    <a:pt x="51" y="131"/>
                    <a:pt x="51" y="129"/>
                  </a:cubicBezTo>
                  <a:cubicBezTo>
                    <a:pt x="50" y="128"/>
                    <a:pt x="51" y="127"/>
                    <a:pt x="50" y="126"/>
                  </a:cubicBezTo>
                  <a:cubicBezTo>
                    <a:pt x="50" y="125"/>
                    <a:pt x="51" y="124"/>
                    <a:pt x="50" y="123"/>
                  </a:cubicBezTo>
                  <a:cubicBezTo>
                    <a:pt x="50" y="123"/>
                    <a:pt x="49" y="122"/>
                    <a:pt x="49" y="122"/>
                  </a:cubicBezTo>
                  <a:cubicBezTo>
                    <a:pt x="49" y="120"/>
                    <a:pt x="49" y="118"/>
                    <a:pt x="49" y="117"/>
                  </a:cubicBezTo>
                  <a:cubicBezTo>
                    <a:pt x="49" y="116"/>
                    <a:pt x="48" y="116"/>
                    <a:pt x="48" y="116"/>
                  </a:cubicBezTo>
                  <a:cubicBezTo>
                    <a:pt x="47" y="115"/>
                    <a:pt x="48" y="113"/>
                    <a:pt x="47" y="112"/>
                  </a:cubicBezTo>
                  <a:cubicBezTo>
                    <a:pt x="45" y="111"/>
                    <a:pt x="45" y="109"/>
                    <a:pt x="44" y="108"/>
                  </a:cubicBezTo>
                  <a:cubicBezTo>
                    <a:pt x="44" y="107"/>
                    <a:pt x="43" y="107"/>
                    <a:pt x="43" y="107"/>
                  </a:cubicBezTo>
                  <a:cubicBezTo>
                    <a:pt x="43" y="106"/>
                    <a:pt x="43" y="105"/>
                    <a:pt x="43" y="105"/>
                  </a:cubicBezTo>
                  <a:cubicBezTo>
                    <a:pt x="42" y="104"/>
                    <a:pt x="41" y="104"/>
                    <a:pt x="41" y="105"/>
                  </a:cubicBezTo>
                  <a:cubicBezTo>
                    <a:pt x="41" y="105"/>
                    <a:pt x="41" y="107"/>
                    <a:pt x="41" y="108"/>
                  </a:cubicBezTo>
                  <a:cubicBezTo>
                    <a:pt x="41" y="109"/>
                    <a:pt x="41" y="110"/>
                    <a:pt x="40" y="110"/>
                  </a:cubicBezTo>
                  <a:cubicBezTo>
                    <a:pt x="39" y="111"/>
                    <a:pt x="39" y="111"/>
                    <a:pt x="38" y="111"/>
                  </a:cubicBezTo>
                  <a:cubicBezTo>
                    <a:pt x="37" y="112"/>
                    <a:pt x="35" y="113"/>
                    <a:pt x="34" y="115"/>
                  </a:cubicBezTo>
                  <a:cubicBezTo>
                    <a:pt x="33" y="115"/>
                    <a:pt x="33" y="116"/>
                    <a:pt x="33" y="117"/>
                  </a:cubicBezTo>
                  <a:cubicBezTo>
                    <a:pt x="32" y="118"/>
                    <a:pt x="31" y="119"/>
                    <a:pt x="30" y="119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29" y="118"/>
                    <a:pt x="28" y="118"/>
                    <a:pt x="28" y="118"/>
                  </a:cubicBezTo>
                  <a:cubicBezTo>
                    <a:pt x="27" y="117"/>
                    <a:pt x="26" y="117"/>
                    <a:pt x="25" y="116"/>
                  </a:cubicBezTo>
                  <a:cubicBezTo>
                    <a:pt x="24" y="116"/>
                    <a:pt x="23" y="116"/>
                    <a:pt x="23" y="116"/>
                  </a:cubicBezTo>
                  <a:cubicBezTo>
                    <a:pt x="22" y="115"/>
                    <a:pt x="21" y="114"/>
                    <a:pt x="21" y="113"/>
                  </a:cubicBezTo>
                  <a:cubicBezTo>
                    <a:pt x="21" y="112"/>
                    <a:pt x="21" y="110"/>
                    <a:pt x="22" y="109"/>
                  </a:cubicBezTo>
                  <a:cubicBezTo>
                    <a:pt x="22" y="108"/>
                    <a:pt x="23" y="107"/>
                    <a:pt x="23" y="105"/>
                  </a:cubicBezTo>
                  <a:cubicBezTo>
                    <a:pt x="23" y="104"/>
                    <a:pt x="23" y="103"/>
                    <a:pt x="22" y="102"/>
                  </a:cubicBezTo>
                  <a:cubicBezTo>
                    <a:pt x="22" y="101"/>
                    <a:pt x="22" y="99"/>
                    <a:pt x="22" y="97"/>
                  </a:cubicBezTo>
                  <a:cubicBezTo>
                    <a:pt x="22" y="97"/>
                    <a:pt x="22" y="96"/>
                    <a:pt x="21" y="96"/>
                  </a:cubicBezTo>
                  <a:cubicBezTo>
                    <a:pt x="21" y="95"/>
                    <a:pt x="20" y="93"/>
                    <a:pt x="20" y="92"/>
                  </a:cubicBezTo>
                  <a:cubicBezTo>
                    <a:pt x="19" y="91"/>
                    <a:pt x="20" y="90"/>
                    <a:pt x="19" y="89"/>
                  </a:cubicBezTo>
                  <a:cubicBezTo>
                    <a:pt x="19" y="89"/>
                    <a:pt x="19" y="88"/>
                    <a:pt x="19" y="88"/>
                  </a:cubicBezTo>
                  <a:cubicBezTo>
                    <a:pt x="18" y="87"/>
                    <a:pt x="18" y="86"/>
                    <a:pt x="18" y="85"/>
                  </a:cubicBezTo>
                  <a:cubicBezTo>
                    <a:pt x="17" y="84"/>
                    <a:pt x="17" y="83"/>
                    <a:pt x="16" y="82"/>
                  </a:cubicBezTo>
                  <a:cubicBezTo>
                    <a:pt x="16" y="81"/>
                    <a:pt x="15" y="80"/>
                    <a:pt x="14" y="80"/>
                  </a:cubicBezTo>
                  <a:cubicBezTo>
                    <a:pt x="13" y="78"/>
                    <a:pt x="11" y="79"/>
                    <a:pt x="9" y="78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8" y="77"/>
                    <a:pt x="8" y="76"/>
                    <a:pt x="7" y="75"/>
                  </a:cubicBezTo>
                  <a:cubicBezTo>
                    <a:pt x="6" y="73"/>
                    <a:pt x="4" y="72"/>
                    <a:pt x="3" y="70"/>
                  </a:cubicBezTo>
                  <a:cubicBezTo>
                    <a:pt x="3" y="69"/>
                    <a:pt x="3" y="68"/>
                    <a:pt x="2" y="68"/>
                  </a:cubicBezTo>
                  <a:cubicBezTo>
                    <a:pt x="2" y="67"/>
                    <a:pt x="1" y="67"/>
                    <a:pt x="1" y="67"/>
                  </a:cubicBezTo>
                  <a:cubicBezTo>
                    <a:pt x="1" y="66"/>
                    <a:pt x="0" y="66"/>
                    <a:pt x="0" y="65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2" y="65"/>
                    <a:pt x="4" y="66"/>
                    <a:pt x="4" y="65"/>
                  </a:cubicBezTo>
                  <a:cubicBezTo>
                    <a:pt x="4" y="63"/>
                    <a:pt x="3" y="62"/>
                    <a:pt x="5" y="61"/>
                  </a:cubicBezTo>
                  <a:cubicBezTo>
                    <a:pt x="6" y="60"/>
                    <a:pt x="8" y="60"/>
                    <a:pt x="9" y="59"/>
                  </a:cubicBezTo>
                  <a:cubicBezTo>
                    <a:pt x="9" y="58"/>
                    <a:pt x="9" y="57"/>
                    <a:pt x="9" y="57"/>
                  </a:cubicBezTo>
                  <a:cubicBezTo>
                    <a:pt x="8" y="55"/>
                    <a:pt x="9" y="53"/>
                    <a:pt x="8" y="51"/>
                  </a:cubicBezTo>
                  <a:cubicBezTo>
                    <a:pt x="10" y="50"/>
                    <a:pt x="10" y="47"/>
                    <a:pt x="11" y="45"/>
                  </a:cubicBezTo>
                  <a:cubicBezTo>
                    <a:pt x="11" y="44"/>
                    <a:pt x="11" y="44"/>
                    <a:pt x="12" y="44"/>
                  </a:cubicBezTo>
                  <a:cubicBezTo>
                    <a:pt x="12" y="44"/>
                    <a:pt x="13" y="44"/>
                    <a:pt x="14" y="44"/>
                  </a:cubicBezTo>
                  <a:cubicBezTo>
                    <a:pt x="14" y="43"/>
                    <a:pt x="15" y="43"/>
                    <a:pt x="15" y="43"/>
                  </a:cubicBezTo>
                  <a:cubicBezTo>
                    <a:pt x="16" y="40"/>
                    <a:pt x="16" y="38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5"/>
                    <a:pt x="17" y="33"/>
                    <a:pt x="18" y="32"/>
                  </a:cubicBezTo>
                  <a:cubicBezTo>
                    <a:pt x="18" y="31"/>
                    <a:pt x="19" y="30"/>
                    <a:pt x="18" y="29"/>
                  </a:cubicBezTo>
                  <a:cubicBezTo>
                    <a:pt x="18" y="28"/>
                    <a:pt x="16" y="28"/>
                    <a:pt x="16" y="26"/>
                  </a:cubicBezTo>
                  <a:cubicBezTo>
                    <a:pt x="16" y="26"/>
                    <a:pt x="17" y="26"/>
                    <a:pt x="17" y="26"/>
                  </a:cubicBezTo>
                  <a:cubicBezTo>
                    <a:pt x="18" y="26"/>
                    <a:pt x="19" y="26"/>
                    <a:pt x="19" y="25"/>
                  </a:cubicBezTo>
                  <a:cubicBezTo>
                    <a:pt x="20" y="25"/>
                    <a:pt x="21" y="24"/>
                    <a:pt x="21" y="24"/>
                  </a:cubicBezTo>
                  <a:cubicBezTo>
                    <a:pt x="22" y="22"/>
                    <a:pt x="22" y="20"/>
                    <a:pt x="21" y="19"/>
                  </a:cubicBezTo>
                  <a:cubicBezTo>
                    <a:pt x="21" y="18"/>
                    <a:pt x="20" y="17"/>
                    <a:pt x="21" y="17"/>
                  </a:cubicBezTo>
                  <a:cubicBezTo>
                    <a:pt x="23" y="15"/>
                    <a:pt x="24" y="13"/>
                    <a:pt x="26" y="11"/>
                  </a:cubicBezTo>
                  <a:cubicBezTo>
                    <a:pt x="26" y="11"/>
                    <a:pt x="27" y="11"/>
                    <a:pt x="27" y="11"/>
                  </a:cubicBezTo>
                  <a:cubicBezTo>
                    <a:pt x="28" y="10"/>
                    <a:pt x="30" y="9"/>
                    <a:pt x="31" y="10"/>
                  </a:cubicBezTo>
                  <a:cubicBezTo>
                    <a:pt x="31" y="10"/>
                    <a:pt x="31" y="10"/>
                    <a:pt x="32" y="10"/>
                  </a:cubicBezTo>
                  <a:cubicBezTo>
                    <a:pt x="33" y="11"/>
                    <a:pt x="33" y="11"/>
                    <a:pt x="34" y="12"/>
                  </a:cubicBezTo>
                  <a:cubicBezTo>
                    <a:pt x="34" y="12"/>
                    <a:pt x="35" y="12"/>
                    <a:pt x="35" y="12"/>
                  </a:cubicBezTo>
                  <a:cubicBezTo>
                    <a:pt x="35" y="11"/>
                    <a:pt x="35" y="10"/>
                    <a:pt x="35" y="9"/>
                  </a:cubicBezTo>
                  <a:cubicBezTo>
                    <a:pt x="34" y="9"/>
                    <a:pt x="34" y="7"/>
                    <a:pt x="34" y="7"/>
                  </a:cubicBezTo>
                  <a:cubicBezTo>
                    <a:pt x="34" y="5"/>
                    <a:pt x="36" y="5"/>
                    <a:pt x="37" y="5"/>
                  </a:cubicBezTo>
                  <a:cubicBezTo>
                    <a:pt x="37" y="4"/>
                    <a:pt x="38" y="1"/>
                    <a:pt x="37" y="0"/>
                  </a:cubicBezTo>
                  <a:cubicBezTo>
                    <a:pt x="39" y="0"/>
                    <a:pt x="39" y="0"/>
                    <a:pt x="41" y="0"/>
                  </a:cubicBezTo>
                  <a:cubicBezTo>
                    <a:pt x="42" y="0"/>
                    <a:pt x="43" y="1"/>
                    <a:pt x="43" y="2"/>
                  </a:cubicBezTo>
                  <a:cubicBezTo>
                    <a:pt x="44" y="4"/>
                    <a:pt x="44" y="6"/>
                    <a:pt x="45" y="7"/>
                  </a:cubicBezTo>
                  <a:cubicBezTo>
                    <a:pt x="45" y="7"/>
                    <a:pt x="45" y="8"/>
                    <a:pt x="45" y="8"/>
                  </a:cubicBezTo>
                  <a:cubicBezTo>
                    <a:pt x="47" y="8"/>
                    <a:pt x="47" y="9"/>
                    <a:pt x="48" y="10"/>
                  </a:cubicBezTo>
                  <a:cubicBezTo>
                    <a:pt x="49" y="11"/>
                    <a:pt x="49" y="12"/>
                    <a:pt x="49" y="14"/>
                  </a:cubicBezTo>
                  <a:cubicBezTo>
                    <a:pt x="49" y="17"/>
                    <a:pt x="50" y="20"/>
                    <a:pt x="49" y="24"/>
                  </a:cubicBezTo>
                  <a:cubicBezTo>
                    <a:pt x="49" y="25"/>
                    <a:pt x="49" y="27"/>
                    <a:pt x="49" y="28"/>
                  </a:cubicBezTo>
                  <a:cubicBezTo>
                    <a:pt x="48" y="29"/>
                    <a:pt x="48" y="30"/>
                    <a:pt x="47" y="30"/>
                  </a:cubicBezTo>
                  <a:cubicBezTo>
                    <a:pt x="45" y="31"/>
                    <a:pt x="44" y="33"/>
                    <a:pt x="43" y="34"/>
                  </a:cubicBezTo>
                  <a:cubicBezTo>
                    <a:pt x="42" y="35"/>
                    <a:pt x="43" y="36"/>
                    <a:pt x="43" y="37"/>
                  </a:cubicBezTo>
                  <a:cubicBezTo>
                    <a:pt x="43" y="37"/>
                    <a:pt x="43" y="38"/>
                    <a:pt x="44" y="39"/>
                  </a:cubicBezTo>
                  <a:cubicBezTo>
                    <a:pt x="44" y="40"/>
                    <a:pt x="43" y="41"/>
                    <a:pt x="44" y="42"/>
                  </a:cubicBezTo>
                  <a:cubicBezTo>
                    <a:pt x="44" y="42"/>
                    <a:pt x="45" y="42"/>
                    <a:pt x="45" y="42"/>
                  </a:cubicBezTo>
                  <a:cubicBezTo>
                    <a:pt x="47" y="41"/>
                    <a:pt x="51" y="39"/>
                    <a:pt x="52" y="42"/>
                  </a:cubicBezTo>
                  <a:cubicBezTo>
                    <a:pt x="53" y="44"/>
                    <a:pt x="53" y="46"/>
                    <a:pt x="54" y="48"/>
                  </a:cubicBezTo>
                  <a:cubicBezTo>
                    <a:pt x="55" y="48"/>
                    <a:pt x="57" y="48"/>
                    <a:pt x="58" y="49"/>
                  </a:cubicBezTo>
                  <a:cubicBezTo>
                    <a:pt x="60" y="49"/>
                    <a:pt x="60" y="51"/>
                    <a:pt x="60" y="52"/>
                  </a:cubicBezTo>
                  <a:cubicBezTo>
                    <a:pt x="59" y="53"/>
                    <a:pt x="59" y="55"/>
                    <a:pt x="58" y="56"/>
                  </a:cubicBezTo>
                  <a:cubicBezTo>
                    <a:pt x="58" y="57"/>
                    <a:pt x="57" y="58"/>
                    <a:pt x="58" y="58"/>
                  </a:cubicBezTo>
                  <a:cubicBezTo>
                    <a:pt x="59" y="59"/>
                    <a:pt x="62" y="59"/>
                    <a:pt x="62" y="60"/>
                  </a:cubicBezTo>
                  <a:cubicBezTo>
                    <a:pt x="62" y="61"/>
                    <a:pt x="62" y="62"/>
                    <a:pt x="62" y="63"/>
                  </a:cubicBezTo>
                  <a:cubicBezTo>
                    <a:pt x="63" y="63"/>
                    <a:pt x="65" y="64"/>
                    <a:pt x="66" y="65"/>
                  </a:cubicBezTo>
                  <a:cubicBezTo>
                    <a:pt x="66" y="65"/>
                    <a:pt x="67" y="66"/>
                    <a:pt x="67" y="67"/>
                  </a:cubicBezTo>
                  <a:cubicBezTo>
                    <a:pt x="68" y="68"/>
                    <a:pt x="68" y="69"/>
                    <a:pt x="67" y="70"/>
                  </a:cubicBezTo>
                  <a:cubicBezTo>
                    <a:pt x="67" y="71"/>
                    <a:pt x="65" y="71"/>
                    <a:pt x="65" y="72"/>
                  </a:cubicBezTo>
                  <a:cubicBezTo>
                    <a:pt x="64" y="73"/>
                    <a:pt x="65" y="74"/>
                    <a:pt x="65" y="7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2" name="Freeform 231"/>
            <p:cNvSpPr>
              <a:spLocks/>
            </p:cNvSpPr>
            <p:nvPr/>
          </p:nvSpPr>
          <p:spPr bwMode="auto">
            <a:xfrm>
              <a:off x="8083617" y="5274970"/>
              <a:ext cx="13775" cy="9669"/>
            </a:xfrm>
            <a:custGeom>
              <a:avLst/>
              <a:gdLst>
                <a:gd name="T0" fmla="*/ 11140513 w 10"/>
                <a:gd name="T1" fmla="*/ 1697572 h 9"/>
                <a:gd name="T2" fmla="*/ 11140513 w 10"/>
                <a:gd name="T3" fmla="*/ 5234180 h 9"/>
                <a:gd name="T4" fmla="*/ 9650293 w 10"/>
                <a:gd name="T5" fmla="*/ 5234180 h 9"/>
                <a:gd name="T6" fmla="*/ 7196548 w 10"/>
                <a:gd name="T7" fmla="*/ 2970751 h 9"/>
                <a:gd name="T8" fmla="*/ 6131150 w 10"/>
                <a:gd name="T9" fmla="*/ 2970751 h 9"/>
                <a:gd name="T10" fmla="*/ 6131150 w 10"/>
                <a:gd name="T11" fmla="*/ 6253179 h 9"/>
                <a:gd name="T12" fmla="*/ 1064436 w 10"/>
                <a:gd name="T13" fmla="*/ 3961001 h 9"/>
                <a:gd name="T14" fmla="*/ 0 w 10"/>
                <a:gd name="T15" fmla="*/ 3961001 h 9"/>
                <a:gd name="T16" fmla="*/ 5085394 w 10"/>
                <a:gd name="T17" fmla="*/ 1697572 h 9"/>
                <a:gd name="T18" fmla="*/ 6131150 w 10"/>
                <a:gd name="T19" fmla="*/ 727531 h 9"/>
                <a:gd name="T20" fmla="*/ 8585865 w 10"/>
                <a:gd name="T21" fmla="*/ 727531 h 9"/>
                <a:gd name="T22" fmla="*/ 11140513 w 10"/>
                <a:gd name="T23" fmla="*/ 1697572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"/>
                <a:gd name="T37" fmla="*/ 0 h 9"/>
                <a:gd name="T38" fmla="*/ 10 w 10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" h="9">
                  <a:moveTo>
                    <a:pt x="9" y="2"/>
                  </a:moveTo>
                  <a:cubicBezTo>
                    <a:pt x="9" y="4"/>
                    <a:pt x="10" y="5"/>
                    <a:pt x="9" y="7"/>
                  </a:cubicBezTo>
                  <a:cubicBezTo>
                    <a:pt x="9" y="7"/>
                    <a:pt x="8" y="7"/>
                    <a:pt x="8" y="7"/>
                  </a:cubicBezTo>
                  <a:cubicBezTo>
                    <a:pt x="7" y="6"/>
                    <a:pt x="7" y="4"/>
                    <a:pt x="6" y="4"/>
                  </a:cubicBezTo>
                  <a:cubicBezTo>
                    <a:pt x="6" y="3"/>
                    <a:pt x="5" y="3"/>
                    <a:pt x="5" y="4"/>
                  </a:cubicBezTo>
                  <a:cubicBezTo>
                    <a:pt x="4" y="5"/>
                    <a:pt x="5" y="7"/>
                    <a:pt x="5" y="8"/>
                  </a:cubicBezTo>
                  <a:cubicBezTo>
                    <a:pt x="2" y="9"/>
                    <a:pt x="2" y="6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3" y="4"/>
                    <a:pt x="4" y="2"/>
                  </a:cubicBezTo>
                  <a:cubicBezTo>
                    <a:pt x="4" y="2"/>
                    <a:pt x="5" y="1"/>
                    <a:pt x="5" y="1"/>
                  </a:cubicBezTo>
                  <a:cubicBezTo>
                    <a:pt x="6" y="0"/>
                    <a:pt x="7" y="0"/>
                    <a:pt x="7" y="1"/>
                  </a:cubicBezTo>
                  <a:cubicBezTo>
                    <a:pt x="8" y="1"/>
                    <a:pt x="9" y="2"/>
                    <a:pt x="9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3" name="Freeform 232"/>
            <p:cNvSpPr>
              <a:spLocks/>
            </p:cNvSpPr>
            <p:nvPr/>
          </p:nvSpPr>
          <p:spPr bwMode="auto">
            <a:xfrm>
              <a:off x="7933549" y="5258048"/>
              <a:ext cx="48574" cy="52577"/>
            </a:xfrm>
            <a:custGeom>
              <a:avLst/>
              <a:gdLst>
                <a:gd name="T0" fmla="*/ 0 w 36"/>
                <a:gd name="T1" fmla="*/ 2040963 h 49"/>
                <a:gd name="T2" fmla="*/ 839472 w 36"/>
                <a:gd name="T3" fmla="*/ 2947885 h 49"/>
                <a:gd name="T4" fmla="*/ 1982086 w 36"/>
                <a:gd name="T5" fmla="*/ 8635868 h 49"/>
                <a:gd name="T6" fmla="*/ 1982086 w 36"/>
                <a:gd name="T7" fmla="*/ 10787414 h 49"/>
                <a:gd name="T8" fmla="*/ 3548896 w 36"/>
                <a:gd name="T9" fmla="*/ 16520918 h 49"/>
                <a:gd name="T10" fmla="*/ 4679924 w 36"/>
                <a:gd name="T11" fmla="*/ 20444089 h 49"/>
                <a:gd name="T12" fmla="*/ 5519055 w 36"/>
                <a:gd name="T13" fmla="*/ 22208899 h 49"/>
                <a:gd name="T14" fmla="*/ 5519055 w 36"/>
                <a:gd name="T15" fmla="*/ 26398420 h 49"/>
                <a:gd name="T16" fmla="*/ 8379337 w 36"/>
                <a:gd name="T17" fmla="*/ 29185468 h 49"/>
                <a:gd name="T18" fmla="*/ 10210418 w 36"/>
                <a:gd name="T19" fmla="*/ 31226594 h 49"/>
                <a:gd name="T20" fmla="*/ 10210418 w 36"/>
                <a:gd name="T21" fmla="*/ 32784232 h 49"/>
                <a:gd name="T22" fmla="*/ 10210418 w 36"/>
                <a:gd name="T23" fmla="*/ 34919048 h 49"/>
                <a:gd name="T24" fmla="*/ 15040843 w 36"/>
                <a:gd name="T25" fmla="*/ 39110728 h 49"/>
                <a:gd name="T26" fmla="*/ 15729730 w 36"/>
                <a:gd name="T27" fmla="*/ 39906544 h 49"/>
                <a:gd name="T28" fmla="*/ 17710644 w 36"/>
                <a:gd name="T29" fmla="*/ 40651671 h 49"/>
                <a:gd name="T30" fmla="*/ 19784540 w 36"/>
                <a:gd name="T31" fmla="*/ 42692589 h 49"/>
                <a:gd name="T32" fmla="*/ 25303554 w 36"/>
                <a:gd name="T33" fmla="*/ 44799603 h 49"/>
                <a:gd name="T34" fmla="*/ 26089842 w 36"/>
                <a:gd name="T35" fmla="*/ 44799603 h 49"/>
                <a:gd name="T36" fmla="*/ 26089842 w 36"/>
                <a:gd name="T37" fmla="*/ 45705406 h 49"/>
                <a:gd name="T38" fmla="*/ 28785776 w 36"/>
                <a:gd name="T39" fmla="*/ 45705406 h 49"/>
                <a:gd name="T40" fmla="*/ 32815247 w 36"/>
                <a:gd name="T41" fmla="*/ 46882375 h 49"/>
                <a:gd name="T42" fmla="*/ 32815247 w 36"/>
                <a:gd name="T43" fmla="*/ 45705406 h 49"/>
                <a:gd name="T44" fmla="*/ 31608852 w 36"/>
                <a:gd name="T45" fmla="*/ 43935692 h 49"/>
                <a:gd name="T46" fmla="*/ 29992152 w 36"/>
                <a:gd name="T47" fmla="*/ 39110728 h 49"/>
                <a:gd name="T48" fmla="*/ 28123853 w 36"/>
                <a:gd name="T49" fmla="*/ 36095789 h 49"/>
                <a:gd name="T50" fmla="*/ 25303554 w 36"/>
                <a:gd name="T51" fmla="*/ 32784232 h 49"/>
                <a:gd name="T52" fmla="*/ 25303554 w 36"/>
                <a:gd name="T53" fmla="*/ 19306603 h 49"/>
                <a:gd name="T54" fmla="*/ 23229971 w 36"/>
                <a:gd name="T55" fmla="*/ 16520918 h 49"/>
                <a:gd name="T56" fmla="*/ 23229971 w 36"/>
                <a:gd name="T57" fmla="*/ 13573033 h 49"/>
                <a:gd name="T58" fmla="*/ 15729730 w 36"/>
                <a:gd name="T59" fmla="*/ 5733436 h 49"/>
                <a:gd name="T60" fmla="*/ 15040843 w 36"/>
                <a:gd name="T61" fmla="*/ 6978664 h 49"/>
                <a:gd name="T62" fmla="*/ 13898226 w 36"/>
                <a:gd name="T63" fmla="*/ 7839602 h 49"/>
                <a:gd name="T64" fmla="*/ 13031094 w 36"/>
                <a:gd name="T65" fmla="*/ 9918056 h 49"/>
                <a:gd name="T66" fmla="*/ 10210418 w 36"/>
                <a:gd name="T67" fmla="*/ 9918056 h 49"/>
                <a:gd name="T68" fmla="*/ 9573822 w 36"/>
                <a:gd name="T69" fmla="*/ 10787414 h 49"/>
                <a:gd name="T70" fmla="*/ 8379337 w 36"/>
                <a:gd name="T71" fmla="*/ 10787414 h 49"/>
                <a:gd name="T72" fmla="*/ 7500980 w 36"/>
                <a:gd name="T73" fmla="*/ 9918056 h 49"/>
                <a:gd name="T74" fmla="*/ 7500980 w 36"/>
                <a:gd name="T75" fmla="*/ 5733436 h 49"/>
                <a:gd name="T76" fmla="*/ 2821556 w 36"/>
                <a:gd name="T77" fmla="*/ 2040963 h 49"/>
                <a:gd name="T78" fmla="*/ 2821556 w 36"/>
                <a:gd name="T79" fmla="*/ 862131 h 49"/>
                <a:gd name="T80" fmla="*/ 0 w 36"/>
                <a:gd name="T81" fmla="*/ 862131 h 49"/>
                <a:gd name="T82" fmla="*/ 0 w 36"/>
                <a:gd name="T83" fmla="*/ 2040963 h 4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6"/>
                <a:gd name="T127" fmla="*/ 0 h 49"/>
                <a:gd name="T128" fmla="*/ 36 w 36"/>
                <a:gd name="T129" fmla="*/ 49 h 4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6" h="49">
                  <a:moveTo>
                    <a:pt x="0" y="2"/>
                  </a:moveTo>
                  <a:cubicBezTo>
                    <a:pt x="0" y="2"/>
                    <a:pt x="1" y="3"/>
                    <a:pt x="1" y="3"/>
                  </a:cubicBezTo>
                  <a:cubicBezTo>
                    <a:pt x="2" y="5"/>
                    <a:pt x="2" y="7"/>
                    <a:pt x="2" y="9"/>
                  </a:cubicBezTo>
                  <a:cubicBezTo>
                    <a:pt x="2" y="9"/>
                    <a:pt x="2" y="10"/>
                    <a:pt x="2" y="11"/>
                  </a:cubicBezTo>
                  <a:cubicBezTo>
                    <a:pt x="3" y="13"/>
                    <a:pt x="4" y="15"/>
                    <a:pt x="4" y="17"/>
                  </a:cubicBezTo>
                  <a:cubicBezTo>
                    <a:pt x="5" y="18"/>
                    <a:pt x="4" y="20"/>
                    <a:pt x="5" y="21"/>
                  </a:cubicBezTo>
                  <a:cubicBezTo>
                    <a:pt x="5" y="22"/>
                    <a:pt x="5" y="22"/>
                    <a:pt x="6" y="23"/>
                  </a:cubicBezTo>
                  <a:cubicBezTo>
                    <a:pt x="6" y="24"/>
                    <a:pt x="6" y="25"/>
                    <a:pt x="6" y="27"/>
                  </a:cubicBezTo>
                  <a:cubicBezTo>
                    <a:pt x="7" y="28"/>
                    <a:pt x="8" y="29"/>
                    <a:pt x="9" y="30"/>
                  </a:cubicBezTo>
                  <a:cubicBezTo>
                    <a:pt x="9" y="31"/>
                    <a:pt x="11" y="31"/>
                    <a:pt x="11" y="32"/>
                  </a:cubicBezTo>
                  <a:cubicBezTo>
                    <a:pt x="11" y="33"/>
                    <a:pt x="12" y="34"/>
                    <a:pt x="11" y="34"/>
                  </a:cubicBezTo>
                  <a:cubicBezTo>
                    <a:pt x="10" y="35"/>
                    <a:pt x="10" y="36"/>
                    <a:pt x="11" y="36"/>
                  </a:cubicBezTo>
                  <a:cubicBezTo>
                    <a:pt x="12" y="38"/>
                    <a:pt x="14" y="39"/>
                    <a:pt x="16" y="40"/>
                  </a:cubicBezTo>
                  <a:cubicBezTo>
                    <a:pt x="16" y="40"/>
                    <a:pt x="16" y="41"/>
                    <a:pt x="17" y="41"/>
                  </a:cubicBezTo>
                  <a:cubicBezTo>
                    <a:pt x="18" y="41"/>
                    <a:pt x="18" y="42"/>
                    <a:pt x="19" y="42"/>
                  </a:cubicBezTo>
                  <a:cubicBezTo>
                    <a:pt x="20" y="42"/>
                    <a:pt x="20" y="43"/>
                    <a:pt x="21" y="44"/>
                  </a:cubicBezTo>
                  <a:cubicBezTo>
                    <a:pt x="23" y="45"/>
                    <a:pt x="25" y="45"/>
                    <a:pt x="27" y="46"/>
                  </a:cubicBezTo>
                  <a:cubicBezTo>
                    <a:pt x="27" y="46"/>
                    <a:pt x="27" y="46"/>
                    <a:pt x="28" y="46"/>
                  </a:cubicBezTo>
                  <a:cubicBezTo>
                    <a:pt x="28" y="46"/>
                    <a:pt x="28" y="47"/>
                    <a:pt x="28" y="47"/>
                  </a:cubicBezTo>
                  <a:cubicBezTo>
                    <a:pt x="29" y="47"/>
                    <a:pt x="31" y="47"/>
                    <a:pt x="31" y="47"/>
                  </a:cubicBezTo>
                  <a:cubicBezTo>
                    <a:pt x="32" y="48"/>
                    <a:pt x="34" y="49"/>
                    <a:pt x="35" y="48"/>
                  </a:cubicBezTo>
                  <a:cubicBezTo>
                    <a:pt x="36" y="48"/>
                    <a:pt x="36" y="47"/>
                    <a:pt x="35" y="47"/>
                  </a:cubicBezTo>
                  <a:cubicBezTo>
                    <a:pt x="35" y="46"/>
                    <a:pt x="34" y="46"/>
                    <a:pt x="34" y="45"/>
                  </a:cubicBezTo>
                  <a:cubicBezTo>
                    <a:pt x="34" y="44"/>
                    <a:pt x="33" y="42"/>
                    <a:pt x="32" y="40"/>
                  </a:cubicBezTo>
                  <a:cubicBezTo>
                    <a:pt x="32" y="39"/>
                    <a:pt x="31" y="38"/>
                    <a:pt x="30" y="37"/>
                  </a:cubicBezTo>
                  <a:cubicBezTo>
                    <a:pt x="28" y="36"/>
                    <a:pt x="27" y="36"/>
                    <a:pt x="27" y="34"/>
                  </a:cubicBezTo>
                  <a:cubicBezTo>
                    <a:pt x="26" y="29"/>
                    <a:pt x="27" y="25"/>
                    <a:pt x="27" y="20"/>
                  </a:cubicBezTo>
                  <a:cubicBezTo>
                    <a:pt x="27" y="19"/>
                    <a:pt x="26" y="18"/>
                    <a:pt x="25" y="17"/>
                  </a:cubicBezTo>
                  <a:cubicBezTo>
                    <a:pt x="25" y="16"/>
                    <a:pt x="25" y="15"/>
                    <a:pt x="25" y="14"/>
                  </a:cubicBezTo>
                  <a:cubicBezTo>
                    <a:pt x="22" y="11"/>
                    <a:pt x="20" y="9"/>
                    <a:pt x="17" y="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5" y="8"/>
                    <a:pt x="15" y="8"/>
                  </a:cubicBezTo>
                  <a:cubicBezTo>
                    <a:pt x="14" y="8"/>
                    <a:pt x="14" y="9"/>
                    <a:pt x="14" y="10"/>
                  </a:cubicBezTo>
                  <a:cubicBezTo>
                    <a:pt x="13" y="10"/>
                    <a:pt x="12" y="9"/>
                    <a:pt x="11" y="10"/>
                  </a:cubicBezTo>
                  <a:cubicBezTo>
                    <a:pt x="10" y="10"/>
                    <a:pt x="10" y="11"/>
                    <a:pt x="10" y="11"/>
                  </a:cubicBezTo>
                  <a:cubicBezTo>
                    <a:pt x="10" y="11"/>
                    <a:pt x="9" y="12"/>
                    <a:pt x="9" y="11"/>
                  </a:cubicBezTo>
                  <a:cubicBezTo>
                    <a:pt x="9" y="11"/>
                    <a:pt x="8" y="11"/>
                    <a:pt x="8" y="10"/>
                  </a:cubicBezTo>
                  <a:cubicBezTo>
                    <a:pt x="7" y="9"/>
                    <a:pt x="9" y="7"/>
                    <a:pt x="8" y="6"/>
                  </a:cubicBezTo>
                  <a:cubicBezTo>
                    <a:pt x="7" y="4"/>
                    <a:pt x="5" y="3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0"/>
                    <a:pt x="1" y="1"/>
                    <a:pt x="0" y="1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4" name="Freeform 233"/>
            <p:cNvSpPr>
              <a:spLocks/>
            </p:cNvSpPr>
            <p:nvPr/>
          </p:nvSpPr>
          <p:spPr bwMode="auto">
            <a:xfrm>
              <a:off x="8037220" y="5255632"/>
              <a:ext cx="102945" cy="58621"/>
            </a:xfrm>
            <a:custGeom>
              <a:avLst/>
              <a:gdLst>
                <a:gd name="T0" fmla="*/ 798010 w 77"/>
                <a:gd name="T1" fmla="*/ 45648068 h 54"/>
                <a:gd name="T2" fmla="*/ 7691362 w 77"/>
                <a:gd name="T3" fmla="*/ 47731111 h 54"/>
                <a:gd name="T4" fmla="*/ 11502480 w 77"/>
                <a:gd name="T5" fmla="*/ 40654059 h 54"/>
                <a:gd name="T6" fmla="*/ 14773275 w 77"/>
                <a:gd name="T7" fmla="*/ 36902683 h 54"/>
                <a:gd name="T8" fmla="*/ 21890432 w 77"/>
                <a:gd name="T9" fmla="*/ 33951763 h 54"/>
                <a:gd name="T10" fmla="*/ 24364612 w 77"/>
                <a:gd name="T11" fmla="*/ 31844808 h 54"/>
                <a:gd name="T12" fmla="*/ 29566296 w 77"/>
                <a:gd name="T13" fmla="*/ 25959805 h 54"/>
                <a:gd name="T14" fmla="*/ 31446363 w 77"/>
                <a:gd name="T15" fmla="*/ 22964094 h 54"/>
                <a:gd name="T16" fmla="*/ 34726778 w 77"/>
                <a:gd name="T17" fmla="*/ 21766963 h 54"/>
                <a:gd name="T18" fmla="*/ 37255662 w 77"/>
                <a:gd name="T19" fmla="*/ 24755278 h 54"/>
                <a:gd name="T20" fmla="*/ 38079818 w 77"/>
                <a:gd name="T21" fmla="*/ 19605475 h 54"/>
                <a:gd name="T22" fmla="*/ 39929299 w 77"/>
                <a:gd name="T23" fmla="*/ 18943658 h 54"/>
                <a:gd name="T24" fmla="*/ 39131498 w 77"/>
                <a:gd name="T25" fmla="*/ 15887104 h 54"/>
                <a:gd name="T26" fmla="*/ 43539594 w 77"/>
                <a:gd name="T27" fmla="*/ 11641450 h 54"/>
                <a:gd name="T28" fmla="*/ 44337573 w 77"/>
                <a:gd name="T29" fmla="*/ 7991856 h 54"/>
                <a:gd name="T30" fmla="*/ 47052027 w 77"/>
                <a:gd name="T31" fmla="*/ 874095 h 54"/>
                <a:gd name="T32" fmla="*/ 48784248 w 77"/>
                <a:gd name="T33" fmla="*/ 3739447 h 54"/>
                <a:gd name="T34" fmla="*/ 51456728 w 77"/>
                <a:gd name="T35" fmla="*/ 0 h 54"/>
                <a:gd name="T36" fmla="*/ 53928896 w 77"/>
                <a:gd name="T37" fmla="*/ 3739447 h 54"/>
                <a:gd name="T38" fmla="*/ 53928896 w 77"/>
                <a:gd name="T39" fmla="*/ 7073252 h 54"/>
                <a:gd name="T40" fmla="*/ 57272646 w 77"/>
                <a:gd name="T41" fmla="*/ 10072692 h 54"/>
                <a:gd name="T42" fmla="*/ 55525531 w 77"/>
                <a:gd name="T43" fmla="*/ 12901007 h 54"/>
                <a:gd name="T44" fmla="*/ 61021912 w 77"/>
                <a:gd name="T45" fmla="*/ 11641450 h 54"/>
                <a:gd name="T46" fmla="*/ 62417294 w 77"/>
                <a:gd name="T47" fmla="*/ 12901007 h 54"/>
                <a:gd name="T48" fmla="*/ 66230008 w 77"/>
                <a:gd name="T49" fmla="*/ 14972246 h 54"/>
                <a:gd name="T50" fmla="*/ 58009170 w 77"/>
                <a:gd name="T51" fmla="*/ 18943658 h 54"/>
                <a:gd name="T52" fmla="*/ 59934746 w 77"/>
                <a:gd name="T53" fmla="*/ 25959805 h 54"/>
                <a:gd name="T54" fmla="*/ 53928896 w 77"/>
                <a:gd name="T55" fmla="*/ 24755278 h 54"/>
                <a:gd name="T56" fmla="*/ 41808689 w 77"/>
                <a:gd name="T57" fmla="*/ 23876004 h 54"/>
                <a:gd name="T58" fmla="*/ 39929299 w 77"/>
                <a:gd name="T59" fmla="*/ 33951763 h 54"/>
                <a:gd name="T60" fmla="*/ 37255662 w 77"/>
                <a:gd name="T61" fmla="*/ 35489754 h 54"/>
                <a:gd name="T62" fmla="*/ 36663731 w 77"/>
                <a:gd name="T63" fmla="*/ 38549332 h 54"/>
                <a:gd name="T64" fmla="*/ 33986361 w 77"/>
                <a:gd name="T65" fmla="*/ 47731111 h 54"/>
                <a:gd name="T66" fmla="*/ 27690479 w 77"/>
                <a:gd name="T67" fmla="*/ 49803041 h 54"/>
                <a:gd name="T68" fmla="*/ 24364612 w 77"/>
                <a:gd name="T69" fmla="*/ 47731111 h 54"/>
                <a:gd name="T70" fmla="*/ 14773275 w 77"/>
                <a:gd name="T71" fmla="*/ 52895407 h 54"/>
                <a:gd name="T72" fmla="*/ 5944426 w 77"/>
                <a:gd name="T73" fmla="*/ 53542461 h 54"/>
                <a:gd name="T74" fmla="*/ 3272017 w 77"/>
                <a:gd name="T75" fmla="*/ 51595761 h 54"/>
                <a:gd name="T76" fmla="*/ 0 w 77"/>
                <a:gd name="T77" fmla="*/ 45648068 h 5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77"/>
                <a:gd name="T118" fmla="*/ 0 h 54"/>
                <a:gd name="T119" fmla="*/ 77 w 77"/>
                <a:gd name="T120" fmla="*/ 54 h 5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77" h="54">
                  <a:moveTo>
                    <a:pt x="0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2" y="47"/>
                    <a:pt x="3" y="48"/>
                    <a:pt x="4" y="48"/>
                  </a:cubicBezTo>
                  <a:cubicBezTo>
                    <a:pt x="6" y="49"/>
                    <a:pt x="8" y="49"/>
                    <a:pt x="9" y="48"/>
                  </a:cubicBezTo>
                  <a:cubicBezTo>
                    <a:pt x="10" y="48"/>
                    <a:pt x="12" y="49"/>
                    <a:pt x="13" y="48"/>
                  </a:cubicBezTo>
                  <a:cubicBezTo>
                    <a:pt x="14" y="46"/>
                    <a:pt x="13" y="44"/>
                    <a:pt x="13" y="41"/>
                  </a:cubicBezTo>
                  <a:cubicBezTo>
                    <a:pt x="13" y="41"/>
                    <a:pt x="14" y="41"/>
                    <a:pt x="14" y="40"/>
                  </a:cubicBezTo>
                  <a:cubicBezTo>
                    <a:pt x="16" y="40"/>
                    <a:pt x="15" y="37"/>
                    <a:pt x="17" y="37"/>
                  </a:cubicBezTo>
                  <a:cubicBezTo>
                    <a:pt x="18" y="36"/>
                    <a:pt x="20" y="37"/>
                    <a:pt x="21" y="36"/>
                  </a:cubicBezTo>
                  <a:cubicBezTo>
                    <a:pt x="23" y="36"/>
                    <a:pt x="24" y="35"/>
                    <a:pt x="25" y="34"/>
                  </a:cubicBezTo>
                  <a:cubicBezTo>
                    <a:pt x="26" y="34"/>
                    <a:pt x="26" y="34"/>
                    <a:pt x="27" y="33"/>
                  </a:cubicBezTo>
                  <a:cubicBezTo>
                    <a:pt x="27" y="33"/>
                    <a:pt x="28" y="33"/>
                    <a:pt x="28" y="32"/>
                  </a:cubicBezTo>
                  <a:cubicBezTo>
                    <a:pt x="29" y="31"/>
                    <a:pt x="31" y="30"/>
                    <a:pt x="32" y="28"/>
                  </a:cubicBezTo>
                  <a:cubicBezTo>
                    <a:pt x="33" y="27"/>
                    <a:pt x="33" y="27"/>
                    <a:pt x="34" y="26"/>
                  </a:cubicBezTo>
                  <a:cubicBezTo>
                    <a:pt x="34" y="25"/>
                    <a:pt x="34" y="24"/>
                    <a:pt x="35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7" y="24"/>
                    <a:pt x="37" y="27"/>
                    <a:pt x="40" y="26"/>
                  </a:cubicBezTo>
                  <a:cubicBezTo>
                    <a:pt x="40" y="25"/>
                    <a:pt x="39" y="23"/>
                    <a:pt x="40" y="22"/>
                  </a:cubicBezTo>
                  <a:cubicBezTo>
                    <a:pt x="40" y="21"/>
                    <a:pt x="41" y="21"/>
                    <a:pt x="41" y="22"/>
                  </a:cubicBezTo>
                  <a:cubicBezTo>
                    <a:pt x="42" y="22"/>
                    <a:pt x="42" y="24"/>
                    <a:pt x="43" y="25"/>
                  </a:cubicBezTo>
                  <a:cubicBezTo>
                    <a:pt x="43" y="25"/>
                    <a:pt x="44" y="25"/>
                    <a:pt x="44" y="25"/>
                  </a:cubicBezTo>
                  <a:cubicBezTo>
                    <a:pt x="45" y="23"/>
                    <a:pt x="44" y="22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5" y="20"/>
                    <a:pt x="46" y="19"/>
                    <a:pt x="46" y="19"/>
                  </a:cubicBezTo>
                  <a:cubicBezTo>
                    <a:pt x="46" y="18"/>
                    <a:pt x="47" y="16"/>
                    <a:pt x="45" y="16"/>
                  </a:cubicBezTo>
                  <a:cubicBezTo>
                    <a:pt x="45" y="15"/>
                    <a:pt x="45" y="16"/>
                    <a:pt x="45" y="16"/>
                  </a:cubicBezTo>
                  <a:cubicBezTo>
                    <a:pt x="44" y="14"/>
                    <a:pt x="46" y="13"/>
                    <a:pt x="47" y="13"/>
                  </a:cubicBezTo>
                  <a:cubicBezTo>
                    <a:pt x="48" y="13"/>
                    <a:pt x="49" y="13"/>
                    <a:pt x="50" y="12"/>
                  </a:cubicBezTo>
                  <a:cubicBezTo>
                    <a:pt x="51" y="11"/>
                    <a:pt x="50" y="10"/>
                    <a:pt x="51" y="9"/>
                  </a:cubicBezTo>
                  <a:cubicBezTo>
                    <a:pt x="51" y="9"/>
                    <a:pt x="51" y="8"/>
                    <a:pt x="51" y="8"/>
                  </a:cubicBezTo>
                  <a:cubicBezTo>
                    <a:pt x="52" y="6"/>
                    <a:pt x="52" y="4"/>
                    <a:pt x="52" y="1"/>
                  </a:cubicBezTo>
                  <a:cubicBezTo>
                    <a:pt x="53" y="1"/>
                    <a:pt x="53" y="1"/>
                    <a:pt x="54" y="1"/>
                  </a:cubicBezTo>
                  <a:cubicBezTo>
                    <a:pt x="55" y="2"/>
                    <a:pt x="54" y="3"/>
                    <a:pt x="55" y="4"/>
                  </a:cubicBezTo>
                  <a:cubicBezTo>
                    <a:pt x="55" y="4"/>
                    <a:pt x="56" y="4"/>
                    <a:pt x="56" y="4"/>
                  </a:cubicBezTo>
                  <a:cubicBezTo>
                    <a:pt x="56" y="3"/>
                    <a:pt x="57" y="1"/>
                    <a:pt x="58" y="0"/>
                  </a:cubicBezTo>
                  <a:cubicBezTo>
                    <a:pt x="58" y="0"/>
                    <a:pt x="59" y="0"/>
                    <a:pt x="59" y="0"/>
                  </a:cubicBezTo>
                  <a:cubicBezTo>
                    <a:pt x="59" y="1"/>
                    <a:pt x="59" y="3"/>
                    <a:pt x="60" y="3"/>
                  </a:cubicBezTo>
                  <a:cubicBezTo>
                    <a:pt x="61" y="4"/>
                    <a:pt x="61" y="4"/>
                    <a:pt x="62" y="4"/>
                  </a:cubicBezTo>
                  <a:cubicBezTo>
                    <a:pt x="63" y="4"/>
                    <a:pt x="63" y="6"/>
                    <a:pt x="63" y="7"/>
                  </a:cubicBezTo>
                  <a:cubicBezTo>
                    <a:pt x="63" y="7"/>
                    <a:pt x="62" y="7"/>
                    <a:pt x="62" y="7"/>
                  </a:cubicBezTo>
                  <a:cubicBezTo>
                    <a:pt x="62" y="8"/>
                    <a:pt x="63" y="9"/>
                    <a:pt x="63" y="9"/>
                  </a:cubicBezTo>
                  <a:cubicBezTo>
                    <a:pt x="64" y="10"/>
                    <a:pt x="65" y="9"/>
                    <a:pt x="66" y="10"/>
                  </a:cubicBezTo>
                  <a:cubicBezTo>
                    <a:pt x="66" y="10"/>
                    <a:pt x="66" y="11"/>
                    <a:pt x="66" y="11"/>
                  </a:cubicBezTo>
                  <a:cubicBezTo>
                    <a:pt x="65" y="12"/>
                    <a:pt x="65" y="12"/>
                    <a:pt x="64" y="13"/>
                  </a:cubicBezTo>
                  <a:cubicBezTo>
                    <a:pt x="65" y="13"/>
                    <a:pt x="66" y="13"/>
                    <a:pt x="67" y="12"/>
                  </a:cubicBezTo>
                  <a:cubicBezTo>
                    <a:pt x="68" y="12"/>
                    <a:pt x="69" y="12"/>
                    <a:pt x="70" y="12"/>
                  </a:cubicBezTo>
                  <a:cubicBezTo>
                    <a:pt x="70" y="11"/>
                    <a:pt x="71" y="12"/>
                    <a:pt x="71" y="12"/>
                  </a:cubicBezTo>
                  <a:cubicBezTo>
                    <a:pt x="72" y="12"/>
                    <a:pt x="72" y="13"/>
                    <a:pt x="72" y="13"/>
                  </a:cubicBezTo>
                  <a:cubicBezTo>
                    <a:pt x="73" y="14"/>
                    <a:pt x="75" y="13"/>
                    <a:pt x="76" y="14"/>
                  </a:cubicBezTo>
                  <a:cubicBezTo>
                    <a:pt x="77" y="14"/>
                    <a:pt x="77" y="15"/>
                    <a:pt x="76" y="15"/>
                  </a:cubicBezTo>
                  <a:cubicBezTo>
                    <a:pt x="75" y="16"/>
                    <a:pt x="74" y="18"/>
                    <a:pt x="72" y="18"/>
                  </a:cubicBezTo>
                  <a:cubicBezTo>
                    <a:pt x="71" y="19"/>
                    <a:pt x="69" y="18"/>
                    <a:pt x="67" y="19"/>
                  </a:cubicBezTo>
                  <a:cubicBezTo>
                    <a:pt x="66" y="21"/>
                    <a:pt x="68" y="22"/>
                    <a:pt x="70" y="23"/>
                  </a:cubicBezTo>
                  <a:cubicBezTo>
                    <a:pt x="71" y="24"/>
                    <a:pt x="70" y="25"/>
                    <a:pt x="69" y="26"/>
                  </a:cubicBezTo>
                  <a:cubicBezTo>
                    <a:pt x="67" y="26"/>
                    <a:pt x="65" y="26"/>
                    <a:pt x="63" y="26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1" y="25"/>
                    <a:pt x="61" y="24"/>
                    <a:pt x="61" y="24"/>
                  </a:cubicBezTo>
                  <a:cubicBezTo>
                    <a:pt x="56" y="24"/>
                    <a:pt x="52" y="23"/>
                    <a:pt x="48" y="24"/>
                  </a:cubicBezTo>
                  <a:cubicBezTo>
                    <a:pt x="47" y="24"/>
                    <a:pt x="47" y="24"/>
                    <a:pt x="47" y="25"/>
                  </a:cubicBezTo>
                  <a:cubicBezTo>
                    <a:pt x="46" y="28"/>
                    <a:pt x="46" y="31"/>
                    <a:pt x="46" y="34"/>
                  </a:cubicBezTo>
                  <a:cubicBezTo>
                    <a:pt x="45" y="35"/>
                    <a:pt x="45" y="36"/>
                    <a:pt x="45" y="36"/>
                  </a:cubicBezTo>
                  <a:cubicBezTo>
                    <a:pt x="44" y="37"/>
                    <a:pt x="44" y="36"/>
                    <a:pt x="43" y="36"/>
                  </a:cubicBezTo>
                  <a:cubicBezTo>
                    <a:pt x="43" y="37"/>
                    <a:pt x="43" y="37"/>
                    <a:pt x="42" y="37"/>
                  </a:cubicBezTo>
                  <a:cubicBezTo>
                    <a:pt x="42" y="38"/>
                    <a:pt x="42" y="38"/>
                    <a:pt x="42" y="39"/>
                  </a:cubicBezTo>
                  <a:cubicBezTo>
                    <a:pt x="41" y="41"/>
                    <a:pt x="41" y="42"/>
                    <a:pt x="40" y="43"/>
                  </a:cubicBezTo>
                  <a:cubicBezTo>
                    <a:pt x="39" y="44"/>
                    <a:pt x="39" y="46"/>
                    <a:pt x="39" y="48"/>
                  </a:cubicBezTo>
                  <a:cubicBezTo>
                    <a:pt x="37" y="49"/>
                    <a:pt x="35" y="48"/>
                    <a:pt x="33" y="49"/>
                  </a:cubicBezTo>
                  <a:cubicBezTo>
                    <a:pt x="33" y="49"/>
                    <a:pt x="33" y="50"/>
                    <a:pt x="32" y="50"/>
                  </a:cubicBezTo>
                  <a:cubicBezTo>
                    <a:pt x="31" y="51"/>
                    <a:pt x="29" y="49"/>
                    <a:pt x="29" y="48"/>
                  </a:cubicBezTo>
                  <a:cubicBezTo>
                    <a:pt x="29" y="48"/>
                    <a:pt x="28" y="48"/>
                    <a:pt x="28" y="48"/>
                  </a:cubicBezTo>
                  <a:cubicBezTo>
                    <a:pt x="26" y="47"/>
                    <a:pt x="23" y="47"/>
                    <a:pt x="20" y="49"/>
                  </a:cubicBezTo>
                  <a:cubicBezTo>
                    <a:pt x="19" y="50"/>
                    <a:pt x="19" y="52"/>
                    <a:pt x="17" y="53"/>
                  </a:cubicBezTo>
                  <a:cubicBezTo>
                    <a:pt x="15" y="53"/>
                    <a:pt x="12" y="53"/>
                    <a:pt x="10" y="53"/>
                  </a:cubicBezTo>
                  <a:cubicBezTo>
                    <a:pt x="9" y="53"/>
                    <a:pt x="8" y="53"/>
                    <a:pt x="7" y="54"/>
                  </a:cubicBezTo>
                  <a:cubicBezTo>
                    <a:pt x="7" y="54"/>
                    <a:pt x="6" y="54"/>
                    <a:pt x="5" y="54"/>
                  </a:cubicBezTo>
                  <a:cubicBezTo>
                    <a:pt x="4" y="53"/>
                    <a:pt x="5" y="52"/>
                    <a:pt x="4" y="52"/>
                  </a:cubicBezTo>
                  <a:cubicBezTo>
                    <a:pt x="2" y="51"/>
                    <a:pt x="0" y="49"/>
                    <a:pt x="1" y="47"/>
                  </a:cubicBezTo>
                  <a:lnTo>
                    <a:pt x="0" y="4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5" name="Freeform 234"/>
            <p:cNvSpPr>
              <a:spLocks/>
            </p:cNvSpPr>
            <p:nvPr/>
          </p:nvSpPr>
          <p:spPr bwMode="auto">
            <a:xfrm>
              <a:off x="7270210" y="4874295"/>
              <a:ext cx="71770" cy="29612"/>
            </a:xfrm>
            <a:custGeom>
              <a:avLst/>
              <a:gdLst>
                <a:gd name="T0" fmla="*/ 15806619 w 53"/>
                <a:gd name="T1" fmla="*/ 21766963 h 27"/>
                <a:gd name="T2" fmla="*/ 14341349 w 53"/>
                <a:gd name="T3" fmla="*/ 16766227 h 27"/>
                <a:gd name="T4" fmla="*/ 14341349 w 53"/>
                <a:gd name="T5" fmla="*/ 15887104 h 27"/>
                <a:gd name="T6" fmla="*/ 13628066 w 53"/>
                <a:gd name="T7" fmla="*/ 12901007 h 27"/>
                <a:gd name="T8" fmla="*/ 10530055 w 53"/>
                <a:gd name="T9" fmla="*/ 10951795 h 27"/>
                <a:gd name="T10" fmla="*/ 9226932 w 53"/>
                <a:gd name="T11" fmla="*/ 10072692 h 27"/>
                <a:gd name="T12" fmla="*/ 8281466 w 53"/>
                <a:gd name="T13" fmla="*/ 7073252 h 27"/>
                <a:gd name="T14" fmla="*/ 2248967 w 53"/>
                <a:gd name="T15" fmla="*/ 3739447 h 27"/>
                <a:gd name="T16" fmla="*/ 2248967 w 53"/>
                <a:gd name="T17" fmla="*/ 2984029 h 27"/>
                <a:gd name="T18" fmla="*/ 945994 w 53"/>
                <a:gd name="T19" fmla="*/ 874095 h 27"/>
                <a:gd name="T20" fmla="*/ 0 w 53"/>
                <a:gd name="T21" fmla="*/ 874095 h 27"/>
                <a:gd name="T22" fmla="*/ 945994 w 53"/>
                <a:gd name="T23" fmla="*/ 874095 h 27"/>
                <a:gd name="T24" fmla="*/ 7365024 w 53"/>
                <a:gd name="T25" fmla="*/ 874095 h 27"/>
                <a:gd name="T26" fmla="*/ 11379171 w 53"/>
                <a:gd name="T27" fmla="*/ 2984029 h 27"/>
                <a:gd name="T28" fmla="*/ 16592165 w 53"/>
                <a:gd name="T29" fmla="*/ 3739447 h 27"/>
                <a:gd name="T30" fmla="*/ 18741059 w 53"/>
                <a:gd name="T31" fmla="*/ 3739447 h 27"/>
                <a:gd name="T32" fmla="*/ 19688008 w 53"/>
                <a:gd name="T33" fmla="*/ 5830377 h 27"/>
                <a:gd name="T34" fmla="*/ 25033701 w 53"/>
                <a:gd name="T35" fmla="*/ 5830377 h 27"/>
                <a:gd name="T36" fmla="*/ 30218072 w 53"/>
                <a:gd name="T37" fmla="*/ 10951795 h 27"/>
                <a:gd name="T38" fmla="*/ 33316055 w 53"/>
                <a:gd name="T39" fmla="*/ 10951795 h 27"/>
                <a:gd name="T40" fmla="*/ 35563742 w 53"/>
                <a:gd name="T41" fmla="*/ 8863872 h 27"/>
                <a:gd name="T42" fmla="*/ 37577991 w 53"/>
                <a:gd name="T43" fmla="*/ 8863872 h 27"/>
                <a:gd name="T44" fmla="*/ 39445511 w 53"/>
                <a:gd name="T45" fmla="*/ 10072692 h 27"/>
                <a:gd name="T46" fmla="*/ 46026807 w 53"/>
                <a:gd name="T47" fmla="*/ 10072692 h 27"/>
                <a:gd name="T48" fmla="*/ 46805440 w 53"/>
                <a:gd name="T49" fmla="*/ 10951795 h 27"/>
                <a:gd name="T50" fmla="*/ 47710699 w 53"/>
                <a:gd name="T51" fmla="*/ 12901007 h 27"/>
                <a:gd name="T52" fmla="*/ 54330671 w 53"/>
                <a:gd name="T53" fmla="*/ 18943658 h 27"/>
                <a:gd name="T54" fmla="*/ 54330671 w 53"/>
                <a:gd name="T55" fmla="*/ 18943658 h 27"/>
                <a:gd name="T56" fmla="*/ 54330671 w 53"/>
                <a:gd name="T57" fmla="*/ 23876004 h 27"/>
                <a:gd name="T58" fmla="*/ 54330671 w 53"/>
                <a:gd name="T59" fmla="*/ 26838890 h 27"/>
                <a:gd name="T60" fmla="*/ 50854061 w 53"/>
                <a:gd name="T61" fmla="*/ 26838890 h 27"/>
                <a:gd name="T62" fmla="*/ 46026807 w 53"/>
                <a:gd name="T63" fmla="*/ 22964094 h 27"/>
                <a:gd name="T64" fmla="*/ 43874823 w 53"/>
                <a:gd name="T65" fmla="*/ 22964094 h 27"/>
                <a:gd name="T66" fmla="*/ 40680187 w 53"/>
                <a:gd name="T67" fmla="*/ 23876004 h 27"/>
                <a:gd name="T68" fmla="*/ 40680187 w 53"/>
                <a:gd name="T69" fmla="*/ 24755278 h 27"/>
                <a:gd name="T70" fmla="*/ 37577991 w 53"/>
                <a:gd name="T71" fmla="*/ 24755278 h 27"/>
                <a:gd name="T72" fmla="*/ 33316055 w 53"/>
                <a:gd name="T73" fmla="*/ 24755278 h 27"/>
                <a:gd name="T74" fmla="*/ 31164089 w 53"/>
                <a:gd name="T75" fmla="*/ 25959805 h 27"/>
                <a:gd name="T76" fmla="*/ 31164089 w 53"/>
                <a:gd name="T77" fmla="*/ 26838890 h 27"/>
                <a:gd name="T78" fmla="*/ 27969472 w 53"/>
                <a:gd name="T79" fmla="*/ 24755278 h 27"/>
                <a:gd name="T80" fmla="*/ 25033701 w 53"/>
                <a:gd name="T81" fmla="*/ 21010663 h 27"/>
                <a:gd name="T82" fmla="*/ 22853379 w 53"/>
                <a:gd name="T83" fmla="*/ 21010663 h 27"/>
                <a:gd name="T84" fmla="*/ 21935719 w 53"/>
                <a:gd name="T85" fmla="*/ 21766963 h 27"/>
                <a:gd name="T86" fmla="*/ 16592165 w 53"/>
                <a:gd name="T87" fmla="*/ 21766963 h 27"/>
                <a:gd name="T88" fmla="*/ 15806619 w 53"/>
                <a:gd name="T89" fmla="*/ 21766963 h 2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3"/>
                <a:gd name="T136" fmla="*/ 0 h 27"/>
                <a:gd name="T137" fmla="*/ 53 w 53"/>
                <a:gd name="T138" fmla="*/ 27 h 27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3" h="27">
                  <a:moveTo>
                    <a:pt x="15" y="22"/>
                  </a:moveTo>
                  <a:cubicBezTo>
                    <a:pt x="16" y="21"/>
                    <a:pt x="15" y="19"/>
                    <a:pt x="14" y="17"/>
                  </a:cubicBezTo>
                  <a:cubicBezTo>
                    <a:pt x="14" y="17"/>
                    <a:pt x="14" y="17"/>
                    <a:pt x="14" y="16"/>
                  </a:cubicBezTo>
                  <a:cubicBezTo>
                    <a:pt x="14" y="15"/>
                    <a:pt x="14" y="14"/>
                    <a:pt x="13" y="13"/>
                  </a:cubicBezTo>
                  <a:cubicBezTo>
                    <a:pt x="13" y="12"/>
                    <a:pt x="11" y="12"/>
                    <a:pt x="10" y="11"/>
                  </a:cubicBezTo>
                  <a:cubicBezTo>
                    <a:pt x="10" y="11"/>
                    <a:pt x="9" y="10"/>
                    <a:pt x="9" y="10"/>
                  </a:cubicBezTo>
                  <a:cubicBezTo>
                    <a:pt x="9" y="9"/>
                    <a:pt x="9" y="7"/>
                    <a:pt x="8" y="7"/>
                  </a:cubicBezTo>
                  <a:cubicBezTo>
                    <a:pt x="6" y="6"/>
                    <a:pt x="4" y="5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3" y="1"/>
                    <a:pt x="5" y="0"/>
                    <a:pt x="7" y="1"/>
                  </a:cubicBezTo>
                  <a:cubicBezTo>
                    <a:pt x="8" y="2"/>
                    <a:pt x="9" y="3"/>
                    <a:pt x="11" y="3"/>
                  </a:cubicBezTo>
                  <a:cubicBezTo>
                    <a:pt x="12" y="4"/>
                    <a:pt x="14" y="3"/>
                    <a:pt x="16" y="4"/>
                  </a:cubicBezTo>
                  <a:cubicBezTo>
                    <a:pt x="16" y="4"/>
                    <a:pt x="17" y="4"/>
                    <a:pt x="18" y="4"/>
                  </a:cubicBezTo>
                  <a:cubicBezTo>
                    <a:pt x="18" y="5"/>
                    <a:pt x="19" y="5"/>
                    <a:pt x="19" y="6"/>
                  </a:cubicBezTo>
                  <a:cubicBezTo>
                    <a:pt x="21" y="6"/>
                    <a:pt x="23" y="6"/>
                    <a:pt x="24" y="6"/>
                  </a:cubicBezTo>
                  <a:cubicBezTo>
                    <a:pt x="26" y="7"/>
                    <a:pt x="27" y="9"/>
                    <a:pt x="29" y="11"/>
                  </a:cubicBezTo>
                  <a:cubicBezTo>
                    <a:pt x="30" y="11"/>
                    <a:pt x="31" y="11"/>
                    <a:pt x="32" y="11"/>
                  </a:cubicBezTo>
                  <a:cubicBezTo>
                    <a:pt x="33" y="11"/>
                    <a:pt x="33" y="10"/>
                    <a:pt x="34" y="9"/>
                  </a:cubicBezTo>
                  <a:cubicBezTo>
                    <a:pt x="35" y="9"/>
                    <a:pt x="36" y="9"/>
                    <a:pt x="36" y="9"/>
                  </a:cubicBezTo>
                  <a:cubicBezTo>
                    <a:pt x="37" y="9"/>
                    <a:pt x="37" y="9"/>
                    <a:pt x="38" y="10"/>
                  </a:cubicBezTo>
                  <a:cubicBezTo>
                    <a:pt x="40" y="11"/>
                    <a:pt x="42" y="10"/>
                    <a:pt x="44" y="10"/>
                  </a:cubicBezTo>
                  <a:cubicBezTo>
                    <a:pt x="44" y="10"/>
                    <a:pt x="44" y="11"/>
                    <a:pt x="45" y="11"/>
                  </a:cubicBezTo>
                  <a:cubicBezTo>
                    <a:pt x="45" y="12"/>
                    <a:pt x="45" y="13"/>
                    <a:pt x="46" y="13"/>
                  </a:cubicBezTo>
                  <a:cubicBezTo>
                    <a:pt x="48" y="15"/>
                    <a:pt x="51" y="17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1"/>
                    <a:pt x="51" y="22"/>
                    <a:pt x="52" y="24"/>
                  </a:cubicBezTo>
                  <a:cubicBezTo>
                    <a:pt x="53" y="25"/>
                    <a:pt x="52" y="26"/>
                    <a:pt x="52" y="27"/>
                  </a:cubicBezTo>
                  <a:cubicBezTo>
                    <a:pt x="51" y="27"/>
                    <a:pt x="50" y="27"/>
                    <a:pt x="49" y="27"/>
                  </a:cubicBezTo>
                  <a:cubicBezTo>
                    <a:pt x="47" y="25"/>
                    <a:pt x="46" y="24"/>
                    <a:pt x="44" y="23"/>
                  </a:cubicBezTo>
                  <a:cubicBezTo>
                    <a:pt x="43" y="22"/>
                    <a:pt x="43" y="22"/>
                    <a:pt x="42" y="23"/>
                  </a:cubicBezTo>
                  <a:cubicBezTo>
                    <a:pt x="41" y="24"/>
                    <a:pt x="40" y="24"/>
                    <a:pt x="39" y="24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8" y="25"/>
                    <a:pt x="37" y="25"/>
                    <a:pt x="36" y="25"/>
                  </a:cubicBezTo>
                  <a:cubicBezTo>
                    <a:pt x="34" y="25"/>
                    <a:pt x="33" y="25"/>
                    <a:pt x="32" y="25"/>
                  </a:cubicBezTo>
                  <a:cubicBezTo>
                    <a:pt x="31" y="25"/>
                    <a:pt x="30" y="26"/>
                    <a:pt x="30" y="26"/>
                  </a:cubicBezTo>
                  <a:cubicBezTo>
                    <a:pt x="30" y="27"/>
                    <a:pt x="30" y="26"/>
                    <a:pt x="30" y="27"/>
                  </a:cubicBezTo>
                  <a:cubicBezTo>
                    <a:pt x="29" y="26"/>
                    <a:pt x="28" y="26"/>
                    <a:pt x="27" y="25"/>
                  </a:cubicBezTo>
                  <a:cubicBezTo>
                    <a:pt x="26" y="24"/>
                    <a:pt x="25" y="22"/>
                    <a:pt x="24" y="21"/>
                  </a:cubicBezTo>
                  <a:cubicBezTo>
                    <a:pt x="24" y="20"/>
                    <a:pt x="23" y="20"/>
                    <a:pt x="22" y="21"/>
                  </a:cubicBezTo>
                  <a:cubicBezTo>
                    <a:pt x="22" y="21"/>
                    <a:pt x="21" y="22"/>
                    <a:pt x="21" y="22"/>
                  </a:cubicBezTo>
                  <a:cubicBezTo>
                    <a:pt x="19" y="23"/>
                    <a:pt x="18" y="23"/>
                    <a:pt x="16" y="22"/>
                  </a:cubicBezTo>
                  <a:lnTo>
                    <a:pt x="15" y="22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6" name="Rectangle 235"/>
            <p:cNvSpPr>
              <a:spLocks noChangeArrowheads="1"/>
            </p:cNvSpPr>
            <p:nvPr/>
          </p:nvSpPr>
          <p:spPr bwMode="auto">
            <a:xfrm>
              <a:off x="7394179" y="5062242"/>
              <a:ext cx="2177" cy="3022"/>
            </a:xfrm>
            <a:prstGeom prst="rect">
              <a:avLst/>
            </a:pr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7" name="Freeform 236"/>
            <p:cNvSpPr>
              <a:spLocks/>
            </p:cNvSpPr>
            <p:nvPr/>
          </p:nvSpPr>
          <p:spPr bwMode="auto">
            <a:xfrm>
              <a:off x="7425352" y="5079164"/>
              <a:ext cx="5075" cy="3022"/>
            </a:xfrm>
            <a:custGeom>
              <a:avLst/>
              <a:gdLst>
                <a:gd name="T0" fmla="*/ 0 w 10"/>
                <a:gd name="T1" fmla="*/ 3 h 7"/>
                <a:gd name="T2" fmla="*/ 2 w 10"/>
                <a:gd name="T3" fmla="*/ 7 h 7"/>
                <a:gd name="T4" fmla="*/ 10 w 10"/>
                <a:gd name="T5" fmla="*/ 5 h 7"/>
                <a:gd name="T6" fmla="*/ 7 w 10"/>
                <a:gd name="T7" fmla="*/ 0 h 7"/>
                <a:gd name="T8" fmla="*/ 0 w 10"/>
                <a:gd name="T9" fmla="*/ 3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7"/>
                <a:gd name="T17" fmla="*/ 10 w 10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7">
                  <a:moveTo>
                    <a:pt x="0" y="3"/>
                  </a:moveTo>
                  <a:lnTo>
                    <a:pt x="2" y="7"/>
                  </a:lnTo>
                  <a:lnTo>
                    <a:pt x="10" y="5"/>
                  </a:lnTo>
                  <a:lnTo>
                    <a:pt x="7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8" name="Freeform 238"/>
            <p:cNvSpPr>
              <a:spLocks/>
            </p:cNvSpPr>
            <p:nvPr/>
          </p:nvSpPr>
          <p:spPr bwMode="auto">
            <a:xfrm>
              <a:off x="7131017" y="4890611"/>
              <a:ext cx="193564" cy="71916"/>
            </a:xfrm>
            <a:custGeom>
              <a:avLst/>
              <a:gdLst>
                <a:gd name="T0" fmla="*/ 72217928 w 143"/>
                <a:gd name="T1" fmla="*/ 57773467 h 66"/>
                <a:gd name="T2" fmla="*/ 72217928 w 143"/>
                <a:gd name="T3" fmla="*/ 54185658 h 66"/>
                <a:gd name="T4" fmla="*/ 57773469 w 143"/>
                <a:gd name="T5" fmla="*/ 57773467 h 66"/>
                <a:gd name="T6" fmla="*/ 48586037 w 143"/>
                <a:gd name="T7" fmla="*/ 57773467 h 66"/>
                <a:gd name="T8" fmla="*/ 39736171 w 143"/>
                <a:gd name="T9" fmla="*/ 52962808 h 66"/>
                <a:gd name="T10" fmla="*/ 33265624 w 143"/>
                <a:gd name="T11" fmla="*/ 52962808 h 66"/>
                <a:gd name="T12" fmla="*/ 25663076 w 143"/>
                <a:gd name="T13" fmla="*/ 57773467 h 66"/>
                <a:gd name="T14" fmla="*/ 20043997 w 143"/>
                <a:gd name="T15" fmla="*/ 54185658 h 66"/>
                <a:gd name="T16" fmla="*/ 15293841 w 143"/>
                <a:gd name="T17" fmla="*/ 52962808 h 66"/>
                <a:gd name="T18" fmla="*/ 14073922 w 143"/>
                <a:gd name="T19" fmla="*/ 51443122 h 66"/>
                <a:gd name="T20" fmla="*/ 11216145 w 143"/>
                <a:gd name="T21" fmla="*/ 49435583 h 66"/>
                <a:gd name="T22" fmla="*/ 10341117 w 143"/>
                <a:gd name="T23" fmla="*/ 48586036 h 66"/>
                <a:gd name="T24" fmla="*/ 7630663 w 143"/>
                <a:gd name="T25" fmla="*/ 45332010 h 66"/>
                <a:gd name="T26" fmla="*/ 8480159 w 143"/>
                <a:gd name="T27" fmla="*/ 41744238 h 66"/>
                <a:gd name="T28" fmla="*/ 6840533 w 143"/>
                <a:gd name="T29" fmla="*/ 39736169 h 66"/>
                <a:gd name="T30" fmla="*/ 849380 w 143"/>
                <a:gd name="T31" fmla="*/ 36149069 h 66"/>
                <a:gd name="T32" fmla="*/ 5595819 w 143"/>
                <a:gd name="T33" fmla="*/ 38216494 h 66"/>
                <a:gd name="T34" fmla="*/ 4745295 w 143"/>
                <a:gd name="T35" fmla="*/ 36149069 h 66"/>
                <a:gd name="T36" fmla="*/ 5595819 w 143"/>
                <a:gd name="T37" fmla="*/ 34141530 h 66"/>
                <a:gd name="T38" fmla="*/ 6840533 w 143"/>
                <a:gd name="T39" fmla="*/ 33265604 h 66"/>
                <a:gd name="T40" fmla="*/ 4745295 w 143"/>
                <a:gd name="T41" fmla="*/ 25663075 h 66"/>
                <a:gd name="T42" fmla="*/ 0 w 143"/>
                <a:gd name="T43" fmla="*/ 25663075 h 66"/>
                <a:gd name="T44" fmla="*/ 849380 w 143"/>
                <a:gd name="T45" fmla="*/ 20043996 h 66"/>
                <a:gd name="T46" fmla="*/ 14073922 w 143"/>
                <a:gd name="T47" fmla="*/ 18036102 h 66"/>
                <a:gd name="T48" fmla="*/ 20915062 w 143"/>
                <a:gd name="T49" fmla="*/ 17330084 h 66"/>
                <a:gd name="T50" fmla="*/ 24442627 w 143"/>
                <a:gd name="T51" fmla="*/ 14073912 h 66"/>
                <a:gd name="T52" fmla="*/ 21764402 w 143"/>
                <a:gd name="T53" fmla="*/ 10341117 h 66"/>
                <a:gd name="T54" fmla="*/ 33265624 w 143"/>
                <a:gd name="T55" fmla="*/ 9698924 h 66"/>
                <a:gd name="T56" fmla="*/ 44482691 w 143"/>
                <a:gd name="T57" fmla="*/ 4745294 h 66"/>
                <a:gd name="T58" fmla="*/ 55921589 w 143"/>
                <a:gd name="T59" fmla="*/ 2007625 h 66"/>
                <a:gd name="T60" fmla="*/ 61811428 w 143"/>
                <a:gd name="T61" fmla="*/ 2007625 h 66"/>
                <a:gd name="T62" fmla="*/ 65404078 w 143"/>
                <a:gd name="T63" fmla="*/ 4745294 h 66"/>
                <a:gd name="T64" fmla="*/ 72217928 w 143"/>
                <a:gd name="T65" fmla="*/ 5595819 h 66"/>
                <a:gd name="T66" fmla="*/ 78627805 w 143"/>
                <a:gd name="T67" fmla="*/ 11216144 h 66"/>
                <a:gd name="T68" fmla="*/ 91196200 w 143"/>
                <a:gd name="T69" fmla="*/ 13226473 h 66"/>
                <a:gd name="T70" fmla="*/ 107148356 w 143"/>
                <a:gd name="T71" fmla="*/ 10341117 h 66"/>
                <a:gd name="T72" fmla="*/ 111263426 w 143"/>
                <a:gd name="T73" fmla="*/ 7630663 h 66"/>
                <a:gd name="T74" fmla="*/ 112781220 w 143"/>
                <a:gd name="T75" fmla="*/ 6840533 h 66"/>
                <a:gd name="T76" fmla="*/ 118375964 w 143"/>
                <a:gd name="T77" fmla="*/ 5595819 h 66"/>
                <a:gd name="T78" fmla="*/ 123329009 w 143"/>
                <a:gd name="T79" fmla="*/ 9698924 h 66"/>
                <a:gd name="T80" fmla="*/ 126070902 w 143"/>
                <a:gd name="T81" fmla="*/ 18819581 h 66"/>
                <a:gd name="T82" fmla="*/ 130959505 w 143"/>
                <a:gd name="T83" fmla="*/ 20915062 h 66"/>
                <a:gd name="T84" fmla="*/ 132178233 w 143"/>
                <a:gd name="T85" fmla="*/ 21764401 h 66"/>
                <a:gd name="T86" fmla="*/ 130959505 w 143"/>
                <a:gd name="T87" fmla="*/ 27670974 h 66"/>
                <a:gd name="T88" fmla="*/ 132808359 w 143"/>
                <a:gd name="T89" fmla="*/ 36149069 h 66"/>
                <a:gd name="T90" fmla="*/ 132808359 w 143"/>
                <a:gd name="T91" fmla="*/ 42630772 h 66"/>
                <a:gd name="T92" fmla="*/ 135770429 w 143"/>
                <a:gd name="T93" fmla="*/ 48586036 h 66"/>
                <a:gd name="T94" fmla="*/ 133674849 w 143"/>
                <a:gd name="T95" fmla="*/ 48586036 h 66"/>
                <a:gd name="T96" fmla="*/ 126070902 w 143"/>
                <a:gd name="T97" fmla="*/ 47376686 h 66"/>
                <a:gd name="T98" fmla="*/ 119584860 w 143"/>
                <a:gd name="T99" fmla="*/ 49435583 h 66"/>
                <a:gd name="T100" fmla="*/ 111263426 w 143"/>
                <a:gd name="T101" fmla="*/ 49435583 h 66"/>
                <a:gd name="T102" fmla="*/ 101564504 w 143"/>
                <a:gd name="T103" fmla="*/ 52962808 h 66"/>
                <a:gd name="T104" fmla="*/ 85443225 w 143"/>
                <a:gd name="T105" fmla="*/ 52177665 h 66"/>
                <a:gd name="T106" fmla="*/ 75952850 w 143"/>
                <a:gd name="T107" fmla="*/ 55073742 h 66"/>
                <a:gd name="T108" fmla="*/ 73006740 w 143"/>
                <a:gd name="T109" fmla="*/ 62662070 h 6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43"/>
                <a:gd name="T166" fmla="*/ 0 h 66"/>
                <a:gd name="T167" fmla="*/ 143 w 143"/>
                <a:gd name="T168" fmla="*/ 66 h 6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43" h="66">
                  <a:moveTo>
                    <a:pt x="76" y="66"/>
                  </a:moveTo>
                  <a:cubicBezTo>
                    <a:pt x="76" y="65"/>
                    <a:pt x="76" y="63"/>
                    <a:pt x="76" y="61"/>
                  </a:cubicBezTo>
                  <a:cubicBezTo>
                    <a:pt x="77" y="60"/>
                    <a:pt x="81" y="58"/>
                    <a:pt x="78" y="56"/>
                  </a:cubicBezTo>
                  <a:cubicBezTo>
                    <a:pt x="78" y="55"/>
                    <a:pt x="77" y="57"/>
                    <a:pt x="76" y="57"/>
                  </a:cubicBezTo>
                  <a:cubicBezTo>
                    <a:pt x="72" y="58"/>
                    <a:pt x="70" y="57"/>
                    <a:pt x="66" y="57"/>
                  </a:cubicBezTo>
                  <a:cubicBezTo>
                    <a:pt x="64" y="58"/>
                    <a:pt x="63" y="60"/>
                    <a:pt x="61" y="61"/>
                  </a:cubicBezTo>
                  <a:cubicBezTo>
                    <a:pt x="59" y="62"/>
                    <a:pt x="57" y="61"/>
                    <a:pt x="55" y="61"/>
                  </a:cubicBezTo>
                  <a:cubicBezTo>
                    <a:pt x="53" y="61"/>
                    <a:pt x="52" y="62"/>
                    <a:pt x="51" y="61"/>
                  </a:cubicBezTo>
                  <a:cubicBezTo>
                    <a:pt x="49" y="60"/>
                    <a:pt x="48" y="58"/>
                    <a:pt x="47" y="57"/>
                  </a:cubicBezTo>
                  <a:cubicBezTo>
                    <a:pt x="45" y="57"/>
                    <a:pt x="43" y="56"/>
                    <a:pt x="42" y="56"/>
                  </a:cubicBezTo>
                  <a:cubicBezTo>
                    <a:pt x="40" y="55"/>
                    <a:pt x="38" y="55"/>
                    <a:pt x="37" y="55"/>
                  </a:cubicBezTo>
                  <a:cubicBezTo>
                    <a:pt x="36" y="56"/>
                    <a:pt x="35" y="56"/>
                    <a:pt x="35" y="56"/>
                  </a:cubicBezTo>
                  <a:cubicBezTo>
                    <a:pt x="34" y="58"/>
                    <a:pt x="35" y="60"/>
                    <a:pt x="34" y="60"/>
                  </a:cubicBezTo>
                  <a:cubicBezTo>
                    <a:pt x="31" y="61"/>
                    <a:pt x="29" y="62"/>
                    <a:pt x="27" y="61"/>
                  </a:cubicBezTo>
                  <a:cubicBezTo>
                    <a:pt x="26" y="60"/>
                    <a:pt x="25" y="58"/>
                    <a:pt x="24" y="57"/>
                  </a:cubicBezTo>
                  <a:cubicBezTo>
                    <a:pt x="23" y="57"/>
                    <a:pt x="22" y="57"/>
                    <a:pt x="21" y="57"/>
                  </a:cubicBezTo>
                  <a:cubicBezTo>
                    <a:pt x="21" y="57"/>
                    <a:pt x="21" y="57"/>
                    <a:pt x="21" y="57"/>
                  </a:cubicBezTo>
                  <a:cubicBezTo>
                    <a:pt x="19" y="57"/>
                    <a:pt x="17" y="57"/>
                    <a:pt x="16" y="56"/>
                  </a:cubicBezTo>
                  <a:cubicBezTo>
                    <a:pt x="16" y="56"/>
                    <a:pt x="17" y="56"/>
                    <a:pt x="17" y="56"/>
                  </a:cubicBezTo>
                  <a:cubicBezTo>
                    <a:pt x="16" y="55"/>
                    <a:pt x="16" y="54"/>
                    <a:pt x="15" y="54"/>
                  </a:cubicBezTo>
                  <a:cubicBezTo>
                    <a:pt x="14" y="54"/>
                    <a:pt x="12" y="54"/>
                    <a:pt x="11" y="54"/>
                  </a:cubicBezTo>
                  <a:cubicBezTo>
                    <a:pt x="11" y="54"/>
                    <a:pt x="11" y="53"/>
                    <a:pt x="12" y="52"/>
                  </a:cubicBezTo>
                  <a:cubicBezTo>
                    <a:pt x="12" y="52"/>
                    <a:pt x="12" y="51"/>
                    <a:pt x="12" y="51"/>
                  </a:cubicBezTo>
                  <a:cubicBezTo>
                    <a:pt x="11" y="50"/>
                    <a:pt x="11" y="51"/>
                    <a:pt x="11" y="51"/>
                  </a:cubicBezTo>
                  <a:cubicBezTo>
                    <a:pt x="10" y="50"/>
                    <a:pt x="10" y="49"/>
                    <a:pt x="10" y="49"/>
                  </a:cubicBezTo>
                  <a:cubicBezTo>
                    <a:pt x="9" y="48"/>
                    <a:pt x="9" y="48"/>
                    <a:pt x="8" y="48"/>
                  </a:cubicBezTo>
                  <a:cubicBezTo>
                    <a:pt x="8" y="47"/>
                    <a:pt x="8" y="46"/>
                    <a:pt x="9" y="46"/>
                  </a:cubicBezTo>
                  <a:cubicBezTo>
                    <a:pt x="9" y="45"/>
                    <a:pt x="9" y="44"/>
                    <a:pt x="9" y="44"/>
                  </a:cubicBezTo>
                  <a:cubicBezTo>
                    <a:pt x="9" y="43"/>
                    <a:pt x="8" y="44"/>
                    <a:pt x="7" y="43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5" y="41"/>
                    <a:pt x="2" y="42"/>
                    <a:pt x="1" y="41"/>
                  </a:cubicBezTo>
                  <a:cubicBezTo>
                    <a:pt x="1" y="40"/>
                    <a:pt x="1" y="39"/>
                    <a:pt x="1" y="38"/>
                  </a:cubicBezTo>
                  <a:cubicBezTo>
                    <a:pt x="2" y="37"/>
                    <a:pt x="3" y="37"/>
                    <a:pt x="4" y="37"/>
                  </a:cubicBezTo>
                  <a:cubicBezTo>
                    <a:pt x="5" y="38"/>
                    <a:pt x="5" y="39"/>
                    <a:pt x="6" y="40"/>
                  </a:cubicBezTo>
                  <a:cubicBezTo>
                    <a:pt x="7" y="40"/>
                    <a:pt x="7" y="40"/>
                    <a:pt x="8" y="40"/>
                  </a:cubicBezTo>
                  <a:cubicBezTo>
                    <a:pt x="8" y="39"/>
                    <a:pt x="6" y="38"/>
                    <a:pt x="5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6" y="37"/>
                    <a:pt x="6" y="36"/>
                    <a:pt x="6" y="36"/>
                  </a:cubicBezTo>
                  <a:cubicBezTo>
                    <a:pt x="6" y="36"/>
                    <a:pt x="6" y="35"/>
                    <a:pt x="6" y="35"/>
                  </a:cubicBezTo>
                  <a:cubicBezTo>
                    <a:pt x="6" y="35"/>
                    <a:pt x="7" y="35"/>
                    <a:pt x="7" y="35"/>
                  </a:cubicBezTo>
                  <a:cubicBezTo>
                    <a:pt x="7" y="33"/>
                    <a:pt x="6" y="32"/>
                    <a:pt x="6" y="31"/>
                  </a:cubicBezTo>
                  <a:cubicBezTo>
                    <a:pt x="5" y="30"/>
                    <a:pt x="6" y="28"/>
                    <a:pt x="5" y="27"/>
                  </a:cubicBezTo>
                  <a:cubicBezTo>
                    <a:pt x="5" y="27"/>
                    <a:pt x="5" y="27"/>
                    <a:pt x="4" y="27"/>
                  </a:cubicBezTo>
                  <a:cubicBezTo>
                    <a:pt x="3" y="28"/>
                    <a:pt x="1" y="28"/>
                    <a:pt x="0" y="27"/>
                  </a:cubicBezTo>
                  <a:cubicBezTo>
                    <a:pt x="0" y="27"/>
                    <a:pt x="0" y="26"/>
                    <a:pt x="0" y="25"/>
                  </a:cubicBezTo>
                  <a:cubicBezTo>
                    <a:pt x="1" y="24"/>
                    <a:pt x="0" y="22"/>
                    <a:pt x="1" y="21"/>
                  </a:cubicBezTo>
                  <a:cubicBezTo>
                    <a:pt x="2" y="20"/>
                    <a:pt x="3" y="20"/>
                    <a:pt x="5" y="20"/>
                  </a:cubicBezTo>
                  <a:cubicBezTo>
                    <a:pt x="8" y="19"/>
                    <a:pt x="11" y="20"/>
                    <a:pt x="15" y="19"/>
                  </a:cubicBezTo>
                  <a:cubicBezTo>
                    <a:pt x="16" y="19"/>
                    <a:pt x="18" y="19"/>
                    <a:pt x="19" y="19"/>
                  </a:cubicBezTo>
                  <a:cubicBezTo>
                    <a:pt x="20" y="18"/>
                    <a:pt x="21" y="18"/>
                    <a:pt x="22" y="18"/>
                  </a:cubicBezTo>
                  <a:cubicBezTo>
                    <a:pt x="22" y="18"/>
                    <a:pt x="21" y="17"/>
                    <a:pt x="22" y="16"/>
                  </a:cubicBezTo>
                  <a:cubicBezTo>
                    <a:pt x="23" y="15"/>
                    <a:pt x="24" y="14"/>
                    <a:pt x="26" y="15"/>
                  </a:cubicBezTo>
                  <a:cubicBezTo>
                    <a:pt x="26" y="13"/>
                    <a:pt x="24" y="13"/>
                    <a:pt x="23" y="12"/>
                  </a:cubicBezTo>
                  <a:cubicBezTo>
                    <a:pt x="23" y="12"/>
                    <a:pt x="23" y="11"/>
                    <a:pt x="23" y="11"/>
                  </a:cubicBezTo>
                  <a:cubicBezTo>
                    <a:pt x="26" y="9"/>
                    <a:pt x="29" y="10"/>
                    <a:pt x="31" y="10"/>
                  </a:cubicBezTo>
                  <a:cubicBezTo>
                    <a:pt x="33" y="10"/>
                    <a:pt x="34" y="11"/>
                    <a:pt x="35" y="10"/>
                  </a:cubicBezTo>
                  <a:cubicBezTo>
                    <a:pt x="38" y="10"/>
                    <a:pt x="41" y="9"/>
                    <a:pt x="44" y="7"/>
                  </a:cubicBezTo>
                  <a:cubicBezTo>
                    <a:pt x="45" y="7"/>
                    <a:pt x="46" y="5"/>
                    <a:pt x="47" y="5"/>
                  </a:cubicBezTo>
                  <a:cubicBezTo>
                    <a:pt x="49" y="4"/>
                    <a:pt x="52" y="3"/>
                    <a:pt x="54" y="2"/>
                  </a:cubicBezTo>
                  <a:cubicBezTo>
                    <a:pt x="55" y="2"/>
                    <a:pt x="57" y="2"/>
                    <a:pt x="59" y="2"/>
                  </a:cubicBezTo>
                  <a:cubicBezTo>
                    <a:pt x="59" y="2"/>
                    <a:pt x="60" y="3"/>
                    <a:pt x="60" y="3"/>
                  </a:cubicBezTo>
                  <a:cubicBezTo>
                    <a:pt x="62" y="3"/>
                    <a:pt x="63" y="3"/>
                    <a:pt x="65" y="2"/>
                  </a:cubicBezTo>
                  <a:cubicBezTo>
                    <a:pt x="66" y="2"/>
                    <a:pt x="66" y="1"/>
                    <a:pt x="66" y="1"/>
                  </a:cubicBezTo>
                  <a:cubicBezTo>
                    <a:pt x="69" y="0"/>
                    <a:pt x="68" y="3"/>
                    <a:pt x="69" y="5"/>
                  </a:cubicBezTo>
                  <a:cubicBezTo>
                    <a:pt x="69" y="5"/>
                    <a:pt x="70" y="5"/>
                    <a:pt x="70" y="6"/>
                  </a:cubicBezTo>
                  <a:cubicBezTo>
                    <a:pt x="72" y="6"/>
                    <a:pt x="75" y="5"/>
                    <a:pt x="76" y="6"/>
                  </a:cubicBezTo>
                  <a:cubicBezTo>
                    <a:pt x="77" y="8"/>
                    <a:pt x="76" y="9"/>
                    <a:pt x="76" y="11"/>
                  </a:cubicBezTo>
                  <a:cubicBezTo>
                    <a:pt x="78" y="11"/>
                    <a:pt x="81" y="10"/>
                    <a:pt x="83" y="12"/>
                  </a:cubicBezTo>
                  <a:cubicBezTo>
                    <a:pt x="85" y="13"/>
                    <a:pt x="89" y="11"/>
                    <a:pt x="89" y="14"/>
                  </a:cubicBezTo>
                  <a:cubicBezTo>
                    <a:pt x="91" y="14"/>
                    <a:pt x="94" y="14"/>
                    <a:pt x="96" y="14"/>
                  </a:cubicBezTo>
                  <a:cubicBezTo>
                    <a:pt x="99" y="13"/>
                    <a:pt x="103" y="14"/>
                    <a:pt x="107" y="13"/>
                  </a:cubicBezTo>
                  <a:cubicBezTo>
                    <a:pt x="109" y="12"/>
                    <a:pt x="111" y="12"/>
                    <a:pt x="113" y="11"/>
                  </a:cubicBezTo>
                  <a:cubicBezTo>
                    <a:pt x="113" y="11"/>
                    <a:pt x="114" y="11"/>
                    <a:pt x="114" y="11"/>
                  </a:cubicBezTo>
                  <a:cubicBezTo>
                    <a:pt x="115" y="10"/>
                    <a:pt x="116" y="9"/>
                    <a:pt x="117" y="8"/>
                  </a:cubicBezTo>
                  <a:cubicBezTo>
                    <a:pt x="117" y="8"/>
                    <a:pt x="118" y="8"/>
                    <a:pt x="118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21" y="8"/>
                    <a:pt x="122" y="8"/>
                    <a:pt x="124" y="7"/>
                  </a:cubicBezTo>
                  <a:cubicBezTo>
                    <a:pt x="124" y="7"/>
                    <a:pt x="125" y="6"/>
                    <a:pt x="125" y="6"/>
                  </a:cubicBezTo>
                  <a:cubicBezTo>
                    <a:pt x="126" y="5"/>
                    <a:pt x="127" y="5"/>
                    <a:pt x="127" y="6"/>
                  </a:cubicBezTo>
                  <a:cubicBezTo>
                    <a:pt x="128" y="7"/>
                    <a:pt x="129" y="9"/>
                    <a:pt x="130" y="10"/>
                  </a:cubicBezTo>
                  <a:cubicBezTo>
                    <a:pt x="131" y="11"/>
                    <a:pt x="132" y="11"/>
                    <a:pt x="133" y="12"/>
                  </a:cubicBezTo>
                  <a:cubicBezTo>
                    <a:pt x="132" y="14"/>
                    <a:pt x="132" y="18"/>
                    <a:pt x="133" y="20"/>
                  </a:cubicBezTo>
                  <a:cubicBezTo>
                    <a:pt x="133" y="20"/>
                    <a:pt x="134" y="21"/>
                    <a:pt x="134" y="21"/>
                  </a:cubicBezTo>
                  <a:cubicBezTo>
                    <a:pt x="135" y="21"/>
                    <a:pt x="137" y="21"/>
                    <a:pt x="138" y="22"/>
                  </a:cubicBezTo>
                  <a:cubicBezTo>
                    <a:pt x="139" y="22"/>
                    <a:pt x="139" y="23"/>
                    <a:pt x="139" y="23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39" y="24"/>
                    <a:pt x="139" y="24"/>
                  </a:cubicBezTo>
                  <a:cubicBezTo>
                    <a:pt x="138" y="26"/>
                    <a:pt x="138" y="27"/>
                    <a:pt x="138" y="29"/>
                  </a:cubicBezTo>
                  <a:cubicBezTo>
                    <a:pt x="138" y="30"/>
                    <a:pt x="138" y="31"/>
                    <a:pt x="139" y="32"/>
                  </a:cubicBezTo>
                  <a:cubicBezTo>
                    <a:pt x="140" y="34"/>
                    <a:pt x="139" y="37"/>
                    <a:pt x="140" y="38"/>
                  </a:cubicBezTo>
                  <a:cubicBezTo>
                    <a:pt x="140" y="39"/>
                    <a:pt x="140" y="39"/>
                    <a:pt x="140" y="39"/>
                  </a:cubicBezTo>
                  <a:cubicBezTo>
                    <a:pt x="140" y="41"/>
                    <a:pt x="140" y="43"/>
                    <a:pt x="140" y="45"/>
                  </a:cubicBezTo>
                  <a:cubicBezTo>
                    <a:pt x="141" y="46"/>
                    <a:pt x="142" y="47"/>
                    <a:pt x="143" y="48"/>
                  </a:cubicBezTo>
                  <a:cubicBezTo>
                    <a:pt x="143" y="49"/>
                    <a:pt x="142" y="50"/>
                    <a:pt x="143" y="51"/>
                  </a:cubicBezTo>
                  <a:cubicBezTo>
                    <a:pt x="143" y="51"/>
                    <a:pt x="143" y="51"/>
                    <a:pt x="143" y="51"/>
                  </a:cubicBezTo>
                  <a:cubicBezTo>
                    <a:pt x="142" y="51"/>
                    <a:pt x="142" y="52"/>
                    <a:pt x="141" y="51"/>
                  </a:cubicBezTo>
                  <a:cubicBezTo>
                    <a:pt x="140" y="51"/>
                    <a:pt x="140" y="50"/>
                    <a:pt x="139" y="50"/>
                  </a:cubicBezTo>
                  <a:cubicBezTo>
                    <a:pt x="137" y="49"/>
                    <a:pt x="135" y="50"/>
                    <a:pt x="133" y="50"/>
                  </a:cubicBezTo>
                  <a:cubicBezTo>
                    <a:pt x="132" y="49"/>
                    <a:pt x="132" y="48"/>
                    <a:pt x="130" y="49"/>
                  </a:cubicBezTo>
                  <a:cubicBezTo>
                    <a:pt x="129" y="50"/>
                    <a:pt x="128" y="51"/>
                    <a:pt x="126" y="52"/>
                  </a:cubicBezTo>
                  <a:cubicBezTo>
                    <a:pt x="125" y="53"/>
                    <a:pt x="123" y="52"/>
                    <a:pt x="121" y="52"/>
                  </a:cubicBezTo>
                  <a:cubicBezTo>
                    <a:pt x="120" y="51"/>
                    <a:pt x="119" y="51"/>
                    <a:pt x="117" y="52"/>
                  </a:cubicBezTo>
                  <a:cubicBezTo>
                    <a:pt x="116" y="52"/>
                    <a:pt x="115" y="53"/>
                    <a:pt x="114" y="53"/>
                  </a:cubicBezTo>
                  <a:cubicBezTo>
                    <a:pt x="112" y="54"/>
                    <a:pt x="109" y="55"/>
                    <a:pt x="107" y="56"/>
                  </a:cubicBezTo>
                  <a:cubicBezTo>
                    <a:pt x="104" y="56"/>
                    <a:pt x="101" y="56"/>
                    <a:pt x="99" y="56"/>
                  </a:cubicBezTo>
                  <a:cubicBezTo>
                    <a:pt x="96" y="55"/>
                    <a:pt x="93" y="55"/>
                    <a:pt x="90" y="55"/>
                  </a:cubicBezTo>
                  <a:cubicBezTo>
                    <a:pt x="88" y="57"/>
                    <a:pt x="85" y="56"/>
                    <a:pt x="82" y="57"/>
                  </a:cubicBezTo>
                  <a:cubicBezTo>
                    <a:pt x="81" y="57"/>
                    <a:pt x="80" y="58"/>
                    <a:pt x="80" y="58"/>
                  </a:cubicBezTo>
                  <a:cubicBezTo>
                    <a:pt x="80" y="60"/>
                    <a:pt x="81" y="61"/>
                    <a:pt x="80" y="63"/>
                  </a:cubicBezTo>
                  <a:cubicBezTo>
                    <a:pt x="79" y="64"/>
                    <a:pt x="78" y="65"/>
                    <a:pt x="77" y="66"/>
                  </a:cubicBezTo>
                  <a:lnTo>
                    <a:pt x="76" y="6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9" name="Freeform 240"/>
            <p:cNvSpPr>
              <a:spLocks/>
            </p:cNvSpPr>
            <p:nvPr/>
          </p:nvSpPr>
          <p:spPr bwMode="auto">
            <a:xfrm>
              <a:off x="7198439" y="4963130"/>
              <a:ext cx="23201" cy="12088"/>
            </a:xfrm>
            <a:custGeom>
              <a:avLst/>
              <a:gdLst>
                <a:gd name="T0" fmla="*/ 11661007 w 17"/>
                <a:gd name="T1" fmla="*/ 849380 h 11"/>
                <a:gd name="T2" fmla="*/ 7807999 w 17"/>
                <a:gd name="T3" fmla="*/ 2007625 h 11"/>
                <a:gd name="T4" fmla="*/ 4467192 w 17"/>
                <a:gd name="T5" fmla="*/ 2894074 h 11"/>
                <a:gd name="T6" fmla="*/ 806887 w 17"/>
                <a:gd name="T7" fmla="*/ 4745295 h 11"/>
                <a:gd name="T8" fmla="*/ 806887 w 17"/>
                <a:gd name="T9" fmla="*/ 4745295 h 11"/>
                <a:gd name="T10" fmla="*/ 0 w 17"/>
                <a:gd name="T11" fmla="*/ 6840539 h 11"/>
                <a:gd name="T12" fmla="*/ 806887 w 17"/>
                <a:gd name="T13" fmla="*/ 8480159 h 11"/>
                <a:gd name="T14" fmla="*/ 4467192 w 17"/>
                <a:gd name="T15" fmla="*/ 10341118 h 11"/>
                <a:gd name="T16" fmla="*/ 5300376 w 17"/>
                <a:gd name="T17" fmla="*/ 10341118 h 11"/>
                <a:gd name="T18" fmla="*/ 8957156 w 17"/>
                <a:gd name="T19" fmla="*/ 7630664 h 11"/>
                <a:gd name="T20" fmla="*/ 11661007 w 17"/>
                <a:gd name="T21" fmla="*/ 6840539 h 11"/>
                <a:gd name="T22" fmla="*/ 11661007 w 17"/>
                <a:gd name="T23" fmla="*/ 2894074 h 11"/>
                <a:gd name="T24" fmla="*/ 14978991 w 17"/>
                <a:gd name="T25" fmla="*/ 0 h 11"/>
                <a:gd name="T26" fmla="*/ 12471472 w 17"/>
                <a:gd name="T27" fmla="*/ 0 h 11"/>
                <a:gd name="T28" fmla="*/ 10511040 w 17"/>
                <a:gd name="T29" fmla="*/ 849380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"/>
                <a:gd name="T46" fmla="*/ 0 h 11"/>
                <a:gd name="T47" fmla="*/ 17 w 17"/>
                <a:gd name="T48" fmla="*/ 11 h 1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" h="11">
                  <a:moveTo>
                    <a:pt x="13" y="1"/>
                  </a:moveTo>
                  <a:cubicBezTo>
                    <a:pt x="12" y="1"/>
                    <a:pt x="11" y="2"/>
                    <a:pt x="9" y="2"/>
                  </a:cubicBezTo>
                  <a:cubicBezTo>
                    <a:pt x="8" y="3"/>
                    <a:pt x="6" y="2"/>
                    <a:pt x="5" y="3"/>
                  </a:cubicBezTo>
                  <a:cubicBezTo>
                    <a:pt x="4" y="4"/>
                    <a:pt x="3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1" y="8"/>
                    <a:pt x="0" y="9"/>
                    <a:pt x="1" y="9"/>
                  </a:cubicBezTo>
                  <a:cubicBezTo>
                    <a:pt x="2" y="10"/>
                    <a:pt x="4" y="10"/>
                    <a:pt x="5" y="11"/>
                  </a:cubicBezTo>
                  <a:cubicBezTo>
                    <a:pt x="5" y="11"/>
                    <a:pt x="6" y="11"/>
                    <a:pt x="6" y="11"/>
                  </a:cubicBezTo>
                  <a:cubicBezTo>
                    <a:pt x="7" y="9"/>
                    <a:pt x="9" y="9"/>
                    <a:pt x="10" y="8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4" y="6"/>
                    <a:pt x="12" y="4"/>
                    <a:pt x="13" y="3"/>
                  </a:cubicBezTo>
                  <a:cubicBezTo>
                    <a:pt x="14" y="2"/>
                    <a:pt x="17" y="2"/>
                    <a:pt x="17" y="0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14" y="1"/>
                    <a:pt x="13" y="1"/>
                    <a:pt x="12" y="1"/>
                  </a:cubicBezTo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0" name="Freeform 241"/>
            <p:cNvSpPr>
              <a:spLocks/>
            </p:cNvSpPr>
            <p:nvPr/>
          </p:nvSpPr>
          <p:spPr bwMode="auto">
            <a:xfrm>
              <a:off x="7314433" y="5136577"/>
              <a:ext cx="111646" cy="64663"/>
            </a:xfrm>
            <a:custGeom>
              <a:avLst/>
              <a:gdLst>
                <a:gd name="T0" fmla="*/ 77611872 w 83"/>
                <a:gd name="T1" fmla="*/ 19858463 h 60"/>
                <a:gd name="T2" fmla="*/ 72925518 w 83"/>
                <a:gd name="T3" fmla="*/ 20679741 h 60"/>
                <a:gd name="T4" fmla="*/ 70941678 w 83"/>
                <a:gd name="T5" fmla="*/ 27604230 h 60"/>
                <a:gd name="T6" fmla="*/ 65399499 w 83"/>
                <a:gd name="T7" fmla="*/ 29479474 h 60"/>
                <a:gd name="T8" fmla="*/ 64564228 w 83"/>
                <a:gd name="T9" fmla="*/ 30260143 h 60"/>
                <a:gd name="T10" fmla="*/ 54333390 w 83"/>
                <a:gd name="T11" fmla="*/ 32736986 h 60"/>
                <a:gd name="T12" fmla="*/ 52322044 w 83"/>
                <a:gd name="T13" fmla="*/ 34605499 h 60"/>
                <a:gd name="T14" fmla="*/ 46784097 w 83"/>
                <a:gd name="T15" fmla="*/ 37927853 h 60"/>
                <a:gd name="T16" fmla="*/ 43959468 w 83"/>
                <a:gd name="T17" fmla="*/ 39799233 h 60"/>
                <a:gd name="T18" fmla="*/ 38431241 w 83"/>
                <a:gd name="T19" fmla="*/ 39799233 h 60"/>
                <a:gd name="T20" fmla="*/ 31670046 w 83"/>
                <a:gd name="T21" fmla="*/ 43410035 h 60"/>
                <a:gd name="T22" fmla="*/ 24140721 w 83"/>
                <a:gd name="T23" fmla="*/ 44190536 h 60"/>
                <a:gd name="T24" fmla="*/ 23300575 w 83"/>
                <a:gd name="T25" fmla="*/ 44928736 h 60"/>
                <a:gd name="T26" fmla="*/ 17735618 w 83"/>
                <a:gd name="T27" fmla="*/ 49331244 h 60"/>
                <a:gd name="T28" fmla="*/ 13077479 w 83"/>
                <a:gd name="T29" fmla="*/ 51206468 h 60"/>
                <a:gd name="T30" fmla="*/ 8389631 w 83"/>
                <a:gd name="T31" fmla="*/ 50118099 h 60"/>
                <a:gd name="T32" fmla="*/ 7510493 w 83"/>
                <a:gd name="T33" fmla="*/ 50118099 h 60"/>
                <a:gd name="T34" fmla="*/ 6670267 w 83"/>
                <a:gd name="T35" fmla="*/ 48597367 h 60"/>
                <a:gd name="T36" fmla="*/ 5537912 w 83"/>
                <a:gd name="T37" fmla="*/ 40594360 h 60"/>
                <a:gd name="T38" fmla="*/ 4686182 w 83"/>
                <a:gd name="T39" fmla="*/ 39003269 h 60"/>
                <a:gd name="T40" fmla="*/ 2824655 w 83"/>
                <a:gd name="T41" fmla="*/ 31938644 h 60"/>
                <a:gd name="T42" fmla="*/ 840356 w 83"/>
                <a:gd name="T43" fmla="*/ 30260143 h 60"/>
                <a:gd name="T44" fmla="*/ 840356 w 83"/>
                <a:gd name="T45" fmla="*/ 27604230 h 60"/>
                <a:gd name="T46" fmla="*/ 1984455 w 83"/>
                <a:gd name="T47" fmla="*/ 25071420 h 60"/>
                <a:gd name="T48" fmla="*/ 1984455 w 83"/>
                <a:gd name="T49" fmla="*/ 25071420 h 60"/>
                <a:gd name="T50" fmla="*/ 1984455 w 83"/>
                <a:gd name="T51" fmla="*/ 21789993 h 60"/>
                <a:gd name="T52" fmla="*/ 2824655 w 83"/>
                <a:gd name="T53" fmla="*/ 19858463 h 60"/>
                <a:gd name="T54" fmla="*/ 3552753 w 83"/>
                <a:gd name="T55" fmla="*/ 19858463 h 60"/>
                <a:gd name="T56" fmla="*/ 5537912 w 83"/>
                <a:gd name="T57" fmla="*/ 14725750 h 60"/>
                <a:gd name="T58" fmla="*/ 6670267 w 83"/>
                <a:gd name="T59" fmla="*/ 13930632 h 60"/>
                <a:gd name="T60" fmla="*/ 8389631 w 83"/>
                <a:gd name="T61" fmla="*/ 14725750 h 60"/>
                <a:gd name="T62" fmla="*/ 17114813 w 83"/>
                <a:gd name="T63" fmla="*/ 13930632 h 60"/>
                <a:gd name="T64" fmla="*/ 22643206 w 83"/>
                <a:gd name="T65" fmla="*/ 16597139 h 60"/>
                <a:gd name="T66" fmla="*/ 26972490 w 83"/>
                <a:gd name="T67" fmla="*/ 19118622 h 60"/>
                <a:gd name="T68" fmla="*/ 28842547 w 83"/>
                <a:gd name="T69" fmla="*/ 26920719 h 60"/>
                <a:gd name="T70" fmla="*/ 33745057 w 83"/>
                <a:gd name="T71" fmla="*/ 22415394 h 60"/>
                <a:gd name="T72" fmla="*/ 41881699 w 83"/>
                <a:gd name="T73" fmla="*/ 5927928 h 60"/>
                <a:gd name="T74" fmla="*/ 55023008 w 83"/>
                <a:gd name="T75" fmla="*/ 3261053 h 60"/>
                <a:gd name="T76" fmla="*/ 57006999 w 83"/>
                <a:gd name="T77" fmla="*/ 3261053 h 60"/>
                <a:gd name="T78" fmla="*/ 58999265 w 83"/>
                <a:gd name="T79" fmla="*/ 2522523 h 60"/>
                <a:gd name="T80" fmla="*/ 63694045 w 83"/>
                <a:gd name="T81" fmla="*/ 1868516 h 60"/>
                <a:gd name="T82" fmla="*/ 68110098 w 83"/>
                <a:gd name="T83" fmla="*/ 0 h 60"/>
                <a:gd name="T84" fmla="*/ 69222131 w 83"/>
                <a:gd name="T85" fmla="*/ 0 h 60"/>
                <a:gd name="T86" fmla="*/ 69222131 w 83"/>
                <a:gd name="T87" fmla="*/ 795113 h 60"/>
                <a:gd name="T88" fmla="*/ 70941678 w 83"/>
                <a:gd name="T89" fmla="*/ 5193717 h 60"/>
                <a:gd name="T90" fmla="*/ 77611872 w 83"/>
                <a:gd name="T91" fmla="*/ 19118622 h 60"/>
                <a:gd name="T92" fmla="*/ 77611872 w 83"/>
                <a:gd name="T93" fmla="*/ 19858463 h 6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83"/>
                <a:gd name="T142" fmla="*/ 0 h 60"/>
                <a:gd name="T143" fmla="*/ 83 w 83"/>
                <a:gd name="T144" fmla="*/ 60 h 6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83" h="60">
                  <a:moveTo>
                    <a:pt x="83" y="23"/>
                  </a:moveTo>
                  <a:cubicBezTo>
                    <a:pt x="81" y="23"/>
                    <a:pt x="79" y="23"/>
                    <a:pt x="78" y="24"/>
                  </a:cubicBezTo>
                  <a:cubicBezTo>
                    <a:pt x="76" y="26"/>
                    <a:pt x="77" y="30"/>
                    <a:pt x="76" y="32"/>
                  </a:cubicBezTo>
                  <a:cubicBezTo>
                    <a:pt x="75" y="34"/>
                    <a:pt x="72" y="34"/>
                    <a:pt x="70" y="34"/>
                  </a:cubicBezTo>
                  <a:cubicBezTo>
                    <a:pt x="70" y="35"/>
                    <a:pt x="69" y="35"/>
                    <a:pt x="69" y="35"/>
                  </a:cubicBezTo>
                  <a:cubicBezTo>
                    <a:pt x="65" y="37"/>
                    <a:pt x="61" y="36"/>
                    <a:pt x="58" y="38"/>
                  </a:cubicBezTo>
                  <a:cubicBezTo>
                    <a:pt x="57" y="38"/>
                    <a:pt x="57" y="40"/>
                    <a:pt x="56" y="40"/>
                  </a:cubicBezTo>
                  <a:cubicBezTo>
                    <a:pt x="54" y="41"/>
                    <a:pt x="50" y="41"/>
                    <a:pt x="50" y="44"/>
                  </a:cubicBezTo>
                  <a:cubicBezTo>
                    <a:pt x="49" y="44"/>
                    <a:pt x="49" y="46"/>
                    <a:pt x="47" y="46"/>
                  </a:cubicBezTo>
                  <a:cubicBezTo>
                    <a:pt x="46" y="47"/>
                    <a:pt x="43" y="46"/>
                    <a:pt x="41" y="46"/>
                  </a:cubicBezTo>
                  <a:cubicBezTo>
                    <a:pt x="39" y="47"/>
                    <a:pt x="37" y="50"/>
                    <a:pt x="34" y="50"/>
                  </a:cubicBezTo>
                  <a:cubicBezTo>
                    <a:pt x="31" y="50"/>
                    <a:pt x="28" y="49"/>
                    <a:pt x="26" y="51"/>
                  </a:cubicBezTo>
                  <a:cubicBezTo>
                    <a:pt x="25" y="51"/>
                    <a:pt x="25" y="51"/>
                    <a:pt x="25" y="52"/>
                  </a:cubicBezTo>
                  <a:cubicBezTo>
                    <a:pt x="23" y="54"/>
                    <a:pt x="21" y="56"/>
                    <a:pt x="19" y="57"/>
                  </a:cubicBezTo>
                  <a:cubicBezTo>
                    <a:pt x="17" y="58"/>
                    <a:pt x="15" y="58"/>
                    <a:pt x="14" y="59"/>
                  </a:cubicBezTo>
                  <a:cubicBezTo>
                    <a:pt x="12" y="60"/>
                    <a:pt x="10" y="59"/>
                    <a:pt x="9" y="58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7" y="57"/>
                    <a:pt x="7" y="57"/>
                    <a:pt x="7" y="56"/>
                  </a:cubicBezTo>
                  <a:cubicBezTo>
                    <a:pt x="6" y="53"/>
                    <a:pt x="6" y="50"/>
                    <a:pt x="6" y="47"/>
                  </a:cubicBezTo>
                  <a:cubicBezTo>
                    <a:pt x="6" y="47"/>
                    <a:pt x="6" y="46"/>
                    <a:pt x="5" y="45"/>
                  </a:cubicBezTo>
                  <a:cubicBezTo>
                    <a:pt x="4" y="43"/>
                    <a:pt x="3" y="40"/>
                    <a:pt x="3" y="37"/>
                  </a:cubicBezTo>
                  <a:cubicBezTo>
                    <a:pt x="3" y="36"/>
                    <a:pt x="1" y="36"/>
                    <a:pt x="1" y="35"/>
                  </a:cubicBezTo>
                  <a:cubicBezTo>
                    <a:pt x="0" y="34"/>
                    <a:pt x="1" y="33"/>
                    <a:pt x="1" y="32"/>
                  </a:cubicBezTo>
                  <a:cubicBezTo>
                    <a:pt x="2" y="32"/>
                    <a:pt x="2" y="30"/>
                    <a:pt x="2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8"/>
                    <a:pt x="2" y="26"/>
                    <a:pt x="2" y="25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4" y="23"/>
                  </a:cubicBezTo>
                  <a:cubicBezTo>
                    <a:pt x="5" y="21"/>
                    <a:pt x="5" y="19"/>
                    <a:pt x="6" y="17"/>
                  </a:cubicBezTo>
                  <a:cubicBezTo>
                    <a:pt x="6" y="16"/>
                    <a:pt x="6" y="16"/>
                    <a:pt x="7" y="16"/>
                  </a:cubicBezTo>
                  <a:cubicBezTo>
                    <a:pt x="8" y="15"/>
                    <a:pt x="9" y="16"/>
                    <a:pt x="9" y="17"/>
                  </a:cubicBezTo>
                  <a:cubicBezTo>
                    <a:pt x="12" y="17"/>
                    <a:pt x="15" y="16"/>
                    <a:pt x="18" y="16"/>
                  </a:cubicBezTo>
                  <a:cubicBezTo>
                    <a:pt x="20" y="17"/>
                    <a:pt x="22" y="18"/>
                    <a:pt x="24" y="19"/>
                  </a:cubicBezTo>
                  <a:cubicBezTo>
                    <a:pt x="26" y="20"/>
                    <a:pt x="27" y="21"/>
                    <a:pt x="29" y="22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50" y="6"/>
                    <a:pt x="55" y="6"/>
                    <a:pt x="59" y="4"/>
                  </a:cubicBezTo>
                  <a:cubicBezTo>
                    <a:pt x="60" y="4"/>
                    <a:pt x="60" y="4"/>
                    <a:pt x="61" y="4"/>
                  </a:cubicBezTo>
                  <a:cubicBezTo>
                    <a:pt x="62" y="3"/>
                    <a:pt x="63" y="3"/>
                    <a:pt x="63" y="3"/>
                  </a:cubicBezTo>
                  <a:cubicBezTo>
                    <a:pt x="65" y="2"/>
                    <a:pt x="66" y="2"/>
                    <a:pt x="68" y="2"/>
                  </a:cubicBezTo>
                  <a:cubicBezTo>
                    <a:pt x="70" y="1"/>
                    <a:pt x="71" y="0"/>
                    <a:pt x="7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3" y="0"/>
                    <a:pt x="73" y="1"/>
                    <a:pt x="74" y="1"/>
                  </a:cubicBezTo>
                  <a:cubicBezTo>
                    <a:pt x="75" y="3"/>
                    <a:pt x="75" y="4"/>
                    <a:pt x="76" y="6"/>
                  </a:cubicBezTo>
                  <a:cubicBezTo>
                    <a:pt x="78" y="12"/>
                    <a:pt x="80" y="17"/>
                    <a:pt x="83" y="22"/>
                  </a:cubicBezTo>
                  <a:lnTo>
                    <a:pt x="83" y="2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1" name="Freeform 242"/>
            <p:cNvSpPr>
              <a:spLocks/>
            </p:cNvSpPr>
            <p:nvPr/>
          </p:nvSpPr>
          <p:spPr bwMode="auto">
            <a:xfrm>
              <a:off x="7446376" y="5054991"/>
              <a:ext cx="8699" cy="6044"/>
            </a:xfrm>
            <a:custGeom>
              <a:avLst/>
              <a:gdLst>
                <a:gd name="T0" fmla="*/ 3961001 w 6"/>
                <a:gd name="T1" fmla="*/ 0 h 5"/>
                <a:gd name="T2" fmla="*/ 3961001 w 6"/>
                <a:gd name="T3" fmla="*/ 0 h 5"/>
                <a:gd name="T4" fmla="*/ 2243220 w 6"/>
                <a:gd name="T5" fmla="*/ 1064436 h 5"/>
                <a:gd name="T6" fmla="*/ 0 w 6"/>
                <a:gd name="T7" fmla="*/ 6131150 h 5"/>
                <a:gd name="T8" fmla="*/ 727531 w 6"/>
                <a:gd name="T9" fmla="*/ 6131150 h 5"/>
                <a:gd name="T10" fmla="*/ 1697572 w 6"/>
                <a:gd name="T11" fmla="*/ 5085394 h 5"/>
                <a:gd name="T12" fmla="*/ 2970751 w 6"/>
                <a:gd name="T13" fmla="*/ 5085394 h 5"/>
                <a:gd name="T14" fmla="*/ 3961001 w 6"/>
                <a:gd name="T15" fmla="*/ 3577445 h 5"/>
                <a:gd name="T16" fmla="*/ 4688532 w 6"/>
                <a:gd name="T17" fmla="*/ 0 h 5"/>
                <a:gd name="T18" fmla="*/ 3961001 w 6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5"/>
                <a:gd name="T32" fmla="*/ 6 w 6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5"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3" y="0"/>
                    <a:pt x="3" y="1"/>
                  </a:cubicBezTo>
                  <a:cubicBezTo>
                    <a:pt x="1" y="2"/>
                    <a:pt x="0" y="3"/>
                    <a:pt x="0" y="5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1" y="5"/>
                    <a:pt x="1" y="4"/>
                    <a:pt x="2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4" y="4"/>
                    <a:pt x="5" y="3"/>
                    <a:pt x="5" y="3"/>
                  </a:cubicBezTo>
                  <a:cubicBezTo>
                    <a:pt x="6" y="2"/>
                    <a:pt x="6" y="1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2" name="Freeform 243"/>
            <p:cNvSpPr>
              <a:spLocks/>
            </p:cNvSpPr>
            <p:nvPr/>
          </p:nvSpPr>
          <p:spPr bwMode="auto">
            <a:xfrm>
              <a:off x="7715337" y="5229644"/>
              <a:ext cx="23923" cy="36864"/>
            </a:xfrm>
            <a:custGeom>
              <a:avLst/>
              <a:gdLst>
                <a:gd name="T0" fmla="*/ 16931056 w 18"/>
                <a:gd name="T1" fmla="*/ 14174003 h 34"/>
                <a:gd name="T2" fmla="*/ 12233175 w 18"/>
                <a:gd name="T3" fmla="*/ 8957156 h 34"/>
                <a:gd name="T4" fmla="*/ 11221395 w 18"/>
                <a:gd name="T5" fmla="*/ 5300376 h 34"/>
                <a:gd name="T6" fmla="*/ 8080076 w 18"/>
                <a:gd name="T7" fmla="*/ 1898557 h 34"/>
                <a:gd name="T8" fmla="*/ 6519426 w 18"/>
                <a:gd name="T9" fmla="*/ 806887 h 34"/>
                <a:gd name="T10" fmla="*/ 2384158 w 18"/>
                <a:gd name="T11" fmla="*/ 2560181 h 34"/>
                <a:gd name="T12" fmla="*/ 998020 w 18"/>
                <a:gd name="T13" fmla="*/ 7807999 h 34"/>
                <a:gd name="T14" fmla="*/ 998020 w 18"/>
                <a:gd name="T15" fmla="*/ 10511040 h 34"/>
                <a:gd name="T16" fmla="*/ 0 w 18"/>
                <a:gd name="T17" fmla="*/ 13070851 h 34"/>
                <a:gd name="T18" fmla="*/ 0 w 18"/>
                <a:gd name="T19" fmla="*/ 15774699 h 34"/>
                <a:gd name="T20" fmla="*/ 0 w 18"/>
                <a:gd name="T21" fmla="*/ 20263812 h 34"/>
                <a:gd name="T22" fmla="*/ 2384158 w 18"/>
                <a:gd name="T23" fmla="*/ 26630397 h 34"/>
                <a:gd name="T24" fmla="*/ 4697331 w 18"/>
                <a:gd name="T25" fmla="*/ 27437644 h 34"/>
                <a:gd name="T26" fmla="*/ 4697331 w 18"/>
                <a:gd name="T27" fmla="*/ 28048994 h 34"/>
                <a:gd name="T28" fmla="*/ 5695489 w 18"/>
                <a:gd name="T29" fmla="*/ 29344636 h 34"/>
                <a:gd name="T30" fmla="*/ 11221395 w 18"/>
                <a:gd name="T31" fmla="*/ 29344636 h 34"/>
                <a:gd name="T32" fmla="*/ 12233175 w 18"/>
                <a:gd name="T33" fmla="*/ 29344636 h 34"/>
                <a:gd name="T34" fmla="*/ 15574178 w 18"/>
                <a:gd name="T35" fmla="*/ 26630397 h 34"/>
                <a:gd name="T36" fmla="*/ 19302400 w 18"/>
                <a:gd name="T37" fmla="*/ 22136056 h 34"/>
                <a:gd name="T38" fmla="*/ 19302400 w 18"/>
                <a:gd name="T39" fmla="*/ 18371752 h 34"/>
                <a:gd name="T40" fmla="*/ 17885570 w 18"/>
                <a:gd name="T41" fmla="*/ 15774699 h 34"/>
                <a:gd name="T42" fmla="*/ 16931056 w 18"/>
                <a:gd name="T43" fmla="*/ 14174003 h 3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8"/>
                <a:gd name="T67" fmla="*/ 0 h 34"/>
                <a:gd name="T68" fmla="*/ 18 w 18"/>
                <a:gd name="T69" fmla="*/ 34 h 3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8" h="34">
                  <a:moveTo>
                    <a:pt x="15" y="16"/>
                  </a:moveTo>
                  <a:cubicBezTo>
                    <a:pt x="14" y="15"/>
                    <a:pt x="13" y="12"/>
                    <a:pt x="11" y="10"/>
                  </a:cubicBezTo>
                  <a:cubicBezTo>
                    <a:pt x="11" y="9"/>
                    <a:pt x="11" y="7"/>
                    <a:pt x="10" y="6"/>
                  </a:cubicBezTo>
                  <a:cubicBezTo>
                    <a:pt x="9" y="5"/>
                    <a:pt x="8" y="4"/>
                    <a:pt x="7" y="2"/>
                  </a:cubicBezTo>
                  <a:cubicBezTo>
                    <a:pt x="7" y="2"/>
                    <a:pt x="7" y="1"/>
                    <a:pt x="6" y="1"/>
                  </a:cubicBezTo>
                  <a:cubicBezTo>
                    <a:pt x="5" y="0"/>
                    <a:pt x="2" y="1"/>
                    <a:pt x="2" y="3"/>
                  </a:cubicBezTo>
                  <a:cubicBezTo>
                    <a:pt x="2" y="5"/>
                    <a:pt x="2" y="7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3"/>
                    <a:pt x="0" y="14"/>
                    <a:pt x="0" y="15"/>
                  </a:cubicBezTo>
                  <a:cubicBezTo>
                    <a:pt x="0" y="16"/>
                    <a:pt x="0" y="17"/>
                    <a:pt x="0" y="18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1" y="25"/>
                    <a:pt x="1" y="28"/>
                    <a:pt x="2" y="30"/>
                  </a:cubicBezTo>
                  <a:cubicBezTo>
                    <a:pt x="3" y="30"/>
                    <a:pt x="3" y="31"/>
                    <a:pt x="4" y="31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7" y="34"/>
                    <a:pt x="8" y="34"/>
                    <a:pt x="10" y="33"/>
                  </a:cubicBezTo>
                  <a:cubicBezTo>
                    <a:pt x="10" y="33"/>
                    <a:pt x="10" y="33"/>
                    <a:pt x="11" y="33"/>
                  </a:cubicBezTo>
                  <a:cubicBezTo>
                    <a:pt x="12" y="32"/>
                    <a:pt x="13" y="31"/>
                    <a:pt x="14" y="30"/>
                  </a:cubicBezTo>
                  <a:cubicBezTo>
                    <a:pt x="15" y="28"/>
                    <a:pt x="16" y="27"/>
                    <a:pt x="17" y="25"/>
                  </a:cubicBezTo>
                  <a:cubicBezTo>
                    <a:pt x="18" y="24"/>
                    <a:pt x="18" y="23"/>
                    <a:pt x="17" y="21"/>
                  </a:cubicBezTo>
                  <a:cubicBezTo>
                    <a:pt x="17" y="20"/>
                    <a:pt x="17" y="19"/>
                    <a:pt x="16" y="18"/>
                  </a:cubicBezTo>
                  <a:lnTo>
                    <a:pt x="15" y="1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3" name="Freeform 244"/>
            <p:cNvSpPr>
              <a:spLocks/>
            </p:cNvSpPr>
            <p:nvPr/>
          </p:nvSpPr>
          <p:spPr bwMode="auto">
            <a:xfrm>
              <a:off x="8164813" y="5229644"/>
              <a:ext cx="51473" cy="41096"/>
            </a:xfrm>
            <a:custGeom>
              <a:avLst/>
              <a:gdLst>
                <a:gd name="T0" fmla="*/ 26570670 w 38"/>
                <a:gd name="T1" fmla="*/ 20601796 h 38"/>
                <a:gd name="T2" fmla="*/ 27228977 w 38"/>
                <a:gd name="T3" fmla="*/ 19587801 h 38"/>
                <a:gd name="T4" fmla="*/ 28478632 w 38"/>
                <a:gd name="T5" fmla="*/ 16459658 h 38"/>
                <a:gd name="T6" fmla="*/ 29374918 w 38"/>
                <a:gd name="T7" fmla="*/ 16459658 h 38"/>
                <a:gd name="T8" fmla="*/ 31441222 w 38"/>
                <a:gd name="T9" fmla="*/ 19587801 h 38"/>
                <a:gd name="T10" fmla="*/ 33584529 w 38"/>
                <a:gd name="T11" fmla="*/ 23731260 h 38"/>
                <a:gd name="T12" fmla="*/ 34448850 w 38"/>
                <a:gd name="T13" fmla="*/ 23731260 h 38"/>
                <a:gd name="T14" fmla="*/ 35106153 w 38"/>
                <a:gd name="T15" fmla="*/ 18824771 h 38"/>
                <a:gd name="T16" fmla="*/ 36383698 w 38"/>
                <a:gd name="T17" fmla="*/ 14680483 h 38"/>
                <a:gd name="T18" fmla="*/ 34448850 w 38"/>
                <a:gd name="T19" fmla="*/ 9132987 h 38"/>
                <a:gd name="T20" fmla="*/ 32306434 w 38"/>
                <a:gd name="T21" fmla="*/ 7331239 h 38"/>
                <a:gd name="T22" fmla="*/ 32306434 w 38"/>
                <a:gd name="T23" fmla="*/ 6699081 h 38"/>
                <a:gd name="T24" fmla="*/ 32306434 w 38"/>
                <a:gd name="T25" fmla="*/ 5562116 h 38"/>
                <a:gd name="T26" fmla="*/ 33584529 w 38"/>
                <a:gd name="T27" fmla="*/ 4221836 h 38"/>
                <a:gd name="T28" fmla="*/ 32306434 w 38"/>
                <a:gd name="T29" fmla="*/ 2374836 h 38"/>
                <a:gd name="T30" fmla="*/ 28478632 w 38"/>
                <a:gd name="T31" fmla="*/ 769642 h 38"/>
                <a:gd name="T32" fmla="*/ 27228977 w 38"/>
                <a:gd name="T33" fmla="*/ 0 h 38"/>
                <a:gd name="T34" fmla="*/ 26570670 w 38"/>
                <a:gd name="T35" fmla="*/ 0 h 38"/>
                <a:gd name="T36" fmla="*/ 25674877 w 38"/>
                <a:gd name="T37" fmla="*/ 3130193 h 38"/>
                <a:gd name="T38" fmla="*/ 23608573 w 38"/>
                <a:gd name="T39" fmla="*/ 4221836 h 38"/>
                <a:gd name="T40" fmla="*/ 19416389 w 38"/>
                <a:gd name="T41" fmla="*/ 7331239 h 38"/>
                <a:gd name="T42" fmla="*/ 17849252 w 38"/>
                <a:gd name="T43" fmla="*/ 9132987 h 38"/>
                <a:gd name="T44" fmla="*/ 14822601 w 38"/>
                <a:gd name="T45" fmla="*/ 10458606 h 38"/>
                <a:gd name="T46" fmla="*/ 12773055 w 38"/>
                <a:gd name="T47" fmla="*/ 7331239 h 38"/>
                <a:gd name="T48" fmla="*/ 10840510 w 38"/>
                <a:gd name="T49" fmla="*/ 7331239 h 38"/>
                <a:gd name="T50" fmla="*/ 8696832 w 38"/>
                <a:gd name="T51" fmla="*/ 8037547 h 38"/>
                <a:gd name="T52" fmla="*/ 7881242 w 38"/>
                <a:gd name="T53" fmla="*/ 9132987 h 38"/>
                <a:gd name="T54" fmla="*/ 5759327 w 38"/>
                <a:gd name="T55" fmla="*/ 10458606 h 38"/>
                <a:gd name="T56" fmla="*/ 2959271 w 38"/>
                <a:gd name="T57" fmla="*/ 11493535 h 38"/>
                <a:gd name="T58" fmla="*/ 2049534 w 38"/>
                <a:gd name="T59" fmla="*/ 13027061 h 38"/>
                <a:gd name="T60" fmla="*/ 2049534 w 38"/>
                <a:gd name="T61" fmla="*/ 15689949 h 38"/>
                <a:gd name="T62" fmla="*/ 0 w 38"/>
                <a:gd name="T63" fmla="*/ 18252192 h 38"/>
                <a:gd name="T64" fmla="*/ 0 w 38"/>
                <a:gd name="T65" fmla="*/ 19587801 h 38"/>
                <a:gd name="T66" fmla="*/ 865359 w 38"/>
                <a:gd name="T67" fmla="*/ 19587801 h 38"/>
                <a:gd name="T68" fmla="*/ 2959271 w 38"/>
                <a:gd name="T69" fmla="*/ 17170524 h 38"/>
                <a:gd name="T70" fmla="*/ 3671997 w 38"/>
                <a:gd name="T71" fmla="*/ 14680483 h 38"/>
                <a:gd name="T72" fmla="*/ 5759327 w 38"/>
                <a:gd name="T73" fmla="*/ 14680483 h 38"/>
                <a:gd name="T74" fmla="*/ 7008797 w 38"/>
                <a:gd name="T75" fmla="*/ 17170524 h 38"/>
                <a:gd name="T76" fmla="*/ 7881242 w 38"/>
                <a:gd name="T77" fmla="*/ 17170524 h 38"/>
                <a:gd name="T78" fmla="*/ 7881242 w 38"/>
                <a:gd name="T79" fmla="*/ 15689949 h 38"/>
                <a:gd name="T80" fmla="*/ 9968069 w 38"/>
                <a:gd name="T81" fmla="*/ 15689949 h 38"/>
                <a:gd name="T82" fmla="*/ 11496685 w 38"/>
                <a:gd name="T83" fmla="*/ 16459658 h 38"/>
                <a:gd name="T84" fmla="*/ 12773055 w 38"/>
                <a:gd name="T85" fmla="*/ 16459658 h 38"/>
                <a:gd name="T86" fmla="*/ 12773055 w 38"/>
                <a:gd name="T87" fmla="*/ 14680483 h 38"/>
                <a:gd name="T88" fmla="*/ 11496685 w 38"/>
                <a:gd name="T89" fmla="*/ 13027061 h 38"/>
                <a:gd name="T90" fmla="*/ 15706817 w 38"/>
                <a:gd name="T91" fmla="*/ 13027061 h 38"/>
                <a:gd name="T92" fmla="*/ 18666092 w 38"/>
                <a:gd name="T93" fmla="*/ 14680483 h 38"/>
                <a:gd name="T94" fmla="*/ 18666092 w 38"/>
                <a:gd name="T95" fmla="*/ 17170524 h 38"/>
                <a:gd name="T96" fmla="*/ 14822601 w 38"/>
                <a:gd name="T97" fmla="*/ 18824771 h 38"/>
                <a:gd name="T98" fmla="*/ 14822601 w 38"/>
                <a:gd name="T99" fmla="*/ 19587801 h 38"/>
                <a:gd name="T100" fmla="*/ 15706817 w 38"/>
                <a:gd name="T101" fmla="*/ 20601796 h 38"/>
                <a:gd name="T102" fmla="*/ 16599778 w 38"/>
                <a:gd name="T103" fmla="*/ 23158699 h 38"/>
                <a:gd name="T104" fmla="*/ 16599778 w 38"/>
                <a:gd name="T105" fmla="*/ 23731260 h 38"/>
                <a:gd name="T106" fmla="*/ 18666092 w 38"/>
                <a:gd name="T107" fmla="*/ 25533856 h 38"/>
                <a:gd name="T108" fmla="*/ 23608573 w 38"/>
                <a:gd name="T109" fmla="*/ 27951132 h 38"/>
                <a:gd name="T110" fmla="*/ 25674877 w 38"/>
                <a:gd name="T111" fmla="*/ 26919051 h 38"/>
                <a:gd name="T112" fmla="*/ 26570670 w 38"/>
                <a:gd name="T113" fmla="*/ 26919051 h 38"/>
                <a:gd name="T114" fmla="*/ 26570670 w 38"/>
                <a:gd name="T115" fmla="*/ 30510734 h 38"/>
                <a:gd name="T116" fmla="*/ 27228977 w 38"/>
                <a:gd name="T117" fmla="*/ 30510734 h 38"/>
                <a:gd name="T118" fmla="*/ 28478632 w 38"/>
                <a:gd name="T119" fmla="*/ 27951132 h 38"/>
                <a:gd name="T120" fmla="*/ 29374918 w 38"/>
                <a:gd name="T121" fmla="*/ 27951132 h 38"/>
                <a:gd name="T122" fmla="*/ 27228977 w 38"/>
                <a:gd name="T123" fmla="*/ 22145880 h 38"/>
                <a:gd name="T124" fmla="*/ 26570670 w 38"/>
                <a:gd name="T125" fmla="*/ 20601796 h 3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8"/>
                <a:gd name="T190" fmla="*/ 0 h 38"/>
                <a:gd name="T191" fmla="*/ 38 w 38"/>
                <a:gd name="T192" fmla="*/ 38 h 3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8" h="38">
                  <a:moveTo>
                    <a:pt x="27" y="25"/>
                  </a:moveTo>
                  <a:cubicBezTo>
                    <a:pt x="27" y="25"/>
                    <a:pt x="27" y="24"/>
                    <a:pt x="28" y="24"/>
                  </a:cubicBezTo>
                  <a:cubicBezTo>
                    <a:pt x="28" y="23"/>
                    <a:pt x="28" y="21"/>
                    <a:pt x="29" y="20"/>
                  </a:cubicBezTo>
                  <a:cubicBezTo>
                    <a:pt x="29" y="20"/>
                    <a:pt x="30" y="20"/>
                    <a:pt x="30" y="20"/>
                  </a:cubicBezTo>
                  <a:cubicBezTo>
                    <a:pt x="31" y="21"/>
                    <a:pt x="31" y="23"/>
                    <a:pt x="32" y="24"/>
                  </a:cubicBezTo>
                  <a:cubicBezTo>
                    <a:pt x="33" y="26"/>
                    <a:pt x="32" y="28"/>
                    <a:pt x="34" y="29"/>
                  </a:cubicBezTo>
                  <a:cubicBezTo>
                    <a:pt x="34" y="30"/>
                    <a:pt x="34" y="29"/>
                    <a:pt x="35" y="29"/>
                  </a:cubicBezTo>
                  <a:cubicBezTo>
                    <a:pt x="35" y="27"/>
                    <a:pt x="35" y="24"/>
                    <a:pt x="36" y="23"/>
                  </a:cubicBezTo>
                  <a:cubicBezTo>
                    <a:pt x="37" y="21"/>
                    <a:pt x="38" y="19"/>
                    <a:pt x="37" y="18"/>
                  </a:cubicBezTo>
                  <a:cubicBezTo>
                    <a:pt x="36" y="16"/>
                    <a:pt x="36" y="13"/>
                    <a:pt x="35" y="11"/>
                  </a:cubicBezTo>
                  <a:cubicBezTo>
                    <a:pt x="35" y="10"/>
                    <a:pt x="33" y="10"/>
                    <a:pt x="33" y="9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8"/>
                    <a:pt x="33" y="7"/>
                    <a:pt x="33" y="7"/>
                  </a:cubicBezTo>
                  <a:cubicBezTo>
                    <a:pt x="34" y="7"/>
                    <a:pt x="34" y="6"/>
                    <a:pt x="34" y="5"/>
                  </a:cubicBezTo>
                  <a:cubicBezTo>
                    <a:pt x="34" y="4"/>
                    <a:pt x="34" y="3"/>
                    <a:pt x="33" y="3"/>
                  </a:cubicBezTo>
                  <a:cubicBezTo>
                    <a:pt x="32" y="1"/>
                    <a:pt x="30" y="2"/>
                    <a:pt x="29" y="1"/>
                  </a:cubicBezTo>
                  <a:cubicBezTo>
                    <a:pt x="29" y="1"/>
                    <a:pt x="29" y="1"/>
                    <a:pt x="28" y="0"/>
                  </a:cubicBezTo>
                  <a:cubicBezTo>
                    <a:pt x="28" y="0"/>
                    <a:pt x="27" y="0"/>
                    <a:pt x="27" y="0"/>
                  </a:cubicBezTo>
                  <a:cubicBezTo>
                    <a:pt x="26" y="1"/>
                    <a:pt x="28" y="3"/>
                    <a:pt x="26" y="4"/>
                  </a:cubicBezTo>
                  <a:cubicBezTo>
                    <a:pt x="25" y="4"/>
                    <a:pt x="25" y="5"/>
                    <a:pt x="24" y="5"/>
                  </a:cubicBezTo>
                  <a:cubicBezTo>
                    <a:pt x="22" y="6"/>
                    <a:pt x="20" y="7"/>
                    <a:pt x="20" y="9"/>
                  </a:cubicBezTo>
                  <a:cubicBezTo>
                    <a:pt x="19" y="10"/>
                    <a:pt x="18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1"/>
                    <a:pt x="14" y="10"/>
                    <a:pt x="13" y="9"/>
                  </a:cubicBezTo>
                  <a:cubicBezTo>
                    <a:pt x="12" y="8"/>
                    <a:pt x="11" y="8"/>
                    <a:pt x="11" y="9"/>
                  </a:cubicBezTo>
                  <a:cubicBezTo>
                    <a:pt x="10" y="9"/>
                    <a:pt x="10" y="10"/>
                    <a:pt x="9" y="10"/>
                  </a:cubicBezTo>
                  <a:cubicBezTo>
                    <a:pt x="9" y="10"/>
                    <a:pt x="8" y="11"/>
                    <a:pt x="8" y="11"/>
                  </a:cubicBezTo>
                  <a:cubicBezTo>
                    <a:pt x="7" y="12"/>
                    <a:pt x="7" y="13"/>
                    <a:pt x="6" y="13"/>
                  </a:cubicBezTo>
                  <a:cubicBezTo>
                    <a:pt x="5" y="14"/>
                    <a:pt x="4" y="14"/>
                    <a:pt x="3" y="14"/>
                  </a:cubicBezTo>
                  <a:cubicBezTo>
                    <a:pt x="2" y="14"/>
                    <a:pt x="2" y="15"/>
                    <a:pt x="2" y="16"/>
                  </a:cubicBezTo>
                  <a:cubicBezTo>
                    <a:pt x="2" y="17"/>
                    <a:pt x="2" y="18"/>
                    <a:pt x="2" y="19"/>
                  </a:cubicBezTo>
                  <a:cubicBezTo>
                    <a:pt x="2" y="20"/>
                    <a:pt x="1" y="21"/>
                    <a:pt x="0" y="22"/>
                  </a:cubicBezTo>
                  <a:cubicBezTo>
                    <a:pt x="0" y="23"/>
                    <a:pt x="0" y="23"/>
                    <a:pt x="0" y="24"/>
                  </a:cubicBezTo>
                  <a:cubicBezTo>
                    <a:pt x="0" y="24"/>
                    <a:pt x="1" y="24"/>
                    <a:pt x="1" y="24"/>
                  </a:cubicBezTo>
                  <a:cubicBezTo>
                    <a:pt x="2" y="23"/>
                    <a:pt x="2" y="22"/>
                    <a:pt x="3" y="21"/>
                  </a:cubicBezTo>
                  <a:cubicBezTo>
                    <a:pt x="3" y="20"/>
                    <a:pt x="4" y="19"/>
                    <a:pt x="4" y="18"/>
                  </a:cubicBezTo>
                  <a:cubicBezTo>
                    <a:pt x="5" y="18"/>
                    <a:pt x="6" y="17"/>
                    <a:pt x="6" y="18"/>
                  </a:cubicBezTo>
                  <a:cubicBezTo>
                    <a:pt x="7" y="18"/>
                    <a:pt x="7" y="20"/>
                    <a:pt x="7" y="21"/>
                  </a:cubicBezTo>
                  <a:cubicBezTo>
                    <a:pt x="7" y="21"/>
                    <a:pt x="8" y="21"/>
                    <a:pt x="8" y="21"/>
                  </a:cubicBezTo>
                  <a:cubicBezTo>
                    <a:pt x="8" y="20"/>
                    <a:pt x="8" y="20"/>
                    <a:pt x="8" y="19"/>
                  </a:cubicBezTo>
                  <a:cubicBezTo>
                    <a:pt x="9" y="18"/>
                    <a:pt x="10" y="18"/>
                    <a:pt x="10" y="19"/>
                  </a:cubicBezTo>
                  <a:cubicBezTo>
                    <a:pt x="11" y="19"/>
                    <a:pt x="11" y="20"/>
                    <a:pt x="12" y="20"/>
                  </a:cubicBezTo>
                  <a:cubicBezTo>
                    <a:pt x="12" y="20"/>
                    <a:pt x="13" y="20"/>
                    <a:pt x="13" y="20"/>
                  </a:cubicBezTo>
                  <a:cubicBezTo>
                    <a:pt x="13" y="20"/>
                    <a:pt x="13" y="19"/>
                    <a:pt x="13" y="18"/>
                  </a:cubicBezTo>
                  <a:cubicBezTo>
                    <a:pt x="12" y="17"/>
                    <a:pt x="12" y="17"/>
                    <a:pt x="12" y="16"/>
                  </a:cubicBezTo>
                  <a:cubicBezTo>
                    <a:pt x="14" y="16"/>
                    <a:pt x="15" y="15"/>
                    <a:pt x="16" y="16"/>
                  </a:cubicBezTo>
                  <a:cubicBezTo>
                    <a:pt x="17" y="17"/>
                    <a:pt x="18" y="17"/>
                    <a:pt x="19" y="18"/>
                  </a:cubicBezTo>
                  <a:cubicBezTo>
                    <a:pt x="19" y="19"/>
                    <a:pt x="19" y="20"/>
                    <a:pt x="19" y="21"/>
                  </a:cubicBezTo>
                  <a:cubicBezTo>
                    <a:pt x="18" y="22"/>
                    <a:pt x="17" y="22"/>
                    <a:pt x="15" y="23"/>
                  </a:cubicBezTo>
                  <a:cubicBezTo>
                    <a:pt x="15" y="23"/>
                    <a:pt x="15" y="24"/>
                    <a:pt x="15" y="24"/>
                  </a:cubicBezTo>
                  <a:cubicBezTo>
                    <a:pt x="15" y="25"/>
                    <a:pt x="16" y="25"/>
                    <a:pt x="16" y="25"/>
                  </a:cubicBezTo>
                  <a:cubicBezTo>
                    <a:pt x="17" y="26"/>
                    <a:pt x="16" y="27"/>
                    <a:pt x="17" y="28"/>
                  </a:cubicBezTo>
                  <a:cubicBezTo>
                    <a:pt x="17" y="28"/>
                    <a:pt x="17" y="29"/>
                    <a:pt x="17" y="29"/>
                  </a:cubicBezTo>
                  <a:cubicBezTo>
                    <a:pt x="18" y="30"/>
                    <a:pt x="18" y="30"/>
                    <a:pt x="19" y="31"/>
                  </a:cubicBezTo>
                  <a:cubicBezTo>
                    <a:pt x="20" y="32"/>
                    <a:pt x="22" y="33"/>
                    <a:pt x="24" y="34"/>
                  </a:cubicBezTo>
                  <a:cubicBezTo>
                    <a:pt x="25" y="34"/>
                    <a:pt x="26" y="34"/>
                    <a:pt x="26" y="33"/>
                  </a:cubicBezTo>
                  <a:cubicBezTo>
                    <a:pt x="26" y="33"/>
                    <a:pt x="27" y="33"/>
                    <a:pt x="27" y="33"/>
                  </a:cubicBezTo>
                  <a:cubicBezTo>
                    <a:pt x="27" y="34"/>
                    <a:pt x="27" y="36"/>
                    <a:pt x="27" y="37"/>
                  </a:cubicBezTo>
                  <a:cubicBezTo>
                    <a:pt x="27" y="38"/>
                    <a:pt x="28" y="38"/>
                    <a:pt x="28" y="37"/>
                  </a:cubicBezTo>
                  <a:cubicBezTo>
                    <a:pt x="29" y="36"/>
                    <a:pt x="28" y="35"/>
                    <a:pt x="29" y="34"/>
                  </a:cubicBezTo>
                  <a:cubicBezTo>
                    <a:pt x="29" y="34"/>
                    <a:pt x="30" y="34"/>
                    <a:pt x="30" y="34"/>
                  </a:cubicBezTo>
                  <a:cubicBezTo>
                    <a:pt x="31" y="31"/>
                    <a:pt x="30" y="28"/>
                    <a:pt x="28" y="27"/>
                  </a:cubicBezTo>
                  <a:cubicBezTo>
                    <a:pt x="27" y="27"/>
                    <a:pt x="28" y="26"/>
                    <a:pt x="27" y="2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4" name="Freeform 245"/>
            <p:cNvSpPr>
              <a:spLocks/>
            </p:cNvSpPr>
            <p:nvPr/>
          </p:nvSpPr>
          <p:spPr bwMode="auto">
            <a:xfrm>
              <a:off x="8185112" y="5224809"/>
              <a:ext cx="6524" cy="4834"/>
            </a:xfrm>
            <a:custGeom>
              <a:avLst/>
              <a:gdLst>
                <a:gd name="T0" fmla="*/ 3577445 w 5"/>
                <a:gd name="T1" fmla="*/ 0 h 5"/>
                <a:gd name="T2" fmla="*/ 1064436 w 5"/>
                <a:gd name="T3" fmla="*/ 1064436 h 5"/>
                <a:gd name="T4" fmla="*/ 0 w 5"/>
                <a:gd name="T5" fmla="*/ 6131150 h 5"/>
                <a:gd name="T6" fmla="*/ 1064436 w 5"/>
                <a:gd name="T7" fmla="*/ 5085394 h 5"/>
                <a:gd name="T8" fmla="*/ 5085394 w 5"/>
                <a:gd name="T9" fmla="*/ 3577445 h 5"/>
                <a:gd name="T10" fmla="*/ 3577445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3" y="0"/>
                  </a:move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4" y="4"/>
                    <a:pt x="4" y="3"/>
                  </a:cubicBezTo>
                  <a:cubicBezTo>
                    <a:pt x="5" y="2"/>
                    <a:pt x="5" y="0"/>
                    <a:pt x="3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5" name="Freeform 246"/>
            <p:cNvSpPr>
              <a:spLocks/>
            </p:cNvSpPr>
            <p:nvPr/>
          </p:nvSpPr>
          <p:spPr bwMode="auto">
            <a:xfrm>
              <a:off x="8188014" y="5210305"/>
              <a:ext cx="10151" cy="14504"/>
            </a:xfrm>
            <a:custGeom>
              <a:avLst/>
              <a:gdLst>
                <a:gd name="T0" fmla="*/ 7279645 w 8"/>
                <a:gd name="T1" fmla="*/ 8174845 h 14"/>
                <a:gd name="T2" fmla="*/ 5955246 w 8"/>
                <a:gd name="T3" fmla="*/ 6527726 h 14"/>
                <a:gd name="T4" fmla="*/ 5058432 w 8"/>
                <a:gd name="T5" fmla="*/ 826407 h 14"/>
                <a:gd name="T6" fmla="*/ 896786 w 8"/>
                <a:gd name="T7" fmla="*/ 0 h 14"/>
                <a:gd name="T8" fmla="*/ 896786 w 8"/>
                <a:gd name="T9" fmla="*/ 3468116 h 14"/>
                <a:gd name="T10" fmla="*/ 4351847 w 8"/>
                <a:gd name="T11" fmla="*/ 4591618 h 14"/>
                <a:gd name="T12" fmla="*/ 5058432 w 8"/>
                <a:gd name="T13" fmla="*/ 7350477 h 14"/>
                <a:gd name="T14" fmla="*/ 4351847 w 8"/>
                <a:gd name="T15" fmla="*/ 8174845 h 14"/>
                <a:gd name="T16" fmla="*/ 5955246 w 8"/>
                <a:gd name="T17" fmla="*/ 11919092 h 14"/>
                <a:gd name="T18" fmla="*/ 8176458 w 8"/>
                <a:gd name="T19" fmla="*/ 9297269 h 14"/>
                <a:gd name="T20" fmla="*/ 8176458 w 8"/>
                <a:gd name="T21" fmla="*/ 8174845 h 14"/>
                <a:gd name="T22" fmla="*/ 7279645 w 8"/>
                <a:gd name="T23" fmla="*/ 8174845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"/>
                <a:gd name="T37" fmla="*/ 0 h 14"/>
                <a:gd name="T38" fmla="*/ 8 w 8"/>
                <a:gd name="T39" fmla="*/ 14 h 1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" h="14">
                  <a:moveTo>
                    <a:pt x="7" y="9"/>
                  </a:moveTo>
                  <a:cubicBezTo>
                    <a:pt x="7" y="8"/>
                    <a:pt x="6" y="7"/>
                    <a:pt x="6" y="7"/>
                  </a:cubicBezTo>
                  <a:cubicBezTo>
                    <a:pt x="6" y="5"/>
                    <a:pt x="6" y="3"/>
                    <a:pt x="5" y="1"/>
                  </a:cubicBezTo>
                  <a:cubicBezTo>
                    <a:pt x="4" y="0"/>
                    <a:pt x="2" y="0"/>
                    <a:pt x="1" y="0"/>
                  </a:cubicBezTo>
                  <a:cubicBezTo>
                    <a:pt x="0" y="1"/>
                    <a:pt x="0" y="3"/>
                    <a:pt x="1" y="4"/>
                  </a:cubicBezTo>
                  <a:cubicBezTo>
                    <a:pt x="1" y="5"/>
                    <a:pt x="3" y="4"/>
                    <a:pt x="4" y="5"/>
                  </a:cubicBezTo>
                  <a:cubicBezTo>
                    <a:pt x="5" y="6"/>
                    <a:pt x="5" y="7"/>
                    <a:pt x="5" y="8"/>
                  </a:cubicBezTo>
                  <a:cubicBezTo>
                    <a:pt x="5" y="8"/>
                    <a:pt x="4" y="9"/>
                    <a:pt x="4" y="9"/>
                  </a:cubicBezTo>
                  <a:cubicBezTo>
                    <a:pt x="3" y="11"/>
                    <a:pt x="3" y="14"/>
                    <a:pt x="6" y="13"/>
                  </a:cubicBezTo>
                  <a:cubicBezTo>
                    <a:pt x="7" y="13"/>
                    <a:pt x="7" y="11"/>
                    <a:pt x="8" y="10"/>
                  </a:cubicBezTo>
                  <a:cubicBezTo>
                    <a:pt x="8" y="10"/>
                    <a:pt x="8" y="9"/>
                    <a:pt x="8" y="9"/>
                  </a:cubicBezTo>
                  <a:lnTo>
                    <a:pt x="7" y="9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6" name="Freeform 247"/>
            <p:cNvSpPr>
              <a:spLocks/>
            </p:cNvSpPr>
            <p:nvPr/>
          </p:nvSpPr>
          <p:spPr bwMode="auto">
            <a:xfrm>
              <a:off x="8185112" y="5198220"/>
              <a:ext cx="17399" cy="16317"/>
            </a:xfrm>
            <a:custGeom>
              <a:avLst/>
              <a:gdLst>
                <a:gd name="T0" fmla="*/ 11938254 w 13"/>
                <a:gd name="T1" fmla="*/ 5085395 h 15"/>
                <a:gd name="T2" fmla="*/ 11938254 w 13"/>
                <a:gd name="T3" fmla="*/ 3577445 h 15"/>
                <a:gd name="T4" fmla="*/ 9596174 w 13"/>
                <a:gd name="T5" fmla="*/ 1064436 h 15"/>
                <a:gd name="T6" fmla="*/ 6350665 w 13"/>
                <a:gd name="T7" fmla="*/ 0 h 15"/>
                <a:gd name="T8" fmla="*/ 2335724 w 13"/>
                <a:gd name="T9" fmla="*/ 1064436 h 15"/>
                <a:gd name="T10" fmla="*/ 979497 w 13"/>
                <a:gd name="T11" fmla="*/ 3577445 h 15"/>
                <a:gd name="T12" fmla="*/ 2335724 w 13"/>
                <a:gd name="T13" fmla="*/ 7196554 h 15"/>
                <a:gd name="T14" fmla="*/ 4595099 w 13"/>
                <a:gd name="T15" fmla="*/ 8585866 h 15"/>
                <a:gd name="T16" fmla="*/ 6350665 w 13"/>
                <a:gd name="T17" fmla="*/ 9650299 h 15"/>
                <a:gd name="T18" fmla="*/ 7913775 w 13"/>
                <a:gd name="T19" fmla="*/ 14714756 h 15"/>
                <a:gd name="T20" fmla="*/ 8621839 w 13"/>
                <a:gd name="T21" fmla="*/ 15597639 h 15"/>
                <a:gd name="T22" fmla="*/ 14203962 w 13"/>
                <a:gd name="T23" fmla="*/ 17271725 h 15"/>
                <a:gd name="T24" fmla="*/ 14203962 w 13"/>
                <a:gd name="T25" fmla="*/ 14714756 h 15"/>
                <a:gd name="T26" fmla="*/ 11938254 w 13"/>
                <a:gd name="T27" fmla="*/ 13074693 h 15"/>
                <a:gd name="T28" fmla="*/ 11938254 w 13"/>
                <a:gd name="T29" fmla="*/ 8585866 h 15"/>
                <a:gd name="T30" fmla="*/ 11938254 w 13"/>
                <a:gd name="T31" fmla="*/ 5085395 h 1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3"/>
                <a:gd name="T49" fmla="*/ 0 h 15"/>
                <a:gd name="T50" fmla="*/ 13 w 13"/>
                <a:gd name="T51" fmla="*/ 15 h 1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3" h="15">
                  <a:moveTo>
                    <a:pt x="11" y="4"/>
                  </a:moveTo>
                  <a:cubicBezTo>
                    <a:pt x="11" y="4"/>
                    <a:pt x="12" y="3"/>
                    <a:pt x="11" y="3"/>
                  </a:cubicBezTo>
                  <a:cubicBezTo>
                    <a:pt x="11" y="2"/>
                    <a:pt x="10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2"/>
                    <a:pt x="3" y="1"/>
                    <a:pt x="2" y="1"/>
                  </a:cubicBezTo>
                  <a:cubicBezTo>
                    <a:pt x="1" y="2"/>
                    <a:pt x="0" y="3"/>
                    <a:pt x="1" y="3"/>
                  </a:cubicBezTo>
                  <a:cubicBezTo>
                    <a:pt x="1" y="4"/>
                    <a:pt x="2" y="5"/>
                    <a:pt x="2" y="6"/>
                  </a:cubicBezTo>
                  <a:cubicBezTo>
                    <a:pt x="3" y="6"/>
                    <a:pt x="4" y="6"/>
                    <a:pt x="4" y="7"/>
                  </a:cubicBezTo>
                  <a:cubicBezTo>
                    <a:pt x="5" y="8"/>
                    <a:pt x="6" y="8"/>
                    <a:pt x="6" y="8"/>
                  </a:cubicBezTo>
                  <a:cubicBezTo>
                    <a:pt x="8" y="9"/>
                    <a:pt x="6" y="11"/>
                    <a:pt x="7" y="12"/>
                  </a:cubicBezTo>
                  <a:cubicBezTo>
                    <a:pt x="8" y="12"/>
                    <a:pt x="8" y="13"/>
                    <a:pt x="8" y="13"/>
                  </a:cubicBezTo>
                  <a:cubicBezTo>
                    <a:pt x="10" y="14"/>
                    <a:pt x="11" y="15"/>
                    <a:pt x="13" y="14"/>
                  </a:cubicBezTo>
                  <a:cubicBezTo>
                    <a:pt x="13" y="14"/>
                    <a:pt x="13" y="13"/>
                    <a:pt x="13" y="12"/>
                  </a:cubicBezTo>
                  <a:cubicBezTo>
                    <a:pt x="12" y="12"/>
                    <a:pt x="11" y="12"/>
                    <a:pt x="11" y="11"/>
                  </a:cubicBezTo>
                  <a:cubicBezTo>
                    <a:pt x="11" y="10"/>
                    <a:pt x="11" y="8"/>
                    <a:pt x="11" y="7"/>
                  </a:cubicBezTo>
                  <a:cubicBezTo>
                    <a:pt x="12" y="6"/>
                    <a:pt x="11" y="5"/>
                    <a:pt x="11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7" name="Freeform 248"/>
            <p:cNvSpPr>
              <a:spLocks/>
            </p:cNvSpPr>
            <p:nvPr/>
          </p:nvSpPr>
          <p:spPr bwMode="auto">
            <a:xfrm>
              <a:off x="8172788" y="5199427"/>
              <a:ext cx="12324" cy="8460"/>
            </a:xfrm>
            <a:custGeom>
              <a:avLst/>
              <a:gdLst>
                <a:gd name="T0" fmla="*/ 6253179 w 9"/>
                <a:gd name="T1" fmla="*/ 2117562 h 8"/>
                <a:gd name="T2" fmla="*/ 727531 w 9"/>
                <a:gd name="T3" fmla="*/ 418284 h 8"/>
                <a:gd name="T4" fmla="*/ 727531 w 9"/>
                <a:gd name="T5" fmla="*/ 2453348 h 8"/>
                <a:gd name="T6" fmla="*/ 1697572 w 9"/>
                <a:gd name="T7" fmla="*/ 2117562 h 8"/>
                <a:gd name="T8" fmla="*/ 2970751 w 9"/>
                <a:gd name="T9" fmla="*/ 2117562 h 8"/>
                <a:gd name="T10" fmla="*/ 6931749 w 9"/>
                <a:gd name="T11" fmla="*/ 3058782 h 8"/>
                <a:gd name="T12" fmla="*/ 6253179 w 9"/>
                <a:gd name="T13" fmla="*/ 2117562 h 8"/>
                <a:gd name="T14" fmla="*/ 6253179 w 9"/>
                <a:gd name="T15" fmla="*/ 2117562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8"/>
                <a:gd name="T26" fmla="*/ 9 w 9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8">
                  <a:moveTo>
                    <a:pt x="8" y="5"/>
                  </a:moveTo>
                  <a:cubicBezTo>
                    <a:pt x="5" y="5"/>
                    <a:pt x="4" y="0"/>
                    <a:pt x="1" y="1"/>
                  </a:cubicBezTo>
                  <a:cubicBezTo>
                    <a:pt x="1" y="2"/>
                    <a:pt x="0" y="4"/>
                    <a:pt x="1" y="6"/>
                  </a:cubicBezTo>
                  <a:cubicBezTo>
                    <a:pt x="1" y="6"/>
                    <a:pt x="2" y="5"/>
                    <a:pt x="2" y="5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6" y="6"/>
                    <a:pt x="7" y="8"/>
                    <a:pt x="9" y="7"/>
                  </a:cubicBezTo>
                  <a:cubicBezTo>
                    <a:pt x="9" y="7"/>
                    <a:pt x="8" y="6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8" name="Freeform 249"/>
            <p:cNvSpPr>
              <a:spLocks/>
            </p:cNvSpPr>
            <p:nvPr/>
          </p:nvSpPr>
          <p:spPr bwMode="auto">
            <a:xfrm>
              <a:off x="8178588" y="5214537"/>
              <a:ext cx="7974" cy="15109"/>
            </a:xfrm>
            <a:custGeom>
              <a:avLst/>
              <a:gdLst>
                <a:gd name="T0" fmla="*/ 4688532 w 6"/>
                <a:gd name="T1" fmla="*/ 4591618 h 14"/>
                <a:gd name="T2" fmla="*/ 2970751 w 6"/>
                <a:gd name="T3" fmla="*/ 0 h 14"/>
                <a:gd name="T4" fmla="*/ 727531 w 6"/>
                <a:gd name="T5" fmla="*/ 5415918 h 14"/>
                <a:gd name="T6" fmla="*/ 0 w 6"/>
                <a:gd name="T7" fmla="*/ 10823097 h 14"/>
                <a:gd name="T8" fmla="*/ 0 w 6"/>
                <a:gd name="T9" fmla="*/ 12766089 h 14"/>
                <a:gd name="T10" fmla="*/ 727531 w 6"/>
                <a:gd name="T11" fmla="*/ 12766089 h 14"/>
                <a:gd name="T12" fmla="*/ 1697572 w 6"/>
                <a:gd name="T13" fmla="*/ 9969095 h 14"/>
                <a:gd name="T14" fmla="*/ 3961001 w 6"/>
                <a:gd name="T15" fmla="*/ 5415918 h 14"/>
                <a:gd name="T16" fmla="*/ 4688532 w 6"/>
                <a:gd name="T17" fmla="*/ 4591618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14"/>
                <a:gd name="T29" fmla="*/ 6 w 6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14">
                  <a:moveTo>
                    <a:pt x="6" y="5"/>
                  </a:moveTo>
                  <a:cubicBezTo>
                    <a:pt x="5" y="3"/>
                    <a:pt x="6" y="0"/>
                    <a:pt x="4" y="0"/>
                  </a:cubicBezTo>
                  <a:cubicBezTo>
                    <a:pt x="3" y="2"/>
                    <a:pt x="2" y="4"/>
                    <a:pt x="1" y="6"/>
                  </a:cubicBezTo>
                  <a:cubicBezTo>
                    <a:pt x="0" y="8"/>
                    <a:pt x="1" y="10"/>
                    <a:pt x="0" y="12"/>
                  </a:cubicBezTo>
                  <a:cubicBezTo>
                    <a:pt x="0" y="13"/>
                    <a:pt x="0" y="13"/>
                    <a:pt x="0" y="14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1" y="13"/>
                    <a:pt x="2" y="12"/>
                    <a:pt x="2" y="11"/>
                  </a:cubicBezTo>
                  <a:cubicBezTo>
                    <a:pt x="3" y="9"/>
                    <a:pt x="4" y="8"/>
                    <a:pt x="5" y="6"/>
                  </a:cubicBezTo>
                  <a:cubicBezTo>
                    <a:pt x="6" y="6"/>
                    <a:pt x="6" y="5"/>
                    <a:pt x="6" y="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9" name="Freeform 250"/>
            <p:cNvSpPr>
              <a:spLocks/>
            </p:cNvSpPr>
            <p:nvPr/>
          </p:nvSpPr>
          <p:spPr bwMode="auto">
            <a:xfrm>
              <a:off x="8167712" y="5213327"/>
              <a:ext cx="10873" cy="18735"/>
            </a:xfrm>
            <a:custGeom>
              <a:avLst/>
              <a:gdLst>
                <a:gd name="T0" fmla="*/ 7279645 w 8"/>
                <a:gd name="T1" fmla="*/ 0 h 17"/>
                <a:gd name="T2" fmla="*/ 5058432 w 8"/>
                <a:gd name="T3" fmla="*/ 806887 h 17"/>
                <a:gd name="T4" fmla="*/ 5058432 w 8"/>
                <a:gd name="T5" fmla="*/ 4467192 h 17"/>
                <a:gd name="T6" fmla="*/ 3065115 w 8"/>
                <a:gd name="T7" fmla="*/ 7807999 h 17"/>
                <a:gd name="T8" fmla="*/ 0 w 8"/>
                <a:gd name="T9" fmla="*/ 10511040 h 17"/>
                <a:gd name="T10" fmla="*/ 2129866 w 8"/>
                <a:gd name="T11" fmla="*/ 11661007 h 17"/>
                <a:gd name="T12" fmla="*/ 3065115 w 8"/>
                <a:gd name="T13" fmla="*/ 12471472 h 17"/>
                <a:gd name="T14" fmla="*/ 3065115 w 8"/>
                <a:gd name="T15" fmla="*/ 14174003 h 17"/>
                <a:gd name="T16" fmla="*/ 5955246 w 8"/>
                <a:gd name="T17" fmla="*/ 14978991 h 17"/>
                <a:gd name="T18" fmla="*/ 5955246 w 8"/>
                <a:gd name="T19" fmla="*/ 11661007 h 17"/>
                <a:gd name="T20" fmla="*/ 5955246 w 8"/>
                <a:gd name="T21" fmla="*/ 8957156 h 17"/>
                <a:gd name="T22" fmla="*/ 7279645 w 8"/>
                <a:gd name="T23" fmla="*/ 7807999 h 17"/>
                <a:gd name="T24" fmla="*/ 8176458 w 8"/>
                <a:gd name="T25" fmla="*/ 2560181 h 17"/>
                <a:gd name="T26" fmla="*/ 8176458 w 8"/>
                <a:gd name="T27" fmla="*/ 0 h 17"/>
                <a:gd name="T28" fmla="*/ 7279645 w 8"/>
                <a:gd name="T29" fmla="*/ 0 h 1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"/>
                <a:gd name="T46" fmla="*/ 0 h 17"/>
                <a:gd name="T47" fmla="*/ 8 w 8"/>
                <a:gd name="T48" fmla="*/ 17 h 1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" h="17">
                  <a:moveTo>
                    <a:pt x="7" y="0"/>
                  </a:moveTo>
                  <a:cubicBezTo>
                    <a:pt x="6" y="0"/>
                    <a:pt x="5" y="0"/>
                    <a:pt x="5" y="1"/>
                  </a:cubicBezTo>
                  <a:cubicBezTo>
                    <a:pt x="5" y="2"/>
                    <a:pt x="5" y="4"/>
                    <a:pt x="5" y="5"/>
                  </a:cubicBezTo>
                  <a:cubicBezTo>
                    <a:pt x="4" y="6"/>
                    <a:pt x="4" y="8"/>
                    <a:pt x="3" y="9"/>
                  </a:cubicBezTo>
                  <a:cubicBezTo>
                    <a:pt x="2" y="9"/>
                    <a:pt x="0" y="10"/>
                    <a:pt x="0" y="12"/>
                  </a:cubicBezTo>
                  <a:cubicBezTo>
                    <a:pt x="0" y="12"/>
                    <a:pt x="1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5"/>
                    <a:pt x="3" y="15"/>
                    <a:pt x="3" y="16"/>
                  </a:cubicBezTo>
                  <a:cubicBezTo>
                    <a:pt x="4" y="17"/>
                    <a:pt x="5" y="17"/>
                    <a:pt x="6" y="17"/>
                  </a:cubicBezTo>
                  <a:cubicBezTo>
                    <a:pt x="7" y="16"/>
                    <a:pt x="7" y="14"/>
                    <a:pt x="6" y="13"/>
                  </a:cubicBezTo>
                  <a:cubicBezTo>
                    <a:pt x="6" y="12"/>
                    <a:pt x="6" y="11"/>
                    <a:pt x="6" y="10"/>
                  </a:cubicBezTo>
                  <a:cubicBezTo>
                    <a:pt x="6" y="9"/>
                    <a:pt x="7" y="9"/>
                    <a:pt x="7" y="9"/>
                  </a:cubicBezTo>
                  <a:cubicBezTo>
                    <a:pt x="8" y="7"/>
                    <a:pt x="7" y="5"/>
                    <a:pt x="8" y="3"/>
                  </a:cubicBezTo>
                  <a:cubicBezTo>
                    <a:pt x="8" y="2"/>
                    <a:pt x="8" y="1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0" name="Freeform 251"/>
            <p:cNvSpPr>
              <a:spLocks/>
            </p:cNvSpPr>
            <p:nvPr/>
          </p:nvSpPr>
          <p:spPr bwMode="auto">
            <a:xfrm>
              <a:off x="8163362" y="5206074"/>
              <a:ext cx="12324" cy="15109"/>
            </a:xfrm>
            <a:custGeom>
              <a:avLst/>
              <a:gdLst>
                <a:gd name="T0" fmla="*/ 4688532 w 9"/>
                <a:gd name="T1" fmla="*/ 2769339 h 14"/>
                <a:gd name="T2" fmla="*/ 2243220 w 9"/>
                <a:gd name="T3" fmla="*/ 1947959 h 14"/>
                <a:gd name="T4" fmla="*/ 727531 w 9"/>
                <a:gd name="T5" fmla="*/ 826407 h 14"/>
                <a:gd name="T6" fmla="*/ 0 w 9"/>
                <a:gd name="T7" fmla="*/ 826407 h 14"/>
                <a:gd name="T8" fmla="*/ 727531 w 9"/>
                <a:gd name="T9" fmla="*/ 3468116 h 14"/>
                <a:gd name="T10" fmla="*/ 727531 w 9"/>
                <a:gd name="T11" fmla="*/ 7350477 h 14"/>
                <a:gd name="T12" fmla="*/ 0 w 9"/>
                <a:gd name="T13" fmla="*/ 9969095 h 14"/>
                <a:gd name="T14" fmla="*/ 0 w 9"/>
                <a:gd name="T15" fmla="*/ 11919092 h 14"/>
                <a:gd name="T16" fmla="*/ 727531 w 9"/>
                <a:gd name="T17" fmla="*/ 12766089 h 14"/>
                <a:gd name="T18" fmla="*/ 1697572 w 9"/>
                <a:gd name="T19" fmla="*/ 11919092 h 14"/>
                <a:gd name="T20" fmla="*/ 2970751 w 9"/>
                <a:gd name="T21" fmla="*/ 10823097 h 14"/>
                <a:gd name="T22" fmla="*/ 3961001 w 9"/>
                <a:gd name="T23" fmla="*/ 9969095 h 14"/>
                <a:gd name="T24" fmla="*/ 5234180 w 9"/>
                <a:gd name="T25" fmla="*/ 6527726 h 14"/>
                <a:gd name="T26" fmla="*/ 5234180 w 9"/>
                <a:gd name="T27" fmla="*/ 5415918 h 14"/>
                <a:gd name="T28" fmla="*/ 6931749 w 9"/>
                <a:gd name="T29" fmla="*/ 3468116 h 14"/>
                <a:gd name="T30" fmla="*/ 6931749 w 9"/>
                <a:gd name="T31" fmla="*/ 2769339 h 14"/>
                <a:gd name="T32" fmla="*/ 4688532 w 9"/>
                <a:gd name="T33" fmla="*/ 2769339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"/>
                <a:gd name="T52" fmla="*/ 0 h 14"/>
                <a:gd name="T53" fmla="*/ 9 w 9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" h="14">
                  <a:moveTo>
                    <a:pt x="6" y="3"/>
                  </a:moveTo>
                  <a:cubicBezTo>
                    <a:pt x="5" y="3"/>
                    <a:pt x="4" y="3"/>
                    <a:pt x="3" y="2"/>
                  </a:cubicBezTo>
                  <a:cubicBezTo>
                    <a:pt x="3" y="2"/>
                    <a:pt x="2" y="1"/>
                    <a:pt x="1" y="1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1" y="4"/>
                  </a:cubicBezTo>
                  <a:cubicBezTo>
                    <a:pt x="1" y="5"/>
                    <a:pt x="1" y="7"/>
                    <a:pt x="1" y="8"/>
                  </a:cubicBezTo>
                  <a:cubicBezTo>
                    <a:pt x="0" y="9"/>
                    <a:pt x="1" y="10"/>
                    <a:pt x="0" y="11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1" y="14"/>
                    <a:pt x="1" y="14"/>
                  </a:cubicBezTo>
                  <a:cubicBezTo>
                    <a:pt x="1" y="13"/>
                    <a:pt x="2" y="13"/>
                    <a:pt x="2" y="13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9"/>
                    <a:pt x="5" y="8"/>
                    <a:pt x="7" y="7"/>
                  </a:cubicBezTo>
                  <a:cubicBezTo>
                    <a:pt x="7" y="7"/>
                    <a:pt x="7" y="6"/>
                    <a:pt x="7" y="6"/>
                  </a:cubicBezTo>
                  <a:cubicBezTo>
                    <a:pt x="7" y="5"/>
                    <a:pt x="8" y="5"/>
                    <a:pt x="9" y="4"/>
                  </a:cubicBezTo>
                  <a:cubicBezTo>
                    <a:pt x="9" y="4"/>
                    <a:pt x="9" y="3"/>
                    <a:pt x="9" y="3"/>
                  </a:cubicBezTo>
                  <a:cubicBezTo>
                    <a:pt x="8" y="2"/>
                    <a:pt x="7" y="2"/>
                    <a:pt x="6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1" name="Freeform 252"/>
            <p:cNvSpPr>
              <a:spLocks/>
            </p:cNvSpPr>
            <p:nvPr/>
          </p:nvSpPr>
          <p:spPr bwMode="auto">
            <a:xfrm>
              <a:off x="8114792" y="5216952"/>
              <a:ext cx="25373" cy="22964"/>
            </a:xfrm>
            <a:custGeom>
              <a:avLst/>
              <a:gdLst>
                <a:gd name="T0" fmla="*/ 12399237 w 19"/>
                <a:gd name="T1" fmla="*/ 2007625 h 22"/>
                <a:gd name="T2" fmla="*/ 11462750 w 19"/>
                <a:gd name="T3" fmla="*/ 849380 h 22"/>
                <a:gd name="T4" fmla="*/ 11462750 w 19"/>
                <a:gd name="T5" fmla="*/ 849380 h 22"/>
                <a:gd name="T6" fmla="*/ 10343734 w 19"/>
                <a:gd name="T7" fmla="*/ 849380 h 22"/>
                <a:gd name="T8" fmla="*/ 9422159 w 19"/>
                <a:gd name="T9" fmla="*/ 2894074 h 22"/>
                <a:gd name="T10" fmla="*/ 8823513 w 19"/>
                <a:gd name="T11" fmla="*/ 4745295 h 22"/>
                <a:gd name="T12" fmla="*/ 8823513 w 19"/>
                <a:gd name="T13" fmla="*/ 5595820 h 22"/>
                <a:gd name="T14" fmla="*/ 6236801 w 19"/>
                <a:gd name="T15" fmla="*/ 6840539 h 22"/>
                <a:gd name="T16" fmla="*/ 5620625 w 19"/>
                <a:gd name="T17" fmla="*/ 8480159 h 22"/>
                <a:gd name="T18" fmla="*/ 2693164 w 19"/>
                <a:gd name="T19" fmla="*/ 14073923 h 22"/>
                <a:gd name="T20" fmla="*/ 2693164 w 19"/>
                <a:gd name="T21" fmla="*/ 15293852 h 22"/>
                <a:gd name="T22" fmla="*/ 0 w 19"/>
                <a:gd name="T23" fmla="*/ 20915083 h 22"/>
                <a:gd name="T24" fmla="*/ 670752 w 19"/>
                <a:gd name="T25" fmla="*/ 20915083 h 22"/>
                <a:gd name="T26" fmla="*/ 6236801 w 19"/>
                <a:gd name="T27" fmla="*/ 14073923 h 22"/>
                <a:gd name="T28" fmla="*/ 6779427 w 19"/>
                <a:gd name="T29" fmla="*/ 12441464 h 22"/>
                <a:gd name="T30" fmla="*/ 7376632 w 19"/>
                <a:gd name="T31" fmla="*/ 8480159 h 22"/>
                <a:gd name="T32" fmla="*/ 10970534 w 19"/>
                <a:gd name="T33" fmla="*/ 4745295 h 22"/>
                <a:gd name="T34" fmla="*/ 12399237 w 19"/>
                <a:gd name="T35" fmla="*/ 3587761 h 22"/>
                <a:gd name="T36" fmla="*/ 13016181 w 19"/>
                <a:gd name="T37" fmla="*/ 2007625 h 22"/>
                <a:gd name="T38" fmla="*/ 12399237 w 19"/>
                <a:gd name="T39" fmla="*/ 2007625 h 2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"/>
                <a:gd name="T61" fmla="*/ 0 h 22"/>
                <a:gd name="T62" fmla="*/ 19 w 19"/>
                <a:gd name="T63" fmla="*/ 22 h 2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" h="22">
                  <a:moveTo>
                    <a:pt x="18" y="2"/>
                  </a:moveTo>
                  <a:cubicBezTo>
                    <a:pt x="18" y="2"/>
                    <a:pt x="18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0"/>
                    <a:pt x="15" y="1"/>
                  </a:cubicBezTo>
                  <a:cubicBezTo>
                    <a:pt x="14" y="2"/>
                    <a:pt x="14" y="3"/>
                    <a:pt x="14" y="3"/>
                  </a:cubicBezTo>
                  <a:cubicBezTo>
                    <a:pt x="13" y="4"/>
                    <a:pt x="14" y="4"/>
                    <a:pt x="13" y="5"/>
                  </a:cubicBezTo>
                  <a:cubicBezTo>
                    <a:pt x="13" y="5"/>
                    <a:pt x="13" y="5"/>
                    <a:pt x="13" y="6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9" y="8"/>
                    <a:pt x="9" y="9"/>
                    <a:pt x="8" y="9"/>
                  </a:cubicBezTo>
                  <a:cubicBezTo>
                    <a:pt x="7" y="11"/>
                    <a:pt x="5" y="13"/>
                    <a:pt x="4" y="15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2" y="18"/>
                    <a:pt x="1" y="20"/>
                    <a:pt x="0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4" y="20"/>
                    <a:pt x="6" y="17"/>
                    <a:pt x="9" y="15"/>
                  </a:cubicBezTo>
                  <a:cubicBezTo>
                    <a:pt x="9" y="14"/>
                    <a:pt x="10" y="13"/>
                    <a:pt x="10" y="13"/>
                  </a:cubicBezTo>
                  <a:cubicBezTo>
                    <a:pt x="10" y="11"/>
                    <a:pt x="10" y="10"/>
                    <a:pt x="11" y="9"/>
                  </a:cubicBezTo>
                  <a:cubicBezTo>
                    <a:pt x="12" y="7"/>
                    <a:pt x="15" y="7"/>
                    <a:pt x="16" y="5"/>
                  </a:cubicBezTo>
                  <a:cubicBezTo>
                    <a:pt x="17" y="5"/>
                    <a:pt x="18" y="5"/>
                    <a:pt x="18" y="4"/>
                  </a:cubicBezTo>
                  <a:cubicBezTo>
                    <a:pt x="19" y="4"/>
                    <a:pt x="19" y="3"/>
                    <a:pt x="19" y="2"/>
                  </a:cubicBezTo>
                  <a:cubicBezTo>
                    <a:pt x="18" y="2"/>
                    <a:pt x="18" y="2"/>
                    <a:pt x="18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2" name="Freeform 253"/>
            <p:cNvSpPr>
              <a:spLocks/>
            </p:cNvSpPr>
            <p:nvPr/>
          </p:nvSpPr>
          <p:spPr bwMode="auto">
            <a:xfrm>
              <a:off x="8133640" y="5211515"/>
              <a:ext cx="4350" cy="4232"/>
            </a:xfrm>
            <a:custGeom>
              <a:avLst/>
              <a:gdLst>
                <a:gd name="T0" fmla="*/ 1697572 w 3"/>
                <a:gd name="T1" fmla="*/ 0 h 4"/>
                <a:gd name="T2" fmla="*/ 727531 w 3"/>
                <a:gd name="T3" fmla="*/ 0 h 4"/>
                <a:gd name="T4" fmla="*/ 727531 w 3"/>
                <a:gd name="T5" fmla="*/ 941139 h 4"/>
                <a:gd name="T6" fmla="*/ 727531 w 3"/>
                <a:gd name="T7" fmla="*/ 1359459 h 4"/>
                <a:gd name="T8" fmla="*/ 2243220 w 3"/>
                <a:gd name="T9" fmla="*/ 0 h 4"/>
                <a:gd name="T10" fmla="*/ 1697572 w 3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0" y="3"/>
                    <a:pt x="1" y="3"/>
                  </a:cubicBezTo>
                  <a:cubicBezTo>
                    <a:pt x="2" y="4"/>
                    <a:pt x="3" y="2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3" name="Freeform 254"/>
            <p:cNvSpPr>
              <a:spLocks/>
            </p:cNvSpPr>
            <p:nvPr/>
          </p:nvSpPr>
          <p:spPr bwMode="auto">
            <a:xfrm>
              <a:off x="8139440" y="5203054"/>
              <a:ext cx="7248" cy="3022"/>
            </a:xfrm>
            <a:custGeom>
              <a:avLst/>
              <a:gdLst>
                <a:gd name="T0" fmla="*/ 5085394 w 5"/>
                <a:gd name="T1" fmla="*/ 727531 h 3"/>
                <a:gd name="T2" fmla="*/ 2554647 w 5"/>
                <a:gd name="T3" fmla="*/ 0 h 3"/>
                <a:gd name="T4" fmla="*/ 1064436 w 5"/>
                <a:gd name="T5" fmla="*/ 0 h 3"/>
                <a:gd name="T6" fmla="*/ 1064436 w 5"/>
                <a:gd name="T7" fmla="*/ 727531 h 3"/>
                <a:gd name="T8" fmla="*/ 6131150 w 5"/>
                <a:gd name="T9" fmla="*/ 1697572 h 3"/>
                <a:gd name="T10" fmla="*/ 6131150 w 5"/>
                <a:gd name="T11" fmla="*/ 727531 h 3"/>
                <a:gd name="T12" fmla="*/ 5085394 w 5"/>
                <a:gd name="T13" fmla="*/ 727531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3"/>
                <a:gd name="T23" fmla="*/ 5 w 5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3">
                  <a:moveTo>
                    <a:pt x="4" y="1"/>
                  </a:moveTo>
                  <a:cubicBezTo>
                    <a:pt x="3" y="1"/>
                    <a:pt x="3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1" y="1"/>
                  </a:cubicBezTo>
                  <a:cubicBezTo>
                    <a:pt x="1" y="3"/>
                    <a:pt x="3" y="3"/>
                    <a:pt x="5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4" name="Freeform 255"/>
            <p:cNvSpPr>
              <a:spLocks/>
            </p:cNvSpPr>
            <p:nvPr/>
          </p:nvSpPr>
          <p:spPr bwMode="auto">
            <a:xfrm>
              <a:off x="8142339" y="5188551"/>
              <a:ext cx="17399" cy="16317"/>
            </a:xfrm>
            <a:custGeom>
              <a:avLst/>
              <a:gdLst>
                <a:gd name="T0" fmla="*/ 11938254 w 13"/>
                <a:gd name="T1" fmla="*/ 2243220 h 15"/>
                <a:gd name="T2" fmla="*/ 8621839 w 13"/>
                <a:gd name="T3" fmla="*/ 1697572 h 15"/>
                <a:gd name="T4" fmla="*/ 6350665 w 13"/>
                <a:gd name="T5" fmla="*/ 727531 h 15"/>
                <a:gd name="T6" fmla="*/ 4595099 w 13"/>
                <a:gd name="T7" fmla="*/ 727531 h 15"/>
                <a:gd name="T8" fmla="*/ 979497 w 13"/>
                <a:gd name="T9" fmla="*/ 1697572 h 15"/>
                <a:gd name="T10" fmla="*/ 979497 w 13"/>
                <a:gd name="T11" fmla="*/ 2243220 h 15"/>
                <a:gd name="T12" fmla="*/ 3318681 w 13"/>
                <a:gd name="T13" fmla="*/ 2243220 h 15"/>
                <a:gd name="T14" fmla="*/ 6350665 w 13"/>
                <a:gd name="T15" fmla="*/ 5234181 h 15"/>
                <a:gd name="T16" fmla="*/ 6350665 w 13"/>
                <a:gd name="T17" fmla="*/ 8614993 h 15"/>
                <a:gd name="T18" fmla="*/ 7913775 w 13"/>
                <a:gd name="T19" fmla="*/ 9242333 h 15"/>
                <a:gd name="T20" fmla="*/ 7913775 w 13"/>
                <a:gd name="T21" fmla="*/ 10939910 h 15"/>
                <a:gd name="T22" fmla="*/ 9596174 w 13"/>
                <a:gd name="T23" fmla="*/ 11620011 h 15"/>
                <a:gd name="T24" fmla="*/ 11938254 w 13"/>
                <a:gd name="T25" fmla="*/ 10939910 h 15"/>
                <a:gd name="T26" fmla="*/ 11938254 w 13"/>
                <a:gd name="T27" fmla="*/ 9902491 h 15"/>
                <a:gd name="T28" fmla="*/ 13281841 w 13"/>
                <a:gd name="T29" fmla="*/ 6253185 h 15"/>
                <a:gd name="T30" fmla="*/ 11938254 w 13"/>
                <a:gd name="T31" fmla="*/ 2243220 h 1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3"/>
                <a:gd name="T49" fmla="*/ 0 h 15"/>
                <a:gd name="T50" fmla="*/ 13 w 13"/>
                <a:gd name="T51" fmla="*/ 15 h 1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3" h="15">
                  <a:moveTo>
                    <a:pt x="11" y="3"/>
                  </a:moveTo>
                  <a:cubicBezTo>
                    <a:pt x="10" y="3"/>
                    <a:pt x="9" y="3"/>
                    <a:pt x="8" y="2"/>
                  </a:cubicBezTo>
                  <a:cubicBezTo>
                    <a:pt x="8" y="2"/>
                    <a:pt x="7" y="1"/>
                    <a:pt x="6" y="1"/>
                  </a:cubicBezTo>
                  <a:cubicBezTo>
                    <a:pt x="5" y="0"/>
                    <a:pt x="5" y="0"/>
                    <a:pt x="4" y="1"/>
                  </a:cubicBezTo>
                  <a:cubicBezTo>
                    <a:pt x="3" y="1"/>
                    <a:pt x="1" y="1"/>
                    <a:pt x="1" y="2"/>
                  </a:cubicBezTo>
                  <a:cubicBezTo>
                    <a:pt x="1" y="2"/>
                    <a:pt x="0" y="3"/>
                    <a:pt x="1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4" y="4"/>
                    <a:pt x="5" y="6"/>
                    <a:pt x="6" y="7"/>
                  </a:cubicBezTo>
                  <a:cubicBezTo>
                    <a:pt x="7" y="8"/>
                    <a:pt x="6" y="9"/>
                    <a:pt x="6" y="11"/>
                  </a:cubicBezTo>
                  <a:cubicBezTo>
                    <a:pt x="6" y="11"/>
                    <a:pt x="7" y="12"/>
                    <a:pt x="7" y="12"/>
                  </a:cubicBezTo>
                  <a:cubicBezTo>
                    <a:pt x="7" y="13"/>
                    <a:pt x="7" y="14"/>
                    <a:pt x="7" y="14"/>
                  </a:cubicBezTo>
                  <a:cubicBezTo>
                    <a:pt x="7" y="15"/>
                    <a:pt x="8" y="15"/>
                    <a:pt x="9" y="15"/>
                  </a:cubicBezTo>
                  <a:cubicBezTo>
                    <a:pt x="10" y="15"/>
                    <a:pt x="10" y="14"/>
                    <a:pt x="11" y="14"/>
                  </a:cubicBezTo>
                  <a:cubicBezTo>
                    <a:pt x="11" y="14"/>
                    <a:pt x="11" y="13"/>
                    <a:pt x="11" y="13"/>
                  </a:cubicBezTo>
                  <a:cubicBezTo>
                    <a:pt x="12" y="12"/>
                    <a:pt x="12" y="10"/>
                    <a:pt x="12" y="8"/>
                  </a:cubicBezTo>
                  <a:cubicBezTo>
                    <a:pt x="13" y="7"/>
                    <a:pt x="13" y="4"/>
                    <a:pt x="11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5" name="Freeform 256"/>
            <p:cNvSpPr>
              <a:spLocks/>
            </p:cNvSpPr>
            <p:nvPr/>
          </p:nvSpPr>
          <p:spPr bwMode="auto">
            <a:xfrm>
              <a:off x="8162638" y="5181900"/>
              <a:ext cx="22474" cy="16317"/>
            </a:xfrm>
            <a:custGeom>
              <a:avLst/>
              <a:gdLst>
                <a:gd name="T0" fmla="*/ 11661007 w 17"/>
                <a:gd name="T1" fmla="*/ 4688532 h 15"/>
                <a:gd name="T2" fmla="*/ 11661007 w 17"/>
                <a:gd name="T3" fmla="*/ 5234181 h 15"/>
                <a:gd name="T4" fmla="*/ 12471472 w 17"/>
                <a:gd name="T5" fmla="*/ 6931751 h 15"/>
                <a:gd name="T6" fmla="*/ 12471472 w 17"/>
                <a:gd name="T7" fmla="*/ 8614993 h 15"/>
                <a:gd name="T8" fmla="*/ 14174003 w 17"/>
                <a:gd name="T9" fmla="*/ 9902491 h 15"/>
                <a:gd name="T10" fmla="*/ 14174003 w 17"/>
                <a:gd name="T11" fmla="*/ 11620011 h 15"/>
                <a:gd name="T12" fmla="*/ 13070851 w 17"/>
                <a:gd name="T13" fmla="*/ 10939910 h 15"/>
                <a:gd name="T14" fmla="*/ 11661007 w 17"/>
                <a:gd name="T15" fmla="*/ 9902491 h 15"/>
                <a:gd name="T16" fmla="*/ 10511040 w 17"/>
                <a:gd name="T17" fmla="*/ 9902491 h 15"/>
                <a:gd name="T18" fmla="*/ 9768793 w 17"/>
                <a:gd name="T19" fmla="*/ 8614993 h 15"/>
                <a:gd name="T20" fmla="*/ 7173119 w 17"/>
                <a:gd name="T21" fmla="*/ 6931751 h 15"/>
                <a:gd name="T22" fmla="*/ 5300376 w 17"/>
                <a:gd name="T23" fmla="*/ 5234181 h 15"/>
                <a:gd name="T24" fmla="*/ 4467192 w 17"/>
                <a:gd name="T25" fmla="*/ 4688532 h 15"/>
                <a:gd name="T26" fmla="*/ 3318400 w 17"/>
                <a:gd name="T27" fmla="*/ 4688532 h 15"/>
                <a:gd name="T28" fmla="*/ 3318400 w 17"/>
                <a:gd name="T29" fmla="*/ 6931751 h 15"/>
                <a:gd name="T30" fmla="*/ 2560181 w 17"/>
                <a:gd name="T31" fmla="*/ 6931751 h 15"/>
                <a:gd name="T32" fmla="*/ 0 w 17"/>
                <a:gd name="T33" fmla="*/ 4688532 h 15"/>
                <a:gd name="T34" fmla="*/ 0 w 17"/>
                <a:gd name="T35" fmla="*/ 3961001 h 15"/>
                <a:gd name="T36" fmla="*/ 1898557 w 17"/>
                <a:gd name="T37" fmla="*/ 2970751 h 15"/>
                <a:gd name="T38" fmla="*/ 1898557 w 17"/>
                <a:gd name="T39" fmla="*/ 1697572 h 15"/>
                <a:gd name="T40" fmla="*/ 2560181 w 17"/>
                <a:gd name="T41" fmla="*/ 0 h 15"/>
                <a:gd name="T42" fmla="*/ 5300376 w 17"/>
                <a:gd name="T43" fmla="*/ 727531 h 15"/>
                <a:gd name="T44" fmla="*/ 7173119 w 17"/>
                <a:gd name="T45" fmla="*/ 2970751 h 15"/>
                <a:gd name="T46" fmla="*/ 7807999 w 17"/>
                <a:gd name="T47" fmla="*/ 4688532 h 15"/>
                <a:gd name="T48" fmla="*/ 8957156 w 17"/>
                <a:gd name="T49" fmla="*/ 5234181 h 15"/>
                <a:gd name="T50" fmla="*/ 8957156 w 17"/>
                <a:gd name="T51" fmla="*/ 2970751 h 15"/>
                <a:gd name="T52" fmla="*/ 7807999 w 17"/>
                <a:gd name="T53" fmla="*/ 1697572 h 15"/>
                <a:gd name="T54" fmla="*/ 11661007 w 17"/>
                <a:gd name="T55" fmla="*/ 2970751 h 15"/>
                <a:gd name="T56" fmla="*/ 11661007 w 17"/>
                <a:gd name="T57" fmla="*/ 3961001 h 15"/>
                <a:gd name="T58" fmla="*/ 11661007 w 17"/>
                <a:gd name="T59" fmla="*/ 4688532 h 1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"/>
                <a:gd name="T91" fmla="*/ 0 h 15"/>
                <a:gd name="T92" fmla="*/ 17 w 17"/>
                <a:gd name="T93" fmla="*/ 15 h 1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" h="15">
                  <a:moveTo>
                    <a:pt x="13" y="6"/>
                  </a:moveTo>
                  <a:cubicBezTo>
                    <a:pt x="13" y="6"/>
                    <a:pt x="13" y="7"/>
                    <a:pt x="13" y="7"/>
                  </a:cubicBezTo>
                  <a:cubicBezTo>
                    <a:pt x="13" y="8"/>
                    <a:pt x="14" y="8"/>
                    <a:pt x="14" y="9"/>
                  </a:cubicBezTo>
                  <a:cubicBezTo>
                    <a:pt x="14" y="10"/>
                    <a:pt x="14" y="11"/>
                    <a:pt x="14" y="11"/>
                  </a:cubicBezTo>
                  <a:cubicBezTo>
                    <a:pt x="15" y="12"/>
                    <a:pt x="16" y="12"/>
                    <a:pt x="16" y="13"/>
                  </a:cubicBezTo>
                  <a:cubicBezTo>
                    <a:pt x="17" y="13"/>
                    <a:pt x="17" y="14"/>
                    <a:pt x="16" y="15"/>
                  </a:cubicBezTo>
                  <a:cubicBezTo>
                    <a:pt x="16" y="15"/>
                    <a:pt x="16" y="14"/>
                    <a:pt x="15" y="14"/>
                  </a:cubicBezTo>
                  <a:cubicBezTo>
                    <a:pt x="15" y="14"/>
                    <a:pt x="14" y="14"/>
                    <a:pt x="13" y="13"/>
                  </a:cubicBezTo>
                  <a:cubicBezTo>
                    <a:pt x="13" y="13"/>
                    <a:pt x="13" y="13"/>
                    <a:pt x="12" y="13"/>
                  </a:cubicBezTo>
                  <a:cubicBezTo>
                    <a:pt x="12" y="12"/>
                    <a:pt x="11" y="12"/>
                    <a:pt x="11" y="11"/>
                  </a:cubicBezTo>
                  <a:cubicBezTo>
                    <a:pt x="10" y="10"/>
                    <a:pt x="9" y="10"/>
                    <a:pt x="8" y="9"/>
                  </a:cubicBezTo>
                  <a:cubicBezTo>
                    <a:pt x="8" y="8"/>
                    <a:pt x="6" y="8"/>
                    <a:pt x="6" y="7"/>
                  </a:cubicBezTo>
                  <a:cubicBezTo>
                    <a:pt x="5" y="7"/>
                    <a:pt x="5" y="6"/>
                    <a:pt x="5" y="6"/>
                  </a:cubicBezTo>
                  <a:cubicBezTo>
                    <a:pt x="5" y="6"/>
                    <a:pt x="4" y="6"/>
                    <a:pt x="4" y="6"/>
                  </a:cubicBezTo>
                  <a:cubicBezTo>
                    <a:pt x="4" y="7"/>
                    <a:pt x="4" y="8"/>
                    <a:pt x="4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8"/>
                    <a:pt x="1" y="7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2" y="5"/>
                    <a:pt x="2" y="4"/>
                  </a:cubicBezTo>
                  <a:cubicBezTo>
                    <a:pt x="3" y="4"/>
                    <a:pt x="2" y="3"/>
                    <a:pt x="2" y="2"/>
                  </a:cubicBezTo>
                  <a:cubicBezTo>
                    <a:pt x="2" y="2"/>
                    <a:pt x="2" y="0"/>
                    <a:pt x="3" y="0"/>
                  </a:cubicBezTo>
                  <a:cubicBezTo>
                    <a:pt x="4" y="0"/>
                    <a:pt x="5" y="0"/>
                    <a:pt x="6" y="1"/>
                  </a:cubicBezTo>
                  <a:cubicBezTo>
                    <a:pt x="6" y="2"/>
                    <a:pt x="8" y="2"/>
                    <a:pt x="8" y="4"/>
                  </a:cubicBezTo>
                  <a:cubicBezTo>
                    <a:pt x="9" y="4"/>
                    <a:pt x="8" y="6"/>
                    <a:pt x="9" y="6"/>
                  </a:cubicBezTo>
                  <a:cubicBezTo>
                    <a:pt x="9" y="7"/>
                    <a:pt x="9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9" y="4"/>
                    <a:pt x="9" y="3"/>
                    <a:pt x="9" y="2"/>
                  </a:cubicBezTo>
                  <a:cubicBezTo>
                    <a:pt x="10" y="2"/>
                    <a:pt x="12" y="3"/>
                    <a:pt x="13" y="4"/>
                  </a:cubicBezTo>
                  <a:cubicBezTo>
                    <a:pt x="13" y="4"/>
                    <a:pt x="14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6" name="Freeform 257"/>
            <p:cNvSpPr>
              <a:spLocks/>
            </p:cNvSpPr>
            <p:nvPr/>
          </p:nvSpPr>
          <p:spPr bwMode="auto">
            <a:xfrm>
              <a:off x="8182213" y="5184319"/>
              <a:ext cx="4350" cy="4834"/>
            </a:xfrm>
            <a:custGeom>
              <a:avLst/>
              <a:gdLst>
                <a:gd name="T0" fmla="*/ 2243220 w 3"/>
                <a:gd name="T1" fmla="*/ 5085394 h 5"/>
                <a:gd name="T2" fmla="*/ 727531 w 3"/>
                <a:gd name="T3" fmla="*/ 1064436 h 5"/>
                <a:gd name="T4" fmla="*/ 727531 w 3"/>
                <a:gd name="T5" fmla="*/ 5085394 h 5"/>
                <a:gd name="T6" fmla="*/ 2243220 w 3"/>
                <a:gd name="T7" fmla="*/ 6131150 h 5"/>
                <a:gd name="T8" fmla="*/ 2243220 w 3"/>
                <a:gd name="T9" fmla="*/ 5085394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4"/>
                  </a:moveTo>
                  <a:cubicBezTo>
                    <a:pt x="3" y="3"/>
                    <a:pt x="3" y="0"/>
                    <a:pt x="1" y="1"/>
                  </a:cubicBezTo>
                  <a:cubicBezTo>
                    <a:pt x="1" y="1"/>
                    <a:pt x="0" y="3"/>
                    <a:pt x="1" y="4"/>
                  </a:cubicBezTo>
                  <a:cubicBezTo>
                    <a:pt x="1" y="5"/>
                    <a:pt x="2" y="5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7" name="Freeform 258"/>
            <p:cNvSpPr>
              <a:spLocks/>
            </p:cNvSpPr>
            <p:nvPr/>
          </p:nvSpPr>
          <p:spPr bwMode="auto">
            <a:xfrm>
              <a:off x="8135090" y="5138995"/>
              <a:ext cx="29723" cy="49556"/>
            </a:xfrm>
            <a:custGeom>
              <a:avLst/>
              <a:gdLst>
                <a:gd name="T0" fmla="*/ 15293852 w 22"/>
                <a:gd name="T1" fmla="*/ 37501248 h 46"/>
                <a:gd name="T2" fmla="*/ 14073923 w 22"/>
                <a:gd name="T3" fmla="*/ 33775497 h 46"/>
                <a:gd name="T4" fmla="*/ 13226484 w 22"/>
                <a:gd name="T5" fmla="*/ 31710070 h 46"/>
                <a:gd name="T6" fmla="*/ 13226484 w 22"/>
                <a:gd name="T7" fmla="*/ 29543189 h 46"/>
                <a:gd name="T8" fmla="*/ 14073923 w 22"/>
                <a:gd name="T9" fmla="*/ 28898004 h 46"/>
                <a:gd name="T10" fmla="*/ 14073923 w 22"/>
                <a:gd name="T11" fmla="*/ 25849910 h 46"/>
                <a:gd name="T12" fmla="*/ 14073923 w 22"/>
                <a:gd name="T13" fmla="*/ 24661090 h 46"/>
                <a:gd name="T14" fmla="*/ 15293852 w 22"/>
                <a:gd name="T15" fmla="*/ 23751424 h 46"/>
                <a:gd name="T16" fmla="*/ 17330086 w 22"/>
                <a:gd name="T17" fmla="*/ 22875917 h 46"/>
                <a:gd name="T18" fmla="*/ 18036113 w 22"/>
                <a:gd name="T19" fmla="*/ 22875917 h 46"/>
                <a:gd name="T20" fmla="*/ 18819602 w 22"/>
                <a:gd name="T21" fmla="*/ 20776711 h 46"/>
                <a:gd name="T22" fmla="*/ 20915083 w 22"/>
                <a:gd name="T23" fmla="*/ 15826221 h 46"/>
                <a:gd name="T24" fmla="*/ 18036113 w 22"/>
                <a:gd name="T25" fmla="*/ 10909138 h 46"/>
                <a:gd name="T26" fmla="*/ 17330086 w 22"/>
                <a:gd name="T27" fmla="*/ 2065424 h 46"/>
                <a:gd name="T28" fmla="*/ 16168539 w 22"/>
                <a:gd name="T29" fmla="*/ 2065424 h 46"/>
                <a:gd name="T30" fmla="*/ 15293852 w 22"/>
                <a:gd name="T31" fmla="*/ 2065424 h 46"/>
                <a:gd name="T32" fmla="*/ 12441464 w 22"/>
                <a:gd name="T33" fmla="*/ 3700325 h 46"/>
                <a:gd name="T34" fmla="*/ 5595820 w 22"/>
                <a:gd name="T35" fmla="*/ 0 h 46"/>
                <a:gd name="T36" fmla="*/ 2894074 w 22"/>
                <a:gd name="T37" fmla="*/ 2974764 h 46"/>
                <a:gd name="T38" fmla="*/ 2894074 w 22"/>
                <a:gd name="T39" fmla="*/ 10023537 h 46"/>
                <a:gd name="T40" fmla="*/ 3587761 w 22"/>
                <a:gd name="T41" fmla="*/ 12852437 h 46"/>
                <a:gd name="T42" fmla="*/ 3587761 w 22"/>
                <a:gd name="T43" fmla="*/ 15826221 h 46"/>
                <a:gd name="T44" fmla="*/ 849380 w 22"/>
                <a:gd name="T45" fmla="*/ 19514591 h 46"/>
                <a:gd name="T46" fmla="*/ 0 w 22"/>
                <a:gd name="T47" fmla="*/ 20776711 h 46"/>
                <a:gd name="T48" fmla="*/ 849380 w 22"/>
                <a:gd name="T49" fmla="*/ 24661090 h 46"/>
                <a:gd name="T50" fmla="*/ 849380 w 22"/>
                <a:gd name="T51" fmla="*/ 29543189 h 46"/>
                <a:gd name="T52" fmla="*/ 3587761 w 22"/>
                <a:gd name="T53" fmla="*/ 32528727 h 46"/>
                <a:gd name="T54" fmla="*/ 3587761 w 22"/>
                <a:gd name="T55" fmla="*/ 35348811 h 46"/>
                <a:gd name="T56" fmla="*/ 10341118 w 22"/>
                <a:gd name="T57" fmla="*/ 37501248 h 46"/>
                <a:gd name="T58" fmla="*/ 10341118 w 22"/>
                <a:gd name="T59" fmla="*/ 38388792 h 46"/>
                <a:gd name="T60" fmla="*/ 8480159 w 22"/>
                <a:gd name="T61" fmla="*/ 42552430 h 46"/>
                <a:gd name="T62" fmla="*/ 12441464 w 22"/>
                <a:gd name="T63" fmla="*/ 44684393 h 46"/>
                <a:gd name="T64" fmla="*/ 13226484 w 22"/>
                <a:gd name="T65" fmla="*/ 44684393 h 46"/>
                <a:gd name="T66" fmla="*/ 17330086 w 22"/>
                <a:gd name="T67" fmla="*/ 43266332 h 46"/>
                <a:gd name="T68" fmla="*/ 15293852 w 22"/>
                <a:gd name="T69" fmla="*/ 39578408 h 46"/>
                <a:gd name="T70" fmla="*/ 15293852 w 22"/>
                <a:gd name="T71" fmla="*/ 36758930 h 4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"/>
                <a:gd name="T109" fmla="*/ 0 h 46"/>
                <a:gd name="T110" fmla="*/ 22 w 22"/>
                <a:gd name="T111" fmla="*/ 46 h 4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" h="46">
                  <a:moveTo>
                    <a:pt x="16" y="38"/>
                  </a:moveTo>
                  <a:cubicBezTo>
                    <a:pt x="16" y="37"/>
                    <a:pt x="16" y="35"/>
                    <a:pt x="15" y="34"/>
                  </a:cubicBezTo>
                  <a:cubicBezTo>
                    <a:pt x="15" y="33"/>
                    <a:pt x="14" y="33"/>
                    <a:pt x="14" y="32"/>
                  </a:cubicBezTo>
                  <a:cubicBezTo>
                    <a:pt x="14" y="31"/>
                    <a:pt x="14" y="31"/>
                    <a:pt x="14" y="30"/>
                  </a:cubicBezTo>
                  <a:cubicBezTo>
                    <a:pt x="15" y="30"/>
                    <a:pt x="15" y="29"/>
                    <a:pt x="15" y="29"/>
                  </a:cubicBezTo>
                  <a:cubicBezTo>
                    <a:pt x="15" y="28"/>
                    <a:pt x="15" y="27"/>
                    <a:pt x="15" y="26"/>
                  </a:cubicBezTo>
                  <a:cubicBezTo>
                    <a:pt x="15" y="26"/>
                    <a:pt x="15" y="25"/>
                    <a:pt x="15" y="25"/>
                  </a:cubicBezTo>
                  <a:cubicBezTo>
                    <a:pt x="16" y="25"/>
                    <a:pt x="16" y="24"/>
                    <a:pt x="16" y="24"/>
                  </a:cubicBezTo>
                  <a:cubicBezTo>
                    <a:pt x="17" y="23"/>
                    <a:pt x="17" y="23"/>
                    <a:pt x="18" y="23"/>
                  </a:cubicBezTo>
                  <a:cubicBezTo>
                    <a:pt x="18" y="23"/>
                    <a:pt x="19" y="23"/>
                    <a:pt x="19" y="23"/>
                  </a:cubicBezTo>
                  <a:cubicBezTo>
                    <a:pt x="20" y="22"/>
                    <a:pt x="20" y="22"/>
                    <a:pt x="20" y="21"/>
                  </a:cubicBezTo>
                  <a:cubicBezTo>
                    <a:pt x="20" y="19"/>
                    <a:pt x="21" y="18"/>
                    <a:pt x="22" y="16"/>
                  </a:cubicBezTo>
                  <a:cubicBezTo>
                    <a:pt x="22" y="14"/>
                    <a:pt x="19" y="13"/>
                    <a:pt x="19" y="11"/>
                  </a:cubicBezTo>
                  <a:cubicBezTo>
                    <a:pt x="17" y="8"/>
                    <a:pt x="18" y="5"/>
                    <a:pt x="18" y="2"/>
                  </a:cubicBezTo>
                  <a:cubicBezTo>
                    <a:pt x="18" y="2"/>
                    <a:pt x="18" y="2"/>
                    <a:pt x="17" y="2"/>
                  </a:cubicBezTo>
                  <a:cubicBezTo>
                    <a:pt x="17" y="2"/>
                    <a:pt x="16" y="1"/>
                    <a:pt x="16" y="2"/>
                  </a:cubicBezTo>
                  <a:cubicBezTo>
                    <a:pt x="15" y="3"/>
                    <a:pt x="15" y="5"/>
                    <a:pt x="13" y="4"/>
                  </a:cubicBezTo>
                  <a:cubicBezTo>
                    <a:pt x="12" y="2"/>
                    <a:pt x="9" y="1"/>
                    <a:pt x="6" y="0"/>
                  </a:cubicBezTo>
                  <a:cubicBezTo>
                    <a:pt x="5" y="1"/>
                    <a:pt x="4" y="3"/>
                    <a:pt x="3" y="3"/>
                  </a:cubicBezTo>
                  <a:cubicBezTo>
                    <a:pt x="3" y="5"/>
                    <a:pt x="3" y="8"/>
                    <a:pt x="3" y="10"/>
                  </a:cubicBezTo>
                  <a:cubicBezTo>
                    <a:pt x="3" y="11"/>
                    <a:pt x="3" y="12"/>
                    <a:pt x="4" y="13"/>
                  </a:cubicBezTo>
                  <a:cubicBezTo>
                    <a:pt x="4" y="14"/>
                    <a:pt x="4" y="15"/>
                    <a:pt x="4" y="16"/>
                  </a:cubicBezTo>
                  <a:cubicBezTo>
                    <a:pt x="3" y="18"/>
                    <a:pt x="2" y="18"/>
                    <a:pt x="1" y="20"/>
                  </a:cubicBezTo>
                  <a:cubicBezTo>
                    <a:pt x="0" y="20"/>
                    <a:pt x="0" y="20"/>
                    <a:pt x="0" y="21"/>
                  </a:cubicBezTo>
                  <a:cubicBezTo>
                    <a:pt x="0" y="22"/>
                    <a:pt x="0" y="23"/>
                    <a:pt x="1" y="25"/>
                  </a:cubicBezTo>
                  <a:cubicBezTo>
                    <a:pt x="1" y="26"/>
                    <a:pt x="1" y="28"/>
                    <a:pt x="1" y="30"/>
                  </a:cubicBezTo>
                  <a:cubicBezTo>
                    <a:pt x="1" y="31"/>
                    <a:pt x="3" y="32"/>
                    <a:pt x="4" y="33"/>
                  </a:cubicBezTo>
                  <a:cubicBezTo>
                    <a:pt x="4" y="34"/>
                    <a:pt x="4" y="35"/>
                    <a:pt x="4" y="36"/>
                  </a:cubicBezTo>
                  <a:cubicBezTo>
                    <a:pt x="6" y="38"/>
                    <a:pt x="9" y="36"/>
                    <a:pt x="11" y="38"/>
                  </a:cubicBezTo>
                  <a:cubicBezTo>
                    <a:pt x="11" y="38"/>
                    <a:pt x="11" y="39"/>
                    <a:pt x="11" y="39"/>
                  </a:cubicBezTo>
                  <a:cubicBezTo>
                    <a:pt x="9" y="40"/>
                    <a:pt x="8" y="41"/>
                    <a:pt x="9" y="43"/>
                  </a:cubicBezTo>
                  <a:cubicBezTo>
                    <a:pt x="11" y="43"/>
                    <a:pt x="12" y="44"/>
                    <a:pt x="13" y="45"/>
                  </a:cubicBezTo>
                  <a:cubicBezTo>
                    <a:pt x="13" y="46"/>
                    <a:pt x="14" y="45"/>
                    <a:pt x="14" y="45"/>
                  </a:cubicBezTo>
                  <a:cubicBezTo>
                    <a:pt x="15" y="44"/>
                    <a:pt x="17" y="43"/>
                    <a:pt x="18" y="44"/>
                  </a:cubicBezTo>
                  <a:cubicBezTo>
                    <a:pt x="19" y="42"/>
                    <a:pt x="17" y="41"/>
                    <a:pt x="16" y="40"/>
                  </a:cubicBezTo>
                  <a:cubicBezTo>
                    <a:pt x="16" y="39"/>
                    <a:pt x="16" y="38"/>
                    <a:pt x="16" y="37"/>
                  </a:cubicBezTo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8" name="Freeform 259"/>
            <p:cNvSpPr>
              <a:spLocks/>
            </p:cNvSpPr>
            <p:nvPr/>
          </p:nvSpPr>
          <p:spPr bwMode="auto">
            <a:xfrm>
              <a:off x="7622540" y="4758865"/>
              <a:ext cx="603167" cy="366230"/>
            </a:xfrm>
            <a:custGeom>
              <a:avLst/>
              <a:gdLst>
                <a:gd name="T0" fmla="*/ 804971826 w 448"/>
                <a:gd name="T1" fmla="*/ 352678359 h 338"/>
                <a:gd name="T2" fmla="*/ 815423049 w 448"/>
                <a:gd name="T3" fmla="*/ 323450363 h 338"/>
                <a:gd name="T4" fmla="*/ 771419330 w 448"/>
                <a:gd name="T5" fmla="*/ 334687268 h 338"/>
                <a:gd name="T6" fmla="*/ 747255826 w 448"/>
                <a:gd name="T7" fmla="*/ 359533304 h 338"/>
                <a:gd name="T8" fmla="*/ 815423049 w 448"/>
                <a:gd name="T9" fmla="*/ 377213948 h 338"/>
                <a:gd name="T10" fmla="*/ 808642178 w 448"/>
                <a:gd name="T11" fmla="*/ 402218838 h 338"/>
                <a:gd name="T12" fmla="*/ 811868775 w 448"/>
                <a:gd name="T13" fmla="*/ 458069920 h 338"/>
                <a:gd name="T14" fmla="*/ 846263439 w 448"/>
                <a:gd name="T15" fmla="*/ 512474368 h 338"/>
                <a:gd name="T16" fmla="*/ 846263439 w 448"/>
                <a:gd name="T17" fmla="*/ 530532026 h 338"/>
                <a:gd name="T18" fmla="*/ 837877431 w 448"/>
                <a:gd name="T19" fmla="*/ 543773825 h 338"/>
                <a:gd name="T20" fmla="*/ 846263439 w 448"/>
                <a:gd name="T21" fmla="*/ 577970180 h 338"/>
                <a:gd name="T22" fmla="*/ 822940288 w 448"/>
                <a:gd name="T23" fmla="*/ 616263769 h 338"/>
                <a:gd name="T24" fmla="*/ 798298568 w 448"/>
                <a:gd name="T25" fmla="*/ 667295814 h 338"/>
                <a:gd name="T26" fmla="*/ 751589997 w 448"/>
                <a:gd name="T27" fmla="*/ 708319579 h 338"/>
                <a:gd name="T28" fmla="*/ 722573599 w 448"/>
                <a:gd name="T29" fmla="*/ 705448097 h 338"/>
                <a:gd name="T30" fmla="*/ 678607968 w 448"/>
                <a:gd name="T31" fmla="*/ 734866718 h 338"/>
                <a:gd name="T32" fmla="*/ 655911758 w 448"/>
                <a:gd name="T33" fmla="*/ 733152301 h 338"/>
                <a:gd name="T34" fmla="*/ 623508098 w 448"/>
                <a:gd name="T35" fmla="*/ 729908041 h 338"/>
                <a:gd name="T36" fmla="*/ 579595972 w 448"/>
                <a:gd name="T37" fmla="*/ 692116433 h 338"/>
                <a:gd name="T38" fmla="*/ 541796362 w 448"/>
                <a:gd name="T39" fmla="*/ 708319579 h 338"/>
                <a:gd name="T40" fmla="*/ 510946300 w 448"/>
                <a:gd name="T41" fmla="*/ 728415112 h 338"/>
                <a:gd name="T42" fmla="*/ 479175173 w 448"/>
                <a:gd name="T43" fmla="*/ 710330525 h 338"/>
                <a:gd name="T44" fmla="*/ 446333351 w 448"/>
                <a:gd name="T45" fmla="*/ 667295814 h 338"/>
                <a:gd name="T46" fmla="*/ 451152388 w 448"/>
                <a:gd name="T47" fmla="*/ 600075448 h 338"/>
                <a:gd name="T48" fmla="*/ 417406429 w 448"/>
                <a:gd name="T49" fmla="*/ 570356668 h 338"/>
                <a:gd name="T50" fmla="*/ 378172173 w 448"/>
                <a:gd name="T51" fmla="*/ 563868450 h 338"/>
                <a:gd name="T52" fmla="*/ 324573605 w 448"/>
                <a:gd name="T53" fmla="*/ 591274915 h 338"/>
                <a:gd name="T54" fmla="*/ 276276598 w 448"/>
                <a:gd name="T55" fmla="*/ 609267216 h 338"/>
                <a:gd name="T56" fmla="*/ 216355424 w 448"/>
                <a:gd name="T57" fmla="*/ 580067361 h 338"/>
                <a:gd name="T58" fmla="*/ 178739000 w 448"/>
                <a:gd name="T59" fmla="*/ 555519971 h 338"/>
                <a:gd name="T60" fmla="*/ 128416189 w 448"/>
                <a:gd name="T61" fmla="*/ 528456934 h 338"/>
                <a:gd name="T62" fmla="*/ 114994858 w 448"/>
                <a:gd name="T63" fmla="*/ 492738602 h 338"/>
                <a:gd name="T64" fmla="*/ 70996938 w 448"/>
                <a:gd name="T65" fmla="*/ 422286231 h 338"/>
                <a:gd name="T66" fmla="*/ 37221384 w 448"/>
                <a:gd name="T67" fmla="*/ 393729962 h 338"/>
                <a:gd name="T68" fmla="*/ 15761045 w 448"/>
                <a:gd name="T69" fmla="*/ 352678359 h 338"/>
                <a:gd name="T70" fmla="*/ 28863054 w 448"/>
                <a:gd name="T71" fmla="*/ 312880874 h 338"/>
                <a:gd name="T72" fmla="*/ 97512773 w 448"/>
                <a:gd name="T73" fmla="*/ 285173795 h 338"/>
                <a:gd name="T74" fmla="*/ 101845282 w 448"/>
                <a:gd name="T75" fmla="*/ 235632560 h 338"/>
                <a:gd name="T76" fmla="*/ 116986693 w 448"/>
                <a:gd name="T77" fmla="*/ 206344957 h 338"/>
                <a:gd name="T78" fmla="*/ 139422862 w 448"/>
                <a:gd name="T79" fmla="*/ 161649688 h 338"/>
                <a:gd name="T80" fmla="*/ 207590652 w 448"/>
                <a:gd name="T81" fmla="*/ 112294880 h 338"/>
                <a:gd name="T82" fmla="*/ 245424420 w 448"/>
                <a:gd name="T83" fmla="*/ 136828880 h 338"/>
                <a:gd name="T84" fmla="*/ 269587320 w 448"/>
                <a:gd name="T85" fmla="*/ 199377452 h 338"/>
                <a:gd name="T86" fmla="*/ 355513144 w 448"/>
                <a:gd name="T87" fmla="*/ 230882361 h 338"/>
                <a:gd name="T88" fmla="*/ 499845767 w 448"/>
                <a:gd name="T89" fmla="*/ 285173795 h 338"/>
                <a:gd name="T90" fmla="*/ 615133880 w 448"/>
                <a:gd name="T91" fmla="*/ 260697361 h 338"/>
                <a:gd name="T92" fmla="*/ 621516943 w 448"/>
                <a:gd name="T93" fmla="*/ 211190318 h 338"/>
                <a:gd name="T94" fmla="*/ 672197094 w 448"/>
                <a:gd name="T95" fmla="*/ 195846649 h 338"/>
                <a:gd name="T96" fmla="*/ 725439871 w 448"/>
                <a:gd name="T97" fmla="*/ 168129131 h 338"/>
                <a:gd name="T98" fmla="*/ 711501481 w 448"/>
                <a:gd name="T99" fmla="*/ 132357659 h 338"/>
                <a:gd name="T100" fmla="*/ 678607968 w 448"/>
                <a:gd name="T101" fmla="*/ 103805097 h 338"/>
                <a:gd name="T102" fmla="*/ 720533776 w 448"/>
                <a:gd name="T103" fmla="*/ 82848800 h 338"/>
                <a:gd name="T104" fmla="*/ 722573599 w 448"/>
                <a:gd name="T105" fmla="*/ 24486013 h 338"/>
                <a:gd name="T106" fmla="*/ 789173170 w 448"/>
                <a:gd name="T107" fmla="*/ 6854640 h 338"/>
                <a:gd name="T108" fmla="*/ 853789142 w 448"/>
                <a:gd name="T109" fmla="*/ 76088506 h 338"/>
                <a:gd name="T110" fmla="*/ 915634364 w 448"/>
                <a:gd name="T111" fmla="*/ 115035194 h 338"/>
                <a:gd name="T112" fmla="*/ 963932353 w 448"/>
                <a:gd name="T113" fmla="*/ 135103041 h 338"/>
                <a:gd name="T114" fmla="*/ 985749516 w 448"/>
                <a:gd name="T115" fmla="*/ 150080286 h 338"/>
                <a:gd name="T116" fmla="*/ 961257730 w 448"/>
                <a:gd name="T117" fmla="*/ 199377452 h 338"/>
                <a:gd name="T118" fmla="*/ 950157197 w 448"/>
                <a:gd name="T119" fmla="*/ 260697361 h 338"/>
                <a:gd name="T120" fmla="*/ 930316981 w 448"/>
                <a:gd name="T121" fmla="*/ 267088905 h 338"/>
                <a:gd name="T122" fmla="*/ 897785002 w 448"/>
                <a:gd name="T123" fmla="*/ 288043008 h 338"/>
                <a:gd name="T124" fmla="*/ 853789142 w 448"/>
                <a:gd name="T125" fmla="*/ 326197788 h 33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48"/>
                <a:gd name="T190" fmla="*/ 0 h 338"/>
                <a:gd name="T191" fmla="*/ 448 w 448"/>
                <a:gd name="T192" fmla="*/ 338 h 33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48" h="338">
                  <a:moveTo>
                    <a:pt x="386" y="145"/>
                  </a:moveTo>
                  <a:cubicBezTo>
                    <a:pt x="385" y="145"/>
                    <a:pt x="383" y="145"/>
                    <a:pt x="382" y="146"/>
                  </a:cubicBezTo>
                  <a:cubicBezTo>
                    <a:pt x="382" y="146"/>
                    <a:pt x="381" y="146"/>
                    <a:pt x="380" y="146"/>
                  </a:cubicBezTo>
                  <a:cubicBezTo>
                    <a:pt x="378" y="147"/>
                    <a:pt x="377" y="148"/>
                    <a:pt x="376" y="149"/>
                  </a:cubicBezTo>
                  <a:cubicBezTo>
                    <a:pt x="375" y="149"/>
                    <a:pt x="374" y="149"/>
                    <a:pt x="373" y="149"/>
                  </a:cubicBezTo>
                  <a:cubicBezTo>
                    <a:pt x="372" y="150"/>
                    <a:pt x="371" y="151"/>
                    <a:pt x="370" y="153"/>
                  </a:cubicBezTo>
                  <a:cubicBezTo>
                    <a:pt x="369" y="155"/>
                    <a:pt x="367" y="155"/>
                    <a:pt x="365" y="157"/>
                  </a:cubicBezTo>
                  <a:cubicBezTo>
                    <a:pt x="365" y="157"/>
                    <a:pt x="364" y="157"/>
                    <a:pt x="364" y="157"/>
                  </a:cubicBezTo>
                  <a:cubicBezTo>
                    <a:pt x="364" y="156"/>
                    <a:pt x="364" y="156"/>
                    <a:pt x="364" y="155"/>
                  </a:cubicBezTo>
                  <a:cubicBezTo>
                    <a:pt x="365" y="155"/>
                    <a:pt x="365" y="154"/>
                    <a:pt x="366" y="153"/>
                  </a:cubicBezTo>
                  <a:cubicBezTo>
                    <a:pt x="366" y="153"/>
                    <a:pt x="366" y="152"/>
                    <a:pt x="366" y="151"/>
                  </a:cubicBezTo>
                  <a:cubicBezTo>
                    <a:pt x="365" y="150"/>
                    <a:pt x="364" y="150"/>
                    <a:pt x="364" y="149"/>
                  </a:cubicBezTo>
                  <a:cubicBezTo>
                    <a:pt x="364" y="148"/>
                    <a:pt x="364" y="148"/>
                    <a:pt x="364" y="147"/>
                  </a:cubicBezTo>
                  <a:cubicBezTo>
                    <a:pt x="364" y="147"/>
                    <a:pt x="364" y="147"/>
                    <a:pt x="365" y="146"/>
                  </a:cubicBezTo>
                  <a:cubicBezTo>
                    <a:pt x="365" y="146"/>
                    <a:pt x="366" y="146"/>
                    <a:pt x="367" y="146"/>
                  </a:cubicBezTo>
                  <a:cubicBezTo>
                    <a:pt x="368" y="145"/>
                    <a:pt x="368" y="144"/>
                    <a:pt x="369" y="144"/>
                  </a:cubicBezTo>
                  <a:cubicBezTo>
                    <a:pt x="371" y="143"/>
                    <a:pt x="370" y="142"/>
                    <a:pt x="370" y="140"/>
                  </a:cubicBezTo>
                  <a:cubicBezTo>
                    <a:pt x="368" y="139"/>
                    <a:pt x="367" y="137"/>
                    <a:pt x="366" y="135"/>
                  </a:cubicBezTo>
                  <a:cubicBezTo>
                    <a:pt x="366" y="134"/>
                    <a:pt x="366" y="134"/>
                    <a:pt x="365" y="134"/>
                  </a:cubicBezTo>
                  <a:cubicBezTo>
                    <a:pt x="363" y="136"/>
                    <a:pt x="361" y="134"/>
                    <a:pt x="359" y="136"/>
                  </a:cubicBezTo>
                  <a:cubicBezTo>
                    <a:pt x="359" y="137"/>
                    <a:pt x="359" y="139"/>
                    <a:pt x="358" y="141"/>
                  </a:cubicBezTo>
                  <a:cubicBezTo>
                    <a:pt x="357" y="142"/>
                    <a:pt x="356" y="144"/>
                    <a:pt x="355" y="145"/>
                  </a:cubicBezTo>
                  <a:cubicBezTo>
                    <a:pt x="354" y="146"/>
                    <a:pt x="352" y="146"/>
                    <a:pt x="351" y="147"/>
                  </a:cubicBezTo>
                  <a:cubicBezTo>
                    <a:pt x="350" y="147"/>
                    <a:pt x="349" y="148"/>
                    <a:pt x="349" y="149"/>
                  </a:cubicBezTo>
                  <a:cubicBezTo>
                    <a:pt x="349" y="150"/>
                    <a:pt x="349" y="152"/>
                    <a:pt x="348" y="153"/>
                  </a:cubicBezTo>
                  <a:cubicBezTo>
                    <a:pt x="348" y="153"/>
                    <a:pt x="348" y="153"/>
                    <a:pt x="348" y="154"/>
                  </a:cubicBezTo>
                  <a:cubicBezTo>
                    <a:pt x="346" y="154"/>
                    <a:pt x="345" y="155"/>
                    <a:pt x="344" y="154"/>
                  </a:cubicBezTo>
                  <a:cubicBezTo>
                    <a:pt x="344" y="154"/>
                    <a:pt x="343" y="154"/>
                    <a:pt x="343" y="153"/>
                  </a:cubicBezTo>
                  <a:cubicBezTo>
                    <a:pt x="343" y="153"/>
                    <a:pt x="342" y="153"/>
                    <a:pt x="341" y="153"/>
                  </a:cubicBezTo>
                  <a:cubicBezTo>
                    <a:pt x="340" y="154"/>
                    <a:pt x="339" y="155"/>
                    <a:pt x="338" y="156"/>
                  </a:cubicBezTo>
                  <a:cubicBezTo>
                    <a:pt x="338" y="156"/>
                    <a:pt x="338" y="157"/>
                    <a:pt x="338" y="157"/>
                  </a:cubicBezTo>
                  <a:cubicBezTo>
                    <a:pt x="338" y="158"/>
                    <a:pt x="338" y="159"/>
                    <a:pt x="338" y="160"/>
                  </a:cubicBezTo>
                  <a:cubicBezTo>
                    <a:pt x="339" y="161"/>
                    <a:pt x="340" y="161"/>
                    <a:pt x="341" y="162"/>
                  </a:cubicBezTo>
                  <a:cubicBezTo>
                    <a:pt x="342" y="164"/>
                    <a:pt x="343" y="165"/>
                    <a:pt x="344" y="166"/>
                  </a:cubicBezTo>
                  <a:cubicBezTo>
                    <a:pt x="345" y="167"/>
                    <a:pt x="347" y="167"/>
                    <a:pt x="348" y="167"/>
                  </a:cubicBezTo>
                  <a:cubicBezTo>
                    <a:pt x="349" y="168"/>
                    <a:pt x="351" y="169"/>
                    <a:pt x="353" y="170"/>
                  </a:cubicBezTo>
                  <a:cubicBezTo>
                    <a:pt x="353" y="170"/>
                    <a:pt x="353" y="171"/>
                    <a:pt x="353" y="171"/>
                  </a:cubicBezTo>
                  <a:cubicBezTo>
                    <a:pt x="355" y="171"/>
                    <a:pt x="357" y="171"/>
                    <a:pt x="358" y="170"/>
                  </a:cubicBezTo>
                  <a:cubicBezTo>
                    <a:pt x="359" y="168"/>
                    <a:pt x="359" y="166"/>
                    <a:pt x="361" y="166"/>
                  </a:cubicBezTo>
                  <a:cubicBezTo>
                    <a:pt x="364" y="165"/>
                    <a:pt x="366" y="167"/>
                    <a:pt x="369" y="168"/>
                  </a:cubicBezTo>
                  <a:cubicBezTo>
                    <a:pt x="369" y="168"/>
                    <a:pt x="371" y="168"/>
                    <a:pt x="371" y="167"/>
                  </a:cubicBezTo>
                  <a:cubicBezTo>
                    <a:pt x="373" y="167"/>
                    <a:pt x="375" y="167"/>
                    <a:pt x="377" y="167"/>
                  </a:cubicBezTo>
                  <a:cubicBezTo>
                    <a:pt x="377" y="168"/>
                    <a:pt x="377" y="169"/>
                    <a:pt x="377" y="169"/>
                  </a:cubicBezTo>
                  <a:cubicBezTo>
                    <a:pt x="376" y="170"/>
                    <a:pt x="376" y="171"/>
                    <a:pt x="376" y="171"/>
                  </a:cubicBezTo>
                  <a:cubicBezTo>
                    <a:pt x="378" y="172"/>
                    <a:pt x="378" y="174"/>
                    <a:pt x="378" y="175"/>
                  </a:cubicBezTo>
                  <a:cubicBezTo>
                    <a:pt x="376" y="176"/>
                    <a:pt x="374" y="175"/>
                    <a:pt x="373" y="176"/>
                  </a:cubicBezTo>
                  <a:cubicBezTo>
                    <a:pt x="371" y="176"/>
                    <a:pt x="370" y="176"/>
                    <a:pt x="369" y="176"/>
                  </a:cubicBezTo>
                  <a:cubicBezTo>
                    <a:pt x="368" y="177"/>
                    <a:pt x="366" y="178"/>
                    <a:pt x="366" y="179"/>
                  </a:cubicBezTo>
                  <a:cubicBezTo>
                    <a:pt x="365" y="181"/>
                    <a:pt x="365" y="181"/>
                    <a:pt x="364" y="183"/>
                  </a:cubicBezTo>
                  <a:cubicBezTo>
                    <a:pt x="364" y="183"/>
                    <a:pt x="363" y="185"/>
                    <a:pt x="363" y="185"/>
                  </a:cubicBezTo>
                  <a:cubicBezTo>
                    <a:pt x="363" y="186"/>
                    <a:pt x="363" y="187"/>
                    <a:pt x="362" y="189"/>
                  </a:cubicBezTo>
                  <a:cubicBezTo>
                    <a:pt x="362" y="189"/>
                    <a:pt x="361" y="189"/>
                    <a:pt x="361" y="189"/>
                  </a:cubicBezTo>
                  <a:cubicBezTo>
                    <a:pt x="360" y="189"/>
                    <a:pt x="360" y="190"/>
                    <a:pt x="359" y="190"/>
                  </a:cubicBezTo>
                  <a:cubicBezTo>
                    <a:pt x="357" y="191"/>
                    <a:pt x="356" y="194"/>
                    <a:pt x="357" y="196"/>
                  </a:cubicBezTo>
                  <a:cubicBezTo>
                    <a:pt x="358" y="199"/>
                    <a:pt x="362" y="199"/>
                    <a:pt x="364" y="200"/>
                  </a:cubicBezTo>
                  <a:cubicBezTo>
                    <a:pt x="366" y="201"/>
                    <a:pt x="366" y="203"/>
                    <a:pt x="367" y="204"/>
                  </a:cubicBezTo>
                  <a:cubicBezTo>
                    <a:pt x="368" y="204"/>
                    <a:pt x="368" y="205"/>
                    <a:pt x="368" y="205"/>
                  </a:cubicBezTo>
                  <a:cubicBezTo>
                    <a:pt x="368" y="207"/>
                    <a:pt x="368" y="209"/>
                    <a:pt x="369" y="210"/>
                  </a:cubicBezTo>
                  <a:cubicBezTo>
                    <a:pt x="369" y="211"/>
                    <a:pt x="370" y="212"/>
                    <a:pt x="371" y="213"/>
                  </a:cubicBezTo>
                  <a:cubicBezTo>
                    <a:pt x="372" y="214"/>
                    <a:pt x="371" y="216"/>
                    <a:pt x="372" y="217"/>
                  </a:cubicBezTo>
                  <a:cubicBezTo>
                    <a:pt x="373" y="219"/>
                    <a:pt x="374" y="219"/>
                    <a:pt x="376" y="220"/>
                  </a:cubicBezTo>
                  <a:cubicBezTo>
                    <a:pt x="377" y="220"/>
                    <a:pt x="377" y="221"/>
                    <a:pt x="378" y="222"/>
                  </a:cubicBezTo>
                  <a:cubicBezTo>
                    <a:pt x="380" y="223"/>
                    <a:pt x="382" y="224"/>
                    <a:pt x="383" y="226"/>
                  </a:cubicBezTo>
                  <a:cubicBezTo>
                    <a:pt x="383" y="226"/>
                    <a:pt x="383" y="227"/>
                    <a:pt x="383" y="228"/>
                  </a:cubicBezTo>
                  <a:cubicBezTo>
                    <a:pt x="381" y="228"/>
                    <a:pt x="379" y="226"/>
                    <a:pt x="377" y="225"/>
                  </a:cubicBezTo>
                  <a:cubicBezTo>
                    <a:pt x="376" y="225"/>
                    <a:pt x="375" y="225"/>
                    <a:pt x="374" y="224"/>
                  </a:cubicBezTo>
                  <a:cubicBezTo>
                    <a:pt x="373" y="223"/>
                    <a:pt x="371" y="223"/>
                    <a:pt x="370" y="223"/>
                  </a:cubicBezTo>
                  <a:cubicBezTo>
                    <a:pt x="371" y="224"/>
                    <a:pt x="373" y="225"/>
                    <a:pt x="375" y="225"/>
                  </a:cubicBezTo>
                  <a:cubicBezTo>
                    <a:pt x="377" y="226"/>
                    <a:pt x="378" y="227"/>
                    <a:pt x="380" y="228"/>
                  </a:cubicBezTo>
                  <a:cubicBezTo>
                    <a:pt x="380" y="229"/>
                    <a:pt x="381" y="230"/>
                    <a:pt x="381" y="231"/>
                  </a:cubicBezTo>
                  <a:cubicBezTo>
                    <a:pt x="383" y="232"/>
                    <a:pt x="384" y="233"/>
                    <a:pt x="384" y="235"/>
                  </a:cubicBezTo>
                  <a:cubicBezTo>
                    <a:pt x="383" y="235"/>
                    <a:pt x="383" y="236"/>
                    <a:pt x="383" y="236"/>
                  </a:cubicBezTo>
                  <a:cubicBezTo>
                    <a:pt x="381" y="236"/>
                    <a:pt x="380" y="235"/>
                    <a:pt x="379" y="236"/>
                  </a:cubicBezTo>
                  <a:cubicBezTo>
                    <a:pt x="378" y="237"/>
                    <a:pt x="377" y="238"/>
                    <a:pt x="376" y="239"/>
                  </a:cubicBezTo>
                  <a:cubicBezTo>
                    <a:pt x="375" y="240"/>
                    <a:pt x="374" y="239"/>
                    <a:pt x="373" y="240"/>
                  </a:cubicBezTo>
                  <a:cubicBezTo>
                    <a:pt x="373" y="240"/>
                    <a:pt x="373" y="240"/>
                    <a:pt x="373" y="240"/>
                  </a:cubicBezTo>
                  <a:cubicBezTo>
                    <a:pt x="373" y="240"/>
                    <a:pt x="374" y="241"/>
                    <a:pt x="374" y="241"/>
                  </a:cubicBezTo>
                  <a:cubicBezTo>
                    <a:pt x="375" y="241"/>
                    <a:pt x="375" y="243"/>
                    <a:pt x="376" y="243"/>
                  </a:cubicBezTo>
                  <a:cubicBezTo>
                    <a:pt x="376" y="243"/>
                    <a:pt x="377" y="243"/>
                    <a:pt x="378" y="243"/>
                  </a:cubicBezTo>
                  <a:cubicBezTo>
                    <a:pt x="378" y="243"/>
                    <a:pt x="379" y="242"/>
                    <a:pt x="379" y="242"/>
                  </a:cubicBezTo>
                  <a:cubicBezTo>
                    <a:pt x="380" y="241"/>
                    <a:pt x="380" y="241"/>
                    <a:pt x="381" y="242"/>
                  </a:cubicBezTo>
                  <a:cubicBezTo>
                    <a:pt x="382" y="243"/>
                    <a:pt x="383" y="244"/>
                    <a:pt x="384" y="246"/>
                  </a:cubicBezTo>
                  <a:cubicBezTo>
                    <a:pt x="384" y="246"/>
                    <a:pt x="384" y="247"/>
                    <a:pt x="384" y="247"/>
                  </a:cubicBezTo>
                  <a:cubicBezTo>
                    <a:pt x="384" y="248"/>
                    <a:pt x="383" y="248"/>
                    <a:pt x="383" y="248"/>
                  </a:cubicBezTo>
                  <a:cubicBezTo>
                    <a:pt x="383" y="249"/>
                    <a:pt x="384" y="249"/>
                    <a:pt x="385" y="249"/>
                  </a:cubicBezTo>
                  <a:cubicBezTo>
                    <a:pt x="385" y="249"/>
                    <a:pt x="385" y="250"/>
                    <a:pt x="385" y="250"/>
                  </a:cubicBezTo>
                  <a:cubicBezTo>
                    <a:pt x="385" y="251"/>
                    <a:pt x="384" y="252"/>
                    <a:pt x="383" y="253"/>
                  </a:cubicBezTo>
                  <a:cubicBezTo>
                    <a:pt x="383" y="254"/>
                    <a:pt x="382" y="256"/>
                    <a:pt x="383" y="257"/>
                  </a:cubicBezTo>
                  <a:cubicBezTo>
                    <a:pt x="383" y="258"/>
                    <a:pt x="384" y="259"/>
                    <a:pt x="384" y="260"/>
                  </a:cubicBezTo>
                  <a:cubicBezTo>
                    <a:pt x="383" y="261"/>
                    <a:pt x="383" y="262"/>
                    <a:pt x="382" y="262"/>
                  </a:cubicBezTo>
                  <a:cubicBezTo>
                    <a:pt x="381" y="262"/>
                    <a:pt x="380" y="262"/>
                    <a:pt x="379" y="263"/>
                  </a:cubicBezTo>
                  <a:cubicBezTo>
                    <a:pt x="379" y="263"/>
                    <a:pt x="379" y="264"/>
                    <a:pt x="379" y="264"/>
                  </a:cubicBezTo>
                  <a:cubicBezTo>
                    <a:pt x="379" y="265"/>
                    <a:pt x="378" y="266"/>
                    <a:pt x="378" y="267"/>
                  </a:cubicBezTo>
                  <a:cubicBezTo>
                    <a:pt x="378" y="268"/>
                    <a:pt x="378" y="270"/>
                    <a:pt x="377" y="271"/>
                  </a:cubicBezTo>
                  <a:cubicBezTo>
                    <a:pt x="377" y="272"/>
                    <a:pt x="376" y="272"/>
                    <a:pt x="376" y="272"/>
                  </a:cubicBezTo>
                  <a:cubicBezTo>
                    <a:pt x="375" y="273"/>
                    <a:pt x="373" y="273"/>
                    <a:pt x="372" y="274"/>
                  </a:cubicBezTo>
                  <a:cubicBezTo>
                    <a:pt x="372" y="275"/>
                    <a:pt x="371" y="276"/>
                    <a:pt x="371" y="277"/>
                  </a:cubicBezTo>
                  <a:cubicBezTo>
                    <a:pt x="370" y="279"/>
                    <a:pt x="372" y="281"/>
                    <a:pt x="371" y="283"/>
                  </a:cubicBezTo>
                  <a:cubicBezTo>
                    <a:pt x="371" y="285"/>
                    <a:pt x="372" y="287"/>
                    <a:pt x="370" y="288"/>
                  </a:cubicBezTo>
                  <a:cubicBezTo>
                    <a:pt x="370" y="289"/>
                    <a:pt x="369" y="289"/>
                    <a:pt x="368" y="289"/>
                  </a:cubicBezTo>
                  <a:cubicBezTo>
                    <a:pt x="367" y="291"/>
                    <a:pt x="366" y="293"/>
                    <a:pt x="365" y="295"/>
                  </a:cubicBezTo>
                  <a:cubicBezTo>
                    <a:pt x="364" y="296"/>
                    <a:pt x="363" y="296"/>
                    <a:pt x="362" y="296"/>
                  </a:cubicBezTo>
                  <a:cubicBezTo>
                    <a:pt x="361" y="296"/>
                    <a:pt x="360" y="297"/>
                    <a:pt x="360" y="298"/>
                  </a:cubicBezTo>
                  <a:cubicBezTo>
                    <a:pt x="361" y="297"/>
                    <a:pt x="361" y="297"/>
                    <a:pt x="361" y="297"/>
                  </a:cubicBezTo>
                  <a:cubicBezTo>
                    <a:pt x="360" y="300"/>
                    <a:pt x="359" y="302"/>
                    <a:pt x="357" y="303"/>
                  </a:cubicBezTo>
                  <a:cubicBezTo>
                    <a:pt x="356" y="304"/>
                    <a:pt x="354" y="305"/>
                    <a:pt x="353" y="305"/>
                  </a:cubicBezTo>
                  <a:cubicBezTo>
                    <a:pt x="352" y="305"/>
                    <a:pt x="351" y="306"/>
                    <a:pt x="351" y="306"/>
                  </a:cubicBezTo>
                  <a:cubicBezTo>
                    <a:pt x="351" y="308"/>
                    <a:pt x="350" y="310"/>
                    <a:pt x="349" y="312"/>
                  </a:cubicBezTo>
                  <a:cubicBezTo>
                    <a:pt x="349" y="312"/>
                    <a:pt x="349" y="313"/>
                    <a:pt x="348" y="313"/>
                  </a:cubicBezTo>
                  <a:cubicBezTo>
                    <a:pt x="346" y="314"/>
                    <a:pt x="345" y="313"/>
                    <a:pt x="344" y="314"/>
                  </a:cubicBezTo>
                  <a:cubicBezTo>
                    <a:pt x="343" y="314"/>
                    <a:pt x="342" y="315"/>
                    <a:pt x="342" y="315"/>
                  </a:cubicBezTo>
                  <a:cubicBezTo>
                    <a:pt x="342" y="315"/>
                    <a:pt x="341" y="315"/>
                    <a:pt x="340" y="315"/>
                  </a:cubicBezTo>
                  <a:cubicBezTo>
                    <a:pt x="339" y="315"/>
                    <a:pt x="339" y="314"/>
                    <a:pt x="339" y="313"/>
                  </a:cubicBezTo>
                  <a:cubicBezTo>
                    <a:pt x="339" y="313"/>
                    <a:pt x="338" y="313"/>
                    <a:pt x="338" y="313"/>
                  </a:cubicBezTo>
                  <a:cubicBezTo>
                    <a:pt x="337" y="314"/>
                    <a:pt x="336" y="314"/>
                    <a:pt x="335" y="315"/>
                  </a:cubicBezTo>
                  <a:cubicBezTo>
                    <a:pt x="334" y="316"/>
                    <a:pt x="333" y="317"/>
                    <a:pt x="332" y="317"/>
                  </a:cubicBezTo>
                  <a:cubicBezTo>
                    <a:pt x="332" y="318"/>
                    <a:pt x="331" y="318"/>
                    <a:pt x="330" y="317"/>
                  </a:cubicBezTo>
                  <a:cubicBezTo>
                    <a:pt x="329" y="315"/>
                    <a:pt x="328" y="314"/>
                    <a:pt x="328" y="312"/>
                  </a:cubicBezTo>
                  <a:cubicBezTo>
                    <a:pt x="327" y="312"/>
                    <a:pt x="327" y="312"/>
                    <a:pt x="327" y="312"/>
                  </a:cubicBezTo>
                  <a:cubicBezTo>
                    <a:pt x="327" y="313"/>
                    <a:pt x="327" y="314"/>
                    <a:pt x="327" y="314"/>
                  </a:cubicBezTo>
                  <a:cubicBezTo>
                    <a:pt x="327" y="316"/>
                    <a:pt x="327" y="317"/>
                    <a:pt x="327" y="319"/>
                  </a:cubicBezTo>
                  <a:cubicBezTo>
                    <a:pt x="327" y="319"/>
                    <a:pt x="327" y="319"/>
                    <a:pt x="326" y="319"/>
                  </a:cubicBezTo>
                  <a:cubicBezTo>
                    <a:pt x="326" y="320"/>
                    <a:pt x="326" y="319"/>
                    <a:pt x="325" y="320"/>
                  </a:cubicBezTo>
                  <a:cubicBezTo>
                    <a:pt x="324" y="321"/>
                    <a:pt x="324" y="321"/>
                    <a:pt x="323" y="322"/>
                  </a:cubicBezTo>
                  <a:cubicBezTo>
                    <a:pt x="321" y="322"/>
                    <a:pt x="320" y="322"/>
                    <a:pt x="319" y="322"/>
                  </a:cubicBezTo>
                  <a:cubicBezTo>
                    <a:pt x="317" y="323"/>
                    <a:pt x="315" y="324"/>
                    <a:pt x="313" y="325"/>
                  </a:cubicBezTo>
                  <a:cubicBezTo>
                    <a:pt x="312" y="325"/>
                    <a:pt x="311" y="325"/>
                    <a:pt x="309" y="325"/>
                  </a:cubicBezTo>
                  <a:cubicBezTo>
                    <a:pt x="308" y="325"/>
                    <a:pt x="308" y="326"/>
                    <a:pt x="307" y="327"/>
                  </a:cubicBezTo>
                  <a:cubicBezTo>
                    <a:pt x="305" y="327"/>
                    <a:pt x="302" y="329"/>
                    <a:pt x="303" y="331"/>
                  </a:cubicBezTo>
                  <a:cubicBezTo>
                    <a:pt x="303" y="332"/>
                    <a:pt x="305" y="332"/>
                    <a:pt x="305" y="333"/>
                  </a:cubicBezTo>
                  <a:cubicBezTo>
                    <a:pt x="306" y="334"/>
                    <a:pt x="306" y="334"/>
                    <a:pt x="305" y="335"/>
                  </a:cubicBezTo>
                  <a:cubicBezTo>
                    <a:pt x="305" y="335"/>
                    <a:pt x="305" y="336"/>
                    <a:pt x="304" y="336"/>
                  </a:cubicBezTo>
                  <a:cubicBezTo>
                    <a:pt x="304" y="336"/>
                    <a:pt x="304" y="337"/>
                    <a:pt x="303" y="337"/>
                  </a:cubicBezTo>
                  <a:cubicBezTo>
                    <a:pt x="301" y="338"/>
                    <a:pt x="300" y="335"/>
                    <a:pt x="299" y="334"/>
                  </a:cubicBezTo>
                  <a:cubicBezTo>
                    <a:pt x="298" y="334"/>
                    <a:pt x="297" y="334"/>
                    <a:pt x="297" y="333"/>
                  </a:cubicBezTo>
                  <a:cubicBezTo>
                    <a:pt x="296" y="331"/>
                    <a:pt x="296" y="328"/>
                    <a:pt x="297" y="326"/>
                  </a:cubicBezTo>
                  <a:cubicBezTo>
                    <a:pt x="297" y="325"/>
                    <a:pt x="297" y="325"/>
                    <a:pt x="297" y="324"/>
                  </a:cubicBezTo>
                  <a:cubicBezTo>
                    <a:pt x="296" y="324"/>
                    <a:pt x="296" y="323"/>
                    <a:pt x="295" y="324"/>
                  </a:cubicBezTo>
                  <a:cubicBezTo>
                    <a:pt x="294" y="324"/>
                    <a:pt x="293" y="324"/>
                    <a:pt x="292" y="324"/>
                  </a:cubicBezTo>
                  <a:cubicBezTo>
                    <a:pt x="292" y="324"/>
                    <a:pt x="291" y="323"/>
                    <a:pt x="291" y="322"/>
                  </a:cubicBezTo>
                  <a:cubicBezTo>
                    <a:pt x="290" y="322"/>
                    <a:pt x="290" y="322"/>
                    <a:pt x="289" y="322"/>
                  </a:cubicBezTo>
                  <a:cubicBezTo>
                    <a:pt x="289" y="323"/>
                    <a:pt x="289" y="324"/>
                    <a:pt x="288" y="324"/>
                  </a:cubicBezTo>
                  <a:cubicBezTo>
                    <a:pt x="286" y="325"/>
                    <a:pt x="285" y="324"/>
                    <a:pt x="284" y="325"/>
                  </a:cubicBezTo>
                  <a:cubicBezTo>
                    <a:pt x="282" y="325"/>
                    <a:pt x="282" y="325"/>
                    <a:pt x="282" y="325"/>
                  </a:cubicBezTo>
                  <a:cubicBezTo>
                    <a:pt x="282" y="325"/>
                    <a:pt x="279" y="324"/>
                    <a:pt x="279" y="324"/>
                  </a:cubicBezTo>
                  <a:cubicBezTo>
                    <a:pt x="278" y="324"/>
                    <a:pt x="278" y="322"/>
                    <a:pt x="278" y="322"/>
                  </a:cubicBezTo>
                  <a:cubicBezTo>
                    <a:pt x="277" y="320"/>
                    <a:pt x="276" y="321"/>
                    <a:pt x="275" y="320"/>
                  </a:cubicBezTo>
                  <a:cubicBezTo>
                    <a:pt x="274" y="319"/>
                    <a:pt x="274" y="318"/>
                    <a:pt x="274" y="317"/>
                  </a:cubicBezTo>
                  <a:cubicBezTo>
                    <a:pt x="275" y="315"/>
                    <a:pt x="275" y="314"/>
                    <a:pt x="275" y="313"/>
                  </a:cubicBezTo>
                  <a:cubicBezTo>
                    <a:pt x="274" y="311"/>
                    <a:pt x="272" y="312"/>
                    <a:pt x="270" y="312"/>
                  </a:cubicBezTo>
                  <a:cubicBezTo>
                    <a:pt x="269" y="312"/>
                    <a:pt x="267" y="312"/>
                    <a:pt x="266" y="312"/>
                  </a:cubicBezTo>
                  <a:cubicBezTo>
                    <a:pt x="265" y="311"/>
                    <a:pt x="264" y="309"/>
                    <a:pt x="262" y="308"/>
                  </a:cubicBezTo>
                  <a:cubicBezTo>
                    <a:pt x="261" y="308"/>
                    <a:pt x="259" y="308"/>
                    <a:pt x="259" y="309"/>
                  </a:cubicBezTo>
                  <a:cubicBezTo>
                    <a:pt x="259" y="310"/>
                    <a:pt x="259" y="312"/>
                    <a:pt x="258" y="312"/>
                  </a:cubicBezTo>
                  <a:cubicBezTo>
                    <a:pt x="257" y="313"/>
                    <a:pt x="256" y="314"/>
                    <a:pt x="254" y="314"/>
                  </a:cubicBezTo>
                  <a:cubicBezTo>
                    <a:pt x="254" y="314"/>
                    <a:pt x="253" y="314"/>
                    <a:pt x="253" y="314"/>
                  </a:cubicBezTo>
                  <a:cubicBezTo>
                    <a:pt x="253" y="315"/>
                    <a:pt x="252" y="315"/>
                    <a:pt x="251" y="315"/>
                  </a:cubicBezTo>
                  <a:cubicBezTo>
                    <a:pt x="251" y="314"/>
                    <a:pt x="250" y="314"/>
                    <a:pt x="250" y="314"/>
                  </a:cubicBezTo>
                  <a:cubicBezTo>
                    <a:pt x="249" y="313"/>
                    <a:pt x="248" y="314"/>
                    <a:pt x="246" y="314"/>
                  </a:cubicBezTo>
                  <a:cubicBezTo>
                    <a:pt x="246" y="315"/>
                    <a:pt x="245" y="315"/>
                    <a:pt x="245" y="315"/>
                  </a:cubicBezTo>
                  <a:cubicBezTo>
                    <a:pt x="244" y="316"/>
                    <a:pt x="243" y="315"/>
                    <a:pt x="242" y="315"/>
                  </a:cubicBezTo>
                  <a:cubicBezTo>
                    <a:pt x="240" y="314"/>
                    <a:pt x="239" y="316"/>
                    <a:pt x="238" y="316"/>
                  </a:cubicBezTo>
                  <a:cubicBezTo>
                    <a:pt x="237" y="317"/>
                    <a:pt x="235" y="316"/>
                    <a:pt x="233" y="316"/>
                  </a:cubicBezTo>
                  <a:cubicBezTo>
                    <a:pt x="234" y="318"/>
                    <a:pt x="233" y="319"/>
                    <a:pt x="234" y="320"/>
                  </a:cubicBezTo>
                  <a:cubicBezTo>
                    <a:pt x="235" y="321"/>
                    <a:pt x="235" y="323"/>
                    <a:pt x="236" y="324"/>
                  </a:cubicBezTo>
                  <a:cubicBezTo>
                    <a:pt x="236" y="325"/>
                    <a:pt x="236" y="326"/>
                    <a:pt x="235" y="326"/>
                  </a:cubicBezTo>
                  <a:cubicBezTo>
                    <a:pt x="235" y="327"/>
                    <a:pt x="233" y="327"/>
                    <a:pt x="232" y="326"/>
                  </a:cubicBezTo>
                  <a:cubicBezTo>
                    <a:pt x="232" y="325"/>
                    <a:pt x="232" y="324"/>
                    <a:pt x="231" y="324"/>
                  </a:cubicBezTo>
                  <a:cubicBezTo>
                    <a:pt x="231" y="323"/>
                    <a:pt x="230" y="323"/>
                    <a:pt x="229" y="323"/>
                  </a:cubicBezTo>
                  <a:cubicBezTo>
                    <a:pt x="228" y="322"/>
                    <a:pt x="227" y="323"/>
                    <a:pt x="226" y="324"/>
                  </a:cubicBezTo>
                  <a:cubicBezTo>
                    <a:pt x="226" y="324"/>
                    <a:pt x="226" y="324"/>
                    <a:pt x="226" y="325"/>
                  </a:cubicBezTo>
                  <a:cubicBezTo>
                    <a:pt x="225" y="325"/>
                    <a:pt x="225" y="325"/>
                    <a:pt x="225" y="325"/>
                  </a:cubicBezTo>
                  <a:cubicBezTo>
                    <a:pt x="224" y="324"/>
                    <a:pt x="222" y="323"/>
                    <a:pt x="221" y="323"/>
                  </a:cubicBezTo>
                  <a:cubicBezTo>
                    <a:pt x="221" y="322"/>
                    <a:pt x="221" y="321"/>
                    <a:pt x="221" y="320"/>
                  </a:cubicBezTo>
                  <a:cubicBezTo>
                    <a:pt x="221" y="319"/>
                    <a:pt x="218" y="319"/>
                    <a:pt x="217" y="318"/>
                  </a:cubicBezTo>
                  <a:cubicBezTo>
                    <a:pt x="216" y="318"/>
                    <a:pt x="217" y="317"/>
                    <a:pt x="217" y="316"/>
                  </a:cubicBezTo>
                  <a:cubicBezTo>
                    <a:pt x="218" y="315"/>
                    <a:pt x="218" y="313"/>
                    <a:pt x="219" y="312"/>
                  </a:cubicBezTo>
                  <a:cubicBezTo>
                    <a:pt x="219" y="311"/>
                    <a:pt x="219" y="309"/>
                    <a:pt x="217" y="309"/>
                  </a:cubicBezTo>
                  <a:cubicBezTo>
                    <a:pt x="216" y="308"/>
                    <a:pt x="214" y="308"/>
                    <a:pt x="213" y="308"/>
                  </a:cubicBezTo>
                  <a:cubicBezTo>
                    <a:pt x="212" y="306"/>
                    <a:pt x="212" y="304"/>
                    <a:pt x="211" y="302"/>
                  </a:cubicBezTo>
                  <a:cubicBezTo>
                    <a:pt x="210" y="299"/>
                    <a:pt x="206" y="301"/>
                    <a:pt x="204" y="302"/>
                  </a:cubicBezTo>
                  <a:cubicBezTo>
                    <a:pt x="204" y="302"/>
                    <a:pt x="203" y="302"/>
                    <a:pt x="203" y="302"/>
                  </a:cubicBezTo>
                  <a:cubicBezTo>
                    <a:pt x="202" y="301"/>
                    <a:pt x="203" y="300"/>
                    <a:pt x="203" y="299"/>
                  </a:cubicBezTo>
                  <a:cubicBezTo>
                    <a:pt x="202" y="298"/>
                    <a:pt x="202" y="297"/>
                    <a:pt x="202" y="297"/>
                  </a:cubicBezTo>
                  <a:cubicBezTo>
                    <a:pt x="202" y="296"/>
                    <a:pt x="201" y="295"/>
                    <a:pt x="202" y="294"/>
                  </a:cubicBezTo>
                  <a:cubicBezTo>
                    <a:pt x="203" y="293"/>
                    <a:pt x="204" y="291"/>
                    <a:pt x="206" y="290"/>
                  </a:cubicBezTo>
                  <a:cubicBezTo>
                    <a:pt x="207" y="290"/>
                    <a:pt x="207" y="289"/>
                    <a:pt x="208" y="288"/>
                  </a:cubicBezTo>
                  <a:cubicBezTo>
                    <a:pt x="208" y="287"/>
                    <a:pt x="208" y="285"/>
                    <a:pt x="208" y="284"/>
                  </a:cubicBezTo>
                  <a:cubicBezTo>
                    <a:pt x="209" y="280"/>
                    <a:pt x="208" y="277"/>
                    <a:pt x="208" y="274"/>
                  </a:cubicBezTo>
                  <a:cubicBezTo>
                    <a:pt x="208" y="272"/>
                    <a:pt x="208" y="271"/>
                    <a:pt x="207" y="270"/>
                  </a:cubicBezTo>
                  <a:cubicBezTo>
                    <a:pt x="206" y="269"/>
                    <a:pt x="206" y="268"/>
                    <a:pt x="204" y="268"/>
                  </a:cubicBezTo>
                  <a:cubicBezTo>
                    <a:pt x="204" y="268"/>
                    <a:pt x="204" y="267"/>
                    <a:pt x="204" y="267"/>
                  </a:cubicBezTo>
                  <a:cubicBezTo>
                    <a:pt x="203" y="266"/>
                    <a:pt x="203" y="264"/>
                    <a:pt x="202" y="262"/>
                  </a:cubicBezTo>
                  <a:cubicBezTo>
                    <a:pt x="202" y="261"/>
                    <a:pt x="201" y="260"/>
                    <a:pt x="200" y="260"/>
                  </a:cubicBezTo>
                  <a:cubicBezTo>
                    <a:pt x="197" y="259"/>
                    <a:pt x="195" y="260"/>
                    <a:pt x="193" y="260"/>
                  </a:cubicBezTo>
                  <a:cubicBezTo>
                    <a:pt x="192" y="260"/>
                    <a:pt x="192" y="260"/>
                    <a:pt x="191" y="260"/>
                  </a:cubicBezTo>
                  <a:cubicBezTo>
                    <a:pt x="190" y="259"/>
                    <a:pt x="189" y="260"/>
                    <a:pt x="187" y="260"/>
                  </a:cubicBezTo>
                  <a:cubicBezTo>
                    <a:pt x="187" y="259"/>
                    <a:pt x="188" y="259"/>
                    <a:pt x="188" y="258"/>
                  </a:cubicBezTo>
                  <a:cubicBezTo>
                    <a:pt x="189" y="258"/>
                    <a:pt x="189" y="257"/>
                    <a:pt x="189" y="257"/>
                  </a:cubicBezTo>
                  <a:cubicBezTo>
                    <a:pt x="190" y="256"/>
                    <a:pt x="190" y="255"/>
                    <a:pt x="189" y="254"/>
                  </a:cubicBezTo>
                  <a:cubicBezTo>
                    <a:pt x="189" y="254"/>
                    <a:pt x="188" y="254"/>
                    <a:pt x="187" y="255"/>
                  </a:cubicBezTo>
                  <a:cubicBezTo>
                    <a:pt x="187" y="255"/>
                    <a:pt x="186" y="255"/>
                    <a:pt x="186" y="255"/>
                  </a:cubicBezTo>
                  <a:cubicBezTo>
                    <a:pt x="186" y="254"/>
                    <a:pt x="186" y="253"/>
                    <a:pt x="187" y="252"/>
                  </a:cubicBezTo>
                  <a:cubicBezTo>
                    <a:pt x="187" y="251"/>
                    <a:pt x="187" y="250"/>
                    <a:pt x="187" y="248"/>
                  </a:cubicBezTo>
                  <a:cubicBezTo>
                    <a:pt x="184" y="248"/>
                    <a:pt x="181" y="250"/>
                    <a:pt x="180" y="253"/>
                  </a:cubicBezTo>
                  <a:cubicBezTo>
                    <a:pt x="179" y="253"/>
                    <a:pt x="179" y="253"/>
                    <a:pt x="178" y="253"/>
                  </a:cubicBezTo>
                  <a:cubicBezTo>
                    <a:pt x="178" y="253"/>
                    <a:pt x="177" y="253"/>
                    <a:pt x="176" y="252"/>
                  </a:cubicBezTo>
                  <a:cubicBezTo>
                    <a:pt x="174" y="251"/>
                    <a:pt x="172" y="249"/>
                    <a:pt x="171" y="251"/>
                  </a:cubicBezTo>
                  <a:cubicBezTo>
                    <a:pt x="170" y="253"/>
                    <a:pt x="170" y="256"/>
                    <a:pt x="168" y="256"/>
                  </a:cubicBezTo>
                  <a:cubicBezTo>
                    <a:pt x="167" y="257"/>
                    <a:pt x="165" y="256"/>
                    <a:pt x="164" y="257"/>
                  </a:cubicBezTo>
                  <a:cubicBezTo>
                    <a:pt x="163" y="257"/>
                    <a:pt x="164" y="260"/>
                    <a:pt x="163" y="261"/>
                  </a:cubicBezTo>
                  <a:cubicBezTo>
                    <a:pt x="162" y="261"/>
                    <a:pt x="161" y="261"/>
                    <a:pt x="160" y="261"/>
                  </a:cubicBezTo>
                  <a:cubicBezTo>
                    <a:pt x="159" y="263"/>
                    <a:pt x="158" y="264"/>
                    <a:pt x="156" y="265"/>
                  </a:cubicBezTo>
                  <a:cubicBezTo>
                    <a:pt x="156" y="266"/>
                    <a:pt x="155" y="266"/>
                    <a:pt x="155" y="267"/>
                  </a:cubicBezTo>
                  <a:cubicBezTo>
                    <a:pt x="154" y="268"/>
                    <a:pt x="154" y="268"/>
                    <a:pt x="154" y="267"/>
                  </a:cubicBezTo>
                  <a:cubicBezTo>
                    <a:pt x="152" y="266"/>
                    <a:pt x="150" y="264"/>
                    <a:pt x="147" y="263"/>
                  </a:cubicBezTo>
                  <a:cubicBezTo>
                    <a:pt x="145" y="263"/>
                    <a:pt x="143" y="262"/>
                    <a:pt x="141" y="261"/>
                  </a:cubicBezTo>
                  <a:cubicBezTo>
                    <a:pt x="140" y="260"/>
                    <a:pt x="138" y="260"/>
                    <a:pt x="137" y="261"/>
                  </a:cubicBezTo>
                  <a:cubicBezTo>
                    <a:pt x="136" y="261"/>
                    <a:pt x="135" y="263"/>
                    <a:pt x="134" y="264"/>
                  </a:cubicBezTo>
                  <a:cubicBezTo>
                    <a:pt x="134" y="265"/>
                    <a:pt x="133" y="265"/>
                    <a:pt x="132" y="267"/>
                  </a:cubicBezTo>
                  <a:cubicBezTo>
                    <a:pt x="132" y="267"/>
                    <a:pt x="132" y="268"/>
                    <a:pt x="132" y="268"/>
                  </a:cubicBezTo>
                  <a:cubicBezTo>
                    <a:pt x="132" y="269"/>
                    <a:pt x="131" y="269"/>
                    <a:pt x="131" y="269"/>
                  </a:cubicBezTo>
                  <a:cubicBezTo>
                    <a:pt x="131" y="270"/>
                    <a:pt x="131" y="271"/>
                    <a:pt x="130" y="271"/>
                  </a:cubicBezTo>
                  <a:cubicBezTo>
                    <a:pt x="129" y="272"/>
                    <a:pt x="127" y="271"/>
                    <a:pt x="125" y="271"/>
                  </a:cubicBezTo>
                  <a:cubicBezTo>
                    <a:pt x="125" y="269"/>
                    <a:pt x="126" y="266"/>
                    <a:pt x="125" y="264"/>
                  </a:cubicBezTo>
                  <a:cubicBezTo>
                    <a:pt x="124" y="264"/>
                    <a:pt x="123" y="264"/>
                    <a:pt x="122" y="265"/>
                  </a:cubicBezTo>
                  <a:cubicBezTo>
                    <a:pt x="119" y="265"/>
                    <a:pt x="115" y="265"/>
                    <a:pt x="112" y="262"/>
                  </a:cubicBezTo>
                  <a:cubicBezTo>
                    <a:pt x="112" y="262"/>
                    <a:pt x="111" y="262"/>
                    <a:pt x="111" y="262"/>
                  </a:cubicBezTo>
                  <a:cubicBezTo>
                    <a:pt x="110" y="263"/>
                    <a:pt x="108" y="264"/>
                    <a:pt x="106" y="263"/>
                  </a:cubicBezTo>
                  <a:cubicBezTo>
                    <a:pt x="106" y="263"/>
                    <a:pt x="105" y="262"/>
                    <a:pt x="105" y="262"/>
                  </a:cubicBezTo>
                  <a:cubicBezTo>
                    <a:pt x="104" y="261"/>
                    <a:pt x="103" y="261"/>
                    <a:pt x="103" y="261"/>
                  </a:cubicBezTo>
                  <a:cubicBezTo>
                    <a:pt x="101" y="259"/>
                    <a:pt x="100" y="259"/>
                    <a:pt x="98" y="258"/>
                  </a:cubicBezTo>
                  <a:cubicBezTo>
                    <a:pt x="97" y="257"/>
                    <a:pt x="95" y="257"/>
                    <a:pt x="94" y="257"/>
                  </a:cubicBezTo>
                  <a:cubicBezTo>
                    <a:pt x="93" y="256"/>
                    <a:pt x="93" y="255"/>
                    <a:pt x="93" y="255"/>
                  </a:cubicBezTo>
                  <a:cubicBezTo>
                    <a:pt x="92" y="254"/>
                    <a:pt x="93" y="253"/>
                    <a:pt x="92" y="251"/>
                  </a:cubicBezTo>
                  <a:cubicBezTo>
                    <a:pt x="92" y="250"/>
                    <a:pt x="92" y="249"/>
                    <a:pt x="91" y="248"/>
                  </a:cubicBezTo>
                  <a:cubicBezTo>
                    <a:pt x="90" y="248"/>
                    <a:pt x="90" y="248"/>
                    <a:pt x="89" y="248"/>
                  </a:cubicBezTo>
                  <a:cubicBezTo>
                    <a:pt x="89" y="249"/>
                    <a:pt x="89" y="250"/>
                    <a:pt x="88" y="251"/>
                  </a:cubicBezTo>
                  <a:cubicBezTo>
                    <a:pt x="88" y="251"/>
                    <a:pt x="87" y="251"/>
                    <a:pt x="86" y="250"/>
                  </a:cubicBezTo>
                  <a:cubicBezTo>
                    <a:pt x="85" y="249"/>
                    <a:pt x="84" y="247"/>
                    <a:pt x="81" y="247"/>
                  </a:cubicBezTo>
                  <a:cubicBezTo>
                    <a:pt x="80" y="246"/>
                    <a:pt x="79" y="245"/>
                    <a:pt x="78" y="244"/>
                  </a:cubicBezTo>
                  <a:cubicBezTo>
                    <a:pt x="77" y="243"/>
                    <a:pt x="75" y="242"/>
                    <a:pt x="73" y="242"/>
                  </a:cubicBezTo>
                  <a:cubicBezTo>
                    <a:pt x="73" y="242"/>
                    <a:pt x="72" y="241"/>
                    <a:pt x="72" y="241"/>
                  </a:cubicBezTo>
                  <a:cubicBezTo>
                    <a:pt x="71" y="240"/>
                    <a:pt x="69" y="240"/>
                    <a:pt x="67" y="241"/>
                  </a:cubicBezTo>
                  <a:cubicBezTo>
                    <a:pt x="65" y="242"/>
                    <a:pt x="63" y="241"/>
                    <a:pt x="62" y="240"/>
                  </a:cubicBezTo>
                  <a:cubicBezTo>
                    <a:pt x="62" y="240"/>
                    <a:pt x="62" y="239"/>
                    <a:pt x="62" y="239"/>
                  </a:cubicBezTo>
                  <a:cubicBezTo>
                    <a:pt x="62" y="238"/>
                    <a:pt x="61" y="238"/>
                    <a:pt x="61" y="237"/>
                  </a:cubicBezTo>
                  <a:cubicBezTo>
                    <a:pt x="60" y="237"/>
                    <a:pt x="59" y="236"/>
                    <a:pt x="58" y="235"/>
                  </a:cubicBezTo>
                  <a:cubicBezTo>
                    <a:pt x="57" y="235"/>
                    <a:pt x="55" y="236"/>
                    <a:pt x="53" y="235"/>
                  </a:cubicBezTo>
                  <a:cubicBezTo>
                    <a:pt x="53" y="234"/>
                    <a:pt x="52" y="232"/>
                    <a:pt x="51" y="232"/>
                  </a:cubicBezTo>
                  <a:cubicBezTo>
                    <a:pt x="50" y="232"/>
                    <a:pt x="49" y="232"/>
                    <a:pt x="48" y="231"/>
                  </a:cubicBezTo>
                  <a:cubicBezTo>
                    <a:pt x="46" y="230"/>
                    <a:pt x="48" y="228"/>
                    <a:pt x="46" y="226"/>
                  </a:cubicBezTo>
                  <a:cubicBezTo>
                    <a:pt x="47" y="224"/>
                    <a:pt x="45" y="223"/>
                    <a:pt x="44" y="222"/>
                  </a:cubicBezTo>
                  <a:cubicBezTo>
                    <a:pt x="43" y="221"/>
                    <a:pt x="45" y="220"/>
                    <a:pt x="45" y="219"/>
                  </a:cubicBezTo>
                  <a:cubicBezTo>
                    <a:pt x="47" y="219"/>
                    <a:pt x="47" y="221"/>
                    <a:pt x="48" y="222"/>
                  </a:cubicBezTo>
                  <a:cubicBezTo>
                    <a:pt x="50" y="222"/>
                    <a:pt x="50" y="220"/>
                    <a:pt x="52" y="219"/>
                  </a:cubicBezTo>
                  <a:cubicBezTo>
                    <a:pt x="52" y="219"/>
                    <a:pt x="53" y="219"/>
                    <a:pt x="53" y="218"/>
                  </a:cubicBezTo>
                  <a:cubicBezTo>
                    <a:pt x="54" y="218"/>
                    <a:pt x="54" y="217"/>
                    <a:pt x="53" y="216"/>
                  </a:cubicBezTo>
                  <a:cubicBezTo>
                    <a:pt x="51" y="214"/>
                    <a:pt x="49" y="212"/>
                    <a:pt x="47" y="209"/>
                  </a:cubicBezTo>
                  <a:cubicBezTo>
                    <a:pt x="46" y="208"/>
                    <a:pt x="46" y="207"/>
                    <a:pt x="46" y="206"/>
                  </a:cubicBezTo>
                  <a:cubicBezTo>
                    <a:pt x="45" y="204"/>
                    <a:pt x="46" y="202"/>
                    <a:pt x="45" y="201"/>
                  </a:cubicBezTo>
                  <a:cubicBezTo>
                    <a:pt x="44" y="198"/>
                    <a:pt x="42" y="196"/>
                    <a:pt x="40" y="194"/>
                  </a:cubicBezTo>
                  <a:cubicBezTo>
                    <a:pt x="39" y="193"/>
                    <a:pt x="38" y="193"/>
                    <a:pt x="37" y="193"/>
                  </a:cubicBezTo>
                  <a:cubicBezTo>
                    <a:pt x="35" y="191"/>
                    <a:pt x="34" y="190"/>
                    <a:pt x="32" y="188"/>
                  </a:cubicBezTo>
                  <a:cubicBezTo>
                    <a:pt x="30" y="187"/>
                    <a:pt x="28" y="189"/>
                    <a:pt x="27" y="187"/>
                  </a:cubicBezTo>
                  <a:cubicBezTo>
                    <a:pt x="27" y="186"/>
                    <a:pt x="28" y="184"/>
                    <a:pt x="27" y="183"/>
                  </a:cubicBezTo>
                  <a:cubicBezTo>
                    <a:pt x="26" y="182"/>
                    <a:pt x="24" y="181"/>
                    <a:pt x="23" y="181"/>
                  </a:cubicBezTo>
                  <a:cubicBezTo>
                    <a:pt x="22" y="180"/>
                    <a:pt x="21" y="179"/>
                    <a:pt x="20" y="178"/>
                  </a:cubicBezTo>
                  <a:cubicBezTo>
                    <a:pt x="20" y="178"/>
                    <a:pt x="20" y="178"/>
                    <a:pt x="19" y="178"/>
                  </a:cubicBezTo>
                  <a:cubicBezTo>
                    <a:pt x="19" y="178"/>
                    <a:pt x="19" y="178"/>
                    <a:pt x="19" y="177"/>
                  </a:cubicBezTo>
                  <a:cubicBezTo>
                    <a:pt x="18" y="177"/>
                    <a:pt x="18" y="177"/>
                    <a:pt x="17" y="177"/>
                  </a:cubicBezTo>
                  <a:cubicBezTo>
                    <a:pt x="17" y="176"/>
                    <a:pt x="17" y="175"/>
                    <a:pt x="17" y="175"/>
                  </a:cubicBezTo>
                  <a:cubicBezTo>
                    <a:pt x="15" y="175"/>
                    <a:pt x="14" y="175"/>
                    <a:pt x="13" y="177"/>
                  </a:cubicBezTo>
                  <a:cubicBezTo>
                    <a:pt x="13" y="177"/>
                    <a:pt x="12" y="177"/>
                    <a:pt x="12" y="177"/>
                  </a:cubicBezTo>
                  <a:cubicBezTo>
                    <a:pt x="12" y="176"/>
                    <a:pt x="11" y="176"/>
                    <a:pt x="10" y="175"/>
                  </a:cubicBezTo>
                  <a:cubicBezTo>
                    <a:pt x="9" y="174"/>
                    <a:pt x="9" y="173"/>
                    <a:pt x="10" y="172"/>
                  </a:cubicBezTo>
                  <a:cubicBezTo>
                    <a:pt x="10" y="171"/>
                    <a:pt x="12" y="171"/>
                    <a:pt x="13" y="170"/>
                  </a:cubicBezTo>
                  <a:cubicBezTo>
                    <a:pt x="13" y="169"/>
                    <a:pt x="13" y="167"/>
                    <a:pt x="12" y="167"/>
                  </a:cubicBezTo>
                  <a:cubicBezTo>
                    <a:pt x="9" y="165"/>
                    <a:pt x="11" y="161"/>
                    <a:pt x="9" y="158"/>
                  </a:cubicBezTo>
                  <a:cubicBezTo>
                    <a:pt x="9" y="158"/>
                    <a:pt x="8" y="157"/>
                    <a:pt x="7" y="157"/>
                  </a:cubicBezTo>
                  <a:cubicBezTo>
                    <a:pt x="7" y="157"/>
                    <a:pt x="6" y="157"/>
                    <a:pt x="5" y="157"/>
                  </a:cubicBezTo>
                  <a:cubicBezTo>
                    <a:pt x="4" y="157"/>
                    <a:pt x="4" y="158"/>
                    <a:pt x="3" y="158"/>
                  </a:cubicBezTo>
                  <a:cubicBezTo>
                    <a:pt x="3" y="158"/>
                    <a:pt x="2" y="157"/>
                    <a:pt x="2" y="157"/>
                  </a:cubicBezTo>
                  <a:cubicBezTo>
                    <a:pt x="2" y="155"/>
                    <a:pt x="2" y="154"/>
                    <a:pt x="1" y="152"/>
                  </a:cubicBezTo>
                  <a:cubicBezTo>
                    <a:pt x="0" y="149"/>
                    <a:pt x="1" y="147"/>
                    <a:pt x="2" y="144"/>
                  </a:cubicBezTo>
                  <a:cubicBezTo>
                    <a:pt x="2" y="144"/>
                    <a:pt x="2" y="143"/>
                    <a:pt x="3" y="143"/>
                  </a:cubicBezTo>
                  <a:cubicBezTo>
                    <a:pt x="5" y="142"/>
                    <a:pt x="6" y="141"/>
                    <a:pt x="8" y="140"/>
                  </a:cubicBezTo>
                  <a:cubicBezTo>
                    <a:pt x="10" y="140"/>
                    <a:pt x="10" y="140"/>
                    <a:pt x="13" y="139"/>
                  </a:cubicBezTo>
                  <a:cubicBezTo>
                    <a:pt x="13" y="138"/>
                    <a:pt x="15" y="142"/>
                    <a:pt x="16" y="142"/>
                  </a:cubicBezTo>
                  <a:cubicBezTo>
                    <a:pt x="17" y="142"/>
                    <a:pt x="17" y="142"/>
                    <a:pt x="18" y="141"/>
                  </a:cubicBezTo>
                  <a:cubicBezTo>
                    <a:pt x="19" y="141"/>
                    <a:pt x="20" y="142"/>
                    <a:pt x="21" y="141"/>
                  </a:cubicBezTo>
                  <a:cubicBezTo>
                    <a:pt x="21" y="139"/>
                    <a:pt x="21" y="138"/>
                    <a:pt x="21" y="136"/>
                  </a:cubicBezTo>
                  <a:cubicBezTo>
                    <a:pt x="21" y="135"/>
                    <a:pt x="22" y="135"/>
                    <a:pt x="23" y="135"/>
                  </a:cubicBezTo>
                  <a:cubicBezTo>
                    <a:pt x="27" y="134"/>
                    <a:pt x="31" y="135"/>
                    <a:pt x="34" y="132"/>
                  </a:cubicBezTo>
                  <a:cubicBezTo>
                    <a:pt x="36" y="131"/>
                    <a:pt x="39" y="130"/>
                    <a:pt x="42" y="128"/>
                  </a:cubicBezTo>
                  <a:cubicBezTo>
                    <a:pt x="43" y="128"/>
                    <a:pt x="43" y="127"/>
                    <a:pt x="44" y="127"/>
                  </a:cubicBezTo>
                  <a:cubicBezTo>
                    <a:pt x="45" y="126"/>
                    <a:pt x="47" y="124"/>
                    <a:pt x="48" y="123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1"/>
                    <a:pt x="48" y="120"/>
                    <a:pt x="48" y="119"/>
                  </a:cubicBezTo>
                  <a:cubicBezTo>
                    <a:pt x="49" y="119"/>
                    <a:pt x="49" y="118"/>
                    <a:pt x="49" y="118"/>
                  </a:cubicBezTo>
                  <a:cubicBezTo>
                    <a:pt x="49" y="117"/>
                    <a:pt x="49" y="115"/>
                    <a:pt x="48" y="114"/>
                  </a:cubicBezTo>
                  <a:cubicBezTo>
                    <a:pt x="47" y="114"/>
                    <a:pt x="47" y="112"/>
                    <a:pt x="48" y="112"/>
                  </a:cubicBezTo>
                  <a:cubicBezTo>
                    <a:pt x="49" y="110"/>
                    <a:pt x="48" y="109"/>
                    <a:pt x="48" y="108"/>
                  </a:cubicBezTo>
                  <a:cubicBezTo>
                    <a:pt x="47" y="107"/>
                    <a:pt x="46" y="106"/>
                    <a:pt x="46" y="105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5" y="102"/>
                    <a:pt x="46" y="100"/>
                    <a:pt x="45" y="99"/>
                  </a:cubicBezTo>
                  <a:cubicBezTo>
                    <a:pt x="45" y="98"/>
                    <a:pt x="44" y="97"/>
                    <a:pt x="43" y="97"/>
                  </a:cubicBezTo>
                  <a:cubicBezTo>
                    <a:pt x="42" y="97"/>
                    <a:pt x="43" y="95"/>
                    <a:pt x="43" y="95"/>
                  </a:cubicBezTo>
                  <a:cubicBezTo>
                    <a:pt x="44" y="95"/>
                    <a:pt x="46" y="95"/>
                    <a:pt x="47" y="95"/>
                  </a:cubicBezTo>
                  <a:cubicBezTo>
                    <a:pt x="48" y="95"/>
                    <a:pt x="47" y="95"/>
                    <a:pt x="48" y="94"/>
                  </a:cubicBezTo>
                  <a:cubicBezTo>
                    <a:pt x="49" y="94"/>
                    <a:pt x="50" y="93"/>
                    <a:pt x="51" y="92"/>
                  </a:cubicBezTo>
                  <a:cubicBezTo>
                    <a:pt x="52" y="91"/>
                    <a:pt x="53" y="91"/>
                    <a:pt x="53" y="92"/>
                  </a:cubicBezTo>
                  <a:cubicBezTo>
                    <a:pt x="54" y="92"/>
                    <a:pt x="55" y="92"/>
                    <a:pt x="55" y="92"/>
                  </a:cubicBezTo>
                  <a:cubicBezTo>
                    <a:pt x="56" y="92"/>
                    <a:pt x="56" y="93"/>
                    <a:pt x="56" y="93"/>
                  </a:cubicBezTo>
                  <a:cubicBezTo>
                    <a:pt x="57" y="94"/>
                    <a:pt x="59" y="94"/>
                    <a:pt x="59" y="93"/>
                  </a:cubicBezTo>
                  <a:cubicBezTo>
                    <a:pt x="60" y="92"/>
                    <a:pt x="61" y="89"/>
                    <a:pt x="59" y="89"/>
                  </a:cubicBezTo>
                  <a:cubicBezTo>
                    <a:pt x="59" y="87"/>
                    <a:pt x="58" y="85"/>
                    <a:pt x="59" y="83"/>
                  </a:cubicBezTo>
                  <a:cubicBezTo>
                    <a:pt x="60" y="81"/>
                    <a:pt x="61" y="79"/>
                    <a:pt x="62" y="77"/>
                  </a:cubicBezTo>
                  <a:cubicBezTo>
                    <a:pt x="62" y="76"/>
                    <a:pt x="62" y="74"/>
                    <a:pt x="62" y="73"/>
                  </a:cubicBezTo>
                  <a:cubicBezTo>
                    <a:pt x="62" y="73"/>
                    <a:pt x="62" y="72"/>
                    <a:pt x="63" y="72"/>
                  </a:cubicBezTo>
                  <a:cubicBezTo>
                    <a:pt x="66" y="71"/>
                    <a:pt x="69" y="73"/>
                    <a:pt x="71" y="74"/>
                  </a:cubicBezTo>
                  <a:cubicBezTo>
                    <a:pt x="74" y="74"/>
                    <a:pt x="77" y="75"/>
                    <a:pt x="80" y="73"/>
                  </a:cubicBezTo>
                  <a:cubicBezTo>
                    <a:pt x="80" y="71"/>
                    <a:pt x="80" y="69"/>
                    <a:pt x="79" y="68"/>
                  </a:cubicBezTo>
                  <a:cubicBezTo>
                    <a:pt x="79" y="65"/>
                    <a:pt x="78" y="63"/>
                    <a:pt x="79" y="60"/>
                  </a:cubicBezTo>
                  <a:cubicBezTo>
                    <a:pt x="79" y="59"/>
                    <a:pt x="80" y="58"/>
                    <a:pt x="81" y="57"/>
                  </a:cubicBezTo>
                  <a:cubicBezTo>
                    <a:pt x="83" y="57"/>
                    <a:pt x="84" y="56"/>
                    <a:pt x="86" y="55"/>
                  </a:cubicBezTo>
                  <a:cubicBezTo>
                    <a:pt x="88" y="54"/>
                    <a:pt x="88" y="52"/>
                    <a:pt x="88" y="50"/>
                  </a:cubicBezTo>
                  <a:cubicBezTo>
                    <a:pt x="90" y="49"/>
                    <a:pt x="92" y="50"/>
                    <a:pt x="94" y="50"/>
                  </a:cubicBezTo>
                  <a:cubicBezTo>
                    <a:pt x="94" y="51"/>
                    <a:pt x="96" y="51"/>
                    <a:pt x="96" y="52"/>
                  </a:cubicBezTo>
                  <a:cubicBezTo>
                    <a:pt x="97" y="53"/>
                    <a:pt x="98" y="53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101" y="54"/>
                    <a:pt x="101" y="56"/>
                    <a:pt x="102" y="58"/>
                  </a:cubicBezTo>
                  <a:cubicBezTo>
                    <a:pt x="102" y="58"/>
                    <a:pt x="103" y="59"/>
                    <a:pt x="103" y="59"/>
                  </a:cubicBezTo>
                  <a:cubicBezTo>
                    <a:pt x="103" y="60"/>
                    <a:pt x="104" y="60"/>
                    <a:pt x="104" y="61"/>
                  </a:cubicBezTo>
                  <a:cubicBezTo>
                    <a:pt x="105" y="61"/>
                    <a:pt x="106" y="60"/>
                    <a:pt x="107" y="59"/>
                  </a:cubicBezTo>
                  <a:cubicBezTo>
                    <a:pt x="108" y="58"/>
                    <a:pt x="110" y="60"/>
                    <a:pt x="111" y="61"/>
                  </a:cubicBezTo>
                  <a:cubicBezTo>
                    <a:pt x="113" y="61"/>
                    <a:pt x="115" y="63"/>
                    <a:pt x="117" y="65"/>
                  </a:cubicBezTo>
                  <a:cubicBezTo>
                    <a:pt x="117" y="66"/>
                    <a:pt x="117" y="67"/>
                    <a:pt x="117" y="68"/>
                  </a:cubicBezTo>
                  <a:cubicBezTo>
                    <a:pt x="118" y="69"/>
                    <a:pt x="118" y="69"/>
                    <a:pt x="119" y="69"/>
                  </a:cubicBezTo>
                  <a:cubicBezTo>
                    <a:pt x="120" y="70"/>
                    <a:pt x="121" y="71"/>
                    <a:pt x="122" y="73"/>
                  </a:cubicBezTo>
                  <a:cubicBezTo>
                    <a:pt x="123" y="74"/>
                    <a:pt x="122" y="76"/>
                    <a:pt x="123" y="78"/>
                  </a:cubicBezTo>
                  <a:cubicBezTo>
                    <a:pt x="124" y="79"/>
                    <a:pt x="124" y="80"/>
                    <a:pt x="124" y="81"/>
                  </a:cubicBezTo>
                  <a:cubicBezTo>
                    <a:pt x="125" y="82"/>
                    <a:pt x="124" y="84"/>
                    <a:pt x="124" y="85"/>
                  </a:cubicBezTo>
                  <a:cubicBezTo>
                    <a:pt x="122" y="86"/>
                    <a:pt x="121" y="87"/>
                    <a:pt x="122" y="89"/>
                  </a:cubicBezTo>
                  <a:cubicBezTo>
                    <a:pt x="123" y="90"/>
                    <a:pt x="125" y="90"/>
                    <a:pt x="126" y="91"/>
                  </a:cubicBezTo>
                  <a:cubicBezTo>
                    <a:pt x="128" y="92"/>
                    <a:pt x="130" y="92"/>
                    <a:pt x="133" y="93"/>
                  </a:cubicBezTo>
                  <a:cubicBezTo>
                    <a:pt x="136" y="94"/>
                    <a:pt x="139" y="94"/>
                    <a:pt x="142" y="94"/>
                  </a:cubicBezTo>
                  <a:cubicBezTo>
                    <a:pt x="144" y="95"/>
                    <a:pt x="145" y="95"/>
                    <a:pt x="146" y="95"/>
                  </a:cubicBezTo>
                  <a:cubicBezTo>
                    <a:pt x="148" y="96"/>
                    <a:pt x="150" y="98"/>
                    <a:pt x="152" y="99"/>
                  </a:cubicBezTo>
                  <a:cubicBezTo>
                    <a:pt x="153" y="99"/>
                    <a:pt x="153" y="99"/>
                    <a:pt x="153" y="99"/>
                  </a:cubicBezTo>
                  <a:cubicBezTo>
                    <a:pt x="155" y="100"/>
                    <a:pt x="156" y="99"/>
                    <a:pt x="158" y="100"/>
                  </a:cubicBezTo>
                  <a:cubicBezTo>
                    <a:pt x="159" y="101"/>
                    <a:pt x="160" y="102"/>
                    <a:pt x="161" y="103"/>
                  </a:cubicBezTo>
                  <a:cubicBezTo>
                    <a:pt x="161" y="103"/>
                    <a:pt x="161" y="104"/>
                    <a:pt x="161" y="104"/>
                  </a:cubicBezTo>
                  <a:cubicBezTo>
                    <a:pt x="162" y="105"/>
                    <a:pt x="162" y="107"/>
                    <a:pt x="163" y="108"/>
                  </a:cubicBezTo>
                  <a:cubicBezTo>
                    <a:pt x="166" y="111"/>
                    <a:pt x="169" y="114"/>
                    <a:pt x="172" y="117"/>
                  </a:cubicBezTo>
                  <a:cubicBezTo>
                    <a:pt x="174" y="119"/>
                    <a:pt x="177" y="118"/>
                    <a:pt x="178" y="119"/>
                  </a:cubicBezTo>
                  <a:cubicBezTo>
                    <a:pt x="184" y="119"/>
                    <a:pt x="190" y="119"/>
                    <a:pt x="196" y="119"/>
                  </a:cubicBezTo>
                  <a:cubicBezTo>
                    <a:pt x="200" y="118"/>
                    <a:pt x="204" y="118"/>
                    <a:pt x="208" y="118"/>
                  </a:cubicBezTo>
                  <a:cubicBezTo>
                    <a:pt x="210" y="118"/>
                    <a:pt x="210" y="120"/>
                    <a:pt x="211" y="121"/>
                  </a:cubicBezTo>
                  <a:cubicBezTo>
                    <a:pt x="215" y="122"/>
                    <a:pt x="221" y="123"/>
                    <a:pt x="226" y="127"/>
                  </a:cubicBezTo>
                  <a:cubicBezTo>
                    <a:pt x="229" y="127"/>
                    <a:pt x="230" y="126"/>
                    <a:pt x="233" y="126"/>
                  </a:cubicBezTo>
                  <a:cubicBezTo>
                    <a:pt x="234" y="127"/>
                    <a:pt x="234" y="128"/>
                    <a:pt x="235" y="129"/>
                  </a:cubicBezTo>
                  <a:cubicBezTo>
                    <a:pt x="236" y="129"/>
                    <a:pt x="238" y="128"/>
                    <a:pt x="239" y="127"/>
                  </a:cubicBezTo>
                  <a:cubicBezTo>
                    <a:pt x="242" y="126"/>
                    <a:pt x="244" y="123"/>
                    <a:pt x="247" y="122"/>
                  </a:cubicBezTo>
                  <a:cubicBezTo>
                    <a:pt x="253" y="119"/>
                    <a:pt x="259" y="120"/>
                    <a:pt x="265" y="120"/>
                  </a:cubicBezTo>
                  <a:cubicBezTo>
                    <a:pt x="266" y="120"/>
                    <a:pt x="268" y="119"/>
                    <a:pt x="269" y="119"/>
                  </a:cubicBezTo>
                  <a:cubicBezTo>
                    <a:pt x="272" y="118"/>
                    <a:pt x="274" y="118"/>
                    <a:pt x="277" y="117"/>
                  </a:cubicBezTo>
                  <a:cubicBezTo>
                    <a:pt x="277" y="117"/>
                    <a:pt x="278" y="117"/>
                    <a:pt x="278" y="116"/>
                  </a:cubicBezTo>
                  <a:cubicBezTo>
                    <a:pt x="279" y="115"/>
                    <a:pt x="279" y="113"/>
                    <a:pt x="280" y="112"/>
                  </a:cubicBezTo>
                  <a:cubicBezTo>
                    <a:pt x="280" y="112"/>
                    <a:pt x="281" y="112"/>
                    <a:pt x="281" y="111"/>
                  </a:cubicBezTo>
                  <a:cubicBezTo>
                    <a:pt x="283" y="109"/>
                    <a:pt x="285" y="107"/>
                    <a:pt x="286" y="105"/>
                  </a:cubicBezTo>
                  <a:cubicBezTo>
                    <a:pt x="287" y="104"/>
                    <a:pt x="287" y="102"/>
                    <a:pt x="285" y="102"/>
                  </a:cubicBezTo>
                  <a:cubicBezTo>
                    <a:pt x="284" y="101"/>
                    <a:pt x="283" y="100"/>
                    <a:pt x="282" y="99"/>
                  </a:cubicBezTo>
                  <a:cubicBezTo>
                    <a:pt x="282" y="99"/>
                    <a:pt x="282" y="98"/>
                    <a:pt x="282" y="98"/>
                  </a:cubicBezTo>
                  <a:cubicBezTo>
                    <a:pt x="282" y="98"/>
                    <a:pt x="281" y="97"/>
                    <a:pt x="281" y="97"/>
                  </a:cubicBezTo>
                  <a:cubicBezTo>
                    <a:pt x="281" y="96"/>
                    <a:pt x="281" y="95"/>
                    <a:pt x="281" y="94"/>
                  </a:cubicBezTo>
                  <a:cubicBezTo>
                    <a:pt x="282" y="94"/>
                    <a:pt x="282" y="93"/>
                    <a:pt x="283" y="92"/>
                  </a:cubicBezTo>
                  <a:cubicBezTo>
                    <a:pt x="283" y="92"/>
                    <a:pt x="283" y="91"/>
                    <a:pt x="284" y="91"/>
                  </a:cubicBezTo>
                  <a:cubicBezTo>
                    <a:pt x="285" y="91"/>
                    <a:pt x="287" y="91"/>
                    <a:pt x="288" y="92"/>
                  </a:cubicBezTo>
                  <a:cubicBezTo>
                    <a:pt x="289" y="92"/>
                    <a:pt x="289" y="93"/>
                    <a:pt x="290" y="94"/>
                  </a:cubicBezTo>
                  <a:cubicBezTo>
                    <a:pt x="290" y="94"/>
                    <a:pt x="291" y="95"/>
                    <a:pt x="292" y="95"/>
                  </a:cubicBezTo>
                  <a:cubicBezTo>
                    <a:pt x="294" y="96"/>
                    <a:pt x="296" y="96"/>
                    <a:pt x="299" y="95"/>
                  </a:cubicBezTo>
                  <a:cubicBezTo>
                    <a:pt x="300" y="94"/>
                    <a:pt x="301" y="92"/>
                    <a:pt x="302" y="90"/>
                  </a:cubicBezTo>
                  <a:cubicBezTo>
                    <a:pt x="302" y="89"/>
                    <a:pt x="303" y="87"/>
                    <a:pt x="304" y="87"/>
                  </a:cubicBezTo>
                  <a:cubicBezTo>
                    <a:pt x="307" y="87"/>
                    <a:pt x="310" y="87"/>
                    <a:pt x="312" y="86"/>
                  </a:cubicBezTo>
                  <a:cubicBezTo>
                    <a:pt x="312" y="85"/>
                    <a:pt x="313" y="85"/>
                    <a:pt x="313" y="84"/>
                  </a:cubicBezTo>
                  <a:cubicBezTo>
                    <a:pt x="314" y="83"/>
                    <a:pt x="313" y="81"/>
                    <a:pt x="314" y="80"/>
                  </a:cubicBezTo>
                  <a:cubicBezTo>
                    <a:pt x="314" y="80"/>
                    <a:pt x="315" y="79"/>
                    <a:pt x="316" y="79"/>
                  </a:cubicBezTo>
                  <a:cubicBezTo>
                    <a:pt x="318" y="78"/>
                    <a:pt x="321" y="79"/>
                    <a:pt x="323" y="77"/>
                  </a:cubicBezTo>
                  <a:cubicBezTo>
                    <a:pt x="324" y="77"/>
                    <a:pt x="324" y="77"/>
                    <a:pt x="325" y="76"/>
                  </a:cubicBezTo>
                  <a:cubicBezTo>
                    <a:pt x="325" y="76"/>
                    <a:pt x="325" y="76"/>
                    <a:pt x="326" y="76"/>
                  </a:cubicBezTo>
                  <a:cubicBezTo>
                    <a:pt x="326" y="76"/>
                    <a:pt x="327" y="75"/>
                    <a:pt x="328" y="75"/>
                  </a:cubicBezTo>
                  <a:cubicBezTo>
                    <a:pt x="330" y="74"/>
                    <a:pt x="333" y="75"/>
                    <a:pt x="335" y="76"/>
                  </a:cubicBezTo>
                  <a:cubicBezTo>
                    <a:pt x="336" y="76"/>
                    <a:pt x="337" y="76"/>
                    <a:pt x="338" y="76"/>
                  </a:cubicBezTo>
                  <a:cubicBezTo>
                    <a:pt x="338" y="75"/>
                    <a:pt x="339" y="75"/>
                    <a:pt x="339" y="75"/>
                  </a:cubicBezTo>
                  <a:cubicBezTo>
                    <a:pt x="340" y="73"/>
                    <a:pt x="339" y="72"/>
                    <a:pt x="338" y="70"/>
                  </a:cubicBezTo>
                  <a:cubicBezTo>
                    <a:pt x="337" y="69"/>
                    <a:pt x="338" y="67"/>
                    <a:pt x="336" y="66"/>
                  </a:cubicBezTo>
                  <a:cubicBezTo>
                    <a:pt x="334" y="65"/>
                    <a:pt x="332" y="64"/>
                    <a:pt x="329" y="62"/>
                  </a:cubicBezTo>
                  <a:cubicBezTo>
                    <a:pt x="327" y="61"/>
                    <a:pt x="326" y="60"/>
                    <a:pt x="324" y="59"/>
                  </a:cubicBezTo>
                  <a:cubicBezTo>
                    <a:pt x="324" y="59"/>
                    <a:pt x="322" y="59"/>
                    <a:pt x="322" y="59"/>
                  </a:cubicBezTo>
                  <a:cubicBezTo>
                    <a:pt x="320" y="60"/>
                    <a:pt x="320" y="62"/>
                    <a:pt x="319" y="63"/>
                  </a:cubicBezTo>
                  <a:cubicBezTo>
                    <a:pt x="319" y="63"/>
                    <a:pt x="318" y="63"/>
                    <a:pt x="318" y="63"/>
                  </a:cubicBezTo>
                  <a:cubicBezTo>
                    <a:pt x="316" y="64"/>
                    <a:pt x="314" y="63"/>
                    <a:pt x="313" y="64"/>
                  </a:cubicBezTo>
                  <a:cubicBezTo>
                    <a:pt x="311" y="65"/>
                    <a:pt x="310" y="65"/>
                    <a:pt x="309" y="64"/>
                  </a:cubicBezTo>
                  <a:cubicBezTo>
                    <a:pt x="308" y="64"/>
                    <a:pt x="306" y="63"/>
                    <a:pt x="306" y="62"/>
                  </a:cubicBezTo>
                  <a:cubicBezTo>
                    <a:pt x="305" y="60"/>
                    <a:pt x="305" y="59"/>
                    <a:pt x="305" y="57"/>
                  </a:cubicBezTo>
                  <a:cubicBezTo>
                    <a:pt x="306" y="55"/>
                    <a:pt x="306" y="52"/>
                    <a:pt x="306" y="50"/>
                  </a:cubicBezTo>
                  <a:cubicBezTo>
                    <a:pt x="306" y="49"/>
                    <a:pt x="307" y="47"/>
                    <a:pt x="307" y="46"/>
                  </a:cubicBezTo>
                  <a:cubicBezTo>
                    <a:pt x="308" y="44"/>
                    <a:pt x="307" y="41"/>
                    <a:pt x="307" y="39"/>
                  </a:cubicBezTo>
                  <a:cubicBezTo>
                    <a:pt x="307" y="39"/>
                    <a:pt x="308" y="39"/>
                    <a:pt x="308" y="39"/>
                  </a:cubicBezTo>
                  <a:cubicBezTo>
                    <a:pt x="309" y="39"/>
                    <a:pt x="309" y="40"/>
                    <a:pt x="309" y="40"/>
                  </a:cubicBezTo>
                  <a:cubicBezTo>
                    <a:pt x="310" y="40"/>
                    <a:pt x="311" y="40"/>
                    <a:pt x="311" y="41"/>
                  </a:cubicBezTo>
                  <a:cubicBezTo>
                    <a:pt x="313" y="41"/>
                    <a:pt x="314" y="42"/>
                    <a:pt x="315" y="43"/>
                  </a:cubicBezTo>
                  <a:cubicBezTo>
                    <a:pt x="316" y="43"/>
                    <a:pt x="317" y="43"/>
                    <a:pt x="318" y="43"/>
                  </a:cubicBezTo>
                  <a:cubicBezTo>
                    <a:pt x="319" y="42"/>
                    <a:pt x="320" y="42"/>
                    <a:pt x="321" y="41"/>
                  </a:cubicBezTo>
                  <a:cubicBezTo>
                    <a:pt x="323" y="41"/>
                    <a:pt x="325" y="39"/>
                    <a:pt x="326" y="37"/>
                  </a:cubicBezTo>
                  <a:cubicBezTo>
                    <a:pt x="327" y="37"/>
                    <a:pt x="327" y="35"/>
                    <a:pt x="326" y="34"/>
                  </a:cubicBezTo>
                  <a:cubicBezTo>
                    <a:pt x="325" y="33"/>
                    <a:pt x="326" y="33"/>
                    <a:pt x="326" y="32"/>
                  </a:cubicBezTo>
                  <a:cubicBezTo>
                    <a:pt x="326" y="31"/>
                    <a:pt x="326" y="31"/>
                    <a:pt x="326" y="31"/>
                  </a:cubicBezTo>
                  <a:cubicBezTo>
                    <a:pt x="327" y="29"/>
                    <a:pt x="327" y="27"/>
                    <a:pt x="327" y="25"/>
                  </a:cubicBezTo>
                  <a:cubicBezTo>
                    <a:pt x="328" y="23"/>
                    <a:pt x="330" y="21"/>
                    <a:pt x="331" y="19"/>
                  </a:cubicBezTo>
                  <a:cubicBezTo>
                    <a:pt x="332" y="19"/>
                    <a:pt x="332" y="18"/>
                    <a:pt x="333" y="17"/>
                  </a:cubicBezTo>
                  <a:cubicBezTo>
                    <a:pt x="333" y="15"/>
                    <a:pt x="333" y="13"/>
                    <a:pt x="332" y="11"/>
                  </a:cubicBezTo>
                  <a:cubicBezTo>
                    <a:pt x="331" y="10"/>
                    <a:pt x="329" y="11"/>
                    <a:pt x="327" y="11"/>
                  </a:cubicBezTo>
                  <a:cubicBezTo>
                    <a:pt x="326" y="10"/>
                    <a:pt x="327" y="9"/>
                    <a:pt x="328" y="8"/>
                  </a:cubicBezTo>
                  <a:cubicBezTo>
                    <a:pt x="329" y="8"/>
                    <a:pt x="329" y="7"/>
                    <a:pt x="330" y="7"/>
                  </a:cubicBezTo>
                  <a:cubicBezTo>
                    <a:pt x="330" y="5"/>
                    <a:pt x="330" y="4"/>
                    <a:pt x="332" y="3"/>
                  </a:cubicBezTo>
                  <a:cubicBezTo>
                    <a:pt x="334" y="3"/>
                    <a:pt x="337" y="3"/>
                    <a:pt x="339" y="3"/>
                  </a:cubicBezTo>
                  <a:cubicBezTo>
                    <a:pt x="340" y="3"/>
                    <a:pt x="341" y="2"/>
                    <a:pt x="342" y="1"/>
                  </a:cubicBezTo>
                  <a:cubicBezTo>
                    <a:pt x="345" y="0"/>
                    <a:pt x="347" y="0"/>
                    <a:pt x="349" y="0"/>
                  </a:cubicBezTo>
                  <a:cubicBezTo>
                    <a:pt x="351" y="1"/>
                    <a:pt x="353" y="2"/>
                    <a:pt x="355" y="2"/>
                  </a:cubicBezTo>
                  <a:cubicBezTo>
                    <a:pt x="356" y="2"/>
                    <a:pt x="357" y="3"/>
                    <a:pt x="357" y="3"/>
                  </a:cubicBezTo>
                  <a:cubicBezTo>
                    <a:pt x="359" y="3"/>
                    <a:pt x="362" y="3"/>
                    <a:pt x="364" y="3"/>
                  </a:cubicBezTo>
                  <a:cubicBezTo>
                    <a:pt x="367" y="4"/>
                    <a:pt x="368" y="6"/>
                    <a:pt x="370" y="8"/>
                  </a:cubicBezTo>
                  <a:cubicBezTo>
                    <a:pt x="370" y="8"/>
                    <a:pt x="370" y="9"/>
                    <a:pt x="371" y="10"/>
                  </a:cubicBezTo>
                  <a:cubicBezTo>
                    <a:pt x="372" y="12"/>
                    <a:pt x="374" y="15"/>
                    <a:pt x="374" y="18"/>
                  </a:cubicBezTo>
                  <a:cubicBezTo>
                    <a:pt x="376" y="21"/>
                    <a:pt x="379" y="23"/>
                    <a:pt x="381" y="26"/>
                  </a:cubicBezTo>
                  <a:cubicBezTo>
                    <a:pt x="382" y="27"/>
                    <a:pt x="384" y="27"/>
                    <a:pt x="384" y="29"/>
                  </a:cubicBezTo>
                  <a:cubicBezTo>
                    <a:pt x="384" y="30"/>
                    <a:pt x="384" y="31"/>
                    <a:pt x="385" y="32"/>
                  </a:cubicBezTo>
                  <a:cubicBezTo>
                    <a:pt x="385" y="32"/>
                    <a:pt x="386" y="33"/>
                    <a:pt x="386" y="34"/>
                  </a:cubicBezTo>
                  <a:cubicBezTo>
                    <a:pt x="387" y="36"/>
                    <a:pt x="389" y="39"/>
                    <a:pt x="391" y="41"/>
                  </a:cubicBezTo>
                  <a:cubicBezTo>
                    <a:pt x="392" y="42"/>
                    <a:pt x="392" y="42"/>
                    <a:pt x="393" y="42"/>
                  </a:cubicBezTo>
                  <a:cubicBezTo>
                    <a:pt x="393" y="42"/>
                    <a:pt x="394" y="42"/>
                    <a:pt x="395" y="42"/>
                  </a:cubicBezTo>
                  <a:cubicBezTo>
                    <a:pt x="396" y="43"/>
                    <a:pt x="397" y="44"/>
                    <a:pt x="398" y="44"/>
                  </a:cubicBezTo>
                  <a:cubicBezTo>
                    <a:pt x="399" y="44"/>
                    <a:pt x="401" y="44"/>
                    <a:pt x="402" y="44"/>
                  </a:cubicBezTo>
                  <a:cubicBezTo>
                    <a:pt x="403" y="43"/>
                    <a:pt x="405" y="44"/>
                    <a:pt x="406" y="45"/>
                  </a:cubicBezTo>
                  <a:cubicBezTo>
                    <a:pt x="407" y="47"/>
                    <a:pt x="408" y="48"/>
                    <a:pt x="409" y="50"/>
                  </a:cubicBezTo>
                  <a:cubicBezTo>
                    <a:pt x="411" y="51"/>
                    <a:pt x="413" y="49"/>
                    <a:pt x="414" y="51"/>
                  </a:cubicBezTo>
                  <a:cubicBezTo>
                    <a:pt x="415" y="52"/>
                    <a:pt x="414" y="53"/>
                    <a:pt x="415" y="54"/>
                  </a:cubicBezTo>
                  <a:cubicBezTo>
                    <a:pt x="415" y="54"/>
                    <a:pt x="417" y="55"/>
                    <a:pt x="417" y="56"/>
                  </a:cubicBezTo>
                  <a:cubicBezTo>
                    <a:pt x="417" y="57"/>
                    <a:pt x="417" y="58"/>
                    <a:pt x="417" y="59"/>
                  </a:cubicBezTo>
                  <a:cubicBezTo>
                    <a:pt x="417" y="59"/>
                    <a:pt x="418" y="60"/>
                    <a:pt x="418" y="60"/>
                  </a:cubicBezTo>
                  <a:cubicBezTo>
                    <a:pt x="418" y="61"/>
                    <a:pt x="419" y="61"/>
                    <a:pt x="420" y="62"/>
                  </a:cubicBezTo>
                  <a:cubicBezTo>
                    <a:pt x="421" y="62"/>
                    <a:pt x="422" y="63"/>
                    <a:pt x="422" y="63"/>
                  </a:cubicBezTo>
                  <a:cubicBezTo>
                    <a:pt x="425" y="64"/>
                    <a:pt x="427" y="64"/>
                    <a:pt x="429" y="63"/>
                  </a:cubicBezTo>
                  <a:cubicBezTo>
                    <a:pt x="431" y="62"/>
                    <a:pt x="433" y="61"/>
                    <a:pt x="436" y="60"/>
                  </a:cubicBezTo>
                  <a:cubicBezTo>
                    <a:pt x="438" y="60"/>
                    <a:pt x="439" y="58"/>
                    <a:pt x="440" y="56"/>
                  </a:cubicBezTo>
                  <a:cubicBezTo>
                    <a:pt x="441" y="56"/>
                    <a:pt x="442" y="55"/>
                    <a:pt x="443" y="55"/>
                  </a:cubicBezTo>
                  <a:cubicBezTo>
                    <a:pt x="444" y="56"/>
                    <a:pt x="444" y="56"/>
                    <a:pt x="445" y="57"/>
                  </a:cubicBezTo>
                  <a:cubicBezTo>
                    <a:pt x="445" y="57"/>
                    <a:pt x="446" y="57"/>
                    <a:pt x="446" y="57"/>
                  </a:cubicBezTo>
                  <a:cubicBezTo>
                    <a:pt x="446" y="57"/>
                    <a:pt x="447" y="57"/>
                    <a:pt x="447" y="58"/>
                  </a:cubicBezTo>
                  <a:cubicBezTo>
                    <a:pt x="447" y="59"/>
                    <a:pt x="446" y="60"/>
                    <a:pt x="447" y="61"/>
                  </a:cubicBezTo>
                  <a:cubicBezTo>
                    <a:pt x="447" y="62"/>
                    <a:pt x="447" y="62"/>
                    <a:pt x="448" y="62"/>
                  </a:cubicBezTo>
                  <a:cubicBezTo>
                    <a:pt x="448" y="64"/>
                    <a:pt x="447" y="65"/>
                    <a:pt x="446" y="67"/>
                  </a:cubicBezTo>
                  <a:cubicBezTo>
                    <a:pt x="446" y="71"/>
                    <a:pt x="446" y="75"/>
                    <a:pt x="445" y="80"/>
                  </a:cubicBezTo>
                  <a:cubicBezTo>
                    <a:pt x="445" y="80"/>
                    <a:pt x="445" y="81"/>
                    <a:pt x="445" y="81"/>
                  </a:cubicBezTo>
                  <a:cubicBezTo>
                    <a:pt x="444" y="82"/>
                    <a:pt x="445" y="83"/>
                    <a:pt x="445" y="85"/>
                  </a:cubicBezTo>
                  <a:cubicBezTo>
                    <a:pt x="444" y="85"/>
                    <a:pt x="444" y="85"/>
                    <a:pt x="443" y="86"/>
                  </a:cubicBezTo>
                  <a:cubicBezTo>
                    <a:pt x="441" y="87"/>
                    <a:pt x="442" y="90"/>
                    <a:pt x="442" y="92"/>
                  </a:cubicBezTo>
                  <a:cubicBezTo>
                    <a:pt x="441" y="92"/>
                    <a:pt x="440" y="92"/>
                    <a:pt x="440" y="92"/>
                  </a:cubicBezTo>
                  <a:cubicBezTo>
                    <a:pt x="438" y="91"/>
                    <a:pt x="437" y="91"/>
                    <a:pt x="436" y="90"/>
                  </a:cubicBezTo>
                  <a:cubicBezTo>
                    <a:pt x="435" y="90"/>
                    <a:pt x="435" y="89"/>
                    <a:pt x="435" y="89"/>
                  </a:cubicBezTo>
                  <a:cubicBezTo>
                    <a:pt x="434" y="89"/>
                    <a:pt x="432" y="89"/>
                    <a:pt x="432" y="90"/>
                  </a:cubicBezTo>
                  <a:cubicBezTo>
                    <a:pt x="432" y="91"/>
                    <a:pt x="432" y="93"/>
                    <a:pt x="431" y="94"/>
                  </a:cubicBezTo>
                  <a:cubicBezTo>
                    <a:pt x="430" y="97"/>
                    <a:pt x="431" y="99"/>
                    <a:pt x="431" y="102"/>
                  </a:cubicBezTo>
                  <a:cubicBezTo>
                    <a:pt x="431" y="103"/>
                    <a:pt x="431" y="104"/>
                    <a:pt x="431" y="105"/>
                  </a:cubicBezTo>
                  <a:cubicBezTo>
                    <a:pt x="432" y="107"/>
                    <a:pt x="433" y="108"/>
                    <a:pt x="433" y="109"/>
                  </a:cubicBezTo>
                  <a:cubicBezTo>
                    <a:pt x="433" y="110"/>
                    <a:pt x="433" y="112"/>
                    <a:pt x="432" y="113"/>
                  </a:cubicBezTo>
                  <a:cubicBezTo>
                    <a:pt x="431" y="113"/>
                    <a:pt x="430" y="114"/>
                    <a:pt x="430" y="115"/>
                  </a:cubicBezTo>
                  <a:cubicBezTo>
                    <a:pt x="429" y="115"/>
                    <a:pt x="430" y="116"/>
                    <a:pt x="430" y="116"/>
                  </a:cubicBezTo>
                  <a:cubicBezTo>
                    <a:pt x="430" y="117"/>
                    <a:pt x="430" y="117"/>
                    <a:pt x="430" y="117"/>
                  </a:cubicBezTo>
                  <a:cubicBezTo>
                    <a:pt x="430" y="118"/>
                    <a:pt x="429" y="118"/>
                    <a:pt x="429" y="118"/>
                  </a:cubicBezTo>
                  <a:cubicBezTo>
                    <a:pt x="429" y="118"/>
                    <a:pt x="429" y="119"/>
                    <a:pt x="429" y="119"/>
                  </a:cubicBezTo>
                  <a:cubicBezTo>
                    <a:pt x="428" y="118"/>
                    <a:pt x="428" y="118"/>
                    <a:pt x="428" y="118"/>
                  </a:cubicBezTo>
                  <a:cubicBezTo>
                    <a:pt x="428" y="118"/>
                    <a:pt x="428" y="117"/>
                    <a:pt x="428" y="117"/>
                  </a:cubicBezTo>
                  <a:cubicBezTo>
                    <a:pt x="426" y="116"/>
                    <a:pt x="425" y="115"/>
                    <a:pt x="424" y="114"/>
                  </a:cubicBezTo>
                  <a:cubicBezTo>
                    <a:pt x="424" y="113"/>
                    <a:pt x="423" y="113"/>
                    <a:pt x="423" y="114"/>
                  </a:cubicBezTo>
                  <a:cubicBezTo>
                    <a:pt x="422" y="116"/>
                    <a:pt x="422" y="118"/>
                    <a:pt x="421" y="119"/>
                  </a:cubicBezTo>
                  <a:cubicBezTo>
                    <a:pt x="421" y="120"/>
                    <a:pt x="420" y="121"/>
                    <a:pt x="419" y="122"/>
                  </a:cubicBezTo>
                  <a:cubicBezTo>
                    <a:pt x="419" y="123"/>
                    <a:pt x="418" y="123"/>
                    <a:pt x="418" y="123"/>
                  </a:cubicBezTo>
                  <a:cubicBezTo>
                    <a:pt x="418" y="123"/>
                    <a:pt x="417" y="123"/>
                    <a:pt x="417" y="123"/>
                  </a:cubicBezTo>
                  <a:cubicBezTo>
                    <a:pt x="417" y="123"/>
                    <a:pt x="416" y="124"/>
                    <a:pt x="416" y="124"/>
                  </a:cubicBezTo>
                  <a:cubicBezTo>
                    <a:pt x="415" y="124"/>
                    <a:pt x="414" y="124"/>
                    <a:pt x="413" y="124"/>
                  </a:cubicBezTo>
                  <a:cubicBezTo>
                    <a:pt x="412" y="125"/>
                    <a:pt x="413" y="128"/>
                    <a:pt x="411" y="129"/>
                  </a:cubicBezTo>
                  <a:cubicBezTo>
                    <a:pt x="411" y="129"/>
                    <a:pt x="410" y="129"/>
                    <a:pt x="409" y="128"/>
                  </a:cubicBezTo>
                  <a:cubicBezTo>
                    <a:pt x="408" y="128"/>
                    <a:pt x="407" y="128"/>
                    <a:pt x="406" y="128"/>
                  </a:cubicBezTo>
                  <a:cubicBezTo>
                    <a:pt x="405" y="127"/>
                    <a:pt x="404" y="126"/>
                    <a:pt x="403" y="126"/>
                  </a:cubicBezTo>
                  <a:cubicBezTo>
                    <a:pt x="402" y="125"/>
                    <a:pt x="401" y="126"/>
                    <a:pt x="400" y="127"/>
                  </a:cubicBezTo>
                  <a:cubicBezTo>
                    <a:pt x="400" y="129"/>
                    <a:pt x="400" y="130"/>
                    <a:pt x="400" y="132"/>
                  </a:cubicBezTo>
                  <a:cubicBezTo>
                    <a:pt x="399" y="134"/>
                    <a:pt x="397" y="134"/>
                    <a:pt x="395" y="135"/>
                  </a:cubicBezTo>
                  <a:cubicBezTo>
                    <a:pt x="394" y="136"/>
                    <a:pt x="394" y="136"/>
                    <a:pt x="394" y="136"/>
                  </a:cubicBezTo>
                  <a:cubicBezTo>
                    <a:pt x="393" y="138"/>
                    <a:pt x="392" y="139"/>
                    <a:pt x="392" y="140"/>
                  </a:cubicBezTo>
                  <a:cubicBezTo>
                    <a:pt x="391" y="141"/>
                    <a:pt x="390" y="141"/>
                    <a:pt x="389" y="142"/>
                  </a:cubicBezTo>
                  <a:cubicBezTo>
                    <a:pt x="388" y="142"/>
                    <a:pt x="387" y="143"/>
                    <a:pt x="386" y="14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9" name="Freeform 260"/>
            <p:cNvSpPr>
              <a:spLocks/>
            </p:cNvSpPr>
            <p:nvPr/>
          </p:nvSpPr>
          <p:spPr bwMode="auto">
            <a:xfrm>
              <a:off x="8012572" y="5125094"/>
              <a:ext cx="26825" cy="18129"/>
            </a:xfrm>
            <a:custGeom>
              <a:avLst/>
              <a:gdLst>
                <a:gd name="T0" fmla="*/ 10318870 w 20"/>
                <a:gd name="T1" fmla="*/ 806887 h 17"/>
                <a:gd name="T2" fmla="*/ 5927927 w 20"/>
                <a:gd name="T3" fmla="*/ 1898557 h 17"/>
                <a:gd name="T4" fmla="*/ 5187343 w 20"/>
                <a:gd name="T5" fmla="*/ 2560181 h 17"/>
                <a:gd name="T6" fmla="*/ 795113 w 20"/>
                <a:gd name="T7" fmla="*/ 7173119 h 17"/>
                <a:gd name="T8" fmla="*/ 795113 w 20"/>
                <a:gd name="T9" fmla="*/ 12471472 h 17"/>
                <a:gd name="T10" fmla="*/ 2522523 w 20"/>
                <a:gd name="T11" fmla="*/ 14174003 h 17"/>
                <a:gd name="T12" fmla="*/ 4391010 w 20"/>
                <a:gd name="T13" fmla="*/ 14174003 h 17"/>
                <a:gd name="T14" fmla="*/ 8799889 w 20"/>
                <a:gd name="T15" fmla="*/ 14978991 h 17"/>
                <a:gd name="T16" fmla="*/ 10318870 w 20"/>
                <a:gd name="T17" fmla="*/ 13070851 h 17"/>
                <a:gd name="T18" fmla="*/ 13930621 w 20"/>
                <a:gd name="T19" fmla="*/ 10511040 h 17"/>
                <a:gd name="T20" fmla="*/ 14725738 w 20"/>
                <a:gd name="T21" fmla="*/ 6023953 h 17"/>
                <a:gd name="T22" fmla="*/ 16597127 w 20"/>
                <a:gd name="T23" fmla="*/ 2560181 h 17"/>
                <a:gd name="T24" fmla="*/ 15548153 w 20"/>
                <a:gd name="T25" fmla="*/ 806887 h 17"/>
                <a:gd name="T26" fmla="*/ 13930621 w 20"/>
                <a:gd name="T27" fmla="*/ 806887 h 17"/>
                <a:gd name="T28" fmla="*/ 12876646 w 20"/>
                <a:gd name="T29" fmla="*/ 806887 h 17"/>
                <a:gd name="T30" fmla="*/ 10318870 w 20"/>
                <a:gd name="T31" fmla="*/ 806887 h 1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"/>
                <a:gd name="T49" fmla="*/ 0 h 17"/>
                <a:gd name="T50" fmla="*/ 20 w 20"/>
                <a:gd name="T51" fmla="*/ 17 h 1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" h="17">
                  <a:moveTo>
                    <a:pt x="12" y="1"/>
                  </a:moveTo>
                  <a:cubicBezTo>
                    <a:pt x="10" y="2"/>
                    <a:pt x="9" y="2"/>
                    <a:pt x="7" y="2"/>
                  </a:cubicBezTo>
                  <a:cubicBezTo>
                    <a:pt x="7" y="2"/>
                    <a:pt x="6" y="2"/>
                    <a:pt x="6" y="3"/>
                  </a:cubicBezTo>
                  <a:cubicBezTo>
                    <a:pt x="4" y="5"/>
                    <a:pt x="2" y="6"/>
                    <a:pt x="1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5"/>
                    <a:pt x="2" y="15"/>
                    <a:pt x="3" y="16"/>
                  </a:cubicBezTo>
                  <a:cubicBezTo>
                    <a:pt x="4" y="16"/>
                    <a:pt x="5" y="16"/>
                    <a:pt x="5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2" y="16"/>
                    <a:pt x="12" y="15"/>
                  </a:cubicBezTo>
                  <a:cubicBezTo>
                    <a:pt x="14" y="14"/>
                    <a:pt x="16" y="14"/>
                    <a:pt x="16" y="12"/>
                  </a:cubicBezTo>
                  <a:cubicBezTo>
                    <a:pt x="17" y="10"/>
                    <a:pt x="16" y="9"/>
                    <a:pt x="17" y="7"/>
                  </a:cubicBezTo>
                  <a:cubicBezTo>
                    <a:pt x="17" y="5"/>
                    <a:pt x="18" y="4"/>
                    <a:pt x="19" y="3"/>
                  </a:cubicBezTo>
                  <a:cubicBezTo>
                    <a:pt x="20" y="2"/>
                    <a:pt x="19" y="1"/>
                    <a:pt x="18" y="1"/>
                  </a:cubicBezTo>
                  <a:cubicBezTo>
                    <a:pt x="18" y="0"/>
                    <a:pt x="17" y="0"/>
                    <a:pt x="16" y="1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4" y="2"/>
                    <a:pt x="13" y="1"/>
                    <a:pt x="12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0" name="Freeform 261"/>
            <p:cNvSpPr>
              <a:spLocks/>
            </p:cNvSpPr>
            <p:nvPr/>
          </p:nvSpPr>
          <p:spPr bwMode="auto">
            <a:xfrm>
              <a:off x="8130741" y="5070098"/>
              <a:ext cx="18125" cy="35052"/>
            </a:xfrm>
            <a:custGeom>
              <a:avLst/>
              <a:gdLst>
                <a:gd name="T0" fmla="*/ 4595099 w 13"/>
                <a:gd name="T1" fmla="*/ 7279645 h 32"/>
                <a:gd name="T2" fmla="*/ 979497 w 13"/>
                <a:gd name="T3" fmla="*/ 14143703 h 32"/>
                <a:gd name="T4" fmla="*/ 979497 w 13"/>
                <a:gd name="T5" fmla="*/ 21639802 h 32"/>
                <a:gd name="T6" fmla="*/ 979497 w 13"/>
                <a:gd name="T7" fmla="*/ 22319926 h 32"/>
                <a:gd name="T8" fmla="*/ 979497 w 13"/>
                <a:gd name="T9" fmla="*/ 25374231 h 32"/>
                <a:gd name="T10" fmla="*/ 5569804 w 13"/>
                <a:gd name="T11" fmla="*/ 28532695 h 32"/>
                <a:gd name="T12" fmla="*/ 6350665 w 13"/>
                <a:gd name="T13" fmla="*/ 32656453 h 32"/>
                <a:gd name="T14" fmla="*/ 7913775 w 13"/>
                <a:gd name="T15" fmla="*/ 32656453 h 32"/>
                <a:gd name="T16" fmla="*/ 7913775 w 13"/>
                <a:gd name="T17" fmla="*/ 28532695 h 32"/>
                <a:gd name="T18" fmla="*/ 7913775 w 13"/>
                <a:gd name="T19" fmla="*/ 25374231 h 32"/>
                <a:gd name="T20" fmla="*/ 10957538 w 13"/>
                <a:gd name="T21" fmla="*/ 22319926 h 32"/>
                <a:gd name="T22" fmla="*/ 11938254 w 13"/>
                <a:gd name="T23" fmla="*/ 20356391 h 32"/>
                <a:gd name="T24" fmla="*/ 11938254 w 13"/>
                <a:gd name="T25" fmla="*/ 14143703 h 32"/>
                <a:gd name="T26" fmla="*/ 13281841 w 13"/>
                <a:gd name="T27" fmla="*/ 10335629 h 32"/>
                <a:gd name="T28" fmla="*/ 13281841 w 13"/>
                <a:gd name="T29" fmla="*/ 2129866 h 32"/>
                <a:gd name="T30" fmla="*/ 11938254 w 13"/>
                <a:gd name="T31" fmla="*/ 0 h 32"/>
                <a:gd name="T32" fmla="*/ 9596174 w 13"/>
                <a:gd name="T33" fmla="*/ 0 h 32"/>
                <a:gd name="T34" fmla="*/ 6350665 w 13"/>
                <a:gd name="T35" fmla="*/ 3065115 h 32"/>
                <a:gd name="T36" fmla="*/ 5569804 w 13"/>
                <a:gd name="T37" fmla="*/ 5955246 h 32"/>
                <a:gd name="T38" fmla="*/ 4595099 w 13"/>
                <a:gd name="T39" fmla="*/ 7279645 h 3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3"/>
                <a:gd name="T61" fmla="*/ 0 h 32"/>
                <a:gd name="T62" fmla="*/ 13 w 13"/>
                <a:gd name="T63" fmla="*/ 32 h 3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3" h="32">
                  <a:moveTo>
                    <a:pt x="4" y="7"/>
                  </a:moveTo>
                  <a:cubicBezTo>
                    <a:pt x="2" y="8"/>
                    <a:pt x="2" y="12"/>
                    <a:pt x="1" y="14"/>
                  </a:cubicBezTo>
                  <a:cubicBezTo>
                    <a:pt x="0" y="16"/>
                    <a:pt x="0" y="19"/>
                    <a:pt x="1" y="21"/>
                  </a:cubicBezTo>
                  <a:cubicBezTo>
                    <a:pt x="1" y="21"/>
                    <a:pt x="1" y="22"/>
                    <a:pt x="1" y="22"/>
                  </a:cubicBezTo>
                  <a:cubicBezTo>
                    <a:pt x="1" y="23"/>
                    <a:pt x="1" y="24"/>
                    <a:pt x="1" y="25"/>
                  </a:cubicBezTo>
                  <a:cubicBezTo>
                    <a:pt x="2" y="27"/>
                    <a:pt x="3" y="28"/>
                    <a:pt x="5" y="28"/>
                  </a:cubicBezTo>
                  <a:cubicBezTo>
                    <a:pt x="6" y="29"/>
                    <a:pt x="5" y="31"/>
                    <a:pt x="6" y="32"/>
                  </a:cubicBezTo>
                  <a:cubicBezTo>
                    <a:pt x="6" y="32"/>
                    <a:pt x="7" y="32"/>
                    <a:pt x="7" y="32"/>
                  </a:cubicBezTo>
                  <a:cubicBezTo>
                    <a:pt x="8" y="31"/>
                    <a:pt x="8" y="29"/>
                    <a:pt x="7" y="28"/>
                  </a:cubicBezTo>
                  <a:cubicBezTo>
                    <a:pt x="7" y="27"/>
                    <a:pt x="7" y="26"/>
                    <a:pt x="7" y="25"/>
                  </a:cubicBezTo>
                  <a:cubicBezTo>
                    <a:pt x="8" y="24"/>
                    <a:pt x="9" y="23"/>
                    <a:pt x="10" y="22"/>
                  </a:cubicBezTo>
                  <a:cubicBezTo>
                    <a:pt x="10" y="21"/>
                    <a:pt x="10" y="21"/>
                    <a:pt x="11" y="20"/>
                  </a:cubicBezTo>
                  <a:cubicBezTo>
                    <a:pt x="11" y="18"/>
                    <a:pt x="10" y="16"/>
                    <a:pt x="11" y="14"/>
                  </a:cubicBezTo>
                  <a:cubicBezTo>
                    <a:pt x="11" y="12"/>
                    <a:pt x="12" y="11"/>
                    <a:pt x="12" y="10"/>
                  </a:cubicBezTo>
                  <a:cubicBezTo>
                    <a:pt x="13" y="7"/>
                    <a:pt x="13" y="4"/>
                    <a:pt x="12" y="2"/>
                  </a:cubicBezTo>
                  <a:cubicBezTo>
                    <a:pt x="12" y="1"/>
                    <a:pt x="11" y="1"/>
                    <a:pt x="11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8" y="1"/>
                    <a:pt x="7" y="2"/>
                    <a:pt x="6" y="3"/>
                  </a:cubicBezTo>
                  <a:cubicBezTo>
                    <a:pt x="6" y="4"/>
                    <a:pt x="6" y="5"/>
                    <a:pt x="5" y="6"/>
                  </a:cubicBezTo>
                  <a:cubicBezTo>
                    <a:pt x="5" y="6"/>
                    <a:pt x="5" y="7"/>
                    <a:pt x="4" y="7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1" name="Freeform 262"/>
            <p:cNvSpPr>
              <a:spLocks/>
            </p:cNvSpPr>
            <p:nvPr/>
          </p:nvSpPr>
          <p:spPr bwMode="auto">
            <a:xfrm>
              <a:off x="8165539" y="4932310"/>
              <a:ext cx="41322" cy="44721"/>
            </a:xfrm>
            <a:custGeom>
              <a:avLst/>
              <a:gdLst>
                <a:gd name="T0" fmla="*/ 0 w 30"/>
                <a:gd name="T1" fmla="*/ 5415918 h 42"/>
                <a:gd name="T2" fmla="*/ 2936809 w 30"/>
                <a:gd name="T3" fmla="*/ 6241960 h 42"/>
                <a:gd name="T4" fmla="*/ 3638831 w 30"/>
                <a:gd name="T5" fmla="*/ 8174844 h 42"/>
                <a:gd name="T6" fmla="*/ 3638831 w 30"/>
                <a:gd name="T7" fmla="*/ 19269273 h 42"/>
                <a:gd name="T8" fmla="*/ 6950446 w 30"/>
                <a:gd name="T9" fmla="*/ 24685188 h 42"/>
                <a:gd name="T10" fmla="*/ 6950446 w 30"/>
                <a:gd name="T11" fmla="*/ 26147031 h 42"/>
                <a:gd name="T12" fmla="*/ 6950446 w 30"/>
                <a:gd name="T13" fmla="*/ 28921406 h 42"/>
                <a:gd name="T14" fmla="*/ 6950446 w 30"/>
                <a:gd name="T15" fmla="*/ 33474537 h 42"/>
                <a:gd name="T16" fmla="*/ 6950446 w 30"/>
                <a:gd name="T17" fmla="*/ 37455335 h 42"/>
                <a:gd name="T18" fmla="*/ 6950446 w 30"/>
                <a:gd name="T19" fmla="*/ 38064251 h 42"/>
                <a:gd name="T20" fmla="*/ 8611898 w 30"/>
                <a:gd name="T21" fmla="*/ 38064251 h 42"/>
                <a:gd name="T22" fmla="*/ 11390399 w 30"/>
                <a:gd name="T23" fmla="*/ 36268825 h 42"/>
                <a:gd name="T24" fmla="*/ 13529051 w 30"/>
                <a:gd name="T25" fmla="*/ 35422498 h 42"/>
                <a:gd name="T26" fmla="*/ 15562709 w 30"/>
                <a:gd name="T27" fmla="*/ 35422498 h 42"/>
                <a:gd name="T28" fmla="*/ 18501814 w 30"/>
                <a:gd name="T29" fmla="*/ 32648180 h 42"/>
                <a:gd name="T30" fmla="*/ 22140284 w 30"/>
                <a:gd name="T31" fmla="*/ 32648180 h 42"/>
                <a:gd name="T32" fmla="*/ 23379470 w 30"/>
                <a:gd name="T33" fmla="*/ 30864540 h 42"/>
                <a:gd name="T34" fmla="*/ 26957264 w 30"/>
                <a:gd name="T35" fmla="*/ 30864540 h 42"/>
                <a:gd name="T36" fmla="*/ 28219852 w 30"/>
                <a:gd name="T37" fmla="*/ 28094992 h 42"/>
                <a:gd name="T38" fmla="*/ 29078989 w 30"/>
                <a:gd name="T39" fmla="*/ 27333805 h 42"/>
                <a:gd name="T40" fmla="*/ 26957264 w 30"/>
                <a:gd name="T41" fmla="*/ 21914981 h 42"/>
                <a:gd name="T42" fmla="*/ 26091007 w 30"/>
                <a:gd name="T43" fmla="*/ 18182008 h 42"/>
                <a:gd name="T44" fmla="*/ 26091007 w 30"/>
                <a:gd name="T45" fmla="*/ 12766088 h 42"/>
                <a:gd name="T46" fmla="*/ 23379470 w 30"/>
                <a:gd name="T47" fmla="*/ 9297268 h 42"/>
                <a:gd name="T48" fmla="*/ 23379470 w 30"/>
                <a:gd name="T49" fmla="*/ 7350476 h 42"/>
                <a:gd name="T50" fmla="*/ 21278912 w 30"/>
                <a:gd name="T51" fmla="*/ 5415918 h 42"/>
                <a:gd name="T52" fmla="*/ 20381491 w 30"/>
                <a:gd name="T53" fmla="*/ 5415918 h 42"/>
                <a:gd name="T54" fmla="*/ 15562709 w 30"/>
                <a:gd name="T55" fmla="*/ 0 h 42"/>
                <a:gd name="T56" fmla="*/ 14702388 w 30"/>
                <a:gd name="T57" fmla="*/ 0 h 42"/>
                <a:gd name="T58" fmla="*/ 9878651 w 30"/>
                <a:gd name="T59" fmla="*/ 1947959 h 42"/>
                <a:gd name="T60" fmla="*/ 3638831 w 30"/>
                <a:gd name="T61" fmla="*/ 0 h 42"/>
                <a:gd name="T62" fmla="*/ 859266 w 30"/>
                <a:gd name="T63" fmla="*/ 4591617 h 42"/>
                <a:gd name="T64" fmla="*/ 0 w 30"/>
                <a:gd name="T65" fmla="*/ 5415918 h 4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0"/>
                <a:gd name="T100" fmla="*/ 0 h 42"/>
                <a:gd name="T101" fmla="*/ 30 w 30"/>
                <a:gd name="T102" fmla="*/ 42 h 4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0" h="42">
                  <a:moveTo>
                    <a:pt x="0" y="6"/>
                  </a:moveTo>
                  <a:cubicBezTo>
                    <a:pt x="1" y="7"/>
                    <a:pt x="2" y="6"/>
                    <a:pt x="3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4" y="13"/>
                    <a:pt x="4" y="17"/>
                    <a:pt x="4" y="21"/>
                  </a:cubicBezTo>
                  <a:cubicBezTo>
                    <a:pt x="6" y="22"/>
                    <a:pt x="6" y="25"/>
                    <a:pt x="7" y="27"/>
                  </a:cubicBezTo>
                  <a:cubicBezTo>
                    <a:pt x="7" y="27"/>
                    <a:pt x="7" y="28"/>
                    <a:pt x="7" y="29"/>
                  </a:cubicBezTo>
                  <a:cubicBezTo>
                    <a:pt x="6" y="30"/>
                    <a:pt x="6" y="31"/>
                    <a:pt x="7" y="32"/>
                  </a:cubicBezTo>
                  <a:cubicBezTo>
                    <a:pt x="8" y="33"/>
                    <a:pt x="7" y="35"/>
                    <a:pt x="7" y="37"/>
                  </a:cubicBezTo>
                  <a:cubicBezTo>
                    <a:pt x="7" y="38"/>
                    <a:pt x="7" y="40"/>
                    <a:pt x="7" y="41"/>
                  </a:cubicBezTo>
                  <a:cubicBezTo>
                    <a:pt x="7" y="41"/>
                    <a:pt x="6" y="41"/>
                    <a:pt x="7" y="42"/>
                  </a:cubicBezTo>
                  <a:cubicBezTo>
                    <a:pt x="7" y="42"/>
                    <a:pt x="8" y="42"/>
                    <a:pt x="9" y="42"/>
                  </a:cubicBezTo>
                  <a:cubicBezTo>
                    <a:pt x="10" y="41"/>
                    <a:pt x="11" y="41"/>
                    <a:pt x="12" y="40"/>
                  </a:cubicBezTo>
                  <a:cubicBezTo>
                    <a:pt x="12" y="39"/>
                    <a:pt x="13" y="39"/>
                    <a:pt x="14" y="39"/>
                  </a:cubicBezTo>
                  <a:cubicBezTo>
                    <a:pt x="14" y="40"/>
                    <a:pt x="15" y="40"/>
                    <a:pt x="16" y="39"/>
                  </a:cubicBezTo>
                  <a:cubicBezTo>
                    <a:pt x="17" y="39"/>
                    <a:pt x="18" y="37"/>
                    <a:pt x="19" y="36"/>
                  </a:cubicBezTo>
                  <a:cubicBezTo>
                    <a:pt x="20" y="36"/>
                    <a:pt x="22" y="37"/>
                    <a:pt x="23" y="36"/>
                  </a:cubicBezTo>
                  <a:cubicBezTo>
                    <a:pt x="24" y="36"/>
                    <a:pt x="23" y="35"/>
                    <a:pt x="24" y="34"/>
                  </a:cubicBezTo>
                  <a:cubicBezTo>
                    <a:pt x="25" y="33"/>
                    <a:pt x="27" y="34"/>
                    <a:pt x="28" y="34"/>
                  </a:cubicBezTo>
                  <a:cubicBezTo>
                    <a:pt x="29" y="33"/>
                    <a:pt x="29" y="32"/>
                    <a:pt x="29" y="31"/>
                  </a:cubicBezTo>
                  <a:cubicBezTo>
                    <a:pt x="29" y="30"/>
                    <a:pt x="30" y="30"/>
                    <a:pt x="30" y="30"/>
                  </a:cubicBezTo>
                  <a:cubicBezTo>
                    <a:pt x="30" y="28"/>
                    <a:pt x="30" y="25"/>
                    <a:pt x="28" y="24"/>
                  </a:cubicBezTo>
                  <a:cubicBezTo>
                    <a:pt x="27" y="23"/>
                    <a:pt x="28" y="21"/>
                    <a:pt x="27" y="20"/>
                  </a:cubicBezTo>
                  <a:cubicBezTo>
                    <a:pt x="27" y="18"/>
                    <a:pt x="27" y="16"/>
                    <a:pt x="27" y="14"/>
                  </a:cubicBezTo>
                  <a:cubicBezTo>
                    <a:pt x="26" y="13"/>
                    <a:pt x="25" y="11"/>
                    <a:pt x="24" y="10"/>
                  </a:cubicBezTo>
                  <a:cubicBezTo>
                    <a:pt x="24" y="10"/>
                    <a:pt x="24" y="9"/>
                    <a:pt x="24" y="8"/>
                  </a:cubicBezTo>
                  <a:cubicBezTo>
                    <a:pt x="24" y="7"/>
                    <a:pt x="23" y="7"/>
                    <a:pt x="22" y="6"/>
                  </a:cubicBezTo>
                  <a:cubicBezTo>
                    <a:pt x="22" y="6"/>
                    <a:pt x="22" y="6"/>
                    <a:pt x="21" y="6"/>
                  </a:cubicBezTo>
                  <a:cubicBezTo>
                    <a:pt x="20" y="4"/>
                    <a:pt x="17" y="2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2"/>
                    <a:pt x="11" y="2"/>
                    <a:pt x="10" y="2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3" y="2"/>
                    <a:pt x="2" y="4"/>
                    <a:pt x="1" y="5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2" name="Freeform 263"/>
            <p:cNvSpPr>
              <a:spLocks/>
            </p:cNvSpPr>
            <p:nvPr/>
          </p:nvSpPr>
          <p:spPr bwMode="auto">
            <a:xfrm>
              <a:off x="8219186" y="4979450"/>
              <a:ext cx="20299" cy="32634"/>
            </a:xfrm>
            <a:custGeom>
              <a:avLst/>
              <a:gdLst>
                <a:gd name="T0" fmla="*/ 6931751 w 15"/>
                <a:gd name="T1" fmla="*/ 4812844 h 30"/>
                <a:gd name="T2" fmla="*/ 4688532 w 15"/>
                <a:gd name="T3" fmla="*/ 2936809 h 30"/>
                <a:gd name="T4" fmla="*/ 2243220 w 15"/>
                <a:gd name="T5" fmla="*/ 859266 h 30"/>
                <a:gd name="T6" fmla="*/ 727531 w 15"/>
                <a:gd name="T7" fmla="*/ 4812844 h 30"/>
                <a:gd name="T8" fmla="*/ 0 w 15"/>
                <a:gd name="T9" fmla="*/ 6950446 h 30"/>
                <a:gd name="T10" fmla="*/ 727531 w 15"/>
                <a:gd name="T11" fmla="*/ 8611898 h 30"/>
                <a:gd name="T12" fmla="*/ 2970751 w 15"/>
                <a:gd name="T13" fmla="*/ 10749866 h 30"/>
                <a:gd name="T14" fmla="*/ 2970751 w 15"/>
                <a:gd name="T15" fmla="*/ 14702388 h 30"/>
                <a:gd name="T16" fmla="*/ 1697572 w 15"/>
                <a:gd name="T17" fmla="*/ 14702388 h 30"/>
                <a:gd name="T18" fmla="*/ 727531 w 15"/>
                <a:gd name="T19" fmla="*/ 16449385 h 30"/>
                <a:gd name="T20" fmla="*/ 2970751 w 15"/>
                <a:gd name="T21" fmla="*/ 22140284 h 30"/>
                <a:gd name="T22" fmla="*/ 5234181 w 15"/>
                <a:gd name="T23" fmla="*/ 24173837 h 30"/>
                <a:gd name="T24" fmla="*/ 6253185 w 15"/>
                <a:gd name="T25" fmla="*/ 28219852 h 30"/>
                <a:gd name="T26" fmla="*/ 6931751 w 15"/>
                <a:gd name="T27" fmla="*/ 28219852 h 30"/>
                <a:gd name="T28" fmla="*/ 7659284 w 15"/>
                <a:gd name="T29" fmla="*/ 25441348 h 30"/>
                <a:gd name="T30" fmla="*/ 9242333 w 15"/>
                <a:gd name="T31" fmla="*/ 24173837 h 30"/>
                <a:gd name="T32" fmla="*/ 9902491 w 15"/>
                <a:gd name="T33" fmla="*/ 17602945 h 30"/>
                <a:gd name="T34" fmla="*/ 9902491 w 15"/>
                <a:gd name="T35" fmla="*/ 13529051 h 30"/>
                <a:gd name="T36" fmla="*/ 10939910 w 15"/>
                <a:gd name="T37" fmla="*/ 12629529 h 30"/>
                <a:gd name="T38" fmla="*/ 10939910 w 15"/>
                <a:gd name="T39" fmla="*/ 9878651 h 30"/>
                <a:gd name="T40" fmla="*/ 9902491 w 15"/>
                <a:gd name="T41" fmla="*/ 4812844 h 30"/>
                <a:gd name="T42" fmla="*/ 6931751 w 15"/>
                <a:gd name="T43" fmla="*/ 4812844 h 3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5"/>
                <a:gd name="T67" fmla="*/ 0 h 30"/>
                <a:gd name="T68" fmla="*/ 15 w 15"/>
                <a:gd name="T69" fmla="*/ 30 h 3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5" h="30">
                  <a:moveTo>
                    <a:pt x="9" y="5"/>
                  </a:moveTo>
                  <a:cubicBezTo>
                    <a:pt x="8" y="5"/>
                    <a:pt x="7" y="4"/>
                    <a:pt x="6" y="3"/>
                  </a:cubicBezTo>
                  <a:cubicBezTo>
                    <a:pt x="6" y="2"/>
                    <a:pt x="5" y="0"/>
                    <a:pt x="3" y="1"/>
                  </a:cubicBezTo>
                  <a:cubicBezTo>
                    <a:pt x="2" y="2"/>
                    <a:pt x="1" y="3"/>
                    <a:pt x="1" y="5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1" y="8"/>
                    <a:pt x="1" y="8"/>
                    <a:pt x="1" y="9"/>
                  </a:cubicBezTo>
                  <a:cubicBezTo>
                    <a:pt x="1" y="10"/>
                    <a:pt x="3" y="10"/>
                    <a:pt x="4" y="11"/>
                  </a:cubicBezTo>
                  <a:cubicBezTo>
                    <a:pt x="4" y="12"/>
                    <a:pt x="5" y="14"/>
                    <a:pt x="4" y="15"/>
                  </a:cubicBezTo>
                  <a:cubicBezTo>
                    <a:pt x="4" y="15"/>
                    <a:pt x="2" y="15"/>
                    <a:pt x="2" y="15"/>
                  </a:cubicBezTo>
                  <a:cubicBezTo>
                    <a:pt x="1" y="16"/>
                    <a:pt x="1" y="17"/>
                    <a:pt x="1" y="17"/>
                  </a:cubicBezTo>
                  <a:cubicBezTo>
                    <a:pt x="2" y="19"/>
                    <a:pt x="3" y="21"/>
                    <a:pt x="4" y="23"/>
                  </a:cubicBezTo>
                  <a:cubicBezTo>
                    <a:pt x="4" y="24"/>
                    <a:pt x="6" y="25"/>
                    <a:pt x="7" y="25"/>
                  </a:cubicBezTo>
                  <a:cubicBezTo>
                    <a:pt x="8" y="26"/>
                    <a:pt x="7" y="27"/>
                    <a:pt x="8" y="29"/>
                  </a:cubicBezTo>
                  <a:cubicBezTo>
                    <a:pt x="8" y="29"/>
                    <a:pt x="9" y="30"/>
                    <a:pt x="9" y="29"/>
                  </a:cubicBezTo>
                  <a:cubicBezTo>
                    <a:pt x="10" y="28"/>
                    <a:pt x="10" y="27"/>
                    <a:pt x="10" y="26"/>
                  </a:cubicBezTo>
                  <a:cubicBezTo>
                    <a:pt x="10" y="25"/>
                    <a:pt x="11" y="26"/>
                    <a:pt x="12" y="25"/>
                  </a:cubicBezTo>
                  <a:cubicBezTo>
                    <a:pt x="14" y="23"/>
                    <a:pt x="12" y="20"/>
                    <a:pt x="13" y="18"/>
                  </a:cubicBezTo>
                  <a:cubicBezTo>
                    <a:pt x="13" y="16"/>
                    <a:pt x="13" y="15"/>
                    <a:pt x="13" y="14"/>
                  </a:cubicBezTo>
                  <a:cubicBezTo>
                    <a:pt x="13" y="14"/>
                    <a:pt x="14" y="13"/>
                    <a:pt x="14" y="13"/>
                  </a:cubicBezTo>
                  <a:cubicBezTo>
                    <a:pt x="14" y="12"/>
                    <a:pt x="15" y="11"/>
                    <a:pt x="14" y="10"/>
                  </a:cubicBezTo>
                  <a:cubicBezTo>
                    <a:pt x="12" y="9"/>
                    <a:pt x="13" y="7"/>
                    <a:pt x="13" y="5"/>
                  </a:cubicBezTo>
                  <a:cubicBezTo>
                    <a:pt x="13" y="5"/>
                    <a:pt x="9" y="5"/>
                    <a:pt x="9" y="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3" name="Freeform 264"/>
            <p:cNvSpPr>
              <a:spLocks/>
            </p:cNvSpPr>
            <p:nvPr/>
          </p:nvSpPr>
          <p:spPr bwMode="auto">
            <a:xfrm>
              <a:off x="8211936" y="4984887"/>
              <a:ext cx="7974" cy="9669"/>
            </a:xfrm>
            <a:custGeom>
              <a:avLst/>
              <a:gdLst>
                <a:gd name="T0" fmla="*/ 4688532 w 6"/>
                <a:gd name="T1" fmla="*/ 5234180 h 9"/>
                <a:gd name="T2" fmla="*/ 3961001 w 6"/>
                <a:gd name="T3" fmla="*/ 1697572 h 9"/>
                <a:gd name="T4" fmla="*/ 2243220 w 6"/>
                <a:gd name="T5" fmla="*/ 727531 h 9"/>
                <a:gd name="T6" fmla="*/ 2970751 w 6"/>
                <a:gd name="T7" fmla="*/ 6931749 h 9"/>
                <a:gd name="T8" fmla="*/ 4688532 w 6"/>
                <a:gd name="T9" fmla="*/ 6931749 h 9"/>
                <a:gd name="T10" fmla="*/ 4688532 w 6"/>
                <a:gd name="T11" fmla="*/ 523418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9"/>
                <a:gd name="T20" fmla="*/ 6 w 6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9">
                  <a:moveTo>
                    <a:pt x="6" y="7"/>
                  </a:moveTo>
                  <a:cubicBezTo>
                    <a:pt x="5" y="6"/>
                    <a:pt x="5" y="4"/>
                    <a:pt x="5" y="2"/>
                  </a:cubicBezTo>
                  <a:cubicBezTo>
                    <a:pt x="4" y="1"/>
                    <a:pt x="4" y="0"/>
                    <a:pt x="3" y="1"/>
                  </a:cubicBezTo>
                  <a:cubicBezTo>
                    <a:pt x="0" y="2"/>
                    <a:pt x="1" y="7"/>
                    <a:pt x="4" y="9"/>
                  </a:cubicBezTo>
                  <a:cubicBezTo>
                    <a:pt x="4" y="9"/>
                    <a:pt x="5" y="9"/>
                    <a:pt x="6" y="9"/>
                  </a:cubicBezTo>
                  <a:cubicBezTo>
                    <a:pt x="6" y="9"/>
                    <a:pt x="6" y="8"/>
                    <a:pt x="6" y="7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4" name="Freeform 265"/>
            <p:cNvSpPr>
              <a:spLocks/>
            </p:cNvSpPr>
            <p:nvPr/>
          </p:nvSpPr>
          <p:spPr bwMode="auto">
            <a:xfrm>
              <a:off x="8240209" y="4976428"/>
              <a:ext cx="24648" cy="15713"/>
            </a:xfrm>
            <a:custGeom>
              <a:avLst/>
              <a:gdLst>
                <a:gd name="T0" fmla="*/ 14605101 w 18"/>
                <a:gd name="T1" fmla="*/ 0 h 15"/>
                <a:gd name="T2" fmla="*/ 10471513 w 18"/>
                <a:gd name="T3" fmla="*/ 0 h 15"/>
                <a:gd name="T4" fmla="*/ 8850068 w 18"/>
                <a:gd name="T5" fmla="*/ 2970751 h 15"/>
                <a:gd name="T6" fmla="*/ 8080076 w 18"/>
                <a:gd name="T7" fmla="*/ 2970751 h 15"/>
                <a:gd name="T8" fmla="*/ 4697331 w 18"/>
                <a:gd name="T9" fmla="*/ 1697572 h 15"/>
                <a:gd name="T10" fmla="*/ 3382358 w 18"/>
                <a:gd name="T11" fmla="*/ 3961001 h 15"/>
                <a:gd name="T12" fmla="*/ 2384158 w 18"/>
                <a:gd name="T13" fmla="*/ 5234181 h 15"/>
                <a:gd name="T14" fmla="*/ 998020 w 18"/>
                <a:gd name="T15" fmla="*/ 7659284 h 15"/>
                <a:gd name="T16" fmla="*/ 2384158 w 18"/>
                <a:gd name="T17" fmla="*/ 8614993 h 15"/>
                <a:gd name="T18" fmla="*/ 3382358 w 18"/>
                <a:gd name="T19" fmla="*/ 9902491 h 15"/>
                <a:gd name="T20" fmla="*/ 3382358 w 18"/>
                <a:gd name="T21" fmla="*/ 10939910 h 15"/>
                <a:gd name="T22" fmla="*/ 8080076 w 18"/>
                <a:gd name="T23" fmla="*/ 10939910 h 15"/>
                <a:gd name="T24" fmla="*/ 8850068 w 18"/>
                <a:gd name="T25" fmla="*/ 7659284 h 15"/>
                <a:gd name="T26" fmla="*/ 13605887 w 18"/>
                <a:gd name="T27" fmla="*/ 6931751 h 15"/>
                <a:gd name="T28" fmla="*/ 15574178 w 18"/>
                <a:gd name="T29" fmla="*/ 7659284 h 15"/>
                <a:gd name="T30" fmla="*/ 16931056 w 18"/>
                <a:gd name="T31" fmla="*/ 5234181 h 15"/>
                <a:gd name="T32" fmla="*/ 20313258 w 18"/>
                <a:gd name="T33" fmla="*/ 3961001 h 15"/>
                <a:gd name="T34" fmla="*/ 20313258 w 18"/>
                <a:gd name="T35" fmla="*/ 2970751 h 15"/>
                <a:gd name="T36" fmla="*/ 19302400 w 18"/>
                <a:gd name="T37" fmla="*/ 2243220 h 15"/>
                <a:gd name="T38" fmla="*/ 19302400 w 18"/>
                <a:gd name="T39" fmla="*/ 727531 h 15"/>
                <a:gd name="T40" fmla="*/ 14605101 w 18"/>
                <a:gd name="T41" fmla="*/ 0 h 15"/>
                <a:gd name="T42" fmla="*/ 14605101 w 18"/>
                <a:gd name="T43" fmla="*/ 0 h 1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8"/>
                <a:gd name="T67" fmla="*/ 0 h 15"/>
                <a:gd name="T68" fmla="*/ 18 w 18"/>
                <a:gd name="T69" fmla="*/ 15 h 1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8" h="15">
                  <a:moveTo>
                    <a:pt x="13" y="0"/>
                  </a:moveTo>
                  <a:cubicBezTo>
                    <a:pt x="12" y="0"/>
                    <a:pt x="11" y="0"/>
                    <a:pt x="9" y="0"/>
                  </a:cubicBezTo>
                  <a:cubicBezTo>
                    <a:pt x="8" y="1"/>
                    <a:pt x="8" y="2"/>
                    <a:pt x="8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5" y="1"/>
                    <a:pt x="4" y="2"/>
                  </a:cubicBezTo>
                  <a:cubicBezTo>
                    <a:pt x="4" y="3"/>
                    <a:pt x="4" y="4"/>
                    <a:pt x="3" y="5"/>
                  </a:cubicBezTo>
                  <a:cubicBezTo>
                    <a:pt x="3" y="6"/>
                    <a:pt x="2" y="6"/>
                    <a:pt x="2" y="7"/>
                  </a:cubicBezTo>
                  <a:cubicBezTo>
                    <a:pt x="1" y="7"/>
                    <a:pt x="0" y="9"/>
                    <a:pt x="1" y="10"/>
                  </a:cubicBezTo>
                  <a:cubicBezTo>
                    <a:pt x="1" y="10"/>
                    <a:pt x="2" y="11"/>
                    <a:pt x="2" y="11"/>
                  </a:cubicBezTo>
                  <a:cubicBezTo>
                    <a:pt x="3" y="12"/>
                    <a:pt x="2" y="13"/>
                    <a:pt x="3" y="13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5" y="14"/>
                    <a:pt x="6" y="15"/>
                    <a:pt x="7" y="14"/>
                  </a:cubicBezTo>
                  <a:cubicBezTo>
                    <a:pt x="8" y="14"/>
                    <a:pt x="7" y="12"/>
                    <a:pt x="8" y="10"/>
                  </a:cubicBezTo>
                  <a:cubicBezTo>
                    <a:pt x="9" y="9"/>
                    <a:pt x="11" y="9"/>
                    <a:pt x="12" y="9"/>
                  </a:cubicBezTo>
                  <a:cubicBezTo>
                    <a:pt x="12" y="10"/>
                    <a:pt x="13" y="11"/>
                    <a:pt x="14" y="10"/>
                  </a:cubicBezTo>
                  <a:cubicBezTo>
                    <a:pt x="15" y="10"/>
                    <a:pt x="14" y="8"/>
                    <a:pt x="15" y="7"/>
                  </a:cubicBezTo>
                  <a:cubicBezTo>
                    <a:pt x="17" y="7"/>
                    <a:pt x="17" y="6"/>
                    <a:pt x="18" y="5"/>
                  </a:cubicBezTo>
                  <a:cubicBezTo>
                    <a:pt x="18" y="5"/>
                    <a:pt x="18" y="4"/>
                    <a:pt x="18" y="4"/>
                  </a:cubicBezTo>
                  <a:cubicBezTo>
                    <a:pt x="18" y="3"/>
                    <a:pt x="17" y="3"/>
                    <a:pt x="17" y="3"/>
                  </a:cubicBezTo>
                  <a:cubicBezTo>
                    <a:pt x="17" y="2"/>
                    <a:pt x="17" y="1"/>
                    <a:pt x="17" y="1"/>
                  </a:cubicBezTo>
                  <a:cubicBezTo>
                    <a:pt x="16" y="0"/>
                    <a:pt x="14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5" name="Freeform 266"/>
            <p:cNvSpPr>
              <a:spLocks/>
            </p:cNvSpPr>
            <p:nvPr/>
          </p:nvSpPr>
          <p:spPr bwMode="auto">
            <a:xfrm>
              <a:off x="8225712" y="4900884"/>
              <a:ext cx="102220" cy="84004"/>
            </a:xfrm>
            <a:custGeom>
              <a:avLst/>
              <a:gdLst>
                <a:gd name="T0" fmla="*/ 58008842 w 76"/>
                <a:gd name="T1" fmla="*/ 29280663 h 78"/>
                <a:gd name="T2" fmla="*/ 50840525 w 76"/>
                <a:gd name="T3" fmla="*/ 35874560 h 78"/>
                <a:gd name="T4" fmla="*/ 44209138 w 76"/>
                <a:gd name="T5" fmla="*/ 42459465 h 78"/>
                <a:gd name="T6" fmla="*/ 42274537 w 76"/>
                <a:gd name="T7" fmla="*/ 35874560 h 78"/>
                <a:gd name="T8" fmla="*/ 38065788 w 76"/>
                <a:gd name="T9" fmla="*/ 44119239 h 78"/>
                <a:gd name="T10" fmla="*/ 35106153 w 76"/>
                <a:gd name="T11" fmla="*/ 50715532 h 78"/>
                <a:gd name="T12" fmla="*/ 30251953 w 76"/>
                <a:gd name="T13" fmla="*/ 52176775 h 78"/>
                <a:gd name="T14" fmla="*/ 18666092 w 76"/>
                <a:gd name="T15" fmla="*/ 54215909 h 78"/>
                <a:gd name="T16" fmla="*/ 9968069 w 76"/>
                <a:gd name="T17" fmla="*/ 54215909 h 78"/>
                <a:gd name="T18" fmla="*/ 5759327 w 76"/>
                <a:gd name="T19" fmla="*/ 59689445 h 78"/>
                <a:gd name="T20" fmla="*/ 0 w 76"/>
                <a:gd name="T21" fmla="*/ 66274453 h 78"/>
                <a:gd name="T22" fmla="*/ 5759327 w 76"/>
                <a:gd name="T23" fmla="*/ 66274453 h 78"/>
                <a:gd name="T24" fmla="*/ 7881242 w 76"/>
                <a:gd name="T25" fmla="*/ 68240251 h 78"/>
                <a:gd name="T26" fmla="*/ 10840510 w 76"/>
                <a:gd name="T27" fmla="*/ 65069036 h 78"/>
                <a:gd name="T28" fmla="*/ 16599778 w 76"/>
                <a:gd name="T29" fmla="*/ 63607416 h 78"/>
                <a:gd name="T30" fmla="*/ 24492638 w 76"/>
                <a:gd name="T31" fmla="*/ 60811259 h 78"/>
                <a:gd name="T32" fmla="*/ 28478632 w 76"/>
                <a:gd name="T33" fmla="*/ 63607416 h 78"/>
                <a:gd name="T34" fmla="*/ 33584529 w 76"/>
                <a:gd name="T35" fmla="*/ 61643505 h 78"/>
                <a:gd name="T36" fmla="*/ 31441222 w 76"/>
                <a:gd name="T37" fmla="*/ 63607416 h 78"/>
                <a:gd name="T38" fmla="*/ 31441222 w 76"/>
                <a:gd name="T39" fmla="*/ 66274453 h 78"/>
                <a:gd name="T40" fmla="*/ 34448850 w 76"/>
                <a:gd name="T41" fmla="*/ 70879999 h 78"/>
                <a:gd name="T42" fmla="*/ 36383698 w 76"/>
                <a:gd name="T43" fmla="*/ 71740062 h 78"/>
                <a:gd name="T44" fmla="*/ 38065788 w 76"/>
                <a:gd name="T45" fmla="*/ 69072309 h 78"/>
                <a:gd name="T46" fmla="*/ 44209138 w 76"/>
                <a:gd name="T47" fmla="*/ 64322053 h 78"/>
                <a:gd name="T48" fmla="*/ 42274537 w 76"/>
                <a:gd name="T49" fmla="*/ 60811259 h 78"/>
                <a:gd name="T50" fmla="*/ 44209138 w 76"/>
                <a:gd name="T51" fmla="*/ 60811259 h 78"/>
                <a:gd name="T52" fmla="*/ 55915007 w 76"/>
                <a:gd name="T53" fmla="*/ 56809874 h 78"/>
                <a:gd name="T54" fmla="*/ 58008842 w 76"/>
                <a:gd name="T55" fmla="*/ 60811259 h 78"/>
                <a:gd name="T56" fmla="*/ 59624597 w 76"/>
                <a:gd name="T57" fmla="*/ 61643505 h 78"/>
                <a:gd name="T58" fmla="*/ 62930495 w 76"/>
                <a:gd name="T59" fmla="*/ 51399257 h 78"/>
                <a:gd name="T60" fmla="*/ 65885904 w 76"/>
                <a:gd name="T61" fmla="*/ 52176775 h 78"/>
                <a:gd name="T62" fmla="*/ 66544401 w 76"/>
                <a:gd name="T63" fmla="*/ 58848367 h 78"/>
                <a:gd name="T64" fmla="*/ 69572151 w 76"/>
                <a:gd name="T65" fmla="*/ 53382531 h 78"/>
                <a:gd name="T66" fmla="*/ 69572151 w 76"/>
                <a:gd name="T67" fmla="*/ 46805449 h 78"/>
                <a:gd name="T68" fmla="*/ 70756058 w 76"/>
                <a:gd name="T69" fmla="*/ 35005515 h 78"/>
                <a:gd name="T70" fmla="*/ 68689583 w 76"/>
                <a:gd name="T71" fmla="*/ 31243763 h 78"/>
                <a:gd name="T72" fmla="*/ 69572151 w 76"/>
                <a:gd name="T73" fmla="*/ 25778701 h 78"/>
                <a:gd name="T74" fmla="*/ 72371813 w 76"/>
                <a:gd name="T75" fmla="*/ 23814790 h 78"/>
                <a:gd name="T76" fmla="*/ 73715333 w 76"/>
                <a:gd name="T77" fmla="*/ 18351884 h 78"/>
                <a:gd name="T78" fmla="*/ 74466027 w 76"/>
                <a:gd name="T79" fmla="*/ 15560445 h 78"/>
                <a:gd name="T80" fmla="*/ 71649350 w 76"/>
                <a:gd name="T81" fmla="*/ 10927930 h 78"/>
                <a:gd name="T82" fmla="*/ 66544401 w 76"/>
                <a:gd name="T83" fmla="*/ 3499125 h 78"/>
                <a:gd name="T84" fmla="*/ 60808883 w 76"/>
                <a:gd name="T85" fmla="*/ 1963775 h 78"/>
                <a:gd name="T86" fmla="*/ 58008842 w 76"/>
                <a:gd name="T87" fmla="*/ 0 h 78"/>
                <a:gd name="T88" fmla="*/ 55915007 w 76"/>
                <a:gd name="T89" fmla="*/ 3499125 h 78"/>
                <a:gd name="T90" fmla="*/ 56600181 w 76"/>
                <a:gd name="T91" fmla="*/ 9376294 h 78"/>
                <a:gd name="T92" fmla="*/ 58719633 w 76"/>
                <a:gd name="T93" fmla="*/ 12891861 h 78"/>
                <a:gd name="T94" fmla="*/ 58719633 w 76"/>
                <a:gd name="T95" fmla="*/ 21019765 h 78"/>
                <a:gd name="T96" fmla="*/ 58008842 w 76"/>
                <a:gd name="T97" fmla="*/ 24946606 h 7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6"/>
                <a:gd name="T148" fmla="*/ 0 h 78"/>
                <a:gd name="T149" fmla="*/ 76 w 76"/>
                <a:gd name="T150" fmla="*/ 78 h 7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6" h="78">
                  <a:moveTo>
                    <a:pt x="59" y="30"/>
                  </a:moveTo>
                  <a:cubicBezTo>
                    <a:pt x="59" y="31"/>
                    <a:pt x="59" y="32"/>
                    <a:pt x="59" y="32"/>
                  </a:cubicBezTo>
                  <a:cubicBezTo>
                    <a:pt x="58" y="34"/>
                    <a:pt x="56" y="34"/>
                    <a:pt x="55" y="35"/>
                  </a:cubicBezTo>
                  <a:cubicBezTo>
                    <a:pt x="53" y="35"/>
                    <a:pt x="53" y="37"/>
                    <a:pt x="52" y="39"/>
                  </a:cubicBezTo>
                  <a:cubicBezTo>
                    <a:pt x="51" y="41"/>
                    <a:pt x="48" y="42"/>
                    <a:pt x="46" y="44"/>
                  </a:cubicBezTo>
                  <a:cubicBezTo>
                    <a:pt x="45" y="45"/>
                    <a:pt x="45" y="46"/>
                    <a:pt x="45" y="46"/>
                  </a:cubicBezTo>
                  <a:cubicBezTo>
                    <a:pt x="42" y="47"/>
                    <a:pt x="42" y="43"/>
                    <a:pt x="42" y="41"/>
                  </a:cubicBezTo>
                  <a:cubicBezTo>
                    <a:pt x="43" y="40"/>
                    <a:pt x="43" y="39"/>
                    <a:pt x="43" y="39"/>
                  </a:cubicBezTo>
                  <a:cubicBezTo>
                    <a:pt x="41" y="38"/>
                    <a:pt x="40" y="40"/>
                    <a:pt x="39" y="41"/>
                  </a:cubicBezTo>
                  <a:cubicBezTo>
                    <a:pt x="38" y="43"/>
                    <a:pt x="39" y="46"/>
                    <a:pt x="39" y="48"/>
                  </a:cubicBezTo>
                  <a:cubicBezTo>
                    <a:pt x="38" y="49"/>
                    <a:pt x="38" y="50"/>
                    <a:pt x="37" y="51"/>
                  </a:cubicBezTo>
                  <a:cubicBezTo>
                    <a:pt x="36" y="53"/>
                    <a:pt x="37" y="54"/>
                    <a:pt x="36" y="55"/>
                  </a:cubicBezTo>
                  <a:cubicBezTo>
                    <a:pt x="36" y="56"/>
                    <a:pt x="36" y="56"/>
                    <a:pt x="35" y="57"/>
                  </a:cubicBezTo>
                  <a:cubicBezTo>
                    <a:pt x="34" y="57"/>
                    <a:pt x="32" y="57"/>
                    <a:pt x="31" y="57"/>
                  </a:cubicBezTo>
                  <a:cubicBezTo>
                    <a:pt x="27" y="57"/>
                    <a:pt x="24" y="58"/>
                    <a:pt x="20" y="58"/>
                  </a:cubicBezTo>
                  <a:cubicBezTo>
                    <a:pt x="20" y="58"/>
                    <a:pt x="19" y="59"/>
                    <a:pt x="19" y="59"/>
                  </a:cubicBezTo>
                  <a:cubicBezTo>
                    <a:pt x="17" y="59"/>
                    <a:pt x="16" y="59"/>
                    <a:pt x="14" y="58"/>
                  </a:cubicBezTo>
                  <a:cubicBezTo>
                    <a:pt x="13" y="57"/>
                    <a:pt x="11" y="58"/>
                    <a:pt x="10" y="59"/>
                  </a:cubicBezTo>
                  <a:cubicBezTo>
                    <a:pt x="9" y="60"/>
                    <a:pt x="10" y="62"/>
                    <a:pt x="9" y="62"/>
                  </a:cubicBezTo>
                  <a:cubicBezTo>
                    <a:pt x="8" y="63"/>
                    <a:pt x="7" y="64"/>
                    <a:pt x="6" y="65"/>
                  </a:cubicBezTo>
                  <a:cubicBezTo>
                    <a:pt x="5" y="65"/>
                    <a:pt x="5" y="66"/>
                    <a:pt x="5" y="66"/>
                  </a:cubicBezTo>
                  <a:cubicBezTo>
                    <a:pt x="4" y="68"/>
                    <a:pt x="1" y="70"/>
                    <a:pt x="0" y="72"/>
                  </a:cubicBezTo>
                  <a:cubicBezTo>
                    <a:pt x="0" y="72"/>
                    <a:pt x="0" y="74"/>
                    <a:pt x="0" y="74"/>
                  </a:cubicBezTo>
                  <a:cubicBezTo>
                    <a:pt x="2" y="74"/>
                    <a:pt x="4" y="74"/>
                    <a:pt x="6" y="72"/>
                  </a:cubicBezTo>
                  <a:cubicBezTo>
                    <a:pt x="6" y="72"/>
                    <a:pt x="7" y="72"/>
                    <a:pt x="8" y="72"/>
                  </a:cubicBezTo>
                  <a:cubicBezTo>
                    <a:pt x="8" y="73"/>
                    <a:pt x="8" y="74"/>
                    <a:pt x="8" y="74"/>
                  </a:cubicBezTo>
                  <a:cubicBezTo>
                    <a:pt x="9" y="74"/>
                    <a:pt x="9" y="74"/>
                    <a:pt x="10" y="74"/>
                  </a:cubicBezTo>
                  <a:cubicBezTo>
                    <a:pt x="11" y="73"/>
                    <a:pt x="9" y="71"/>
                    <a:pt x="11" y="71"/>
                  </a:cubicBezTo>
                  <a:cubicBezTo>
                    <a:pt x="12" y="70"/>
                    <a:pt x="14" y="72"/>
                    <a:pt x="16" y="70"/>
                  </a:cubicBezTo>
                  <a:cubicBezTo>
                    <a:pt x="16" y="70"/>
                    <a:pt x="17" y="69"/>
                    <a:pt x="17" y="69"/>
                  </a:cubicBezTo>
                  <a:cubicBezTo>
                    <a:pt x="19" y="69"/>
                    <a:pt x="20" y="69"/>
                    <a:pt x="22" y="68"/>
                  </a:cubicBezTo>
                  <a:cubicBezTo>
                    <a:pt x="23" y="68"/>
                    <a:pt x="24" y="66"/>
                    <a:pt x="25" y="66"/>
                  </a:cubicBezTo>
                  <a:cubicBezTo>
                    <a:pt x="26" y="65"/>
                    <a:pt x="28" y="65"/>
                    <a:pt x="29" y="66"/>
                  </a:cubicBezTo>
                  <a:cubicBezTo>
                    <a:pt x="30" y="67"/>
                    <a:pt x="30" y="68"/>
                    <a:pt x="29" y="69"/>
                  </a:cubicBezTo>
                  <a:cubicBezTo>
                    <a:pt x="30" y="69"/>
                    <a:pt x="31" y="67"/>
                    <a:pt x="31" y="67"/>
                  </a:cubicBezTo>
                  <a:cubicBezTo>
                    <a:pt x="32" y="66"/>
                    <a:pt x="33" y="66"/>
                    <a:pt x="34" y="67"/>
                  </a:cubicBezTo>
                  <a:cubicBezTo>
                    <a:pt x="34" y="67"/>
                    <a:pt x="33" y="68"/>
                    <a:pt x="33" y="68"/>
                  </a:cubicBezTo>
                  <a:cubicBezTo>
                    <a:pt x="33" y="68"/>
                    <a:pt x="32" y="69"/>
                    <a:pt x="32" y="69"/>
                  </a:cubicBezTo>
                  <a:cubicBezTo>
                    <a:pt x="31" y="70"/>
                    <a:pt x="31" y="70"/>
                    <a:pt x="32" y="71"/>
                  </a:cubicBezTo>
                  <a:cubicBezTo>
                    <a:pt x="32" y="71"/>
                    <a:pt x="32" y="72"/>
                    <a:pt x="32" y="72"/>
                  </a:cubicBezTo>
                  <a:cubicBezTo>
                    <a:pt x="32" y="74"/>
                    <a:pt x="33" y="75"/>
                    <a:pt x="34" y="76"/>
                  </a:cubicBezTo>
                  <a:cubicBezTo>
                    <a:pt x="35" y="76"/>
                    <a:pt x="35" y="77"/>
                    <a:pt x="35" y="77"/>
                  </a:cubicBezTo>
                  <a:cubicBezTo>
                    <a:pt x="35" y="77"/>
                    <a:pt x="35" y="77"/>
                    <a:pt x="35" y="78"/>
                  </a:cubicBezTo>
                  <a:cubicBezTo>
                    <a:pt x="36" y="78"/>
                    <a:pt x="36" y="78"/>
                    <a:pt x="37" y="78"/>
                  </a:cubicBezTo>
                  <a:cubicBezTo>
                    <a:pt x="37" y="77"/>
                    <a:pt x="38" y="77"/>
                    <a:pt x="38" y="76"/>
                  </a:cubicBezTo>
                  <a:cubicBezTo>
                    <a:pt x="38" y="76"/>
                    <a:pt x="38" y="76"/>
                    <a:pt x="39" y="75"/>
                  </a:cubicBezTo>
                  <a:cubicBezTo>
                    <a:pt x="40" y="74"/>
                    <a:pt x="41" y="72"/>
                    <a:pt x="42" y="70"/>
                  </a:cubicBezTo>
                  <a:cubicBezTo>
                    <a:pt x="43" y="70"/>
                    <a:pt x="44" y="70"/>
                    <a:pt x="45" y="70"/>
                  </a:cubicBezTo>
                  <a:cubicBezTo>
                    <a:pt x="45" y="70"/>
                    <a:pt x="45" y="69"/>
                    <a:pt x="45" y="69"/>
                  </a:cubicBezTo>
                  <a:cubicBezTo>
                    <a:pt x="44" y="68"/>
                    <a:pt x="43" y="67"/>
                    <a:pt x="43" y="66"/>
                  </a:cubicBezTo>
                  <a:cubicBezTo>
                    <a:pt x="42" y="65"/>
                    <a:pt x="42" y="64"/>
                    <a:pt x="42" y="63"/>
                  </a:cubicBezTo>
                  <a:cubicBezTo>
                    <a:pt x="44" y="63"/>
                    <a:pt x="44" y="66"/>
                    <a:pt x="45" y="66"/>
                  </a:cubicBezTo>
                  <a:cubicBezTo>
                    <a:pt x="48" y="67"/>
                    <a:pt x="50" y="67"/>
                    <a:pt x="53" y="67"/>
                  </a:cubicBezTo>
                  <a:cubicBezTo>
                    <a:pt x="55" y="67"/>
                    <a:pt x="56" y="64"/>
                    <a:pt x="57" y="62"/>
                  </a:cubicBezTo>
                  <a:cubicBezTo>
                    <a:pt x="57" y="62"/>
                    <a:pt x="58" y="62"/>
                    <a:pt x="58" y="62"/>
                  </a:cubicBezTo>
                  <a:cubicBezTo>
                    <a:pt x="59" y="63"/>
                    <a:pt x="58" y="65"/>
                    <a:pt x="59" y="66"/>
                  </a:cubicBezTo>
                  <a:cubicBezTo>
                    <a:pt x="59" y="66"/>
                    <a:pt x="60" y="66"/>
                    <a:pt x="60" y="67"/>
                  </a:cubicBezTo>
                  <a:cubicBezTo>
                    <a:pt x="60" y="67"/>
                    <a:pt x="61" y="67"/>
                    <a:pt x="61" y="67"/>
                  </a:cubicBezTo>
                  <a:cubicBezTo>
                    <a:pt x="62" y="65"/>
                    <a:pt x="63" y="63"/>
                    <a:pt x="64" y="61"/>
                  </a:cubicBezTo>
                  <a:cubicBezTo>
                    <a:pt x="65" y="59"/>
                    <a:pt x="64" y="58"/>
                    <a:pt x="64" y="56"/>
                  </a:cubicBezTo>
                  <a:cubicBezTo>
                    <a:pt x="65" y="56"/>
                    <a:pt x="65" y="56"/>
                    <a:pt x="66" y="56"/>
                  </a:cubicBezTo>
                  <a:cubicBezTo>
                    <a:pt x="67" y="56"/>
                    <a:pt x="67" y="56"/>
                    <a:pt x="67" y="57"/>
                  </a:cubicBezTo>
                  <a:cubicBezTo>
                    <a:pt x="67" y="59"/>
                    <a:pt x="67" y="62"/>
                    <a:pt x="67" y="64"/>
                  </a:cubicBezTo>
                  <a:cubicBezTo>
                    <a:pt x="67" y="64"/>
                    <a:pt x="68" y="64"/>
                    <a:pt x="68" y="64"/>
                  </a:cubicBezTo>
                  <a:cubicBezTo>
                    <a:pt x="69" y="62"/>
                    <a:pt x="70" y="61"/>
                    <a:pt x="71" y="59"/>
                  </a:cubicBezTo>
                  <a:cubicBezTo>
                    <a:pt x="71" y="59"/>
                    <a:pt x="71" y="58"/>
                    <a:pt x="71" y="58"/>
                  </a:cubicBezTo>
                  <a:cubicBezTo>
                    <a:pt x="72" y="57"/>
                    <a:pt x="71" y="56"/>
                    <a:pt x="71" y="55"/>
                  </a:cubicBezTo>
                  <a:cubicBezTo>
                    <a:pt x="71" y="53"/>
                    <a:pt x="71" y="52"/>
                    <a:pt x="71" y="51"/>
                  </a:cubicBezTo>
                  <a:cubicBezTo>
                    <a:pt x="71" y="49"/>
                    <a:pt x="70" y="46"/>
                    <a:pt x="71" y="44"/>
                  </a:cubicBezTo>
                  <a:cubicBezTo>
                    <a:pt x="72" y="42"/>
                    <a:pt x="73" y="40"/>
                    <a:pt x="72" y="38"/>
                  </a:cubicBezTo>
                  <a:cubicBezTo>
                    <a:pt x="72" y="37"/>
                    <a:pt x="71" y="37"/>
                    <a:pt x="70" y="36"/>
                  </a:cubicBezTo>
                  <a:cubicBezTo>
                    <a:pt x="70" y="35"/>
                    <a:pt x="71" y="34"/>
                    <a:pt x="70" y="34"/>
                  </a:cubicBezTo>
                  <a:cubicBezTo>
                    <a:pt x="70" y="33"/>
                    <a:pt x="69" y="31"/>
                    <a:pt x="70" y="30"/>
                  </a:cubicBezTo>
                  <a:cubicBezTo>
                    <a:pt x="70" y="30"/>
                    <a:pt x="70" y="29"/>
                    <a:pt x="71" y="28"/>
                  </a:cubicBezTo>
                  <a:cubicBezTo>
                    <a:pt x="72" y="28"/>
                    <a:pt x="73" y="28"/>
                    <a:pt x="73" y="28"/>
                  </a:cubicBezTo>
                  <a:cubicBezTo>
                    <a:pt x="74" y="27"/>
                    <a:pt x="74" y="26"/>
                    <a:pt x="74" y="26"/>
                  </a:cubicBezTo>
                  <a:cubicBezTo>
                    <a:pt x="74" y="25"/>
                    <a:pt x="75" y="24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6" y="20"/>
                    <a:pt x="76" y="19"/>
                    <a:pt x="76" y="19"/>
                  </a:cubicBezTo>
                  <a:cubicBezTo>
                    <a:pt x="76" y="19"/>
                    <a:pt x="76" y="18"/>
                    <a:pt x="76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5" y="15"/>
                    <a:pt x="74" y="13"/>
                    <a:pt x="73" y="12"/>
                  </a:cubicBezTo>
                  <a:cubicBezTo>
                    <a:pt x="71" y="11"/>
                    <a:pt x="72" y="9"/>
                    <a:pt x="71" y="8"/>
                  </a:cubicBezTo>
                  <a:cubicBezTo>
                    <a:pt x="70" y="7"/>
                    <a:pt x="68" y="6"/>
                    <a:pt x="68" y="4"/>
                  </a:cubicBezTo>
                  <a:cubicBezTo>
                    <a:pt x="68" y="3"/>
                    <a:pt x="67" y="3"/>
                    <a:pt x="67" y="3"/>
                  </a:cubicBezTo>
                  <a:cubicBezTo>
                    <a:pt x="65" y="2"/>
                    <a:pt x="63" y="3"/>
                    <a:pt x="62" y="2"/>
                  </a:cubicBezTo>
                  <a:cubicBezTo>
                    <a:pt x="61" y="2"/>
                    <a:pt x="62" y="1"/>
                    <a:pt x="61" y="0"/>
                  </a:cubicBezTo>
                  <a:cubicBezTo>
                    <a:pt x="61" y="0"/>
                    <a:pt x="60" y="0"/>
                    <a:pt x="59" y="0"/>
                  </a:cubicBezTo>
                  <a:cubicBezTo>
                    <a:pt x="59" y="0"/>
                    <a:pt x="59" y="1"/>
                    <a:pt x="59" y="2"/>
                  </a:cubicBezTo>
                  <a:cubicBezTo>
                    <a:pt x="58" y="3"/>
                    <a:pt x="57" y="3"/>
                    <a:pt x="57" y="4"/>
                  </a:cubicBezTo>
                  <a:cubicBezTo>
                    <a:pt x="57" y="5"/>
                    <a:pt x="57" y="6"/>
                    <a:pt x="58" y="6"/>
                  </a:cubicBezTo>
                  <a:cubicBezTo>
                    <a:pt x="59" y="7"/>
                    <a:pt x="58" y="9"/>
                    <a:pt x="58" y="10"/>
                  </a:cubicBezTo>
                  <a:cubicBezTo>
                    <a:pt x="57" y="11"/>
                    <a:pt x="57" y="12"/>
                    <a:pt x="57" y="13"/>
                  </a:cubicBezTo>
                  <a:cubicBezTo>
                    <a:pt x="58" y="13"/>
                    <a:pt x="59" y="13"/>
                    <a:pt x="60" y="14"/>
                  </a:cubicBezTo>
                  <a:cubicBezTo>
                    <a:pt x="60" y="16"/>
                    <a:pt x="59" y="17"/>
                    <a:pt x="60" y="19"/>
                  </a:cubicBezTo>
                  <a:cubicBezTo>
                    <a:pt x="60" y="20"/>
                    <a:pt x="60" y="21"/>
                    <a:pt x="60" y="23"/>
                  </a:cubicBezTo>
                  <a:cubicBezTo>
                    <a:pt x="60" y="24"/>
                    <a:pt x="60" y="24"/>
                    <a:pt x="59" y="25"/>
                  </a:cubicBezTo>
                  <a:cubicBezTo>
                    <a:pt x="59" y="26"/>
                    <a:pt x="59" y="26"/>
                    <a:pt x="59" y="27"/>
                  </a:cubicBezTo>
                  <a:lnTo>
                    <a:pt x="59" y="3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6" name="Freeform 267"/>
            <p:cNvSpPr>
              <a:spLocks/>
            </p:cNvSpPr>
            <p:nvPr/>
          </p:nvSpPr>
          <p:spPr bwMode="auto">
            <a:xfrm>
              <a:off x="8309806" y="4897258"/>
              <a:ext cx="5801" cy="4232"/>
            </a:xfrm>
            <a:custGeom>
              <a:avLst/>
              <a:gdLst>
                <a:gd name="T0" fmla="*/ 5085394 w 5"/>
                <a:gd name="T1" fmla="*/ 4450654 h 4"/>
                <a:gd name="T2" fmla="*/ 1064436 w 5"/>
                <a:gd name="T3" fmla="*/ 2497529 h 4"/>
                <a:gd name="T4" fmla="*/ 1064436 w 5"/>
                <a:gd name="T5" fmla="*/ 6243820 h 4"/>
                <a:gd name="T6" fmla="*/ 6131150 w 5"/>
                <a:gd name="T7" fmla="*/ 9219213 h 4"/>
                <a:gd name="T8" fmla="*/ 6131150 w 5"/>
                <a:gd name="T9" fmla="*/ 2497529 h 4"/>
                <a:gd name="T10" fmla="*/ 5085394 w 5"/>
                <a:gd name="T11" fmla="*/ 4450654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4" y="2"/>
                  </a:moveTo>
                  <a:cubicBezTo>
                    <a:pt x="4" y="0"/>
                    <a:pt x="2" y="0"/>
                    <a:pt x="1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2" y="4"/>
                    <a:pt x="4" y="4"/>
                    <a:pt x="5" y="4"/>
                  </a:cubicBezTo>
                  <a:cubicBezTo>
                    <a:pt x="5" y="3"/>
                    <a:pt x="5" y="2"/>
                    <a:pt x="5" y="1"/>
                  </a:cubicBezTo>
                  <a:cubicBezTo>
                    <a:pt x="5" y="1"/>
                    <a:pt x="4" y="1"/>
                    <a:pt x="4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7" name="Freeform 268"/>
            <p:cNvSpPr>
              <a:spLocks/>
            </p:cNvSpPr>
            <p:nvPr/>
          </p:nvSpPr>
          <p:spPr bwMode="auto">
            <a:xfrm>
              <a:off x="8295306" y="4853141"/>
              <a:ext cx="56548" cy="45325"/>
            </a:xfrm>
            <a:custGeom>
              <a:avLst/>
              <a:gdLst>
                <a:gd name="T0" fmla="*/ 6241960 w 42"/>
                <a:gd name="T1" fmla="*/ 5415918 h 42"/>
                <a:gd name="T2" fmla="*/ 7350476 w 42"/>
                <a:gd name="T3" fmla="*/ 7350476 h 42"/>
                <a:gd name="T4" fmla="*/ 8174844 w 42"/>
                <a:gd name="T5" fmla="*/ 9969094 h 42"/>
                <a:gd name="T6" fmla="*/ 8174844 w 42"/>
                <a:gd name="T7" fmla="*/ 12766088 h 42"/>
                <a:gd name="T8" fmla="*/ 7350476 w 42"/>
                <a:gd name="T9" fmla="*/ 15386777 h 42"/>
                <a:gd name="T10" fmla="*/ 8174844 w 42"/>
                <a:gd name="T11" fmla="*/ 18182008 h 42"/>
                <a:gd name="T12" fmla="*/ 6241960 w 42"/>
                <a:gd name="T13" fmla="*/ 21914981 h 42"/>
                <a:gd name="T14" fmla="*/ 2648104 w 42"/>
                <a:gd name="T15" fmla="*/ 20120347 h 42"/>
                <a:gd name="T16" fmla="*/ 826407 w 42"/>
                <a:gd name="T17" fmla="*/ 20120347 h 42"/>
                <a:gd name="T18" fmla="*/ 2648104 w 42"/>
                <a:gd name="T19" fmla="*/ 24685188 h 42"/>
                <a:gd name="T20" fmla="*/ 826407 w 42"/>
                <a:gd name="T21" fmla="*/ 27333805 h 42"/>
                <a:gd name="T22" fmla="*/ 826407 w 42"/>
                <a:gd name="T23" fmla="*/ 28921406 h 42"/>
                <a:gd name="T24" fmla="*/ 2648104 w 42"/>
                <a:gd name="T25" fmla="*/ 32039415 h 42"/>
                <a:gd name="T26" fmla="*/ 2648104 w 42"/>
                <a:gd name="T27" fmla="*/ 38064251 h 42"/>
                <a:gd name="T28" fmla="*/ 5415918 w 42"/>
                <a:gd name="T29" fmla="*/ 34681073 h 42"/>
                <a:gd name="T30" fmla="*/ 7350476 w 42"/>
                <a:gd name="T31" fmla="*/ 34681073 h 42"/>
                <a:gd name="T32" fmla="*/ 10823096 w 42"/>
                <a:gd name="T33" fmla="*/ 34681073 h 42"/>
                <a:gd name="T34" fmla="*/ 10823096 w 42"/>
                <a:gd name="T35" fmla="*/ 33474537 h 42"/>
                <a:gd name="T36" fmla="*/ 7350476 w 42"/>
                <a:gd name="T37" fmla="*/ 30864540 h 42"/>
                <a:gd name="T38" fmla="*/ 3468116 w 42"/>
                <a:gd name="T39" fmla="*/ 28921406 h 42"/>
                <a:gd name="T40" fmla="*/ 7350476 w 42"/>
                <a:gd name="T41" fmla="*/ 28921406 h 42"/>
                <a:gd name="T42" fmla="*/ 9297268 w 42"/>
                <a:gd name="T43" fmla="*/ 28921406 h 42"/>
                <a:gd name="T44" fmla="*/ 9969094 w 42"/>
                <a:gd name="T45" fmla="*/ 27333805 h 42"/>
                <a:gd name="T46" fmla="*/ 12766088 w 42"/>
                <a:gd name="T47" fmla="*/ 27333805 h 42"/>
                <a:gd name="T48" fmla="*/ 18182008 w 42"/>
                <a:gd name="T49" fmla="*/ 30091492 h 42"/>
                <a:gd name="T50" fmla="*/ 20120347 w 42"/>
                <a:gd name="T51" fmla="*/ 30864540 h 42"/>
                <a:gd name="T52" fmla="*/ 23498565 w 42"/>
                <a:gd name="T53" fmla="*/ 33474537 h 42"/>
                <a:gd name="T54" fmla="*/ 23498565 w 42"/>
                <a:gd name="T55" fmla="*/ 33474537 h 42"/>
                <a:gd name="T56" fmla="*/ 23498565 w 42"/>
                <a:gd name="T57" fmla="*/ 32648180 h 42"/>
                <a:gd name="T58" fmla="*/ 24685188 w 42"/>
                <a:gd name="T59" fmla="*/ 32039415 h 42"/>
                <a:gd name="T60" fmla="*/ 25511584 w 42"/>
                <a:gd name="T61" fmla="*/ 28921406 h 42"/>
                <a:gd name="T62" fmla="*/ 27333805 w 42"/>
                <a:gd name="T63" fmla="*/ 25511584 h 42"/>
                <a:gd name="T64" fmla="*/ 28094992 w 42"/>
                <a:gd name="T65" fmla="*/ 24685188 h 42"/>
                <a:gd name="T66" fmla="*/ 37455335 w 42"/>
                <a:gd name="T67" fmla="*/ 21914981 h 42"/>
                <a:gd name="T68" fmla="*/ 38064251 w 42"/>
                <a:gd name="T69" fmla="*/ 20120347 h 42"/>
                <a:gd name="T70" fmla="*/ 36268825 w 42"/>
                <a:gd name="T71" fmla="*/ 20120347 h 42"/>
                <a:gd name="T72" fmla="*/ 33474537 w 42"/>
                <a:gd name="T73" fmla="*/ 18182008 h 42"/>
                <a:gd name="T74" fmla="*/ 33474537 w 42"/>
                <a:gd name="T75" fmla="*/ 10823096 h 42"/>
                <a:gd name="T76" fmla="*/ 30864540 w 42"/>
                <a:gd name="T77" fmla="*/ 13592483 h 42"/>
                <a:gd name="T78" fmla="*/ 28921406 w 42"/>
                <a:gd name="T79" fmla="*/ 13592483 h 42"/>
                <a:gd name="T80" fmla="*/ 28094992 w 42"/>
                <a:gd name="T81" fmla="*/ 13592483 h 42"/>
                <a:gd name="T82" fmla="*/ 23498565 w 42"/>
                <a:gd name="T83" fmla="*/ 11919091 h 42"/>
                <a:gd name="T84" fmla="*/ 15386777 w 42"/>
                <a:gd name="T85" fmla="*/ 7350476 h 42"/>
                <a:gd name="T86" fmla="*/ 13592483 w 42"/>
                <a:gd name="T87" fmla="*/ 7350476 h 42"/>
                <a:gd name="T88" fmla="*/ 12766088 w 42"/>
                <a:gd name="T89" fmla="*/ 4591617 h 42"/>
                <a:gd name="T90" fmla="*/ 11919091 w 42"/>
                <a:gd name="T91" fmla="*/ 3468116 h 42"/>
                <a:gd name="T92" fmla="*/ 9969094 w 42"/>
                <a:gd name="T93" fmla="*/ 1947959 h 42"/>
                <a:gd name="T94" fmla="*/ 8174844 w 42"/>
                <a:gd name="T95" fmla="*/ 0 h 42"/>
                <a:gd name="T96" fmla="*/ 6241960 w 42"/>
                <a:gd name="T97" fmla="*/ 0 h 42"/>
                <a:gd name="T98" fmla="*/ 5415918 w 42"/>
                <a:gd name="T99" fmla="*/ 826407 h 42"/>
                <a:gd name="T100" fmla="*/ 5415918 w 42"/>
                <a:gd name="T101" fmla="*/ 4591617 h 42"/>
                <a:gd name="T102" fmla="*/ 6241960 w 42"/>
                <a:gd name="T103" fmla="*/ 5415918 h 4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2"/>
                <a:gd name="T157" fmla="*/ 0 h 42"/>
                <a:gd name="T158" fmla="*/ 42 w 42"/>
                <a:gd name="T159" fmla="*/ 42 h 4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2" h="42">
                  <a:moveTo>
                    <a:pt x="7" y="6"/>
                  </a:moveTo>
                  <a:cubicBezTo>
                    <a:pt x="7" y="7"/>
                    <a:pt x="8" y="7"/>
                    <a:pt x="8" y="8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10" y="12"/>
                    <a:pt x="10" y="13"/>
                    <a:pt x="9" y="14"/>
                  </a:cubicBezTo>
                  <a:cubicBezTo>
                    <a:pt x="9" y="15"/>
                    <a:pt x="8" y="16"/>
                    <a:pt x="8" y="17"/>
                  </a:cubicBezTo>
                  <a:cubicBezTo>
                    <a:pt x="7" y="18"/>
                    <a:pt x="8" y="19"/>
                    <a:pt x="9" y="20"/>
                  </a:cubicBezTo>
                  <a:cubicBezTo>
                    <a:pt x="9" y="22"/>
                    <a:pt x="8" y="23"/>
                    <a:pt x="7" y="24"/>
                  </a:cubicBezTo>
                  <a:cubicBezTo>
                    <a:pt x="5" y="25"/>
                    <a:pt x="4" y="23"/>
                    <a:pt x="3" y="22"/>
                  </a:cubicBezTo>
                  <a:cubicBezTo>
                    <a:pt x="2" y="22"/>
                    <a:pt x="1" y="22"/>
                    <a:pt x="1" y="22"/>
                  </a:cubicBezTo>
                  <a:cubicBezTo>
                    <a:pt x="0" y="24"/>
                    <a:pt x="3" y="25"/>
                    <a:pt x="3" y="27"/>
                  </a:cubicBezTo>
                  <a:cubicBezTo>
                    <a:pt x="4" y="28"/>
                    <a:pt x="1" y="29"/>
                    <a:pt x="1" y="30"/>
                  </a:cubicBezTo>
                  <a:cubicBezTo>
                    <a:pt x="0" y="30"/>
                    <a:pt x="0" y="31"/>
                    <a:pt x="1" y="32"/>
                  </a:cubicBezTo>
                  <a:cubicBezTo>
                    <a:pt x="1" y="33"/>
                    <a:pt x="3" y="34"/>
                    <a:pt x="3" y="35"/>
                  </a:cubicBezTo>
                  <a:cubicBezTo>
                    <a:pt x="4" y="37"/>
                    <a:pt x="3" y="39"/>
                    <a:pt x="3" y="42"/>
                  </a:cubicBezTo>
                  <a:cubicBezTo>
                    <a:pt x="6" y="42"/>
                    <a:pt x="5" y="39"/>
                    <a:pt x="6" y="38"/>
                  </a:cubicBezTo>
                  <a:cubicBezTo>
                    <a:pt x="6" y="38"/>
                    <a:pt x="8" y="38"/>
                    <a:pt x="8" y="38"/>
                  </a:cubicBezTo>
                  <a:cubicBezTo>
                    <a:pt x="9" y="39"/>
                    <a:pt x="11" y="39"/>
                    <a:pt x="12" y="38"/>
                  </a:cubicBezTo>
                  <a:cubicBezTo>
                    <a:pt x="12" y="38"/>
                    <a:pt x="12" y="38"/>
                    <a:pt x="12" y="37"/>
                  </a:cubicBezTo>
                  <a:cubicBezTo>
                    <a:pt x="10" y="36"/>
                    <a:pt x="9" y="35"/>
                    <a:pt x="8" y="34"/>
                  </a:cubicBezTo>
                  <a:cubicBezTo>
                    <a:pt x="7" y="34"/>
                    <a:pt x="4" y="34"/>
                    <a:pt x="4" y="32"/>
                  </a:cubicBezTo>
                  <a:cubicBezTo>
                    <a:pt x="5" y="32"/>
                    <a:pt x="7" y="31"/>
                    <a:pt x="8" y="32"/>
                  </a:cubicBezTo>
                  <a:cubicBezTo>
                    <a:pt x="9" y="32"/>
                    <a:pt x="9" y="32"/>
                    <a:pt x="10" y="32"/>
                  </a:cubicBezTo>
                  <a:cubicBezTo>
                    <a:pt x="11" y="32"/>
                    <a:pt x="11" y="31"/>
                    <a:pt x="11" y="30"/>
                  </a:cubicBezTo>
                  <a:cubicBezTo>
                    <a:pt x="12" y="30"/>
                    <a:pt x="13" y="30"/>
                    <a:pt x="14" y="30"/>
                  </a:cubicBezTo>
                  <a:cubicBezTo>
                    <a:pt x="16" y="31"/>
                    <a:pt x="18" y="33"/>
                    <a:pt x="20" y="33"/>
                  </a:cubicBezTo>
                  <a:cubicBezTo>
                    <a:pt x="21" y="34"/>
                    <a:pt x="22" y="34"/>
                    <a:pt x="22" y="34"/>
                  </a:cubicBezTo>
                  <a:cubicBezTo>
                    <a:pt x="24" y="35"/>
                    <a:pt x="25" y="36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6" y="36"/>
                    <a:pt x="26" y="36"/>
                  </a:cubicBezTo>
                  <a:cubicBezTo>
                    <a:pt x="27" y="36"/>
                    <a:pt x="27" y="35"/>
                    <a:pt x="27" y="35"/>
                  </a:cubicBezTo>
                  <a:cubicBezTo>
                    <a:pt x="28" y="34"/>
                    <a:pt x="27" y="33"/>
                    <a:pt x="28" y="32"/>
                  </a:cubicBezTo>
                  <a:cubicBezTo>
                    <a:pt x="29" y="31"/>
                    <a:pt x="30" y="29"/>
                    <a:pt x="30" y="28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5" y="27"/>
                    <a:pt x="38" y="25"/>
                    <a:pt x="41" y="24"/>
                  </a:cubicBezTo>
                  <a:cubicBezTo>
                    <a:pt x="41" y="23"/>
                    <a:pt x="42" y="23"/>
                    <a:pt x="42" y="22"/>
                  </a:cubicBezTo>
                  <a:cubicBezTo>
                    <a:pt x="41" y="22"/>
                    <a:pt x="40" y="22"/>
                    <a:pt x="40" y="22"/>
                  </a:cubicBezTo>
                  <a:cubicBezTo>
                    <a:pt x="38" y="22"/>
                    <a:pt x="38" y="21"/>
                    <a:pt x="37" y="20"/>
                  </a:cubicBezTo>
                  <a:cubicBezTo>
                    <a:pt x="37" y="17"/>
                    <a:pt x="38" y="15"/>
                    <a:pt x="37" y="12"/>
                  </a:cubicBezTo>
                  <a:cubicBezTo>
                    <a:pt x="35" y="12"/>
                    <a:pt x="35" y="14"/>
                    <a:pt x="34" y="15"/>
                  </a:cubicBezTo>
                  <a:cubicBezTo>
                    <a:pt x="33" y="16"/>
                    <a:pt x="32" y="16"/>
                    <a:pt x="32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4"/>
                    <a:pt x="27" y="14"/>
                    <a:pt x="26" y="13"/>
                  </a:cubicBezTo>
                  <a:cubicBezTo>
                    <a:pt x="23" y="11"/>
                    <a:pt x="20" y="9"/>
                    <a:pt x="17" y="8"/>
                  </a:cubicBezTo>
                  <a:cubicBezTo>
                    <a:pt x="16" y="8"/>
                    <a:pt x="16" y="8"/>
                    <a:pt x="15" y="8"/>
                  </a:cubicBezTo>
                  <a:cubicBezTo>
                    <a:pt x="15" y="7"/>
                    <a:pt x="14" y="6"/>
                    <a:pt x="14" y="5"/>
                  </a:cubicBezTo>
                  <a:cubicBezTo>
                    <a:pt x="13" y="5"/>
                    <a:pt x="13" y="5"/>
                    <a:pt x="13" y="4"/>
                  </a:cubicBezTo>
                  <a:cubicBezTo>
                    <a:pt x="12" y="4"/>
                    <a:pt x="11" y="3"/>
                    <a:pt x="11" y="2"/>
                  </a:cubicBezTo>
                  <a:cubicBezTo>
                    <a:pt x="10" y="1"/>
                    <a:pt x="10" y="1"/>
                    <a:pt x="9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0"/>
                    <a:pt x="6" y="1"/>
                    <a:pt x="6" y="1"/>
                  </a:cubicBezTo>
                  <a:cubicBezTo>
                    <a:pt x="5" y="2"/>
                    <a:pt x="5" y="3"/>
                    <a:pt x="6" y="5"/>
                  </a:cubicBezTo>
                  <a:lnTo>
                    <a:pt x="7" y="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8" name="Freeform 269"/>
            <p:cNvSpPr>
              <a:spLocks/>
            </p:cNvSpPr>
            <p:nvPr/>
          </p:nvSpPr>
          <p:spPr bwMode="auto">
            <a:xfrm>
              <a:off x="8201064" y="4498999"/>
              <a:ext cx="9425" cy="3022"/>
            </a:xfrm>
            <a:custGeom>
              <a:avLst/>
              <a:gdLst>
                <a:gd name="T0" fmla="*/ 1724631 w 7"/>
                <a:gd name="T1" fmla="*/ 0 h 3"/>
                <a:gd name="T2" fmla="*/ 0 w 7"/>
                <a:gd name="T3" fmla="*/ 727531 h 3"/>
                <a:gd name="T4" fmla="*/ 1156064 w 7"/>
                <a:gd name="T5" fmla="*/ 2243220 h 3"/>
                <a:gd name="T6" fmla="*/ 3942014 w 7"/>
                <a:gd name="T7" fmla="*/ 1697572 h 3"/>
                <a:gd name="T8" fmla="*/ 3942014 w 7"/>
                <a:gd name="T9" fmla="*/ 727531 h 3"/>
                <a:gd name="T10" fmla="*/ 1724631 w 7"/>
                <a:gd name="T11" fmla="*/ 727531 h 3"/>
                <a:gd name="T12" fmla="*/ 1724631 w 7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3"/>
                <a:gd name="T23" fmla="*/ 7 w 7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3">
                  <a:moveTo>
                    <a:pt x="3" y="0"/>
                  </a:moveTo>
                  <a:cubicBezTo>
                    <a:pt x="2" y="0"/>
                    <a:pt x="1" y="0"/>
                    <a:pt x="0" y="1"/>
                  </a:cubicBezTo>
                  <a:cubicBezTo>
                    <a:pt x="0" y="1"/>
                    <a:pt x="1" y="2"/>
                    <a:pt x="2" y="3"/>
                  </a:cubicBezTo>
                  <a:cubicBezTo>
                    <a:pt x="4" y="3"/>
                    <a:pt x="5" y="3"/>
                    <a:pt x="7" y="2"/>
                  </a:cubicBezTo>
                  <a:cubicBezTo>
                    <a:pt x="7" y="2"/>
                    <a:pt x="7" y="2"/>
                    <a:pt x="7" y="1"/>
                  </a:cubicBezTo>
                  <a:cubicBezTo>
                    <a:pt x="6" y="1"/>
                    <a:pt x="4" y="1"/>
                    <a:pt x="3" y="1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9" name="Freeform 270"/>
            <p:cNvSpPr>
              <a:spLocks/>
            </p:cNvSpPr>
            <p:nvPr/>
          </p:nvSpPr>
          <p:spPr bwMode="auto">
            <a:xfrm>
              <a:off x="8210485" y="4502021"/>
              <a:ext cx="5801" cy="7856"/>
            </a:xfrm>
            <a:custGeom>
              <a:avLst/>
              <a:gdLst>
                <a:gd name="T0" fmla="*/ 2497529 w 4"/>
                <a:gd name="T1" fmla="*/ 0 h 7"/>
                <a:gd name="T2" fmla="*/ 0 w 4"/>
                <a:gd name="T3" fmla="*/ 5930334 h 7"/>
                <a:gd name="T4" fmla="*/ 6243820 w 4"/>
                <a:gd name="T5" fmla="*/ 10226328 h 7"/>
                <a:gd name="T6" fmla="*/ 6243820 w 4"/>
                <a:gd name="T7" fmla="*/ 8872004 h 7"/>
                <a:gd name="T8" fmla="*/ 6243820 w 4"/>
                <a:gd name="T9" fmla="*/ 0 h 7"/>
                <a:gd name="T10" fmla="*/ 2497529 w 4"/>
                <a:gd name="T11" fmla="*/ 0 h 7"/>
                <a:gd name="T12" fmla="*/ 2497529 w 4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7"/>
                <a:gd name="T23" fmla="*/ 4 w 4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7">
                  <a:moveTo>
                    <a:pt x="1" y="0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1" y="5"/>
                    <a:pt x="2" y="6"/>
                    <a:pt x="3" y="7"/>
                  </a:cubicBezTo>
                  <a:cubicBezTo>
                    <a:pt x="3" y="7"/>
                    <a:pt x="3" y="6"/>
                    <a:pt x="3" y="6"/>
                  </a:cubicBezTo>
                  <a:cubicBezTo>
                    <a:pt x="4" y="4"/>
                    <a:pt x="4" y="2"/>
                    <a:pt x="3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0" name="Freeform 271"/>
            <p:cNvSpPr>
              <a:spLocks/>
            </p:cNvSpPr>
            <p:nvPr/>
          </p:nvSpPr>
          <p:spPr bwMode="auto">
            <a:xfrm>
              <a:off x="7450001" y="4416810"/>
              <a:ext cx="1220836" cy="468363"/>
            </a:xfrm>
            <a:custGeom>
              <a:avLst/>
              <a:gdLst>
                <a:gd name="T0" fmla="*/ 36553278 w 906"/>
                <a:gd name="T1" fmla="*/ 114113090 h 433"/>
                <a:gd name="T2" fmla="*/ 34473066 w 906"/>
                <a:gd name="T3" fmla="*/ 76183474 h 433"/>
                <a:gd name="T4" fmla="*/ 63970374 w 906"/>
                <a:gd name="T5" fmla="*/ 94182920 h 433"/>
                <a:gd name="T6" fmla="*/ 42099146 w 906"/>
                <a:gd name="T7" fmla="*/ 148049123 h 433"/>
                <a:gd name="T8" fmla="*/ 89058329 w 906"/>
                <a:gd name="T9" fmla="*/ 116838040 h 433"/>
                <a:gd name="T10" fmla="*/ 86339916 w 906"/>
                <a:gd name="T11" fmla="*/ 112120201 h 433"/>
                <a:gd name="T12" fmla="*/ 75004344 w 906"/>
                <a:gd name="T13" fmla="*/ 67871859 h 433"/>
                <a:gd name="T14" fmla="*/ 95752814 w 906"/>
                <a:gd name="T15" fmla="*/ 78177496 h 433"/>
                <a:gd name="T16" fmla="*/ 129603694 w 906"/>
                <a:gd name="T17" fmla="*/ 91311225 h 433"/>
                <a:gd name="T18" fmla="*/ 110930881 w 906"/>
                <a:gd name="T19" fmla="*/ 74624658 h 433"/>
                <a:gd name="T20" fmla="*/ 137974956 w 906"/>
                <a:gd name="T21" fmla="*/ 44215040 h 433"/>
                <a:gd name="T22" fmla="*/ 176524235 w 906"/>
                <a:gd name="T23" fmla="*/ 25498247 h 433"/>
                <a:gd name="T24" fmla="*/ 211001713 w 906"/>
                <a:gd name="T25" fmla="*/ 23441417 h 433"/>
                <a:gd name="T26" fmla="*/ 228187619 w 906"/>
                <a:gd name="T27" fmla="*/ 17870369 h 433"/>
                <a:gd name="T28" fmla="*/ 261156422 w 906"/>
                <a:gd name="T29" fmla="*/ 17203618 h 433"/>
                <a:gd name="T30" fmla="*/ 308116607 w 906"/>
                <a:gd name="T31" fmla="*/ 24285049 h 433"/>
                <a:gd name="T32" fmla="*/ 287358858 w 906"/>
                <a:gd name="T33" fmla="*/ 52650946 h 433"/>
                <a:gd name="T34" fmla="*/ 264653285 w 906"/>
                <a:gd name="T35" fmla="*/ 72585955 h 433"/>
                <a:gd name="T36" fmla="*/ 300543598 w 906"/>
                <a:gd name="T37" fmla="*/ 52650946 h 433"/>
                <a:gd name="T38" fmla="*/ 350996186 w 906"/>
                <a:gd name="T39" fmla="*/ 58249103 h 433"/>
                <a:gd name="T40" fmla="*/ 384688035 w 906"/>
                <a:gd name="T41" fmla="*/ 53871250 h 433"/>
                <a:gd name="T42" fmla="*/ 410263569 w 906"/>
                <a:gd name="T43" fmla="*/ 68537843 h 433"/>
                <a:gd name="T44" fmla="*/ 432123952 w 906"/>
                <a:gd name="T45" fmla="*/ 89318563 h 433"/>
                <a:gd name="T46" fmla="*/ 470165564 w 906"/>
                <a:gd name="T47" fmla="*/ 83747397 h 433"/>
                <a:gd name="T48" fmla="*/ 488128181 w 906"/>
                <a:gd name="T49" fmla="*/ 73468277 h 433"/>
                <a:gd name="T50" fmla="*/ 531351294 w 906"/>
                <a:gd name="T51" fmla="*/ 83747397 h 433"/>
                <a:gd name="T52" fmla="*/ 581031782 w 906"/>
                <a:gd name="T53" fmla="*/ 94182920 h 433"/>
                <a:gd name="T54" fmla="*/ 636370107 w 906"/>
                <a:gd name="T55" fmla="*/ 110028122 h 433"/>
                <a:gd name="T56" fmla="*/ 681675133 w 906"/>
                <a:gd name="T57" fmla="*/ 107404026 h 433"/>
                <a:gd name="T58" fmla="*/ 707032983 w 906"/>
                <a:gd name="T59" fmla="*/ 104461870 h 433"/>
                <a:gd name="T60" fmla="*/ 789314780 w 906"/>
                <a:gd name="T61" fmla="*/ 126477088 h 433"/>
                <a:gd name="T62" fmla="*/ 819585653 w 906"/>
                <a:gd name="T63" fmla="*/ 150764093 h 433"/>
                <a:gd name="T64" fmla="*/ 847728053 w 906"/>
                <a:gd name="T65" fmla="*/ 157488580 h 433"/>
                <a:gd name="T66" fmla="*/ 837473289 w 906"/>
                <a:gd name="T67" fmla="*/ 174203479 h 433"/>
                <a:gd name="T68" fmla="*/ 791394878 w 906"/>
                <a:gd name="T69" fmla="*/ 152761821 h 433"/>
                <a:gd name="T70" fmla="*/ 764247781 w 906"/>
                <a:gd name="T71" fmla="*/ 166763714 h 433"/>
                <a:gd name="T72" fmla="*/ 796093844 w 906"/>
                <a:gd name="T73" fmla="*/ 197016760 h 433"/>
                <a:gd name="T74" fmla="*/ 749988223 w 906"/>
                <a:gd name="T75" fmla="*/ 217795420 h 433"/>
                <a:gd name="T76" fmla="*/ 708758134 w 906"/>
                <a:gd name="T77" fmla="*/ 226232989 h 433"/>
                <a:gd name="T78" fmla="*/ 707913397 w 906"/>
                <a:gd name="T79" fmla="*/ 259950908 h 433"/>
                <a:gd name="T80" fmla="*/ 698285686 w 906"/>
                <a:gd name="T81" fmla="*/ 300699127 h 433"/>
                <a:gd name="T82" fmla="*/ 665645677 w 906"/>
                <a:gd name="T83" fmla="*/ 281607769 h 433"/>
                <a:gd name="T84" fmla="*/ 689231816 w 906"/>
                <a:gd name="T85" fmla="*/ 220662125 h 433"/>
                <a:gd name="T86" fmla="*/ 691923245 w 906"/>
                <a:gd name="T87" fmla="*/ 206146548 h 433"/>
                <a:gd name="T88" fmla="*/ 651322024 w 906"/>
                <a:gd name="T89" fmla="*/ 207516318 h 433"/>
                <a:gd name="T90" fmla="*/ 627114728 w 906"/>
                <a:gd name="T91" fmla="*/ 237394676 h 433"/>
                <a:gd name="T92" fmla="*/ 603734483 w 906"/>
                <a:gd name="T93" fmla="*/ 233665646 h 433"/>
                <a:gd name="T94" fmla="*/ 541638106 w 906"/>
                <a:gd name="T95" fmla="*/ 259950908 h 433"/>
                <a:gd name="T96" fmla="*/ 540979005 w 906"/>
                <a:gd name="T97" fmla="*/ 290419270 h 433"/>
                <a:gd name="T98" fmla="*/ 556808009 w 906"/>
                <a:gd name="T99" fmla="*/ 288332029 h 433"/>
                <a:gd name="T100" fmla="*/ 576321931 w 906"/>
                <a:gd name="T101" fmla="*/ 346577371 h 433"/>
                <a:gd name="T102" fmla="*/ 536060842 w 906"/>
                <a:gd name="T103" fmla="*/ 405161035 h 433"/>
                <a:gd name="T104" fmla="*/ 537774807 w 906"/>
                <a:gd name="T105" fmla="*/ 374063204 h 433"/>
                <a:gd name="T106" fmla="*/ 503933905 w 906"/>
                <a:gd name="T107" fmla="*/ 345069549 h 433"/>
                <a:gd name="T108" fmla="*/ 438347316 w 906"/>
                <a:gd name="T109" fmla="*/ 300699127 h 433"/>
                <a:gd name="T110" fmla="*/ 408182866 w 906"/>
                <a:gd name="T111" fmla="*/ 334634858 h 433"/>
                <a:gd name="T112" fmla="*/ 319879366 w 906"/>
                <a:gd name="T113" fmla="*/ 332547920 h 433"/>
                <a:gd name="T114" fmla="*/ 274266030 w 906"/>
                <a:gd name="T115" fmla="*/ 324339578 h 433"/>
                <a:gd name="T116" fmla="*/ 235732813 w 906"/>
                <a:gd name="T117" fmla="*/ 324339578 h 433"/>
                <a:gd name="T118" fmla="*/ 184060207 w 906"/>
                <a:gd name="T119" fmla="*/ 335414473 h 433"/>
                <a:gd name="T120" fmla="*/ 130445635 w 906"/>
                <a:gd name="T121" fmla="*/ 305049309 h 433"/>
                <a:gd name="T122" fmla="*/ 73161696 w 906"/>
                <a:gd name="T123" fmla="*/ 278742879 h 43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06"/>
                <a:gd name="T187" fmla="*/ 0 h 433"/>
                <a:gd name="T188" fmla="*/ 906 w 906"/>
                <a:gd name="T189" fmla="*/ 433 h 43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06" h="433">
                  <a:moveTo>
                    <a:pt x="21" y="285"/>
                  </a:moveTo>
                  <a:cubicBezTo>
                    <a:pt x="21" y="278"/>
                    <a:pt x="31" y="269"/>
                    <a:pt x="29" y="255"/>
                  </a:cubicBezTo>
                  <a:cubicBezTo>
                    <a:pt x="28" y="242"/>
                    <a:pt x="13" y="215"/>
                    <a:pt x="7" y="193"/>
                  </a:cubicBezTo>
                  <a:cubicBezTo>
                    <a:pt x="0" y="170"/>
                    <a:pt x="12" y="116"/>
                    <a:pt x="12" y="116"/>
                  </a:cubicBezTo>
                  <a:cubicBezTo>
                    <a:pt x="13" y="117"/>
                    <a:pt x="14" y="119"/>
                    <a:pt x="16" y="120"/>
                  </a:cubicBezTo>
                  <a:cubicBezTo>
                    <a:pt x="17" y="120"/>
                    <a:pt x="19" y="120"/>
                    <a:pt x="20" y="120"/>
                  </a:cubicBezTo>
                  <a:cubicBezTo>
                    <a:pt x="21" y="120"/>
                    <a:pt x="22" y="121"/>
                    <a:pt x="23" y="122"/>
                  </a:cubicBezTo>
                  <a:cubicBezTo>
                    <a:pt x="24" y="123"/>
                    <a:pt x="26" y="123"/>
                    <a:pt x="27" y="124"/>
                  </a:cubicBezTo>
                  <a:cubicBezTo>
                    <a:pt x="28" y="125"/>
                    <a:pt x="29" y="126"/>
                    <a:pt x="30" y="126"/>
                  </a:cubicBezTo>
                  <a:cubicBezTo>
                    <a:pt x="31" y="127"/>
                    <a:pt x="32" y="127"/>
                    <a:pt x="32" y="127"/>
                  </a:cubicBezTo>
                  <a:cubicBezTo>
                    <a:pt x="35" y="130"/>
                    <a:pt x="38" y="132"/>
                    <a:pt x="41" y="135"/>
                  </a:cubicBezTo>
                  <a:cubicBezTo>
                    <a:pt x="41" y="135"/>
                    <a:pt x="41" y="136"/>
                    <a:pt x="42" y="136"/>
                  </a:cubicBezTo>
                  <a:cubicBezTo>
                    <a:pt x="42" y="136"/>
                    <a:pt x="42" y="136"/>
                    <a:pt x="42" y="136"/>
                  </a:cubicBezTo>
                  <a:cubicBezTo>
                    <a:pt x="43" y="135"/>
                    <a:pt x="44" y="135"/>
                    <a:pt x="45" y="134"/>
                  </a:cubicBezTo>
                  <a:cubicBezTo>
                    <a:pt x="45" y="133"/>
                    <a:pt x="46" y="132"/>
                    <a:pt x="46" y="131"/>
                  </a:cubicBezTo>
                  <a:cubicBezTo>
                    <a:pt x="46" y="130"/>
                    <a:pt x="47" y="129"/>
                    <a:pt x="46" y="128"/>
                  </a:cubicBezTo>
                  <a:cubicBezTo>
                    <a:pt x="45" y="128"/>
                    <a:pt x="43" y="129"/>
                    <a:pt x="42" y="127"/>
                  </a:cubicBezTo>
                  <a:cubicBezTo>
                    <a:pt x="42" y="126"/>
                    <a:pt x="42" y="125"/>
                    <a:pt x="42" y="125"/>
                  </a:cubicBezTo>
                  <a:cubicBezTo>
                    <a:pt x="41" y="124"/>
                    <a:pt x="40" y="122"/>
                    <a:pt x="39" y="121"/>
                  </a:cubicBezTo>
                  <a:cubicBezTo>
                    <a:pt x="38" y="121"/>
                    <a:pt x="38" y="120"/>
                    <a:pt x="39" y="120"/>
                  </a:cubicBezTo>
                  <a:cubicBezTo>
                    <a:pt x="39" y="120"/>
                    <a:pt x="39" y="120"/>
                    <a:pt x="39" y="120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7" y="117"/>
                    <a:pt x="36" y="118"/>
                    <a:pt x="34" y="118"/>
                  </a:cubicBezTo>
                  <a:cubicBezTo>
                    <a:pt x="33" y="118"/>
                    <a:pt x="33" y="117"/>
                    <a:pt x="32" y="117"/>
                  </a:cubicBezTo>
                  <a:cubicBezTo>
                    <a:pt x="32" y="116"/>
                    <a:pt x="31" y="117"/>
                    <a:pt x="30" y="117"/>
                  </a:cubicBezTo>
                  <a:cubicBezTo>
                    <a:pt x="29" y="117"/>
                    <a:pt x="29" y="117"/>
                    <a:pt x="28" y="117"/>
                  </a:cubicBezTo>
                  <a:cubicBezTo>
                    <a:pt x="27" y="116"/>
                    <a:pt x="28" y="115"/>
                    <a:pt x="28" y="114"/>
                  </a:cubicBezTo>
                  <a:cubicBezTo>
                    <a:pt x="28" y="113"/>
                    <a:pt x="30" y="113"/>
                    <a:pt x="30" y="111"/>
                  </a:cubicBezTo>
                  <a:cubicBezTo>
                    <a:pt x="30" y="109"/>
                    <a:pt x="30" y="107"/>
                    <a:pt x="30" y="105"/>
                  </a:cubicBezTo>
                  <a:cubicBezTo>
                    <a:pt x="29" y="104"/>
                    <a:pt x="28" y="102"/>
                    <a:pt x="28" y="101"/>
                  </a:cubicBezTo>
                  <a:cubicBezTo>
                    <a:pt x="28" y="101"/>
                    <a:pt x="28" y="100"/>
                    <a:pt x="27" y="100"/>
                  </a:cubicBezTo>
                  <a:cubicBezTo>
                    <a:pt x="26" y="100"/>
                    <a:pt x="25" y="100"/>
                    <a:pt x="25" y="100"/>
                  </a:cubicBezTo>
                  <a:cubicBezTo>
                    <a:pt x="24" y="99"/>
                    <a:pt x="24" y="98"/>
                    <a:pt x="24" y="97"/>
                  </a:cubicBezTo>
                  <a:cubicBezTo>
                    <a:pt x="24" y="97"/>
                    <a:pt x="25" y="96"/>
                    <a:pt x="25" y="96"/>
                  </a:cubicBezTo>
                  <a:cubicBezTo>
                    <a:pt x="25" y="95"/>
                    <a:pt x="25" y="94"/>
                    <a:pt x="26" y="93"/>
                  </a:cubicBezTo>
                  <a:cubicBezTo>
                    <a:pt x="28" y="93"/>
                    <a:pt x="30" y="93"/>
                    <a:pt x="32" y="92"/>
                  </a:cubicBezTo>
                  <a:cubicBezTo>
                    <a:pt x="34" y="91"/>
                    <a:pt x="34" y="89"/>
                    <a:pt x="35" y="88"/>
                  </a:cubicBezTo>
                  <a:cubicBezTo>
                    <a:pt x="36" y="86"/>
                    <a:pt x="36" y="83"/>
                    <a:pt x="37" y="81"/>
                  </a:cubicBezTo>
                  <a:cubicBezTo>
                    <a:pt x="37" y="79"/>
                    <a:pt x="37" y="78"/>
                    <a:pt x="37" y="76"/>
                  </a:cubicBezTo>
                  <a:cubicBezTo>
                    <a:pt x="38" y="74"/>
                    <a:pt x="38" y="71"/>
                    <a:pt x="40" y="70"/>
                  </a:cubicBezTo>
                  <a:cubicBezTo>
                    <a:pt x="41" y="69"/>
                    <a:pt x="42" y="70"/>
                    <a:pt x="43" y="71"/>
                  </a:cubicBezTo>
                  <a:cubicBezTo>
                    <a:pt x="43" y="72"/>
                    <a:pt x="44" y="71"/>
                    <a:pt x="45" y="71"/>
                  </a:cubicBezTo>
                  <a:cubicBezTo>
                    <a:pt x="45" y="70"/>
                    <a:pt x="46" y="70"/>
                    <a:pt x="47" y="71"/>
                  </a:cubicBezTo>
                  <a:cubicBezTo>
                    <a:pt x="48" y="71"/>
                    <a:pt x="49" y="71"/>
                    <a:pt x="51" y="71"/>
                  </a:cubicBezTo>
                  <a:cubicBezTo>
                    <a:pt x="52" y="70"/>
                    <a:pt x="54" y="70"/>
                    <a:pt x="56" y="71"/>
                  </a:cubicBezTo>
                  <a:cubicBezTo>
                    <a:pt x="57" y="72"/>
                    <a:pt x="59" y="72"/>
                    <a:pt x="59" y="71"/>
                  </a:cubicBezTo>
                  <a:cubicBezTo>
                    <a:pt x="60" y="70"/>
                    <a:pt x="62" y="71"/>
                    <a:pt x="62" y="71"/>
                  </a:cubicBezTo>
                  <a:cubicBezTo>
                    <a:pt x="63" y="72"/>
                    <a:pt x="63" y="73"/>
                    <a:pt x="62" y="73"/>
                  </a:cubicBezTo>
                  <a:cubicBezTo>
                    <a:pt x="62" y="74"/>
                    <a:pt x="62" y="75"/>
                    <a:pt x="62" y="75"/>
                  </a:cubicBezTo>
                  <a:cubicBezTo>
                    <a:pt x="63" y="77"/>
                    <a:pt x="63" y="78"/>
                    <a:pt x="63" y="79"/>
                  </a:cubicBezTo>
                  <a:cubicBezTo>
                    <a:pt x="62" y="82"/>
                    <a:pt x="63" y="84"/>
                    <a:pt x="61" y="87"/>
                  </a:cubicBezTo>
                  <a:cubicBezTo>
                    <a:pt x="61" y="87"/>
                    <a:pt x="60" y="88"/>
                    <a:pt x="60" y="89"/>
                  </a:cubicBezTo>
                  <a:cubicBezTo>
                    <a:pt x="60" y="90"/>
                    <a:pt x="59" y="91"/>
                    <a:pt x="60" y="93"/>
                  </a:cubicBezTo>
                  <a:cubicBezTo>
                    <a:pt x="62" y="94"/>
                    <a:pt x="64" y="95"/>
                    <a:pt x="66" y="96"/>
                  </a:cubicBezTo>
                  <a:cubicBezTo>
                    <a:pt x="67" y="96"/>
                    <a:pt x="68" y="97"/>
                    <a:pt x="68" y="97"/>
                  </a:cubicBezTo>
                  <a:cubicBezTo>
                    <a:pt x="68" y="98"/>
                    <a:pt x="68" y="99"/>
                    <a:pt x="68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9" y="102"/>
                    <a:pt x="68" y="104"/>
                    <a:pt x="69" y="106"/>
                  </a:cubicBezTo>
                  <a:cubicBezTo>
                    <a:pt x="69" y="108"/>
                    <a:pt x="70" y="109"/>
                    <a:pt x="70" y="110"/>
                  </a:cubicBezTo>
                  <a:cubicBezTo>
                    <a:pt x="71" y="112"/>
                    <a:pt x="71" y="113"/>
                    <a:pt x="71" y="115"/>
                  </a:cubicBezTo>
                  <a:cubicBezTo>
                    <a:pt x="72" y="119"/>
                    <a:pt x="70" y="123"/>
                    <a:pt x="72" y="127"/>
                  </a:cubicBezTo>
                  <a:cubicBezTo>
                    <a:pt x="72" y="128"/>
                    <a:pt x="73" y="128"/>
                    <a:pt x="75" y="129"/>
                  </a:cubicBezTo>
                  <a:cubicBezTo>
                    <a:pt x="76" y="129"/>
                    <a:pt x="77" y="130"/>
                    <a:pt x="77" y="131"/>
                  </a:cubicBezTo>
                  <a:cubicBezTo>
                    <a:pt x="78" y="134"/>
                    <a:pt x="77" y="136"/>
                    <a:pt x="77" y="139"/>
                  </a:cubicBezTo>
                  <a:cubicBezTo>
                    <a:pt x="76" y="140"/>
                    <a:pt x="76" y="141"/>
                    <a:pt x="75" y="142"/>
                  </a:cubicBezTo>
                  <a:cubicBezTo>
                    <a:pt x="75" y="142"/>
                    <a:pt x="75" y="143"/>
                    <a:pt x="75" y="144"/>
                  </a:cubicBezTo>
                  <a:cubicBezTo>
                    <a:pt x="75" y="145"/>
                    <a:pt x="73" y="145"/>
                    <a:pt x="73" y="146"/>
                  </a:cubicBezTo>
                  <a:cubicBezTo>
                    <a:pt x="73" y="148"/>
                    <a:pt x="73" y="150"/>
                    <a:pt x="72" y="152"/>
                  </a:cubicBezTo>
                  <a:cubicBezTo>
                    <a:pt x="72" y="153"/>
                    <a:pt x="70" y="153"/>
                    <a:pt x="69" y="153"/>
                  </a:cubicBezTo>
                  <a:cubicBezTo>
                    <a:pt x="68" y="154"/>
                    <a:pt x="68" y="155"/>
                    <a:pt x="68" y="156"/>
                  </a:cubicBezTo>
                  <a:cubicBezTo>
                    <a:pt x="68" y="156"/>
                    <a:pt x="68" y="157"/>
                    <a:pt x="68" y="157"/>
                  </a:cubicBezTo>
                  <a:cubicBezTo>
                    <a:pt x="65" y="157"/>
                    <a:pt x="61" y="157"/>
                    <a:pt x="58" y="156"/>
                  </a:cubicBezTo>
                  <a:cubicBezTo>
                    <a:pt x="57" y="156"/>
                    <a:pt x="56" y="155"/>
                    <a:pt x="54" y="155"/>
                  </a:cubicBezTo>
                  <a:cubicBezTo>
                    <a:pt x="53" y="154"/>
                    <a:pt x="52" y="154"/>
                    <a:pt x="50" y="155"/>
                  </a:cubicBezTo>
                  <a:cubicBezTo>
                    <a:pt x="48" y="155"/>
                    <a:pt x="47" y="156"/>
                    <a:pt x="45" y="157"/>
                  </a:cubicBezTo>
                  <a:cubicBezTo>
                    <a:pt x="45" y="157"/>
                    <a:pt x="45" y="157"/>
                    <a:pt x="45" y="157"/>
                  </a:cubicBezTo>
                  <a:cubicBezTo>
                    <a:pt x="47" y="157"/>
                    <a:pt x="47" y="156"/>
                    <a:pt x="48" y="156"/>
                  </a:cubicBezTo>
                  <a:cubicBezTo>
                    <a:pt x="50" y="155"/>
                    <a:pt x="51" y="155"/>
                    <a:pt x="52" y="156"/>
                  </a:cubicBezTo>
                  <a:cubicBezTo>
                    <a:pt x="53" y="156"/>
                    <a:pt x="53" y="158"/>
                    <a:pt x="54" y="158"/>
                  </a:cubicBezTo>
                  <a:cubicBezTo>
                    <a:pt x="55" y="159"/>
                    <a:pt x="57" y="159"/>
                    <a:pt x="58" y="159"/>
                  </a:cubicBezTo>
                  <a:cubicBezTo>
                    <a:pt x="58" y="160"/>
                    <a:pt x="59" y="160"/>
                    <a:pt x="59" y="160"/>
                  </a:cubicBezTo>
                  <a:cubicBezTo>
                    <a:pt x="63" y="161"/>
                    <a:pt x="66" y="160"/>
                    <a:pt x="70" y="161"/>
                  </a:cubicBezTo>
                  <a:cubicBezTo>
                    <a:pt x="71" y="161"/>
                    <a:pt x="72" y="161"/>
                    <a:pt x="72" y="162"/>
                  </a:cubicBezTo>
                  <a:cubicBezTo>
                    <a:pt x="73" y="162"/>
                    <a:pt x="74" y="162"/>
                    <a:pt x="75" y="162"/>
                  </a:cubicBezTo>
                  <a:cubicBezTo>
                    <a:pt x="75" y="162"/>
                    <a:pt x="75" y="161"/>
                    <a:pt x="75" y="161"/>
                  </a:cubicBezTo>
                  <a:cubicBezTo>
                    <a:pt x="76" y="160"/>
                    <a:pt x="76" y="159"/>
                    <a:pt x="76" y="157"/>
                  </a:cubicBezTo>
                  <a:cubicBezTo>
                    <a:pt x="76" y="157"/>
                    <a:pt x="77" y="157"/>
                    <a:pt x="77" y="156"/>
                  </a:cubicBezTo>
                  <a:cubicBezTo>
                    <a:pt x="78" y="156"/>
                    <a:pt x="78" y="155"/>
                    <a:pt x="79" y="155"/>
                  </a:cubicBezTo>
                  <a:cubicBezTo>
                    <a:pt x="81" y="154"/>
                    <a:pt x="82" y="153"/>
                    <a:pt x="83" y="152"/>
                  </a:cubicBezTo>
                  <a:cubicBezTo>
                    <a:pt x="86" y="151"/>
                    <a:pt x="84" y="147"/>
                    <a:pt x="85" y="144"/>
                  </a:cubicBezTo>
                  <a:cubicBezTo>
                    <a:pt x="86" y="142"/>
                    <a:pt x="87" y="141"/>
                    <a:pt x="89" y="140"/>
                  </a:cubicBezTo>
                  <a:cubicBezTo>
                    <a:pt x="89" y="137"/>
                    <a:pt x="87" y="135"/>
                    <a:pt x="85" y="134"/>
                  </a:cubicBezTo>
                  <a:cubicBezTo>
                    <a:pt x="85" y="131"/>
                    <a:pt x="84" y="128"/>
                    <a:pt x="87" y="127"/>
                  </a:cubicBezTo>
                  <a:cubicBezTo>
                    <a:pt x="88" y="127"/>
                    <a:pt x="90" y="127"/>
                    <a:pt x="92" y="126"/>
                  </a:cubicBezTo>
                  <a:cubicBezTo>
                    <a:pt x="93" y="126"/>
                    <a:pt x="94" y="125"/>
                    <a:pt x="95" y="124"/>
                  </a:cubicBezTo>
                  <a:cubicBezTo>
                    <a:pt x="96" y="124"/>
                    <a:pt x="97" y="124"/>
                    <a:pt x="97" y="124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9" y="127"/>
                    <a:pt x="100" y="129"/>
                    <a:pt x="101" y="130"/>
                  </a:cubicBezTo>
                  <a:cubicBezTo>
                    <a:pt x="103" y="131"/>
                    <a:pt x="104" y="132"/>
                    <a:pt x="104" y="134"/>
                  </a:cubicBezTo>
                  <a:cubicBezTo>
                    <a:pt x="104" y="134"/>
                    <a:pt x="105" y="135"/>
                    <a:pt x="105" y="135"/>
                  </a:cubicBezTo>
                  <a:cubicBezTo>
                    <a:pt x="105" y="137"/>
                    <a:pt x="105" y="139"/>
                    <a:pt x="105" y="141"/>
                  </a:cubicBezTo>
                  <a:cubicBezTo>
                    <a:pt x="105" y="142"/>
                    <a:pt x="106" y="142"/>
                    <a:pt x="107" y="142"/>
                  </a:cubicBezTo>
                  <a:cubicBezTo>
                    <a:pt x="110" y="144"/>
                    <a:pt x="114" y="144"/>
                    <a:pt x="118" y="145"/>
                  </a:cubicBezTo>
                  <a:cubicBezTo>
                    <a:pt x="119" y="145"/>
                    <a:pt x="119" y="145"/>
                    <a:pt x="120" y="146"/>
                  </a:cubicBezTo>
                  <a:cubicBezTo>
                    <a:pt x="120" y="146"/>
                    <a:pt x="121" y="146"/>
                    <a:pt x="121" y="146"/>
                  </a:cubicBezTo>
                  <a:cubicBezTo>
                    <a:pt x="121" y="145"/>
                    <a:pt x="120" y="143"/>
                    <a:pt x="119" y="143"/>
                  </a:cubicBezTo>
                  <a:cubicBezTo>
                    <a:pt x="117" y="142"/>
                    <a:pt x="115" y="143"/>
                    <a:pt x="113" y="142"/>
                  </a:cubicBezTo>
                  <a:cubicBezTo>
                    <a:pt x="111" y="142"/>
                    <a:pt x="109" y="141"/>
                    <a:pt x="107" y="140"/>
                  </a:cubicBezTo>
                  <a:cubicBezTo>
                    <a:pt x="107" y="138"/>
                    <a:pt x="107" y="135"/>
                    <a:pt x="110" y="135"/>
                  </a:cubicBezTo>
                  <a:cubicBezTo>
                    <a:pt x="110" y="133"/>
                    <a:pt x="110" y="132"/>
                    <a:pt x="109" y="131"/>
                  </a:cubicBezTo>
                  <a:cubicBezTo>
                    <a:pt x="107" y="129"/>
                    <a:pt x="105" y="127"/>
                    <a:pt x="103" y="125"/>
                  </a:cubicBezTo>
                  <a:cubicBezTo>
                    <a:pt x="102" y="124"/>
                    <a:pt x="100" y="124"/>
                    <a:pt x="99" y="123"/>
                  </a:cubicBezTo>
                  <a:cubicBezTo>
                    <a:pt x="98" y="123"/>
                    <a:pt x="98" y="122"/>
                    <a:pt x="97" y="122"/>
                  </a:cubicBezTo>
                  <a:cubicBezTo>
                    <a:pt x="95" y="121"/>
                    <a:pt x="93" y="120"/>
                    <a:pt x="92" y="119"/>
                  </a:cubicBezTo>
                  <a:cubicBezTo>
                    <a:pt x="89" y="118"/>
                    <a:pt x="88" y="122"/>
                    <a:pt x="87" y="123"/>
                  </a:cubicBezTo>
                  <a:cubicBezTo>
                    <a:pt x="86" y="124"/>
                    <a:pt x="84" y="123"/>
                    <a:pt x="84" y="122"/>
                  </a:cubicBezTo>
                  <a:cubicBezTo>
                    <a:pt x="83" y="122"/>
                    <a:pt x="83" y="122"/>
                    <a:pt x="82" y="122"/>
                  </a:cubicBezTo>
                  <a:cubicBezTo>
                    <a:pt x="82" y="122"/>
                    <a:pt x="82" y="122"/>
                    <a:pt x="82" y="122"/>
                  </a:cubicBezTo>
                  <a:cubicBezTo>
                    <a:pt x="81" y="122"/>
                    <a:pt x="80" y="123"/>
                    <a:pt x="80" y="122"/>
                  </a:cubicBezTo>
                  <a:cubicBezTo>
                    <a:pt x="79" y="121"/>
                    <a:pt x="78" y="120"/>
                    <a:pt x="78" y="119"/>
                  </a:cubicBezTo>
                  <a:cubicBezTo>
                    <a:pt x="76" y="116"/>
                    <a:pt x="76" y="111"/>
                    <a:pt x="77" y="108"/>
                  </a:cubicBezTo>
                  <a:cubicBezTo>
                    <a:pt x="77" y="106"/>
                    <a:pt x="78" y="105"/>
                    <a:pt x="78" y="103"/>
                  </a:cubicBezTo>
                  <a:cubicBezTo>
                    <a:pt x="77" y="101"/>
                    <a:pt x="75" y="101"/>
                    <a:pt x="75" y="99"/>
                  </a:cubicBezTo>
                  <a:cubicBezTo>
                    <a:pt x="74" y="98"/>
                    <a:pt x="74" y="96"/>
                    <a:pt x="72" y="96"/>
                  </a:cubicBezTo>
                  <a:cubicBezTo>
                    <a:pt x="71" y="95"/>
                    <a:pt x="70" y="95"/>
                    <a:pt x="69" y="94"/>
                  </a:cubicBezTo>
                  <a:cubicBezTo>
                    <a:pt x="69" y="93"/>
                    <a:pt x="69" y="91"/>
                    <a:pt x="71" y="90"/>
                  </a:cubicBezTo>
                  <a:cubicBezTo>
                    <a:pt x="70" y="88"/>
                    <a:pt x="72" y="87"/>
                    <a:pt x="73" y="86"/>
                  </a:cubicBezTo>
                  <a:cubicBezTo>
                    <a:pt x="75" y="85"/>
                    <a:pt x="76" y="85"/>
                    <a:pt x="78" y="84"/>
                  </a:cubicBezTo>
                  <a:cubicBezTo>
                    <a:pt x="79" y="82"/>
                    <a:pt x="79" y="81"/>
                    <a:pt x="78" y="79"/>
                  </a:cubicBezTo>
                  <a:cubicBezTo>
                    <a:pt x="78" y="78"/>
                    <a:pt x="79" y="76"/>
                    <a:pt x="78" y="75"/>
                  </a:cubicBezTo>
                  <a:cubicBezTo>
                    <a:pt x="77" y="73"/>
                    <a:pt x="76" y="72"/>
                    <a:pt x="77" y="71"/>
                  </a:cubicBezTo>
                  <a:cubicBezTo>
                    <a:pt x="77" y="70"/>
                    <a:pt x="78" y="70"/>
                    <a:pt x="79" y="71"/>
                  </a:cubicBezTo>
                  <a:cubicBezTo>
                    <a:pt x="79" y="71"/>
                    <a:pt x="80" y="71"/>
                    <a:pt x="80" y="72"/>
                  </a:cubicBezTo>
                  <a:cubicBezTo>
                    <a:pt x="81" y="74"/>
                    <a:pt x="80" y="76"/>
                    <a:pt x="81" y="78"/>
                  </a:cubicBezTo>
                  <a:cubicBezTo>
                    <a:pt x="81" y="79"/>
                    <a:pt x="82" y="79"/>
                    <a:pt x="82" y="80"/>
                  </a:cubicBezTo>
                  <a:cubicBezTo>
                    <a:pt x="83" y="84"/>
                    <a:pt x="82" y="88"/>
                    <a:pt x="84" y="92"/>
                  </a:cubicBezTo>
                  <a:cubicBezTo>
                    <a:pt x="84" y="94"/>
                    <a:pt x="86" y="95"/>
                    <a:pt x="88" y="95"/>
                  </a:cubicBezTo>
                  <a:cubicBezTo>
                    <a:pt x="92" y="95"/>
                    <a:pt x="97" y="94"/>
                    <a:pt x="101" y="95"/>
                  </a:cubicBezTo>
                  <a:cubicBezTo>
                    <a:pt x="102" y="96"/>
                    <a:pt x="103" y="97"/>
                    <a:pt x="103" y="98"/>
                  </a:cubicBezTo>
                  <a:cubicBezTo>
                    <a:pt x="103" y="98"/>
                    <a:pt x="104" y="98"/>
                    <a:pt x="104" y="98"/>
                  </a:cubicBezTo>
                  <a:cubicBezTo>
                    <a:pt x="104" y="97"/>
                    <a:pt x="104" y="95"/>
                    <a:pt x="102" y="94"/>
                  </a:cubicBezTo>
                  <a:cubicBezTo>
                    <a:pt x="101" y="93"/>
                    <a:pt x="99" y="93"/>
                    <a:pt x="98" y="93"/>
                  </a:cubicBezTo>
                  <a:cubicBezTo>
                    <a:pt x="98" y="93"/>
                    <a:pt x="97" y="93"/>
                    <a:pt x="97" y="92"/>
                  </a:cubicBezTo>
                  <a:cubicBezTo>
                    <a:pt x="95" y="92"/>
                    <a:pt x="92" y="92"/>
                    <a:pt x="91" y="90"/>
                  </a:cubicBezTo>
                  <a:cubicBezTo>
                    <a:pt x="90" y="89"/>
                    <a:pt x="88" y="88"/>
                    <a:pt x="86" y="87"/>
                  </a:cubicBezTo>
                  <a:cubicBezTo>
                    <a:pt x="86" y="87"/>
                    <a:pt x="86" y="86"/>
                    <a:pt x="86" y="86"/>
                  </a:cubicBezTo>
                  <a:cubicBezTo>
                    <a:pt x="88" y="85"/>
                    <a:pt x="89" y="85"/>
                    <a:pt x="90" y="84"/>
                  </a:cubicBezTo>
                  <a:cubicBezTo>
                    <a:pt x="91" y="83"/>
                    <a:pt x="92" y="83"/>
                    <a:pt x="93" y="83"/>
                  </a:cubicBezTo>
                  <a:cubicBezTo>
                    <a:pt x="95" y="84"/>
                    <a:pt x="96" y="86"/>
                    <a:pt x="98" y="87"/>
                  </a:cubicBezTo>
                  <a:cubicBezTo>
                    <a:pt x="99" y="88"/>
                    <a:pt x="100" y="88"/>
                    <a:pt x="101" y="87"/>
                  </a:cubicBezTo>
                  <a:cubicBezTo>
                    <a:pt x="101" y="87"/>
                    <a:pt x="102" y="86"/>
                    <a:pt x="102" y="86"/>
                  </a:cubicBezTo>
                  <a:cubicBezTo>
                    <a:pt x="102" y="85"/>
                    <a:pt x="103" y="83"/>
                    <a:pt x="102" y="83"/>
                  </a:cubicBezTo>
                  <a:cubicBezTo>
                    <a:pt x="101" y="82"/>
                    <a:pt x="99" y="82"/>
                    <a:pt x="97" y="82"/>
                  </a:cubicBezTo>
                  <a:cubicBezTo>
                    <a:pt x="97" y="82"/>
                    <a:pt x="97" y="81"/>
                    <a:pt x="97" y="81"/>
                  </a:cubicBezTo>
                  <a:cubicBezTo>
                    <a:pt x="98" y="80"/>
                    <a:pt x="99" y="79"/>
                    <a:pt x="100" y="79"/>
                  </a:cubicBezTo>
                  <a:cubicBezTo>
                    <a:pt x="102" y="78"/>
                    <a:pt x="105" y="79"/>
                    <a:pt x="107" y="79"/>
                  </a:cubicBezTo>
                  <a:cubicBezTo>
                    <a:pt x="109" y="79"/>
                    <a:pt x="110" y="80"/>
                    <a:pt x="112" y="81"/>
                  </a:cubicBezTo>
                  <a:cubicBezTo>
                    <a:pt x="114" y="82"/>
                    <a:pt x="116" y="81"/>
                    <a:pt x="117" y="83"/>
                  </a:cubicBezTo>
                  <a:cubicBezTo>
                    <a:pt x="119" y="85"/>
                    <a:pt x="121" y="86"/>
                    <a:pt x="123" y="88"/>
                  </a:cubicBezTo>
                  <a:cubicBezTo>
                    <a:pt x="126" y="90"/>
                    <a:pt x="129" y="90"/>
                    <a:pt x="132" y="89"/>
                  </a:cubicBezTo>
                  <a:cubicBezTo>
                    <a:pt x="133" y="89"/>
                    <a:pt x="135" y="89"/>
                    <a:pt x="135" y="89"/>
                  </a:cubicBezTo>
                  <a:cubicBezTo>
                    <a:pt x="135" y="90"/>
                    <a:pt x="136" y="91"/>
                    <a:pt x="135" y="92"/>
                  </a:cubicBezTo>
                  <a:cubicBezTo>
                    <a:pt x="134" y="93"/>
                    <a:pt x="133" y="92"/>
                    <a:pt x="132" y="93"/>
                  </a:cubicBezTo>
                  <a:cubicBezTo>
                    <a:pt x="132" y="95"/>
                    <a:pt x="132" y="96"/>
                    <a:pt x="133" y="97"/>
                  </a:cubicBezTo>
                  <a:cubicBezTo>
                    <a:pt x="134" y="98"/>
                    <a:pt x="133" y="100"/>
                    <a:pt x="133" y="101"/>
                  </a:cubicBezTo>
                  <a:cubicBezTo>
                    <a:pt x="133" y="101"/>
                    <a:pt x="134" y="101"/>
                    <a:pt x="134" y="101"/>
                  </a:cubicBezTo>
                  <a:cubicBezTo>
                    <a:pt x="133" y="102"/>
                    <a:pt x="133" y="104"/>
                    <a:pt x="134" y="105"/>
                  </a:cubicBezTo>
                  <a:cubicBezTo>
                    <a:pt x="134" y="105"/>
                    <a:pt x="135" y="105"/>
                    <a:pt x="135" y="104"/>
                  </a:cubicBezTo>
                  <a:cubicBezTo>
                    <a:pt x="135" y="103"/>
                    <a:pt x="135" y="102"/>
                    <a:pt x="136" y="101"/>
                  </a:cubicBezTo>
                  <a:cubicBezTo>
                    <a:pt x="136" y="100"/>
                    <a:pt x="137" y="99"/>
                    <a:pt x="138" y="97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8" y="99"/>
                    <a:pt x="138" y="101"/>
                    <a:pt x="138" y="103"/>
                  </a:cubicBezTo>
                  <a:cubicBezTo>
                    <a:pt x="138" y="104"/>
                    <a:pt x="137" y="106"/>
                    <a:pt x="137" y="108"/>
                  </a:cubicBezTo>
                  <a:cubicBezTo>
                    <a:pt x="137" y="108"/>
                    <a:pt x="138" y="108"/>
                    <a:pt x="138" y="108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9" y="109"/>
                    <a:pt x="141" y="109"/>
                    <a:pt x="142" y="109"/>
                  </a:cubicBezTo>
                  <a:cubicBezTo>
                    <a:pt x="142" y="108"/>
                    <a:pt x="144" y="108"/>
                    <a:pt x="144" y="107"/>
                  </a:cubicBezTo>
                  <a:cubicBezTo>
                    <a:pt x="144" y="106"/>
                    <a:pt x="144" y="104"/>
                    <a:pt x="144" y="103"/>
                  </a:cubicBezTo>
                  <a:cubicBezTo>
                    <a:pt x="144" y="103"/>
                    <a:pt x="143" y="103"/>
                    <a:pt x="143" y="102"/>
                  </a:cubicBezTo>
                  <a:cubicBezTo>
                    <a:pt x="143" y="101"/>
                    <a:pt x="143" y="100"/>
                    <a:pt x="142" y="100"/>
                  </a:cubicBezTo>
                  <a:cubicBezTo>
                    <a:pt x="142" y="99"/>
                    <a:pt x="140" y="98"/>
                    <a:pt x="139" y="96"/>
                  </a:cubicBezTo>
                  <a:cubicBezTo>
                    <a:pt x="139" y="96"/>
                    <a:pt x="138" y="96"/>
                    <a:pt x="138" y="96"/>
                  </a:cubicBezTo>
                  <a:cubicBezTo>
                    <a:pt x="138" y="95"/>
                    <a:pt x="138" y="94"/>
                    <a:pt x="139" y="93"/>
                  </a:cubicBezTo>
                  <a:cubicBezTo>
                    <a:pt x="139" y="92"/>
                    <a:pt x="139" y="90"/>
                    <a:pt x="139" y="89"/>
                  </a:cubicBezTo>
                  <a:cubicBezTo>
                    <a:pt x="138" y="88"/>
                    <a:pt x="138" y="87"/>
                    <a:pt x="136" y="86"/>
                  </a:cubicBezTo>
                  <a:cubicBezTo>
                    <a:pt x="134" y="86"/>
                    <a:pt x="132" y="86"/>
                    <a:pt x="129" y="86"/>
                  </a:cubicBezTo>
                  <a:cubicBezTo>
                    <a:pt x="129" y="86"/>
                    <a:pt x="129" y="85"/>
                    <a:pt x="129" y="85"/>
                  </a:cubicBezTo>
                  <a:cubicBezTo>
                    <a:pt x="128" y="84"/>
                    <a:pt x="129" y="82"/>
                    <a:pt x="127" y="81"/>
                  </a:cubicBezTo>
                  <a:cubicBezTo>
                    <a:pt x="124" y="81"/>
                    <a:pt x="122" y="81"/>
                    <a:pt x="119" y="80"/>
                  </a:cubicBezTo>
                  <a:cubicBezTo>
                    <a:pt x="119" y="80"/>
                    <a:pt x="118" y="79"/>
                    <a:pt x="118" y="79"/>
                  </a:cubicBezTo>
                  <a:cubicBezTo>
                    <a:pt x="118" y="78"/>
                    <a:pt x="117" y="77"/>
                    <a:pt x="117" y="76"/>
                  </a:cubicBezTo>
                  <a:cubicBezTo>
                    <a:pt x="116" y="72"/>
                    <a:pt x="117" y="67"/>
                    <a:pt x="113" y="63"/>
                  </a:cubicBezTo>
                  <a:cubicBezTo>
                    <a:pt x="113" y="63"/>
                    <a:pt x="113" y="61"/>
                    <a:pt x="114" y="61"/>
                  </a:cubicBezTo>
                  <a:cubicBezTo>
                    <a:pt x="117" y="60"/>
                    <a:pt x="121" y="60"/>
                    <a:pt x="124" y="61"/>
                  </a:cubicBezTo>
                  <a:cubicBezTo>
                    <a:pt x="126" y="61"/>
                    <a:pt x="129" y="62"/>
                    <a:pt x="131" y="61"/>
                  </a:cubicBezTo>
                  <a:cubicBezTo>
                    <a:pt x="133" y="60"/>
                    <a:pt x="136" y="60"/>
                    <a:pt x="138" y="59"/>
                  </a:cubicBezTo>
                  <a:cubicBezTo>
                    <a:pt x="139" y="58"/>
                    <a:pt x="141" y="59"/>
                    <a:pt x="142" y="59"/>
                  </a:cubicBezTo>
                  <a:cubicBezTo>
                    <a:pt x="144" y="60"/>
                    <a:pt x="145" y="61"/>
                    <a:pt x="146" y="60"/>
                  </a:cubicBezTo>
                  <a:cubicBezTo>
                    <a:pt x="148" y="60"/>
                    <a:pt x="149" y="59"/>
                    <a:pt x="150" y="59"/>
                  </a:cubicBezTo>
                  <a:cubicBezTo>
                    <a:pt x="151" y="59"/>
                    <a:pt x="151" y="59"/>
                    <a:pt x="151" y="59"/>
                  </a:cubicBezTo>
                  <a:cubicBezTo>
                    <a:pt x="152" y="59"/>
                    <a:pt x="152" y="58"/>
                    <a:pt x="153" y="59"/>
                  </a:cubicBezTo>
                  <a:cubicBezTo>
                    <a:pt x="154" y="59"/>
                    <a:pt x="155" y="59"/>
                    <a:pt x="156" y="60"/>
                  </a:cubicBezTo>
                  <a:cubicBezTo>
                    <a:pt x="157" y="60"/>
                    <a:pt x="158" y="60"/>
                    <a:pt x="158" y="60"/>
                  </a:cubicBezTo>
                  <a:cubicBezTo>
                    <a:pt x="158" y="59"/>
                    <a:pt x="159" y="59"/>
                    <a:pt x="158" y="58"/>
                  </a:cubicBezTo>
                  <a:cubicBezTo>
                    <a:pt x="156" y="56"/>
                    <a:pt x="154" y="55"/>
                    <a:pt x="151" y="53"/>
                  </a:cubicBezTo>
                  <a:cubicBezTo>
                    <a:pt x="150" y="52"/>
                    <a:pt x="149" y="52"/>
                    <a:pt x="148" y="52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9" y="51"/>
                    <a:pt x="150" y="50"/>
                    <a:pt x="149" y="48"/>
                  </a:cubicBezTo>
                  <a:cubicBezTo>
                    <a:pt x="149" y="48"/>
                    <a:pt x="147" y="47"/>
                    <a:pt x="147" y="47"/>
                  </a:cubicBezTo>
                  <a:cubicBezTo>
                    <a:pt x="146" y="46"/>
                    <a:pt x="147" y="45"/>
                    <a:pt x="147" y="44"/>
                  </a:cubicBezTo>
                  <a:cubicBezTo>
                    <a:pt x="147" y="44"/>
                    <a:pt x="148" y="44"/>
                    <a:pt x="148" y="44"/>
                  </a:cubicBezTo>
                  <a:cubicBezTo>
                    <a:pt x="149" y="45"/>
                    <a:pt x="150" y="46"/>
                    <a:pt x="151" y="46"/>
                  </a:cubicBezTo>
                  <a:cubicBezTo>
                    <a:pt x="152" y="47"/>
                    <a:pt x="153" y="46"/>
                    <a:pt x="154" y="45"/>
                  </a:cubicBezTo>
                  <a:cubicBezTo>
                    <a:pt x="154" y="44"/>
                    <a:pt x="155" y="42"/>
                    <a:pt x="154" y="41"/>
                  </a:cubicBezTo>
                  <a:cubicBezTo>
                    <a:pt x="154" y="41"/>
                    <a:pt x="153" y="41"/>
                    <a:pt x="153" y="41"/>
                  </a:cubicBezTo>
                  <a:cubicBezTo>
                    <a:pt x="153" y="40"/>
                    <a:pt x="153" y="39"/>
                    <a:pt x="153" y="38"/>
                  </a:cubicBezTo>
                  <a:cubicBezTo>
                    <a:pt x="156" y="38"/>
                    <a:pt x="158" y="39"/>
                    <a:pt x="161" y="38"/>
                  </a:cubicBezTo>
                  <a:cubicBezTo>
                    <a:pt x="161" y="38"/>
                    <a:pt x="162" y="38"/>
                    <a:pt x="162" y="37"/>
                  </a:cubicBezTo>
                  <a:cubicBezTo>
                    <a:pt x="163" y="35"/>
                    <a:pt x="165" y="33"/>
                    <a:pt x="168" y="34"/>
                  </a:cubicBezTo>
                  <a:cubicBezTo>
                    <a:pt x="169" y="34"/>
                    <a:pt x="169" y="35"/>
                    <a:pt x="170" y="35"/>
                  </a:cubicBezTo>
                  <a:cubicBezTo>
                    <a:pt x="172" y="35"/>
                    <a:pt x="172" y="33"/>
                    <a:pt x="174" y="32"/>
                  </a:cubicBezTo>
                  <a:cubicBezTo>
                    <a:pt x="176" y="32"/>
                    <a:pt x="178" y="32"/>
                    <a:pt x="180" y="32"/>
                  </a:cubicBezTo>
                  <a:cubicBezTo>
                    <a:pt x="183" y="32"/>
                    <a:pt x="186" y="32"/>
                    <a:pt x="189" y="31"/>
                  </a:cubicBezTo>
                  <a:cubicBezTo>
                    <a:pt x="190" y="31"/>
                    <a:pt x="191" y="31"/>
                    <a:pt x="191" y="30"/>
                  </a:cubicBezTo>
                  <a:cubicBezTo>
                    <a:pt x="193" y="30"/>
                    <a:pt x="195" y="30"/>
                    <a:pt x="197" y="30"/>
                  </a:cubicBezTo>
                  <a:cubicBezTo>
                    <a:pt x="197" y="30"/>
                    <a:pt x="197" y="29"/>
                    <a:pt x="197" y="29"/>
                  </a:cubicBezTo>
                  <a:cubicBezTo>
                    <a:pt x="196" y="28"/>
                    <a:pt x="194" y="29"/>
                    <a:pt x="192" y="28"/>
                  </a:cubicBezTo>
                  <a:cubicBezTo>
                    <a:pt x="191" y="28"/>
                    <a:pt x="190" y="27"/>
                    <a:pt x="188" y="27"/>
                  </a:cubicBezTo>
                  <a:cubicBezTo>
                    <a:pt x="188" y="27"/>
                    <a:pt x="188" y="26"/>
                    <a:pt x="189" y="26"/>
                  </a:cubicBezTo>
                  <a:cubicBezTo>
                    <a:pt x="192" y="24"/>
                    <a:pt x="195" y="26"/>
                    <a:pt x="199" y="26"/>
                  </a:cubicBezTo>
                  <a:cubicBezTo>
                    <a:pt x="199" y="25"/>
                    <a:pt x="199" y="25"/>
                    <a:pt x="200" y="25"/>
                  </a:cubicBezTo>
                  <a:cubicBezTo>
                    <a:pt x="202" y="25"/>
                    <a:pt x="203" y="25"/>
                    <a:pt x="205" y="25"/>
                  </a:cubicBezTo>
                  <a:cubicBezTo>
                    <a:pt x="206" y="24"/>
                    <a:pt x="208" y="24"/>
                    <a:pt x="208" y="22"/>
                  </a:cubicBezTo>
                  <a:cubicBezTo>
                    <a:pt x="207" y="22"/>
                    <a:pt x="208" y="21"/>
                    <a:pt x="209" y="21"/>
                  </a:cubicBezTo>
                  <a:cubicBezTo>
                    <a:pt x="210" y="21"/>
                    <a:pt x="211" y="20"/>
                    <a:pt x="212" y="21"/>
                  </a:cubicBezTo>
                  <a:cubicBezTo>
                    <a:pt x="213" y="21"/>
                    <a:pt x="212" y="22"/>
                    <a:pt x="212" y="22"/>
                  </a:cubicBezTo>
                  <a:cubicBezTo>
                    <a:pt x="212" y="22"/>
                    <a:pt x="211" y="23"/>
                    <a:pt x="211" y="23"/>
                  </a:cubicBezTo>
                  <a:cubicBezTo>
                    <a:pt x="211" y="24"/>
                    <a:pt x="210" y="25"/>
                    <a:pt x="209" y="26"/>
                  </a:cubicBezTo>
                  <a:cubicBezTo>
                    <a:pt x="209" y="27"/>
                    <a:pt x="209" y="27"/>
                    <a:pt x="209" y="28"/>
                  </a:cubicBezTo>
                  <a:cubicBezTo>
                    <a:pt x="210" y="28"/>
                    <a:pt x="211" y="28"/>
                    <a:pt x="211" y="28"/>
                  </a:cubicBezTo>
                  <a:cubicBezTo>
                    <a:pt x="212" y="27"/>
                    <a:pt x="213" y="28"/>
                    <a:pt x="214" y="28"/>
                  </a:cubicBezTo>
                  <a:cubicBezTo>
                    <a:pt x="214" y="29"/>
                    <a:pt x="216" y="28"/>
                    <a:pt x="217" y="27"/>
                  </a:cubicBezTo>
                  <a:cubicBezTo>
                    <a:pt x="217" y="27"/>
                    <a:pt x="218" y="27"/>
                    <a:pt x="218" y="27"/>
                  </a:cubicBezTo>
                  <a:cubicBezTo>
                    <a:pt x="218" y="27"/>
                    <a:pt x="219" y="27"/>
                    <a:pt x="218" y="28"/>
                  </a:cubicBezTo>
                  <a:cubicBezTo>
                    <a:pt x="219" y="28"/>
                    <a:pt x="220" y="28"/>
                    <a:pt x="220" y="27"/>
                  </a:cubicBezTo>
                  <a:cubicBezTo>
                    <a:pt x="221" y="27"/>
                    <a:pt x="221" y="26"/>
                    <a:pt x="221" y="26"/>
                  </a:cubicBezTo>
                  <a:cubicBezTo>
                    <a:pt x="223" y="25"/>
                    <a:pt x="224" y="25"/>
                    <a:pt x="225" y="25"/>
                  </a:cubicBezTo>
                  <a:cubicBezTo>
                    <a:pt x="229" y="24"/>
                    <a:pt x="233" y="24"/>
                    <a:pt x="235" y="27"/>
                  </a:cubicBezTo>
                  <a:cubicBezTo>
                    <a:pt x="236" y="28"/>
                    <a:pt x="236" y="29"/>
                    <a:pt x="234" y="31"/>
                  </a:cubicBezTo>
                  <a:cubicBezTo>
                    <a:pt x="234" y="31"/>
                    <a:pt x="234" y="32"/>
                    <a:pt x="234" y="32"/>
                  </a:cubicBezTo>
                  <a:cubicBezTo>
                    <a:pt x="235" y="32"/>
                    <a:pt x="236" y="31"/>
                    <a:pt x="237" y="31"/>
                  </a:cubicBezTo>
                  <a:cubicBezTo>
                    <a:pt x="237" y="29"/>
                    <a:pt x="237" y="27"/>
                    <a:pt x="236" y="26"/>
                  </a:cubicBezTo>
                  <a:cubicBezTo>
                    <a:pt x="235" y="25"/>
                    <a:pt x="234" y="23"/>
                    <a:pt x="233" y="23"/>
                  </a:cubicBezTo>
                  <a:cubicBezTo>
                    <a:pt x="231" y="23"/>
                    <a:pt x="230" y="22"/>
                    <a:pt x="228" y="21"/>
                  </a:cubicBezTo>
                  <a:cubicBezTo>
                    <a:pt x="228" y="21"/>
                    <a:pt x="228" y="21"/>
                    <a:pt x="228" y="21"/>
                  </a:cubicBezTo>
                  <a:cubicBezTo>
                    <a:pt x="230" y="21"/>
                    <a:pt x="232" y="21"/>
                    <a:pt x="234" y="21"/>
                  </a:cubicBezTo>
                  <a:cubicBezTo>
                    <a:pt x="234" y="20"/>
                    <a:pt x="235" y="21"/>
                    <a:pt x="236" y="20"/>
                  </a:cubicBezTo>
                  <a:cubicBezTo>
                    <a:pt x="236" y="20"/>
                    <a:pt x="236" y="20"/>
                    <a:pt x="236" y="20"/>
                  </a:cubicBezTo>
                  <a:cubicBezTo>
                    <a:pt x="237" y="20"/>
                    <a:pt x="238" y="20"/>
                    <a:pt x="239" y="20"/>
                  </a:cubicBezTo>
                  <a:cubicBezTo>
                    <a:pt x="241" y="20"/>
                    <a:pt x="242" y="21"/>
                    <a:pt x="243" y="22"/>
                  </a:cubicBezTo>
                  <a:cubicBezTo>
                    <a:pt x="245" y="24"/>
                    <a:pt x="247" y="23"/>
                    <a:pt x="249" y="24"/>
                  </a:cubicBezTo>
                  <a:cubicBezTo>
                    <a:pt x="249" y="24"/>
                    <a:pt x="249" y="25"/>
                    <a:pt x="249" y="25"/>
                  </a:cubicBezTo>
                  <a:cubicBezTo>
                    <a:pt x="250" y="25"/>
                    <a:pt x="250" y="25"/>
                    <a:pt x="251" y="25"/>
                  </a:cubicBezTo>
                  <a:cubicBezTo>
                    <a:pt x="251" y="25"/>
                    <a:pt x="251" y="24"/>
                    <a:pt x="251" y="24"/>
                  </a:cubicBezTo>
                  <a:cubicBezTo>
                    <a:pt x="249" y="21"/>
                    <a:pt x="246" y="21"/>
                    <a:pt x="243" y="20"/>
                  </a:cubicBezTo>
                  <a:cubicBezTo>
                    <a:pt x="243" y="20"/>
                    <a:pt x="243" y="19"/>
                    <a:pt x="243" y="19"/>
                  </a:cubicBezTo>
                  <a:cubicBezTo>
                    <a:pt x="243" y="19"/>
                    <a:pt x="244" y="18"/>
                    <a:pt x="244" y="18"/>
                  </a:cubicBezTo>
                  <a:cubicBezTo>
                    <a:pt x="245" y="16"/>
                    <a:pt x="243" y="15"/>
                    <a:pt x="241" y="15"/>
                  </a:cubicBezTo>
                  <a:cubicBezTo>
                    <a:pt x="241" y="15"/>
                    <a:pt x="241" y="14"/>
                    <a:pt x="241" y="14"/>
                  </a:cubicBezTo>
                  <a:cubicBezTo>
                    <a:pt x="242" y="13"/>
                    <a:pt x="242" y="11"/>
                    <a:pt x="243" y="10"/>
                  </a:cubicBezTo>
                  <a:cubicBezTo>
                    <a:pt x="244" y="9"/>
                    <a:pt x="245" y="10"/>
                    <a:pt x="247" y="9"/>
                  </a:cubicBezTo>
                  <a:cubicBezTo>
                    <a:pt x="248" y="8"/>
                    <a:pt x="248" y="6"/>
                    <a:pt x="250" y="6"/>
                  </a:cubicBezTo>
                  <a:cubicBezTo>
                    <a:pt x="250" y="5"/>
                    <a:pt x="251" y="5"/>
                    <a:pt x="251" y="5"/>
                  </a:cubicBezTo>
                  <a:cubicBezTo>
                    <a:pt x="251" y="4"/>
                    <a:pt x="252" y="3"/>
                    <a:pt x="252" y="2"/>
                  </a:cubicBezTo>
                  <a:cubicBezTo>
                    <a:pt x="254" y="2"/>
                    <a:pt x="257" y="2"/>
                    <a:pt x="258" y="0"/>
                  </a:cubicBezTo>
                  <a:cubicBezTo>
                    <a:pt x="261" y="0"/>
                    <a:pt x="263" y="2"/>
                    <a:pt x="266" y="3"/>
                  </a:cubicBezTo>
                  <a:cubicBezTo>
                    <a:pt x="267" y="4"/>
                    <a:pt x="269" y="3"/>
                    <a:pt x="271" y="3"/>
                  </a:cubicBezTo>
                  <a:cubicBezTo>
                    <a:pt x="272" y="4"/>
                    <a:pt x="272" y="5"/>
                    <a:pt x="271" y="6"/>
                  </a:cubicBezTo>
                  <a:cubicBezTo>
                    <a:pt x="270" y="8"/>
                    <a:pt x="268" y="9"/>
                    <a:pt x="266" y="11"/>
                  </a:cubicBezTo>
                  <a:cubicBezTo>
                    <a:pt x="265" y="11"/>
                    <a:pt x="264" y="11"/>
                    <a:pt x="263" y="11"/>
                  </a:cubicBezTo>
                  <a:cubicBezTo>
                    <a:pt x="263" y="11"/>
                    <a:pt x="263" y="11"/>
                    <a:pt x="263" y="12"/>
                  </a:cubicBezTo>
                  <a:cubicBezTo>
                    <a:pt x="267" y="12"/>
                    <a:pt x="270" y="12"/>
                    <a:pt x="274" y="12"/>
                  </a:cubicBezTo>
                  <a:cubicBezTo>
                    <a:pt x="276" y="11"/>
                    <a:pt x="279" y="11"/>
                    <a:pt x="281" y="13"/>
                  </a:cubicBezTo>
                  <a:cubicBezTo>
                    <a:pt x="281" y="14"/>
                    <a:pt x="280" y="15"/>
                    <a:pt x="280" y="17"/>
                  </a:cubicBezTo>
                  <a:cubicBezTo>
                    <a:pt x="279" y="17"/>
                    <a:pt x="279" y="18"/>
                    <a:pt x="278" y="18"/>
                  </a:cubicBezTo>
                  <a:cubicBezTo>
                    <a:pt x="278" y="19"/>
                    <a:pt x="278" y="19"/>
                    <a:pt x="278" y="20"/>
                  </a:cubicBezTo>
                  <a:cubicBezTo>
                    <a:pt x="279" y="20"/>
                    <a:pt x="280" y="20"/>
                    <a:pt x="280" y="19"/>
                  </a:cubicBezTo>
                  <a:cubicBezTo>
                    <a:pt x="282" y="19"/>
                    <a:pt x="285" y="20"/>
                    <a:pt x="287" y="19"/>
                  </a:cubicBezTo>
                  <a:cubicBezTo>
                    <a:pt x="288" y="18"/>
                    <a:pt x="288" y="17"/>
                    <a:pt x="289" y="16"/>
                  </a:cubicBezTo>
                  <a:cubicBezTo>
                    <a:pt x="289" y="15"/>
                    <a:pt x="290" y="16"/>
                    <a:pt x="291" y="16"/>
                  </a:cubicBezTo>
                  <a:cubicBezTo>
                    <a:pt x="292" y="16"/>
                    <a:pt x="293" y="16"/>
                    <a:pt x="294" y="16"/>
                  </a:cubicBezTo>
                  <a:cubicBezTo>
                    <a:pt x="296" y="15"/>
                    <a:pt x="297" y="15"/>
                    <a:pt x="299" y="16"/>
                  </a:cubicBezTo>
                  <a:cubicBezTo>
                    <a:pt x="300" y="17"/>
                    <a:pt x="303" y="17"/>
                    <a:pt x="305" y="15"/>
                  </a:cubicBezTo>
                  <a:cubicBezTo>
                    <a:pt x="305" y="15"/>
                    <a:pt x="306" y="15"/>
                    <a:pt x="307" y="15"/>
                  </a:cubicBezTo>
                  <a:cubicBezTo>
                    <a:pt x="308" y="15"/>
                    <a:pt x="308" y="15"/>
                    <a:pt x="308" y="15"/>
                  </a:cubicBezTo>
                  <a:cubicBezTo>
                    <a:pt x="308" y="15"/>
                    <a:pt x="309" y="15"/>
                    <a:pt x="309" y="15"/>
                  </a:cubicBezTo>
                  <a:cubicBezTo>
                    <a:pt x="310" y="16"/>
                    <a:pt x="310" y="17"/>
                    <a:pt x="311" y="17"/>
                  </a:cubicBezTo>
                  <a:cubicBezTo>
                    <a:pt x="312" y="17"/>
                    <a:pt x="313" y="18"/>
                    <a:pt x="314" y="19"/>
                  </a:cubicBezTo>
                  <a:cubicBezTo>
                    <a:pt x="314" y="19"/>
                    <a:pt x="315" y="20"/>
                    <a:pt x="315" y="20"/>
                  </a:cubicBezTo>
                  <a:cubicBezTo>
                    <a:pt x="317" y="20"/>
                    <a:pt x="318" y="20"/>
                    <a:pt x="319" y="20"/>
                  </a:cubicBezTo>
                  <a:cubicBezTo>
                    <a:pt x="320" y="21"/>
                    <a:pt x="320" y="23"/>
                    <a:pt x="321" y="24"/>
                  </a:cubicBezTo>
                  <a:cubicBezTo>
                    <a:pt x="321" y="24"/>
                    <a:pt x="322" y="24"/>
                    <a:pt x="322" y="25"/>
                  </a:cubicBezTo>
                  <a:cubicBezTo>
                    <a:pt x="323" y="25"/>
                    <a:pt x="325" y="25"/>
                    <a:pt x="326" y="25"/>
                  </a:cubicBezTo>
                  <a:cubicBezTo>
                    <a:pt x="327" y="25"/>
                    <a:pt x="328" y="25"/>
                    <a:pt x="328" y="26"/>
                  </a:cubicBezTo>
                  <a:cubicBezTo>
                    <a:pt x="328" y="27"/>
                    <a:pt x="328" y="27"/>
                    <a:pt x="328" y="28"/>
                  </a:cubicBezTo>
                  <a:cubicBezTo>
                    <a:pt x="329" y="28"/>
                    <a:pt x="329" y="28"/>
                    <a:pt x="330" y="28"/>
                  </a:cubicBezTo>
                  <a:cubicBezTo>
                    <a:pt x="331" y="29"/>
                    <a:pt x="331" y="30"/>
                    <a:pt x="331" y="31"/>
                  </a:cubicBezTo>
                  <a:cubicBezTo>
                    <a:pt x="331" y="31"/>
                    <a:pt x="331" y="33"/>
                    <a:pt x="331" y="33"/>
                  </a:cubicBezTo>
                  <a:cubicBezTo>
                    <a:pt x="329" y="34"/>
                    <a:pt x="328" y="32"/>
                    <a:pt x="326" y="31"/>
                  </a:cubicBezTo>
                  <a:cubicBezTo>
                    <a:pt x="325" y="31"/>
                    <a:pt x="324" y="31"/>
                    <a:pt x="324" y="31"/>
                  </a:cubicBezTo>
                  <a:cubicBezTo>
                    <a:pt x="324" y="31"/>
                    <a:pt x="324" y="31"/>
                    <a:pt x="324" y="31"/>
                  </a:cubicBezTo>
                  <a:cubicBezTo>
                    <a:pt x="325" y="31"/>
                    <a:pt x="325" y="33"/>
                    <a:pt x="326" y="33"/>
                  </a:cubicBezTo>
                  <a:cubicBezTo>
                    <a:pt x="327" y="34"/>
                    <a:pt x="331" y="34"/>
                    <a:pt x="331" y="36"/>
                  </a:cubicBezTo>
                  <a:cubicBezTo>
                    <a:pt x="331" y="36"/>
                    <a:pt x="331" y="37"/>
                    <a:pt x="331" y="38"/>
                  </a:cubicBezTo>
                  <a:cubicBezTo>
                    <a:pt x="330" y="38"/>
                    <a:pt x="330" y="39"/>
                    <a:pt x="329" y="40"/>
                  </a:cubicBezTo>
                  <a:cubicBezTo>
                    <a:pt x="328" y="40"/>
                    <a:pt x="326" y="41"/>
                    <a:pt x="326" y="42"/>
                  </a:cubicBezTo>
                  <a:cubicBezTo>
                    <a:pt x="326" y="44"/>
                    <a:pt x="325" y="46"/>
                    <a:pt x="323" y="46"/>
                  </a:cubicBezTo>
                  <a:cubicBezTo>
                    <a:pt x="322" y="47"/>
                    <a:pt x="321" y="46"/>
                    <a:pt x="320" y="47"/>
                  </a:cubicBezTo>
                  <a:cubicBezTo>
                    <a:pt x="319" y="47"/>
                    <a:pt x="318" y="48"/>
                    <a:pt x="317" y="48"/>
                  </a:cubicBezTo>
                  <a:cubicBezTo>
                    <a:pt x="316" y="49"/>
                    <a:pt x="315" y="49"/>
                    <a:pt x="313" y="49"/>
                  </a:cubicBezTo>
                  <a:cubicBezTo>
                    <a:pt x="311" y="50"/>
                    <a:pt x="310" y="52"/>
                    <a:pt x="309" y="54"/>
                  </a:cubicBezTo>
                  <a:cubicBezTo>
                    <a:pt x="309" y="54"/>
                    <a:pt x="308" y="54"/>
                    <a:pt x="308" y="54"/>
                  </a:cubicBezTo>
                  <a:cubicBezTo>
                    <a:pt x="307" y="55"/>
                    <a:pt x="307" y="55"/>
                    <a:pt x="306" y="56"/>
                  </a:cubicBezTo>
                  <a:cubicBezTo>
                    <a:pt x="304" y="57"/>
                    <a:pt x="303" y="59"/>
                    <a:pt x="301" y="59"/>
                  </a:cubicBezTo>
                  <a:cubicBezTo>
                    <a:pt x="299" y="60"/>
                    <a:pt x="296" y="59"/>
                    <a:pt x="294" y="60"/>
                  </a:cubicBezTo>
                  <a:cubicBezTo>
                    <a:pt x="293" y="60"/>
                    <a:pt x="293" y="62"/>
                    <a:pt x="292" y="63"/>
                  </a:cubicBezTo>
                  <a:cubicBezTo>
                    <a:pt x="291" y="64"/>
                    <a:pt x="289" y="64"/>
                    <a:pt x="289" y="65"/>
                  </a:cubicBezTo>
                  <a:cubicBezTo>
                    <a:pt x="288" y="65"/>
                    <a:pt x="289" y="66"/>
                    <a:pt x="288" y="67"/>
                  </a:cubicBezTo>
                  <a:cubicBezTo>
                    <a:pt x="288" y="68"/>
                    <a:pt x="287" y="69"/>
                    <a:pt x="287" y="69"/>
                  </a:cubicBezTo>
                  <a:cubicBezTo>
                    <a:pt x="287" y="70"/>
                    <a:pt x="286" y="71"/>
                    <a:pt x="286" y="71"/>
                  </a:cubicBezTo>
                  <a:cubicBezTo>
                    <a:pt x="283" y="72"/>
                    <a:pt x="281" y="73"/>
                    <a:pt x="280" y="75"/>
                  </a:cubicBezTo>
                  <a:cubicBezTo>
                    <a:pt x="279" y="75"/>
                    <a:pt x="278" y="76"/>
                    <a:pt x="277" y="76"/>
                  </a:cubicBezTo>
                  <a:cubicBezTo>
                    <a:pt x="276" y="77"/>
                    <a:pt x="275" y="76"/>
                    <a:pt x="274" y="77"/>
                  </a:cubicBezTo>
                  <a:cubicBezTo>
                    <a:pt x="272" y="78"/>
                    <a:pt x="271" y="79"/>
                    <a:pt x="271" y="80"/>
                  </a:cubicBezTo>
                  <a:cubicBezTo>
                    <a:pt x="270" y="81"/>
                    <a:pt x="269" y="83"/>
                    <a:pt x="268" y="84"/>
                  </a:cubicBezTo>
                  <a:cubicBezTo>
                    <a:pt x="268" y="85"/>
                    <a:pt x="267" y="85"/>
                    <a:pt x="268" y="86"/>
                  </a:cubicBezTo>
                  <a:cubicBezTo>
                    <a:pt x="268" y="86"/>
                    <a:pt x="268" y="86"/>
                    <a:pt x="269" y="86"/>
                  </a:cubicBezTo>
                  <a:cubicBezTo>
                    <a:pt x="269" y="85"/>
                    <a:pt x="269" y="85"/>
                    <a:pt x="269" y="84"/>
                  </a:cubicBezTo>
                  <a:cubicBezTo>
                    <a:pt x="270" y="84"/>
                    <a:pt x="270" y="83"/>
                    <a:pt x="271" y="83"/>
                  </a:cubicBezTo>
                  <a:cubicBezTo>
                    <a:pt x="271" y="83"/>
                    <a:pt x="271" y="82"/>
                    <a:pt x="271" y="82"/>
                  </a:cubicBezTo>
                  <a:cubicBezTo>
                    <a:pt x="273" y="80"/>
                    <a:pt x="275" y="79"/>
                    <a:pt x="276" y="77"/>
                  </a:cubicBezTo>
                  <a:cubicBezTo>
                    <a:pt x="278" y="77"/>
                    <a:pt x="280" y="78"/>
                    <a:pt x="282" y="77"/>
                  </a:cubicBezTo>
                  <a:cubicBezTo>
                    <a:pt x="284" y="75"/>
                    <a:pt x="285" y="74"/>
                    <a:pt x="286" y="72"/>
                  </a:cubicBezTo>
                  <a:cubicBezTo>
                    <a:pt x="289" y="72"/>
                    <a:pt x="292" y="73"/>
                    <a:pt x="294" y="72"/>
                  </a:cubicBezTo>
                  <a:cubicBezTo>
                    <a:pt x="294" y="72"/>
                    <a:pt x="294" y="71"/>
                    <a:pt x="294" y="71"/>
                  </a:cubicBezTo>
                  <a:cubicBezTo>
                    <a:pt x="292" y="71"/>
                    <a:pt x="291" y="71"/>
                    <a:pt x="289" y="69"/>
                  </a:cubicBezTo>
                  <a:cubicBezTo>
                    <a:pt x="289" y="69"/>
                    <a:pt x="290" y="68"/>
                    <a:pt x="290" y="67"/>
                  </a:cubicBezTo>
                  <a:cubicBezTo>
                    <a:pt x="293" y="66"/>
                    <a:pt x="295" y="67"/>
                    <a:pt x="297" y="67"/>
                  </a:cubicBezTo>
                  <a:cubicBezTo>
                    <a:pt x="299" y="67"/>
                    <a:pt x="300" y="67"/>
                    <a:pt x="302" y="67"/>
                  </a:cubicBezTo>
                  <a:cubicBezTo>
                    <a:pt x="302" y="66"/>
                    <a:pt x="303" y="67"/>
                    <a:pt x="304" y="67"/>
                  </a:cubicBezTo>
                  <a:cubicBezTo>
                    <a:pt x="305" y="66"/>
                    <a:pt x="306" y="66"/>
                    <a:pt x="307" y="65"/>
                  </a:cubicBezTo>
                  <a:cubicBezTo>
                    <a:pt x="308" y="64"/>
                    <a:pt x="307" y="63"/>
                    <a:pt x="308" y="62"/>
                  </a:cubicBezTo>
                  <a:cubicBezTo>
                    <a:pt x="309" y="62"/>
                    <a:pt x="311" y="63"/>
                    <a:pt x="313" y="62"/>
                  </a:cubicBezTo>
                  <a:cubicBezTo>
                    <a:pt x="314" y="62"/>
                    <a:pt x="315" y="61"/>
                    <a:pt x="316" y="60"/>
                  </a:cubicBezTo>
                  <a:cubicBezTo>
                    <a:pt x="316" y="60"/>
                    <a:pt x="317" y="60"/>
                    <a:pt x="317" y="60"/>
                  </a:cubicBezTo>
                  <a:cubicBezTo>
                    <a:pt x="317" y="60"/>
                    <a:pt x="317" y="60"/>
                    <a:pt x="317" y="59"/>
                  </a:cubicBezTo>
                  <a:cubicBezTo>
                    <a:pt x="316" y="59"/>
                    <a:pt x="315" y="60"/>
                    <a:pt x="313" y="60"/>
                  </a:cubicBezTo>
                  <a:cubicBezTo>
                    <a:pt x="312" y="60"/>
                    <a:pt x="311" y="60"/>
                    <a:pt x="311" y="60"/>
                  </a:cubicBezTo>
                  <a:cubicBezTo>
                    <a:pt x="310" y="58"/>
                    <a:pt x="312" y="57"/>
                    <a:pt x="312" y="55"/>
                  </a:cubicBezTo>
                  <a:cubicBezTo>
                    <a:pt x="314" y="55"/>
                    <a:pt x="315" y="56"/>
                    <a:pt x="317" y="57"/>
                  </a:cubicBezTo>
                  <a:cubicBezTo>
                    <a:pt x="317" y="57"/>
                    <a:pt x="319" y="57"/>
                    <a:pt x="320" y="56"/>
                  </a:cubicBezTo>
                  <a:cubicBezTo>
                    <a:pt x="320" y="55"/>
                    <a:pt x="322" y="56"/>
                    <a:pt x="322" y="57"/>
                  </a:cubicBezTo>
                  <a:cubicBezTo>
                    <a:pt x="323" y="58"/>
                    <a:pt x="323" y="59"/>
                    <a:pt x="323" y="60"/>
                  </a:cubicBezTo>
                  <a:cubicBezTo>
                    <a:pt x="324" y="61"/>
                    <a:pt x="325" y="61"/>
                    <a:pt x="326" y="61"/>
                  </a:cubicBezTo>
                  <a:cubicBezTo>
                    <a:pt x="329" y="62"/>
                    <a:pt x="331" y="61"/>
                    <a:pt x="333" y="62"/>
                  </a:cubicBezTo>
                  <a:cubicBezTo>
                    <a:pt x="333" y="61"/>
                    <a:pt x="333" y="61"/>
                    <a:pt x="333" y="61"/>
                  </a:cubicBezTo>
                  <a:cubicBezTo>
                    <a:pt x="333" y="60"/>
                    <a:pt x="331" y="60"/>
                    <a:pt x="331" y="59"/>
                  </a:cubicBezTo>
                  <a:cubicBezTo>
                    <a:pt x="331" y="58"/>
                    <a:pt x="331" y="57"/>
                    <a:pt x="331" y="57"/>
                  </a:cubicBezTo>
                  <a:cubicBezTo>
                    <a:pt x="332" y="56"/>
                    <a:pt x="333" y="57"/>
                    <a:pt x="334" y="58"/>
                  </a:cubicBezTo>
                  <a:cubicBezTo>
                    <a:pt x="336" y="59"/>
                    <a:pt x="337" y="60"/>
                    <a:pt x="338" y="62"/>
                  </a:cubicBezTo>
                  <a:cubicBezTo>
                    <a:pt x="339" y="63"/>
                    <a:pt x="339" y="65"/>
                    <a:pt x="340" y="66"/>
                  </a:cubicBezTo>
                  <a:cubicBezTo>
                    <a:pt x="340" y="66"/>
                    <a:pt x="340" y="67"/>
                    <a:pt x="340" y="67"/>
                  </a:cubicBezTo>
                  <a:cubicBezTo>
                    <a:pt x="340" y="68"/>
                    <a:pt x="341" y="68"/>
                    <a:pt x="341" y="68"/>
                  </a:cubicBezTo>
                  <a:cubicBezTo>
                    <a:pt x="341" y="66"/>
                    <a:pt x="341" y="64"/>
                    <a:pt x="339" y="62"/>
                  </a:cubicBezTo>
                  <a:cubicBezTo>
                    <a:pt x="339" y="62"/>
                    <a:pt x="339" y="61"/>
                    <a:pt x="339" y="61"/>
                  </a:cubicBezTo>
                  <a:cubicBezTo>
                    <a:pt x="340" y="60"/>
                    <a:pt x="342" y="61"/>
                    <a:pt x="343" y="61"/>
                  </a:cubicBezTo>
                  <a:cubicBezTo>
                    <a:pt x="344" y="60"/>
                    <a:pt x="346" y="61"/>
                    <a:pt x="347" y="60"/>
                  </a:cubicBezTo>
                  <a:cubicBezTo>
                    <a:pt x="351" y="60"/>
                    <a:pt x="355" y="59"/>
                    <a:pt x="358" y="60"/>
                  </a:cubicBezTo>
                  <a:cubicBezTo>
                    <a:pt x="360" y="60"/>
                    <a:pt x="362" y="61"/>
                    <a:pt x="364" y="61"/>
                  </a:cubicBezTo>
                  <a:cubicBezTo>
                    <a:pt x="367" y="61"/>
                    <a:pt x="371" y="60"/>
                    <a:pt x="374" y="62"/>
                  </a:cubicBezTo>
                  <a:cubicBezTo>
                    <a:pt x="375" y="62"/>
                    <a:pt x="375" y="64"/>
                    <a:pt x="374" y="64"/>
                  </a:cubicBezTo>
                  <a:cubicBezTo>
                    <a:pt x="373" y="64"/>
                    <a:pt x="373" y="64"/>
                    <a:pt x="372" y="64"/>
                  </a:cubicBezTo>
                  <a:cubicBezTo>
                    <a:pt x="372" y="65"/>
                    <a:pt x="372" y="66"/>
                    <a:pt x="373" y="66"/>
                  </a:cubicBezTo>
                  <a:cubicBezTo>
                    <a:pt x="374" y="67"/>
                    <a:pt x="375" y="66"/>
                    <a:pt x="377" y="66"/>
                  </a:cubicBezTo>
                  <a:cubicBezTo>
                    <a:pt x="377" y="67"/>
                    <a:pt x="378" y="67"/>
                    <a:pt x="378" y="67"/>
                  </a:cubicBezTo>
                  <a:cubicBezTo>
                    <a:pt x="381" y="69"/>
                    <a:pt x="384" y="67"/>
                    <a:pt x="387" y="68"/>
                  </a:cubicBezTo>
                  <a:cubicBezTo>
                    <a:pt x="388" y="69"/>
                    <a:pt x="388" y="69"/>
                    <a:pt x="389" y="69"/>
                  </a:cubicBezTo>
                  <a:cubicBezTo>
                    <a:pt x="392" y="70"/>
                    <a:pt x="394" y="69"/>
                    <a:pt x="397" y="70"/>
                  </a:cubicBezTo>
                  <a:cubicBezTo>
                    <a:pt x="398" y="70"/>
                    <a:pt x="400" y="71"/>
                    <a:pt x="401" y="70"/>
                  </a:cubicBezTo>
                  <a:cubicBezTo>
                    <a:pt x="401" y="70"/>
                    <a:pt x="401" y="69"/>
                    <a:pt x="402" y="68"/>
                  </a:cubicBezTo>
                  <a:cubicBezTo>
                    <a:pt x="402" y="68"/>
                    <a:pt x="403" y="68"/>
                    <a:pt x="403" y="68"/>
                  </a:cubicBezTo>
                  <a:cubicBezTo>
                    <a:pt x="404" y="69"/>
                    <a:pt x="405" y="70"/>
                    <a:pt x="406" y="70"/>
                  </a:cubicBezTo>
                  <a:cubicBezTo>
                    <a:pt x="406" y="71"/>
                    <a:pt x="407" y="70"/>
                    <a:pt x="407" y="70"/>
                  </a:cubicBezTo>
                  <a:cubicBezTo>
                    <a:pt x="407" y="69"/>
                    <a:pt x="407" y="67"/>
                    <a:pt x="406" y="66"/>
                  </a:cubicBezTo>
                  <a:cubicBezTo>
                    <a:pt x="406" y="66"/>
                    <a:pt x="406" y="66"/>
                    <a:pt x="406" y="66"/>
                  </a:cubicBezTo>
                  <a:cubicBezTo>
                    <a:pt x="406" y="66"/>
                    <a:pt x="406" y="65"/>
                    <a:pt x="405" y="64"/>
                  </a:cubicBezTo>
                  <a:cubicBezTo>
                    <a:pt x="405" y="63"/>
                    <a:pt x="405" y="62"/>
                    <a:pt x="406" y="61"/>
                  </a:cubicBezTo>
                  <a:cubicBezTo>
                    <a:pt x="406" y="60"/>
                    <a:pt x="407" y="60"/>
                    <a:pt x="408" y="59"/>
                  </a:cubicBezTo>
                  <a:cubicBezTo>
                    <a:pt x="408" y="59"/>
                    <a:pt x="409" y="58"/>
                    <a:pt x="410" y="57"/>
                  </a:cubicBezTo>
                  <a:cubicBezTo>
                    <a:pt x="412" y="56"/>
                    <a:pt x="413" y="58"/>
                    <a:pt x="414" y="59"/>
                  </a:cubicBezTo>
                  <a:cubicBezTo>
                    <a:pt x="414" y="59"/>
                    <a:pt x="416" y="58"/>
                    <a:pt x="417" y="59"/>
                  </a:cubicBezTo>
                  <a:cubicBezTo>
                    <a:pt x="418" y="60"/>
                    <a:pt x="419" y="60"/>
                    <a:pt x="419" y="60"/>
                  </a:cubicBezTo>
                  <a:cubicBezTo>
                    <a:pt x="420" y="61"/>
                    <a:pt x="420" y="61"/>
                    <a:pt x="420" y="61"/>
                  </a:cubicBezTo>
                  <a:cubicBezTo>
                    <a:pt x="421" y="61"/>
                    <a:pt x="421" y="61"/>
                    <a:pt x="421" y="61"/>
                  </a:cubicBezTo>
                  <a:cubicBezTo>
                    <a:pt x="422" y="61"/>
                    <a:pt x="422" y="60"/>
                    <a:pt x="423" y="60"/>
                  </a:cubicBezTo>
                  <a:cubicBezTo>
                    <a:pt x="423" y="59"/>
                    <a:pt x="424" y="60"/>
                    <a:pt x="425" y="60"/>
                  </a:cubicBezTo>
                  <a:cubicBezTo>
                    <a:pt x="425" y="60"/>
                    <a:pt x="426" y="60"/>
                    <a:pt x="426" y="60"/>
                  </a:cubicBezTo>
                  <a:cubicBezTo>
                    <a:pt x="426" y="61"/>
                    <a:pt x="427" y="61"/>
                    <a:pt x="427" y="62"/>
                  </a:cubicBezTo>
                  <a:cubicBezTo>
                    <a:pt x="428" y="62"/>
                    <a:pt x="429" y="61"/>
                    <a:pt x="431" y="60"/>
                  </a:cubicBezTo>
                  <a:cubicBezTo>
                    <a:pt x="432" y="59"/>
                    <a:pt x="435" y="60"/>
                    <a:pt x="436" y="61"/>
                  </a:cubicBezTo>
                  <a:cubicBezTo>
                    <a:pt x="437" y="61"/>
                    <a:pt x="438" y="62"/>
                    <a:pt x="438" y="62"/>
                  </a:cubicBezTo>
                  <a:cubicBezTo>
                    <a:pt x="439" y="62"/>
                    <a:pt x="439" y="63"/>
                    <a:pt x="440" y="64"/>
                  </a:cubicBezTo>
                  <a:cubicBezTo>
                    <a:pt x="442" y="64"/>
                    <a:pt x="442" y="65"/>
                    <a:pt x="444" y="66"/>
                  </a:cubicBezTo>
                  <a:cubicBezTo>
                    <a:pt x="444" y="67"/>
                    <a:pt x="446" y="67"/>
                    <a:pt x="446" y="68"/>
                  </a:cubicBezTo>
                  <a:cubicBezTo>
                    <a:pt x="447" y="70"/>
                    <a:pt x="444" y="69"/>
                    <a:pt x="443" y="69"/>
                  </a:cubicBezTo>
                  <a:cubicBezTo>
                    <a:pt x="443" y="71"/>
                    <a:pt x="445" y="70"/>
                    <a:pt x="446" y="71"/>
                  </a:cubicBezTo>
                  <a:cubicBezTo>
                    <a:pt x="447" y="73"/>
                    <a:pt x="444" y="72"/>
                    <a:pt x="442" y="72"/>
                  </a:cubicBezTo>
                  <a:cubicBezTo>
                    <a:pt x="440" y="73"/>
                    <a:pt x="438" y="72"/>
                    <a:pt x="437" y="73"/>
                  </a:cubicBezTo>
                  <a:cubicBezTo>
                    <a:pt x="436" y="74"/>
                    <a:pt x="436" y="75"/>
                    <a:pt x="435" y="76"/>
                  </a:cubicBezTo>
                  <a:cubicBezTo>
                    <a:pt x="435" y="76"/>
                    <a:pt x="434" y="76"/>
                    <a:pt x="434" y="77"/>
                  </a:cubicBezTo>
                  <a:cubicBezTo>
                    <a:pt x="433" y="78"/>
                    <a:pt x="433" y="80"/>
                    <a:pt x="434" y="82"/>
                  </a:cubicBezTo>
                  <a:cubicBezTo>
                    <a:pt x="434" y="82"/>
                    <a:pt x="434" y="83"/>
                    <a:pt x="435" y="83"/>
                  </a:cubicBezTo>
                  <a:cubicBezTo>
                    <a:pt x="435" y="82"/>
                    <a:pt x="435" y="81"/>
                    <a:pt x="436" y="80"/>
                  </a:cubicBezTo>
                  <a:cubicBezTo>
                    <a:pt x="436" y="79"/>
                    <a:pt x="438" y="79"/>
                    <a:pt x="438" y="80"/>
                  </a:cubicBezTo>
                  <a:cubicBezTo>
                    <a:pt x="438" y="80"/>
                    <a:pt x="439" y="81"/>
                    <a:pt x="439" y="81"/>
                  </a:cubicBezTo>
                  <a:cubicBezTo>
                    <a:pt x="440" y="81"/>
                    <a:pt x="440" y="81"/>
                    <a:pt x="440" y="81"/>
                  </a:cubicBezTo>
                  <a:cubicBezTo>
                    <a:pt x="441" y="82"/>
                    <a:pt x="442" y="83"/>
                    <a:pt x="444" y="83"/>
                  </a:cubicBezTo>
                  <a:cubicBezTo>
                    <a:pt x="445" y="84"/>
                    <a:pt x="446" y="84"/>
                    <a:pt x="447" y="85"/>
                  </a:cubicBezTo>
                  <a:cubicBezTo>
                    <a:pt x="447" y="85"/>
                    <a:pt x="447" y="86"/>
                    <a:pt x="448" y="86"/>
                  </a:cubicBezTo>
                  <a:cubicBezTo>
                    <a:pt x="448" y="87"/>
                    <a:pt x="449" y="86"/>
                    <a:pt x="449" y="86"/>
                  </a:cubicBezTo>
                  <a:cubicBezTo>
                    <a:pt x="450" y="86"/>
                    <a:pt x="451" y="86"/>
                    <a:pt x="451" y="86"/>
                  </a:cubicBezTo>
                  <a:cubicBezTo>
                    <a:pt x="451" y="86"/>
                    <a:pt x="451" y="87"/>
                    <a:pt x="451" y="88"/>
                  </a:cubicBezTo>
                  <a:cubicBezTo>
                    <a:pt x="450" y="88"/>
                    <a:pt x="450" y="89"/>
                    <a:pt x="451" y="90"/>
                  </a:cubicBezTo>
                  <a:cubicBezTo>
                    <a:pt x="451" y="90"/>
                    <a:pt x="451" y="90"/>
                    <a:pt x="451" y="90"/>
                  </a:cubicBezTo>
                  <a:cubicBezTo>
                    <a:pt x="452" y="90"/>
                    <a:pt x="453" y="90"/>
                    <a:pt x="454" y="91"/>
                  </a:cubicBezTo>
                  <a:cubicBezTo>
                    <a:pt x="455" y="92"/>
                    <a:pt x="455" y="93"/>
                    <a:pt x="457" y="94"/>
                  </a:cubicBezTo>
                  <a:cubicBezTo>
                    <a:pt x="458" y="94"/>
                    <a:pt x="459" y="95"/>
                    <a:pt x="460" y="95"/>
                  </a:cubicBezTo>
                  <a:cubicBezTo>
                    <a:pt x="461" y="96"/>
                    <a:pt x="462" y="97"/>
                    <a:pt x="463" y="97"/>
                  </a:cubicBezTo>
                  <a:cubicBezTo>
                    <a:pt x="464" y="98"/>
                    <a:pt x="466" y="98"/>
                    <a:pt x="467" y="99"/>
                  </a:cubicBezTo>
                  <a:cubicBezTo>
                    <a:pt x="468" y="99"/>
                    <a:pt x="468" y="100"/>
                    <a:pt x="469" y="101"/>
                  </a:cubicBezTo>
                  <a:cubicBezTo>
                    <a:pt x="470" y="101"/>
                    <a:pt x="471" y="101"/>
                    <a:pt x="472" y="100"/>
                  </a:cubicBezTo>
                  <a:cubicBezTo>
                    <a:pt x="472" y="99"/>
                    <a:pt x="471" y="98"/>
                    <a:pt x="472" y="97"/>
                  </a:cubicBezTo>
                  <a:cubicBezTo>
                    <a:pt x="473" y="97"/>
                    <a:pt x="473" y="96"/>
                    <a:pt x="473" y="95"/>
                  </a:cubicBezTo>
                  <a:cubicBezTo>
                    <a:pt x="474" y="94"/>
                    <a:pt x="473" y="93"/>
                    <a:pt x="473" y="92"/>
                  </a:cubicBezTo>
                  <a:cubicBezTo>
                    <a:pt x="472" y="91"/>
                    <a:pt x="473" y="90"/>
                    <a:pt x="473" y="89"/>
                  </a:cubicBezTo>
                  <a:cubicBezTo>
                    <a:pt x="474" y="88"/>
                    <a:pt x="473" y="86"/>
                    <a:pt x="474" y="85"/>
                  </a:cubicBezTo>
                  <a:cubicBezTo>
                    <a:pt x="475" y="85"/>
                    <a:pt x="476" y="85"/>
                    <a:pt x="476" y="85"/>
                  </a:cubicBezTo>
                  <a:cubicBezTo>
                    <a:pt x="477" y="86"/>
                    <a:pt x="476" y="87"/>
                    <a:pt x="477" y="88"/>
                  </a:cubicBezTo>
                  <a:cubicBezTo>
                    <a:pt x="477" y="88"/>
                    <a:pt x="477" y="89"/>
                    <a:pt x="478" y="89"/>
                  </a:cubicBezTo>
                  <a:cubicBezTo>
                    <a:pt x="479" y="90"/>
                    <a:pt x="480" y="89"/>
                    <a:pt x="481" y="89"/>
                  </a:cubicBezTo>
                  <a:cubicBezTo>
                    <a:pt x="482" y="90"/>
                    <a:pt x="483" y="92"/>
                    <a:pt x="484" y="92"/>
                  </a:cubicBezTo>
                  <a:cubicBezTo>
                    <a:pt x="486" y="93"/>
                    <a:pt x="488" y="93"/>
                    <a:pt x="490" y="92"/>
                  </a:cubicBezTo>
                  <a:cubicBezTo>
                    <a:pt x="491" y="91"/>
                    <a:pt x="492" y="90"/>
                    <a:pt x="493" y="89"/>
                  </a:cubicBezTo>
                  <a:cubicBezTo>
                    <a:pt x="493" y="89"/>
                    <a:pt x="494" y="88"/>
                    <a:pt x="494" y="88"/>
                  </a:cubicBezTo>
                  <a:cubicBezTo>
                    <a:pt x="496" y="88"/>
                    <a:pt x="497" y="88"/>
                    <a:pt x="499" y="88"/>
                  </a:cubicBezTo>
                  <a:cubicBezTo>
                    <a:pt x="500" y="89"/>
                    <a:pt x="501" y="89"/>
                    <a:pt x="501" y="89"/>
                  </a:cubicBezTo>
                  <a:cubicBezTo>
                    <a:pt x="503" y="90"/>
                    <a:pt x="504" y="89"/>
                    <a:pt x="506" y="90"/>
                  </a:cubicBezTo>
                  <a:cubicBezTo>
                    <a:pt x="507" y="92"/>
                    <a:pt x="509" y="92"/>
                    <a:pt x="511" y="93"/>
                  </a:cubicBezTo>
                  <a:cubicBezTo>
                    <a:pt x="512" y="95"/>
                    <a:pt x="514" y="95"/>
                    <a:pt x="516" y="95"/>
                  </a:cubicBezTo>
                  <a:cubicBezTo>
                    <a:pt x="517" y="95"/>
                    <a:pt x="517" y="94"/>
                    <a:pt x="516" y="93"/>
                  </a:cubicBezTo>
                  <a:cubicBezTo>
                    <a:pt x="516" y="93"/>
                    <a:pt x="515" y="92"/>
                    <a:pt x="515" y="91"/>
                  </a:cubicBezTo>
                  <a:cubicBezTo>
                    <a:pt x="513" y="91"/>
                    <a:pt x="512" y="91"/>
                    <a:pt x="511" y="90"/>
                  </a:cubicBezTo>
                  <a:cubicBezTo>
                    <a:pt x="511" y="90"/>
                    <a:pt x="511" y="90"/>
                    <a:pt x="512" y="90"/>
                  </a:cubicBezTo>
                  <a:cubicBezTo>
                    <a:pt x="514" y="89"/>
                    <a:pt x="516" y="89"/>
                    <a:pt x="518" y="89"/>
                  </a:cubicBezTo>
                  <a:cubicBezTo>
                    <a:pt x="518" y="89"/>
                    <a:pt x="518" y="89"/>
                    <a:pt x="519" y="89"/>
                  </a:cubicBezTo>
                  <a:cubicBezTo>
                    <a:pt x="519" y="89"/>
                    <a:pt x="519" y="89"/>
                    <a:pt x="519" y="90"/>
                  </a:cubicBezTo>
                  <a:cubicBezTo>
                    <a:pt x="520" y="91"/>
                    <a:pt x="521" y="93"/>
                    <a:pt x="523" y="92"/>
                  </a:cubicBezTo>
                  <a:cubicBezTo>
                    <a:pt x="524" y="91"/>
                    <a:pt x="526" y="91"/>
                    <a:pt x="527" y="91"/>
                  </a:cubicBezTo>
                  <a:cubicBezTo>
                    <a:pt x="527" y="91"/>
                    <a:pt x="528" y="90"/>
                    <a:pt x="527" y="90"/>
                  </a:cubicBezTo>
                  <a:cubicBezTo>
                    <a:pt x="527" y="89"/>
                    <a:pt x="526" y="89"/>
                    <a:pt x="526" y="89"/>
                  </a:cubicBezTo>
                  <a:cubicBezTo>
                    <a:pt x="526" y="88"/>
                    <a:pt x="526" y="88"/>
                    <a:pt x="526" y="88"/>
                  </a:cubicBezTo>
                  <a:cubicBezTo>
                    <a:pt x="525" y="87"/>
                    <a:pt x="524" y="86"/>
                    <a:pt x="524" y="85"/>
                  </a:cubicBezTo>
                  <a:cubicBezTo>
                    <a:pt x="524" y="84"/>
                    <a:pt x="524" y="82"/>
                    <a:pt x="523" y="82"/>
                  </a:cubicBezTo>
                  <a:cubicBezTo>
                    <a:pt x="522" y="81"/>
                    <a:pt x="521" y="82"/>
                    <a:pt x="520" y="81"/>
                  </a:cubicBezTo>
                  <a:cubicBezTo>
                    <a:pt x="520" y="80"/>
                    <a:pt x="519" y="79"/>
                    <a:pt x="520" y="78"/>
                  </a:cubicBezTo>
                  <a:cubicBezTo>
                    <a:pt x="520" y="77"/>
                    <a:pt x="521" y="76"/>
                    <a:pt x="523" y="76"/>
                  </a:cubicBezTo>
                  <a:cubicBezTo>
                    <a:pt x="525" y="75"/>
                    <a:pt x="527" y="76"/>
                    <a:pt x="529" y="75"/>
                  </a:cubicBezTo>
                  <a:cubicBezTo>
                    <a:pt x="530" y="73"/>
                    <a:pt x="528" y="72"/>
                    <a:pt x="527" y="71"/>
                  </a:cubicBezTo>
                  <a:cubicBezTo>
                    <a:pt x="527" y="70"/>
                    <a:pt x="527" y="70"/>
                    <a:pt x="527" y="70"/>
                  </a:cubicBezTo>
                  <a:cubicBezTo>
                    <a:pt x="529" y="69"/>
                    <a:pt x="531" y="71"/>
                    <a:pt x="533" y="72"/>
                  </a:cubicBezTo>
                  <a:cubicBezTo>
                    <a:pt x="534" y="73"/>
                    <a:pt x="536" y="72"/>
                    <a:pt x="536" y="73"/>
                  </a:cubicBezTo>
                  <a:cubicBezTo>
                    <a:pt x="537" y="73"/>
                    <a:pt x="538" y="73"/>
                    <a:pt x="539" y="73"/>
                  </a:cubicBezTo>
                  <a:cubicBezTo>
                    <a:pt x="541" y="74"/>
                    <a:pt x="543" y="73"/>
                    <a:pt x="546" y="74"/>
                  </a:cubicBezTo>
                  <a:cubicBezTo>
                    <a:pt x="547" y="74"/>
                    <a:pt x="548" y="75"/>
                    <a:pt x="549" y="75"/>
                  </a:cubicBezTo>
                  <a:cubicBezTo>
                    <a:pt x="551" y="75"/>
                    <a:pt x="553" y="75"/>
                    <a:pt x="555" y="75"/>
                  </a:cubicBezTo>
                  <a:cubicBezTo>
                    <a:pt x="556" y="78"/>
                    <a:pt x="554" y="79"/>
                    <a:pt x="552" y="81"/>
                  </a:cubicBezTo>
                  <a:cubicBezTo>
                    <a:pt x="551" y="81"/>
                    <a:pt x="551" y="82"/>
                    <a:pt x="552" y="83"/>
                  </a:cubicBezTo>
                  <a:cubicBezTo>
                    <a:pt x="552" y="83"/>
                    <a:pt x="553" y="83"/>
                    <a:pt x="554" y="82"/>
                  </a:cubicBezTo>
                  <a:cubicBezTo>
                    <a:pt x="555" y="82"/>
                    <a:pt x="555" y="81"/>
                    <a:pt x="556" y="81"/>
                  </a:cubicBezTo>
                  <a:cubicBezTo>
                    <a:pt x="558" y="80"/>
                    <a:pt x="561" y="81"/>
                    <a:pt x="563" y="80"/>
                  </a:cubicBezTo>
                  <a:cubicBezTo>
                    <a:pt x="564" y="82"/>
                    <a:pt x="564" y="83"/>
                    <a:pt x="563" y="84"/>
                  </a:cubicBezTo>
                  <a:cubicBezTo>
                    <a:pt x="563" y="85"/>
                    <a:pt x="561" y="85"/>
                    <a:pt x="561" y="86"/>
                  </a:cubicBezTo>
                  <a:cubicBezTo>
                    <a:pt x="561" y="87"/>
                    <a:pt x="560" y="89"/>
                    <a:pt x="561" y="89"/>
                  </a:cubicBezTo>
                  <a:cubicBezTo>
                    <a:pt x="563" y="90"/>
                    <a:pt x="564" y="90"/>
                    <a:pt x="566" y="89"/>
                  </a:cubicBezTo>
                  <a:cubicBezTo>
                    <a:pt x="568" y="89"/>
                    <a:pt x="569" y="87"/>
                    <a:pt x="570" y="86"/>
                  </a:cubicBezTo>
                  <a:cubicBezTo>
                    <a:pt x="571" y="84"/>
                    <a:pt x="570" y="83"/>
                    <a:pt x="571" y="81"/>
                  </a:cubicBezTo>
                  <a:cubicBezTo>
                    <a:pt x="571" y="81"/>
                    <a:pt x="571" y="80"/>
                    <a:pt x="572" y="80"/>
                  </a:cubicBezTo>
                  <a:cubicBezTo>
                    <a:pt x="573" y="79"/>
                    <a:pt x="574" y="80"/>
                    <a:pt x="576" y="80"/>
                  </a:cubicBezTo>
                  <a:cubicBezTo>
                    <a:pt x="579" y="80"/>
                    <a:pt x="581" y="79"/>
                    <a:pt x="584" y="80"/>
                  </a:cubicBezTo>
                  <a:cubicBezTo>
                    <a:pt x="585" y="80"/>
                    <a:pt x="586" y="81"/>
                    <a:pt x="587" y="81"/>
                  </a:cubicBezTo>
                  <a:cubicBezTo>
                    <a:pt x="589" y="81"/>
                    <a:pt x="591" y="81"/>
                    <a:pt x="592" y="82"/>
                  </a:cubicBezTo>
                  <a:cubicBezTo>
                    <a:pt x="593" y="83"/>
                    <a:pt x="594" y="85"/>
                    <a:pt x="593" y="85"/>
                  </a:cubicBezTo>
                  <a:cubicBezTo>
                    <a:pt x="592" y="86"/>
                    <a:pt x="589" y="85"/>
                    <a:pt x="588" y="86"/>
                  </a:cubicBezTo>
                  <a:cubicBezTo>
                    <a:pt x="588" y="86"/>
                    <a:pt x="588" y="87"/>
                    <a:pt x="588" y="87"/>
                  </a:cubicBezTo>
                  <a:cubicBezTo>
                    <a:pt x="589" y="87"/>
                    <a:pt x="591" y="88"/>
                    <a:pt x="592" y="89"/>
                  </a:cubicBezTo>
                  <a:cubicBezTo>
                    <a:pt x="594" y="89"/>
                    <a:pt x="597" y="89"/>
                    <a:pt x="599" y="90"/>
                  </a:cubicBezTo>
                  <a:cubicBezTo>
                    <a:pt x="599" y="91"/>
                    <a:pt x="600" y="91"/>
                    <a:pt x="601" y="91"/>
                  </a:cubicBezTo>
                  <a:cubicBezTo>
                    <a:pt x="602" y="90"/>
                    <a:pt x="603" y="90"/>
                    <a:pt x="603" y="89"/>
                  </a:cubicBezTo>
                  <a:cubicBezTo>
                    <a:pt x="604" y="89"/>
                    <a:pt x="605" y="90"/>
                    <a:pt x="606" y="90"/>
                  </a:cubicBezTo>
                  <a:cubicBezTo>
                    <a:pt x="607" y="90"/>
                    <a:pt x="609" y="90"/>
                    <a:pt x="610" y="90"/>
                  </a:cubicBezTo>
                  <a:cubicBezTo>
                    <a:pt x="611" y="91"/>
                    <a:pt x="613" y="92"/>
                    <a:pt x="613" y="94"/>
                  </a:cubicBezTo>
                  <a:cubicBezTo>
                    <a:pt x="614" y="95"/>
                    <a:pt x="613" y="97"/>
                    <a:pt x="614" y="99"/>
                  </a:cubicBezTo>
                  <a:cubicBezTo>
                    <a:pt x="615" y="100"/>
                    <a:pt x="617" y="101"/>
                    <a:pt x="619" y="100"/>
                  </a:cubicBezTo>
                  <a:cubicBezTo>
                    <a:pt x="619" y="100"/>
                    <a:pt x="620" y="99"/>
                    <a:pt x="620" y="99"/>
                  </a:cubicBezTo>
                  <a:cubicBezTo>
                    <a:pt x="621" y="99"/>
                    <a:pt x="623" y="99"/>
                    <a:pt x="624" y="99"/>
                  </a:cubicBezTo>
                  <a:cubicBezTo>
                    <a:pt x="624" y="99"/>
                    <a:pt x="624" y="99"/>
                    <a:pt x="624" y="99"/>
                  </a:cubicBezTo>
                  <a:cubicBezTo>
                    <a:pt x="625" y="99"/>
                    <a:pt x="625" y="99"/>
                    <a:pt x="626" y="99"/>
                  </a:cubicBezTo>
                  <a:cubicBezTo>
                    <a:pt x="628" y="99"/>
                    <a:pt x="629" y="99"/>
                    <a:pt x="630" y="99"/>
                  </a:cubicBezTo>
                  <a:cubicBezTo>
                    <a:pt x="631" y="99"/>
                    <a:pt x="632" y="98"/>
                    <a:pt x="632" y="97"/>
                  </a:cubicBezTo>
                  <a:cubicBezTo>
                    <a:pt x="634" y="97"/>
                    <a:pt x="636" y="97"/>
                    <a:pt x="638" y="97"/>
                  </a:cubicBezTo>
                  <a:cubicBezTo>
                    <a:pt x="640" y="98"/>
                    <a:pt x="642" y="98"/>
                    <a:pt x="643" y="98"/>
                  </a:cubicBezTo>
                  <a:cubicBezTo>
                    <a:pt x="648" y="97"/>
                    <a:pt x="652" y="97"/>
                    <a:pt x="657" y="97"/>
                  </a:cubicBezTo>
                  <a:cubicBezTo>
                    <a:pt x="658" y="97"/>
                    <a:pt x="660" y="98"/>
                    <a:pt x="661" y="98"/>
                  </a:cubicBezTo>
                  <a:cubicBezTo>
                    <a:pt x="662" y="98"/>
                    <a:pt x="663" y="99"/>
                    <a:pt x="664" y="99"/>
                  </a:cubicBezTo>
                  <a:cubicBezTo>
                    <a:pt x="666" y="101"/>
                    <a:pt x="667" y="102"/>
                    <a:pt x="669" y="103"/>
                  </a:cubicBezTo>
                  <a:cubicBezTo>
                    <a:pt x="669" y="103"/>
                    <a:pt x="669" y="103"/>
                    <a:pt x="669" y="103"/>
                  </a:cubicBezTo>
                  <a:cubicBezTo>
                    <a:pt x="670" y="104"/>
                    <a:pt x="672" y="104"/>
                    <a:pt x="672" y="106"/>
                  </a:cubicBezTo>
                  <a:cubicBezTo>
                    <a:pt x="673" y="107"/>
                    <a:pt x="673" y="110"/>
                    <a:pt x="672" y="112"/>
                  </a:cubicBezTo>
                  <a:cubicBezTo>
                    <a:pt x="672" y="113"/>
                    <a:pt x="671" y="114"/>
                    <a:pt x="673" y="114"/>
                  </a:cubicBezTo>
                  <a:cubicBezTo>
                    <a:pt x="674" y="115"/>
                    <a:pt x="675" y="115"/>
                    <a:pt x="676" y="116"/>
                  </a:cubicBezTo>
                  <a:cubicBezTo>
                    <a:pt x="676" y="116"/>
                    <a:pt x="676" y="116"/>
                    <a:pt x="677" y="116"/>
                  </a:cubicBezTo>
                  <a:cubicBezTo>
                    <a:pt x="677" y="116"/>
                    <a:pt x="678" y="116"/>
                    <a:pt x="678" y="117"/>
                  </a:cubicBezTo>
                  <a:cubicBezTo>
                    <a:pt x="679" y="118"/>
                    <a:pt x="680" y="119"/>
                    <a:pt x="680" y="121"/>
                  </a:cubicBezTo>
                  <a:cubicBezTo>
                    <a:pt x="681" y="121"/>
                    <a:pt x="681" y="121"/>
                    <a:pt x="681" y="121"/>
                  </a:cubicBezTo>
                  <a:cubicBezTo>
                    <a:pt x="684" y="121"/>
                    <a:pt x="686" y="124"/>
                    <a:pt x="688" y="126"/>
                  </a:cubicBezTo>
                  <a:cubicBezTo>
                    <a:pt x="688" y="126"/>
                    <a:pt x="689" y="126"/>
                    <a:pt x="689" y="126"/>
                  </a:cubicBezTo>
                  <a:cubicBezTo>
                    <a:pt x="689" y="126"/>
                    <a:pt x="689" y="125"/>
                    <a:pt x="689" y="125"/>
                  </a:cubicBezTo>
                  <a:cubicBezTo>
                    <a:pt x="688" y="123"/>
                    <a:pt x="687" y="122"/>
                    <a:pt x="686" y="121"/>
                  </a:cubicBezTo>
                  <a:cubicBezTo>
                    <a:pt x="685" y="120"/>
                    <a:pt x="686" y="120"/>
                    <a:pt x="686" y="119"/>
                  </a:cubicBezTo>
                  <a:cubicBezTo>
                    <a:pt x="686" y="118"/>
                    <a:pt x="687" y="119"/>
                    <a:pt x="688" y="118"/>
                  </a:cubicBezTo>
                  <a:cubicBezTo>
                    <a:pt x="689" y="118"/>
                    <a:pt x="688" y="116"/>
                    <a:pt x="689" y="116"/>
                  </a:cubicBezTo>
                  <a:cubicBezTo>
                    <a:pt x="690" y="114"/>
                    <a:pt x="692" y="115"/>
                    <a:pt x="694" y="115"/>
                  </a:cubicBezTo>
                  <a:cubicBezTo>
                    <a:pt x="696" y="114"/>
                    <a:pt x="698" y="115"/>
                    <a:pt x="700" y="114"/>
                  </a:cubicBezTo>
                  <a:cubicBezTo>
                    <a:pt x="700" y="114"/>
                    <a:pt x="701" y="114"/>
                    <a:pt x="701" y="114"/>
                  </a:cubicBezTo>
                  <a:cubicBezTo>
                    <a:pt x="701" y="113"/>
                    <a:pt x="701" y="113"/>
                    <a:pt x="701" y="112"/>
                  </a:cubicBezTo>
                  <a:cubicBezTo>
                    <a:pt x="701" y="112"/>
                    <a:pt x="702" y="112"/>
                    <a:pt x="702" y="112"/>
                  </a:cubicBezTo>
                  <a:cubicBezTo>
                    <a:pt x="704" y="114"/>
                    <a:pt x="705" y="116"/>
                    <a:pt x="708" y="115"/>
                  </a:cubicBezTo>
                  <a:cubicBezTo>
                    <a:pt x="708" y="115"/>
                    <a:pt x="710" y="114"/>
                    <a:pt x="710" y="115"/>
                  </a:cubicBezTo>
                  <a:cubicBezTo>
                    <a:pt x="714" y="117"/>
                    <a:pt x="718" y="118"/>
                    <a:pt x="722" y="117"/>
                  </a:cubicBezTo>
                  <a:cubicBezTo>
                    <a:pt x="723" y="117"/>
                    <a:pt x="725" y="117"/>
                    <a:pt x="725" y="116"/>
                  </a:cubicBezTo>
                  <a:cubicBezTo>
                    <a:pt x="726" y="115"/>
                    <a:pt x="726" y="115"/>
                    <a:pt x="726" y="114"/>
                  </a:cubicBezTo>
                  <a:cubicBezTo>
                    <a:pt x="728" y="113"/>
                    <a:pt x="729" y="115"/>
                    <a:pt x="730" y="116"/>
                  </a:cubicBezTo>
                  <a:cubicBezTo>
                    <a:pt x="731" y="117"/>
                    <a:pt x="733" y="118"/>
                    <a:pt x="733" y="120"/>
                  </a:cubicBezTo>
                  <a:cubicBezTo>
                    <a:pt x="733" y="121"/>
                    <a:pt x="734" y="121"/>
                    <a:pt x="734" y="121"/>
                  </a:cubicBezTo>
                  <a:cubicBezTo>
                    <a:pt x="736" y="122"/>
                    <a:pt x="739" y="121"/>
                    <a:pt x="741" y="122"/>
                  </a:cubicBezTo>
                  <a:cubicBezTo>
                    <a:pt x="742" y="122"/>
                    <a:pt x="743" y="122"/>
                    <a:pt x="743" y="123"/>
                  </a:cubicBezTo>
                  <a:cubicBezTo>
                    <a:pt x="744" y="124"/>
                    <a:pt x="745" y="126"/>
                    <a:pt x="746" y="126"/>
                  </a:cubicBezTo>
                  <a:cubicBezTo>
                    <a:pt x="748" y="127"/>
                    <a:pt x="750" y="127"/>
                    <a:pt x="752" y="127"/>
                  </a:cubicBezTo>
                  <a:cubicBezTo>
                    <a:pt x="753" y="126"/>
                    <a:pt x="754" y="125"/>
                    <a:pt x="754" y="125"/>
                  </a:cubicBezTo>
                  <a:cubicBezTo>
                    <a:pt x="756" y="124"/>
                    <a:pt x="754" y="122"/>
                    <a:pt x="753" y="121"/>
                  </a:cubicBezTo>
                  <a:cubicBezTo>
                    <a:pt x="751" y="120"/>
                    <a:pt x="750" y="118"/>
                    <a:pt x="748" y="117"/>
                  </a:cubicBezTo>
                  <a:cubicBezTo>
                    <a:pt x="747" y="117"/>
                    <a:pt x="746" y="115"/>
                    <a:pt x="747" y="114"/>
                  </a:cubicBezTo>
                  <a:cubicBezTo>
                    <a:pt x="747" y="114"/>
                    <a:pt x="747" y="114"/>
                    <a:pt x="747" y="114"/>
                  </a:cubicBezTo>
                  <a:cubicBezTo>
                    <a:pt x="747" y="113"/>
                    <a:pt x="747" y="112"/>
                    <a:pt x="747" y="112"/>
                  </a:cubicBezTo>
                  <a:cubicBezTo>
                    <a:pt x="747" y="111"/>
                    <a:pt x="746" y="111"/>
                    <a:pt x="746" y="111"/>
                  </a:cubicBezTo>
                  <a:cubicBezTo>
                    <a:pt x="746" y="110"/>
                    <a:pt x="746" y="110"/>
                    <a:pt x="746" y="110"/>
                  </a:cubicBezTo>
                  <a:cubicBezTo>
                    <a:pt x="745" y="110"/>
                    <a:pt x="745" y="109"/>
                    <a:pt x="745" y="109"/>
                  </a:cubicBezTo>
                  <a:cubicBezTo>
                    <a:pt x="745" y="109"/>
                    <a:pt x="745" y="108"/>
                    <a:pt x="745" y="108"/>
                  </a:cubicBezTo>
                  <a:cubicBezTo>
                    <a:pt x="746" y="108"/>
                    <a:pt x="747" y="108"/>
                    <a:pt x="748" y="109"/>
                  </a:cubicBezTo>
                  <a:cubicBezTo>
                    <a:pt x="750" y="109"/>
                    <a:pt x="751" y="110"/>
                    <a:pt x="753" y="111"/>
                  </a:cubicBezTo>
                  <a:cubicBezTo>
                    <a:pt x="754" y="112"/>
                    <a:pt x="754" y="112"/>
                    <a:pt x="755" y="112"/>
                  </a:cubicBezTo>
                  <a:cubicBezTo>
                    <a:pt x="757" y="112"/>
                    <a:pt x="758" y="112"/>
                    <a:pt x="760" y="112"/>
                  </a:cubicBezTo>
                  <a:cubicBezTo>
                    <a:pt x="761" y="112"/>
                    <a:pt x="762" y="112"/>
                    <a:pt x="763" y="113"/>
                  </a:cubicBezTo>
                  <a:cubicBezTo>
                    <a:pt x="765" y="113"/>
                    <a:pt x="768" y="113"/>
                    <a:pt x="770" y="112"/>
                  </a:cubicBezTo>
                  <a:cubicBezTo>
                    <a:pt x="771" y="112"/>
                    <a:pt x="771" y="112"/>
                    <a:pt x="771" y="112"/>
                  </a:cubicBezTo>
                  <a:cubicBezTo>
                    <a:pt x="773" y="112"/>
                    <a:pt x="775" y="112"/>
                    <a:pt x="776" y="112"/>
                  </a:cubicBezTo>
                  <a:cubicBezTo>
                    <a:pt x="779" y="113"/>
                    <a:pt x="781" y="111"/>
                    <a:pt x="783" y="112"/>
                  </a:cubicBezTo>
                  <a:cubicBezTo>
                    <a:pt x="784" y="112"/>
                    <a:pt x="785" y="113"/>
                    <a:pt x="785" y="113"/>
                  </a:cubicBezTo>
                  <a:cubicBezTo>
                    <a:pt x="787" y="114"/>
                    <a:pt x="790" y="114"/>
                    <a:pt x="792" y="114"/>
                  </a:cubicBezTo>
                  <a:cubicBezTo>
                    <a:pt x="794" y="115"/>
                    <a:pt x="796" y="114"/>
                    <a:pt x="798" y="115"/>
                  </a:cubicBezTo>
                  <a:cubicBezTo>
                    <a:pt x="799" y="116"/>
                    <a:pt x="799" y="118"/>
                    <a:pt x="801" y="118"/>
                  </a:cubicBezTo>
                  <a:cubicBezTo>
                    <a:pt x="802" y="118"/>
                    <a:pt x="803" y="118"/>
                    <a:pt x="804" y="119"/>
                  </a:cubicBezTo>
                  <a:cubicBezTo>
                    <a:pt x="808" y="120"/>
                    <a:pt x="812" y="123"/>
                    <a:pt x="817" y="124"/>
                  </a:cubicBezTo>
                  <a:cubicBezTo>
                    <a:pt x="818" y="124"/>
                    <a:pt x="818" y="125"/>
                    <a:pt x="819" y="126"/>
                  </a:cubicBezTo>
                  <a:cubicBezTo>
                    <a:pt x="821" y="126"/>
                    <a:pt x="823" y="126"/>
                    <a:pt x="825" y="127"/>
                  </a:cubicBezTo>
                  <a:cubicBezTo>
                    <a:pt x="827" y="128"/>
                    <a:pt x="828" y="130"/>
                    <a:pt x="830" y="131"/>
                  </a:cubicBezTo>
                  <a:cubicBezTo>
                    <a:pt x="831" y="132"/>
                    <a:pt x="833" y="131"/>
                    <a:pt x="834" y="132"/>
                  </a:cubicBezTo>
                  <a:cubicBezTo>
                    <a:pt x="834" y="132"/>
                    <a:pt x="835" y="132"/>
                    <a:pt x="835" y="132"/>
                  </a:cubicBezTo>
                  <a:cubicBezTo>
                    <a:pt x="837" y="133"/>
                    <a:pt x="840" y="131"/>
                    <a:pt x="841" y="134"/>
                  </a:cubicBezTo>
                  <a:cubicBezTo>
                    <a:pt x="841" y="134"/>
                    <a:pt x="840" y="135"/>
                    <a:pt x="841" y="136"/>
                  </a:cubicBezTo>
                  <a:cubicBezTo>
                    <a:pt x="841" y="136"/>
                    <a:pt x="841" y="136"/>
                    <a:pt x="842" y="136"/>
                  </a:cubicBezTo>
                  <a:cubicBezTo>
                    <a:pt x="842" y="135"/>
                    <a:pt x="842" y="135"/>
                    <a:pt x="842" y="134"/>
                  </a:cubicBezTo>
                  <a:cubicBezTo>
                    <a:pt x="842" y="134"/>
                    <a:pt x="843" y="134"/>
                    <a:pt x="844" y="134"/>
                  </a:cubicBezTo>
                  <a:cubicBezTo>
                    <a:pt x="845" y="135"/>
                    <a:pt x="845" y="136"/>
                    <a:pt x="845" y="137"/>
                  </a:cubicBezTo>
                  <a:cubicBezTo>
                    <a:pt x="846" y="137"/>
                    <a:pt x="847" y="138"/>
                    <a:pt x="847" y="138"/>
                  </a:cubicBezTo>
                  <a:cubicBezTo>
                    <a:pt x="847" y="139"/>
                    <a:pt x="847" y="139"/>
                    <a:pt x="848" y="139"/>
                  </a:cubicBezTo>
                  <a:cubicBezTo>
                    <a:pt x="849" y="140"/>
                    <a:pt x="849" y="140"/>
                    <a:pt x="850" y="139"/>
                  </a:cubicBezTo>
                  <a:cubicBezTo>
                    <a:pt x="850" y="139"/>
                    <a:pt x="850" y="138"/>
                    <a:pt x="850" y="138"/>
                  </a:cubicBezTo>
                  <a:cubicBezTo>
                    <a:pt x="850" y="138"/>
                    <a:pt x="851" y="138"/>
                    <a:pt x="851" y="138"/>
                  </a:cubicBezTo>
                  <a:cubicBezTo>
                    <a:pt x="852" y="139"/>
                    <a:pt x="852" y="141"/>
                    <a:pt x="854" y="140"/>
                  </a:cubicBezTo>
                  <a:cubicBezTo>
                    <a:pt x="855" y="140"/>
                    <a:pt x="856" y="139"/>
                    <a:pt x="856" y="140"/>
                  </a:cubicBezTo>
                  <a:cubicBezTo>
                    <a:pt x="857" y="140"/>
                    <a:pt x="857" y="141"/>
                    <a:pt x="858" y="141"/>
                  </a:cubicBezTo>
                  <a:cubicBezTo>
                    <a:pt x="861" y="144"/>
                    <a:pt x="863" y="148"/>
                    <a:pt x="865" y="152"/>
                  </a:cubicBezTo>
                  <a:cubicBezTo>
                    <a:pt x="865" y="152"/>
                    <a:pt x="866" y="153"/>
                    <a:pt x="866" y="154"/>
                  </a:cubicBezTo>
                  <a:cubicBezTo>
                    <a:pt x="867" y="155"/>
                    <a:pt x="866" y="156"/>
                    <a:pt x="867" y="157"/>
                  </a:cubicBezTo>
                  <a:cubicBezTo>
                    <a:pt x="868" y="158"/>
                    <a:pt x="870" y="157"/>
                    <a:pt x="871" y="158"/>
                  </a:cubicBezTo>
                  <a:cubicBezTo>
                    <a:pt x="871" y="158"/>
                    <a:pt x="871" y="160"/>
                    <a:pt x="872" y="160"/>
                  </a:cubicBezTo>
                  <a:cubicBezTo>
                    <a:pt x="873" y="161"/>
                    <a:pt x="873" y="160"/>
                    <a:pt x="873" y="160"/>
                  </a:cubicBezTo>
                  <a:cubicBezTo>
                    <a:pt x="874" y="159"/>
                    <a:pt x="874" y="159"/>
                    <a:pt x="875" y="160"/>
                  </a:cubicBezTo>
                  <a:cubicBezTo>
                    <a:pt x="875" y="160"/>
                    <a:pt x="876" y="160"/>
                    <a:pt x="876" y="160"/>
                  </a:cubicBezTo>
                  <a:cubicBezTo>
                    <a:pt x="876" y="160"/>
                    <a:pt x="876" y="159"/>
                    <a:pt x="876" y="159"/>
                  </a:cubicBezTo>
                  <a:cubicBezTo>
                    <a:pt x="875" y="158"/>
                    <a:pt x="874" y="157"/>
                    <a:pt x="874" y="156"/>
                  </a:cubicBezTo>
                  <a:cubicBezTo>
                    <a:pt x="873" y="155"/>
                    <a:pt x="872" y="153"/>
                    <a:pt x="871" y="152"/>
                  </a:cubicBezTo>
                  <a:cubicBezTo>
                    <a:pt x="871" y="152"/>
                    <a:pt x="870" y="151"/>
                    <a:pt x="870" y="151"/>
                  </a:cubicBezTo>
                  <a:cubicBezTo>
                    <a:pt x="870" y="151"/>
                    <a:pt x="870" y="150"/>
                    <a:pt x="870" y="150"/>
                  </a:cubicBezTo>
                  <a:cubicBezTo>
                    <a:pt x="872" y="150"/>
                    <a:pt x="874" y="149"/>
                    <a:pt x="876" y="150"/>
                  </a:cubicBezTo>
                  <a:cubicBezTo>
                    <a:pt x="877" y="151"/>
                    <a:pt x="877" y="154"/>
                    <a:pt x="879" y="153"/>
                  </a:cubicBezTo>
                  <a:cubicBezTo>
                    <a:pt x="879" y="153"/>
                    <a:pt x="879" y="153"/>
                    <a:pt x="879" y="153"/>
                  </a:cubicBezTo>
                  <a:cubicBezTo>
                    <a:pt x="882" y="152"/>
                    <a:pt x="884" y="150"/>
                    <a:pt x="886" y="151"/>
                  </a:cubicBezTo>
                  <a:cubicBezTo>
                    <a:pt x="888" y="151"/>
                    <a:pt x="888" y="153"/>
                    <a:pt x="889" y="154"/>
                  </a:cubicBezTo>
                  <a:cubicBezTo>
                    <a:pt x="891" y="155"/>
                    <a:pt x="893" y="155"/>
                    <a:pt x="895" y="156"/>
                  </a:cubicBezTo>
                  <a:cubicBezTo>
                    <a:pt x="897" y="158"/>
                    <a:pt x="899" y="159"/>
                    <a:pt x="901" y="160"/>
                  </a:cubicBezTo>
                  <a:cubicBezTo>
                    <a:pt x="902" y="160"/>
                    <a:pt x="904" y="159"/>
                    <a:pt x="906" y="160"/>
                  </a:cubicBezTo>
                  <a:cubicBezTo>
                    <a:pt x="906" y="161"/>
                    <a:pt x="906" y="163"/>
                    <a:pt x="906" y="163"/>
                  </a:cubicBezTo>
                  <a:cubicBezTo>
                    <a:pt x="905" y="163"/>
                    <a:pt x="903" y="163"/>
                    <a:pt x="901" y="163"/>
                  </a:cubicBezTo>
                  <a:cubicBezTo>
                    <a:pt x="901" y="164"/>
                    <a:pt x="901" y="164"/>
                    <a:pt x="901" y="165"/>
                  </a:cubicBezTo>
                  <a:cubicBezTo>
                    <a:pt x="902" y="165"/>
                    <a:pt x="903" y="166"/>
                    <a:pt x="903" y="167"/>
                  </a:cubicBezTo>
                  <a:cubicBezTo>
                    <a:pt x="903" y="167"/>
                    <a:pt x="903" y="168"/>
                    <a:pt x="903" y="169"/>
                  </a:cubicBezTo>
                  <a:cubicBezTo>
                    <a:pt x="902" y="170"/>
                    <a:pt x="900" y="168"/>
                    <a:pt x="899" y="169"/>
                  </a:cubicBezTo>
                  <a:cubicBezTo>
                    <a:pt x="899" y="169"/>
                    <a:pt x="898" y="170"/>
                    <a:pt x="898" y="170"/>
                  </a:cubicBezTo>
                  <a:cubicBezTo>
                    <a:pt x="897" y="170"/>
                    <a:pt x="897" y="170"/>
                    <a:pt x="896" y="170"/>
                  </a:cubicBezTo>
                  <a:cubicBezTo>
                    <a:pt x="894" y="169"/>
                    <a:pt x="892" y="168"/>
                    <a:pt x="889" y="168"/>
                  </a:cubicBezTo>
                  <a:cubicBezTo>
                    <a:pt x="889" y="168"/>
                    <a:pt x="889" y="169"/>
                    <a:pt x="889" y="169"/>
                  </a:cubicBezTo>
                  <a:cubicBezTo>
                    <a:pt x="890" y="169"/>
                    <a:pt x="891" y="170"/>
                    <a:pt x="891" y="170"/>
                  </a:cubicBezTo>
                  <a:cubicBezTo>
                    <a:pt x="891" y="172"/>
                    <a:pt x="891" y="173"/>
                    <a:pt x="891" y="174"/>
                  </a:cubicBezTo>
                  <a:cubicBezTo>
                    <a:pt x="891" y="174"/>
                    <a:pt x="891" y="175"/>
                    <a:pt x="892" y="175"/>
                  </a:cubicBezTo>
                  <a:cubicBezTo>
                    <a:pt x="892" y="175"/>
                    <a:pt x="893" y="175"/>
                    <a:pt x="893" y="176"/>
                  </a:cubicBezTo>
                  <a:cubicBezTo>
                    <a:pt x="894" y="176"/>
                    <a:pt x="894" y="177"/>
                    <a:pt x="894" y="178"/>
                  </a:cubicBezTo>
                  <a:cubicBezTo>
                    <a:pt x="893" y="178"/>
                    <a:pt x="892" y="177"/>
                    <a:pt x="891" y="178"/>
                  </a:cubicBezTo>
                  <a:cubicBezTo>
                    <a:pt x="889" y="180"/>
                    <a:pt x="893" y="180"/>
                    <a:pt x="895" y="181"/>
                  </a:cubicBezTo>
                  <a:cubicBezTo>
                    <a:pt x="895" y="181"/>
                    <a:pt x="895" y="182"/>
                    <a:pt x="896" y="182"/>
                  </a:cubicBezTo>
                  <a:cubicBezTo>
                    <a:pt x="896" y="182"/>
                    <a:pt x="896" y="183"/>
                    <a:pt x="896" y="183"/>
                  </a:cubicBezTo>
                  <a:cubicBezTo>
                    <a:pt x="897" y="183"/>
                    <a:pt x="899" y="183"/>
                    <a:pt x="899" y="185"/>
                  </a:cubicBezTo>
                  <a:cubicBezTo>
                    <a:pt x="897" y="185"/>
                    <a:pt x="896" y="186"/>
                    <a:pt x="894" y="185"/>
                  </a:cubicBezTo>
                  <a:cubicBezTo>
                    <a:pt x="894" y="185"/>
                    <a:pt x="893" y="184"/>
                    <a:pt x="893" y="184"/>
                  </a:cubicBezTo>
                  <a:cubicBezTo>
                    <a:pt x="892" y="184"/>
                    <a:pt x="893" y="185"/>
                    <a:pt x="892" y="185"/>
                  </a:cubicBezTo>
                  <a:cubicBezTo>
                    <a:pt x="892" y="186"/>
                    <a:pt x="892" y="186"/>
                    <a:pt x="892" y="187"/>
                  </a:cubicBezTo>
                  <a:cubicBezTo>
                    <a:pt x="892" y="187"/>
                    <a:pt x="891" y="187"/>
                    <a:pt x="891" y="187"/>
                  </a:cubicBezTo>
                  <a:cubicBezTo>
                    <a:pt x="890" y="187"/>
                    <a:pt x="888" y="188"/>
                    <a:pt x="888" y="187"/>
                  </a:cubicBezTo>
                  <a:cubicBezTo>
                    <a:pt x="887" y="186"/>
                    <a:pt x="886" y="185"/>
                    <a:pt x="885" y="184"/>
                  </a:cubicBezTo>
                  <a:cubicBezTo>
                    <a:pt x="883" y="183"/>
                    <a:pt x="881" y="182"/>
                    <a:pt x="880" y="181"/>
                  </a:cubicBezTo>
                  <a:cubicBezTo>
                    <a:pt x="879" y="181"/>
                    <a:pt x="878" y="180"/>
                    <a:pt x="878" y="179"/>
                  </a:cubicBezTo>
                  <a:cubicBezTo>
                    <a:pt x="878" y="179"/>
                    <a:pt x="877" y="179"/>
                    <a:pt x="877" y="179"/>
                  </a:cubicBezTo>
                  <a:cubicBezTo>
                    <a:pt x="876" y="178"/>
                    <a:pt x="875" y="179"/>
                    <a:pt x="873" y="179"/>
                  </a:cubicBezTo>
                  <a:cubicBezTo>
                    <a:pt x="873" y="179"/>
                    <a:pt x="872" y="179"/>
                    <a:pt x="871" y="178"/>
                  </a:cubicBezTo>
                  <a:cubicBezTo>
                    <a:pt x="870" y="178"/>
                    <a:pt x="869" y="177"/>
                    <a:pt x="869" y="176"/>
                  </a:cubicBezTo>
                  <a:cubicBezTo>
                    <a:pt x="868" y="175"/>
                    <a:pt x="869" y="174"/>
                    <a:pt x="868" y="173"/>
                  </a:cubicBezTo>
                  <a:cubicBezTo>
                    <a:pt x="868" y="172"/>
                    <a:pt x="867" y="172"/>
                    <a:pt x="867" y="171"/>
                  </a:cubicBezTo>
                  <a:cubicBezTo>
                    <a:pt x="865" y="170"/>
                    <a:pt x="864" y="171"/>
                    <a:pt x="863" y="171"/>
                  </a:cubicBezTo>
                  <a:cubicBezTo>
                    <a:pt x="858" y="170"/>
                    <a:pt x="853" y="171"/>
                    <a:pt x="848" y="171"/>
                  </a:cubicBezTo>
                  <a:cubicBezTo>
                    <a:pt x="848" y="171"/>
                    <a:pt x="848" y="171"/>
                    <a:pt x="848" y="171"/>
                  </a:cubicBezTo>
                  <a:cubicBezTo>
                    <a:pt x="847" y="170"/>
                    <a:pt x="848" y="168"/>
                    <a:pt x="848" y="167"/>
                  </a:cubicBezTo>
                  <a:cubicBezTo>
                    <a:pt x="847" y="167"/>
                    <a:pt x="847" y="166"/>
                    <a:pt x="846" y="166"/>
                  </a:cubicBezTo>
                  <a:cubicBezTo>
                    <a:pt x="845" y="165"/>
                    <a:pt x="844" y="166"/>
                    <a:pt x="843" y="165"/>
                  </a:cubicBezTo>
                  <a:cubicBezTo>
                    <a:pt x="842" y="164"/>
                    <a:pt x="842" y="163"/>
                    <a:pt x="843" y="162"/>
                  </a:cubicBezTo>
                  <a:cubicBezTo>
                    <a:pt x="843" y="160"/>
                    <a:pt x="844" y="158"/>
                    <a:pt x="843" y="157"/>
                  </a:cubicBezTo>
                  <a:cubicBezTo>
                    <a:pt x="843" y="156"/>
                    <a:pt x="842" y="156"/>
                    <a:pt x="842" y="157"/>
                  </a:cubicBezTo>
                  <a:cubicBezTo>
                    <a:pt x="841" y="157"/>
                    <a:pt x="841" y="159"/>
                    <a:pt x="840" y="160"/>
                  </a:cubicBezTo>
                  <a:cubicBezTo>
                    <a:pt x="840" y="160"/>
                    <a:pt x="838" y="159"/>
                    <a:pt x="838" y="160"/>
                  </a:cubicBezTo>
                  <a:cubicBezTo>
                    <a:pt x="838" y="160"/>
                    <a:pt x="837" y="161"/>
                    <a:pt x="837" y="162"/>
                  </a:cubicBezTo>
                  <a:cubicBezTo>
                    <a:pt x="837" y="163"/>
                    <a:pt x="835" y="162"/>
                    <a:pt x="835" y="162"/>
                  </a:cubicBezTo>
                  <a:cubicBezTo>
                    <a:pt x="834" y="163"/>
                    <a:pt x="834" y="163"/>
                    <a:pt x="835" y="163"/>
                  </a:cubicBezTo>
                  <a:cubicBezTo>
                    <a:pt x="836" y="165"/>
                    <a:pt x="837" y="166"/>
                    <a:pt x="839" y="167"/>
                  </a:cubicBezTo>
                  <a:cubicBezTo>
                    <a:pt x="841" y="169"/>
                    <a:pt x="840" y="173"/>
                    <a:pt x="840" y="176"/>
                  </a:cubicBezTo>
                  <a:cubicBezTo>
                    <a:pt x="840" y="176"/>
                    <a:pt x="839" y="177"/>
                    <a:pt x="839" y="177"/>
                  </a:cubicBezTo>
                  <a:cubicBezTo>
                    <a:pt x="837" y="179"/>
                    <a:pt x="836" y="181"/>
                    <a:pt x="834" y="182"/>
                  </a:cubicBezTo>
                  <a:cubicBezTo>
                    <a:pt x="833" y="182"/>
                    <a:pt x="832" y="181"/>
                    <a:pt x="831" y="181"/>
                  </a:cubicBezTo>
                  <a:cubicBezTo>
                    <a:pt x="829" y="180"/>
                    <a:pt x="827" y="182"/>
                    <a:pt x="825" y="181"/>
                  </a:cubicBezTo>
                  <a:cubicBezTo>
                    <a:pt x="825" y="181"/>
                    <a:pt x="824" y="181"/>
                    <a:pt x="824" y="181"/>
                  </a:cubicBezTo>
                  <a:cubicBezTo>
                    <a:pt x="824" y="181"/>
                    <a:pt x="825" y="181"/>
                    <a:pt x="824" y="181"/>
                  </a:cubicBezTo>
                  <a:cubicBezTo>
                    <a:pt x="824" y="180"/>
                    <a:pt x="823" y="179"/>
                    <a:pt x="823" y="178"/>
                  </a:cubicBezTo>
                  <a:cubicBezTo>
                    <a:pt x="822" y="177"/>
                    <a:pt x="820" y="176"/>
                    <a:pt x="819" y="176"/>
                  </a:cubicBezTo>
                  <a:cubicBezTo>
                    <a:pt x="817" y="176"/>
                    <a:pt x="816" y="176"/>
                    <a:pt x="814" y="176"/>
                  </a:cubicBezTo>
                  <a:cubicBezTo>
                    <a:pt x="814" y="176"/>
                    <a:pt x="814" y="177"/>
                    <a:pt x="814" y="177"/>
                  </a:cubicBezTo>
                  <a:cubicBezTo>
                    <a:pt x="816" y="177"/>
                    <a:pt x="818" y="177"/>
                    <a:pt x="818" y="179"/>
                  </a:cubicBezTo>
                  <a:cubicBezTo>
                    <a:pt x="817" y="179"/>
                    <a:pt x="816" y="179"/>
                    <a:pt x="815" y="179"/>
                  </a:cubicBezTo>
                  <a:cubicBezTo>
                    <a:pt x="815" y="180"/>
                    <a:pt x="815" y="180"/>
                    <a:pt x="815" y="180"/>
                  </a:cubicBezTo>
                  <a:cubicBezTo>
                    <a:pt x="817" y="181"/>
                    <a:pt x="819" y="181"/>
                    <a:pt x="821" y="181"/>
                  </a:cubicBezTo>
                  <a:cubicBezTo>
                    <a:pt x="822" y="182"/>
                    <a:pt x="821" y="184"/>
                    <a:pt x="823" y="184"/>
                  </a:cubicBezTo>
                  <a:cubicBezTo>
                    <a:pt x="824" y="185"/>
                    <a:pt x="825" y="186"/>
                    <a:pt x="826" y="187"/>
                  </a:cubicBezTo>
                  <a:cubicBezTo>
                    <a:pt x="827" y="187"/>
                    <a:pt x="828" y="187"/>
                    <a:pt x="829" y="187"/>
                  </a:cubicBezTo>
                  <a:cubicBezTo>
                    <a:pt x="830" y="186"/>
                    <a:pt x="831" y="185"/>
                    <a:pt x="832" y="186"/>
                  </a:cubicBezTo>
                  <a:cubicBezTo>
                    <a:pt x="833" y="186"/>
                    <a:pt x="833" y="187"/>
                    <a:pt x="833" y="188"/>
                  </a:cubicBezTo>
                  <a:cubicBezTo>
                    <a:pt x="834" y="190"/>
                    <a:pt x="836" y="191"/>
                    <a:pt x="838" y="192"/>
                  </a:cubicBezTo>
                  <a:cubicBezTo>
                    <a:pt x="839" y="193"/>
                    <a:pt x="840" y="194"/>
                    <a:pt x="841" y="195"/>
                  </a:cubicBezTo>
                  <a:cubicBezTo>
                    <a:pt x="841" y="195"/>
                    <a:pt x="841" y="195"/>
                    <a:pt x="841" y="196"/>
                  </a:cubicBezTo>
                  <a:cubicBezTo>
                    <a:pt x="842" y="198"/>
                    <a:pt x="846" y="198"/>
                    <a:pt x="846" y="202"/>
                  </a:cubicBezTo>
                  <a:cubicBezTo>
                    <a:pt x="846" y="202"/>
                    <a:pt x="846" y="202"/>
                    <a:pt x="847" y="202"/>
                  </a:cubicBezTo>
                  <a:cubicBezTo>
                    <a:pt x="847" y="202"/>
                    <a:pt x="847" y="202"/>
                    <a:pt x="847" y="203"/>
                  </a:cubicBezTo>
                  <a:cubicBezTo>
                    <a:pt x="847" y="203"/>
                    <a:pt x="848" y="203"/>
                    <a:pt x="848" y="204"/>
                  </a:cubicBezTo>
                  <a:cubicBezTo>
                    <a:pt x="848" y="204"/>
                    <a:pt x="848" y="205"/>
                    <a:pt x="848" y="206"/>
                  </a:cubicBezTo>
                  <a:cubicBezTo>
                    <a:pt x="848" y="208"/>
                    <a:pt x="848" y="208"/>
                    <a:pt x="848" y="208"/>
                  </a:cubicBezTo>
                  <a:cubicBezTo>
                    <a:pt x="848" y="208"/>
                    <a:pt x="848" y="208"/>
                    <a:pt x="848" y="209"/>
                  </a:cubicBezTo>
                  <a:cubicBezTo>
                    <a:pt x="848" y="209"/>
                    <a:pt x="847" y="209"/>
                    <a:pt x="847" y="209"/>
                  </a:cubicBezTo>
                  <a:cubicBezTo>
                    <a:pt x="846" y="210"/>
                    <a:pt x="847" y="211"/>
                    <a:pt x="847" y="212"/>
                  </a:cubicBezTo>
                  <a:cubicBezTo>
                    <a:pt x="847" y="212"/>
                    <a:pt x="847" y="212"/>
                    <a:pt x="847" y="212"/>
                  </a:cubicBezTo>
                  <a:cubicBezTo>
                    <a:pt x="847" y="212"/>
                    <a:pt x="846" y="212"/>
                    <a:pt x="846" y="212"/>
                  </a:cubicBezTo>
                  <a:cubicBezTo>
                    <a:pt x="843" y="210"/>
                    <a:pt x="841" y="209"/>
                    <a:pt x="837" y="208"/>
                  </a:cubicBezTo>
                  <a:cubicBezTo>
                    <a:pt x="836" y="208"/>
                    <a:pt x="834" y="208"/>
                    <a:pt x="833" y="208"/>
                  </a:cubicBezTo>
                  <a:cubicBezTo>
                    <a:pt x="832" y="209"/>
                    <a:pt x="830" y="208"/>
                    <a:pt x="829" y="209"/>
                  </a:cubicBezTo>
                  <a:cubicBezTo>
                    <a:pt x="828" y="210"/>
                    <a:pt x="827" y="212"/>
                    <a:pt x="825" y="212"/>
                  </a:cubicBezTo>
                  <a:cubicBezTo>
                    <a:pt x="823" y="213"/>
                    <a:pt x="821" y="212"/>
                    <a:pt x="820" y="213"/>
                  </a:cubicBezTo>
                  <a:cubicBezTo>
                    <a:pt x="819" y="213"/>
                    <a:pt x="819" y="215"/>
                    <a:pt x="818" y="215"/>
                  </a:cubicBezTo>
                  <a:cubicBezTo>
                    <a:pt x="817" y="215"/>
                    <a:pt x="817" y="216"/>
                    <a:pt x="816" y="216"/>
                  </a:cubicBezTo>
                  <a:cubicBezTo>
                    <a:pt x="815" y="216"/>
                    <a:pt x="815" y="217"/>
                    <a:pt x="814" y="217"/>
                  </a:cubicBezTo>
                  <a:cubicBezTo>
                    <a:pt x="812" y="218"/>
                    <a:pt x="810" y="217"/>
                    <a:pt x="809" y="217"/>
                  </a:cubicBezTo>
                  <a:cubicBezTo>
                    <a:pt x="808" y="218"/>
                    <a:pt x="809" y="220"/>
                    <a:pt x="808" y="221"/>
                  </a:cubicBezTo>
                  <a:cubicBezTo>
                    <a:pt x="808" y="221"/>
                    <a:pt x="807" y="221"/>
                    <a:pt x="807" y="222"/>
                  </a:cubicBezTo>
                  <a:cubicBezTo>
                    <a:pt x="805" y="223"/>
                    <a:pt x="805" y="225"/>
                    <a:pt x="803" y="227"/>
                  </a:cubicBezTo>
                  <a:cubicBezTo>
                    <a:pt x="803" y="227"/>
                    <a:pt x="803" y="228"/>
                    <a:pt x="802" y="228"/>
                  </a:cubicBezTo>
                  <a:cubicBezTo>
                    <a:pt x="802" y="229"/>
                    <a:pt x="801" y="230"/>
                    <a:pt x="800" y="230"/>
                  </a:cubicBezTo>
                  <a:cubicBezTo>
                    <a:pt x="799" y="231"/>
                    <a:pt x="799" y="231"/>
                    <a:pt x="799" y="231"/>
                  </a:cubicBezTo>
                  <a:cubicBezTo>
                    <a:pt x="796" y="232"/>
                    <a:pt x="795" y="235"/>
                    <a:pt x="795" y="238"/>
                  </a:cubicBezTo>
                  <a:cubicBezTo>
                    <a:pt x="795" y="239"/>
                    <a:pt x="794" y="239"/>
                    <a:pt x="793" y="238"/>
                  </a:cubicBezTo>
                  <a:cubicBezTo>
                    <a:pt x="791" y="237"/>
                    <a:pt x="790" y="235"/>
                    <a:pt x="788" y="233"/>
                  </a:cubicBezTo>
                  <a:cubicBezTo>
                    <a:pt x="787" y="232"/>
                    <a:pt x="785" y="232"/>
                    <a:pt x="783" y="231"/>
                  </a:cubicBezTo>
                  <a:cubicBezTo>
                    <a:pt x="782" y="231"/>
                    <a:pt x="780" y="232"/>
                    <a:pt x="778" y="231"/>
                  </a:cubicBezTo>
                  <a:cubicBezTo>
                    <a:pt x="777" y="231"/>
                    <a:pt x="776" y="231"/>
                    <a:pt x="775" y="231"/>
                  </a:cubicBezTo>
                  <a:cubicBezTo>
                    <a:pt x="775" y="232"/>
                    <a:pt x="774" y="232"/>
                    <a:pt x="773" y="233"/>
                  </a:cubicBezTo>
                  <a:cubicBezTo>
                    <a:pt x="773" y="234"/>
                    <a:pt x="772" y="234"/>
                    <a:pt x="771" y="235"/>
                  </a:cubicBezTo>
                  <a:cubicBezTo>
                    <a:pt x="771" y="236"/>
                    <a:pt x="769" y="236"/>
                    <a:pt x="769" y="237"/>
                  </a:cubicBezTo>
                  <a:cubicBezTo>
                    <a:pt x="768" y="238"/>
                    <a:pt x="767" y="239"/>
                    <a:pt x="766" y="241"/>
                  </a:cubicBezTo>
                  <a:cubicBezTo>
                    <a:pt x="766" y="241"/>
                    <a:pt x="765" y="241"/>
                    <a:pt x="765" y="241"/>
                  </a:cubicBezTo>
                  <a:cubicBezTo>
                    <a:pt x="765" y="239"/>
                    <a:pt x="765" y="237"/>
                    <a:pt x="764" y="235"/>
                  </a:cubicBezTo>
                  <a:cubicBezTo>
                    <a:pt x="764" y="234"/>
                    <a:pt x="764" y="233"/>
                    <a:pt x="763" y="233"/>
                  </a:cubicBezTo>
                  <a:cubicBezTo>
                    <a:pt x="763" y="232"/>
                    <a:pt x="762" y="232"/>
                    <a:pt x="762" y="233"/>
                  </a:cubicBezTo>
                  <a:cubicBezTo>
                    <a:pt x="761" y="233"/>
                    <a:pt x="760" y="234"/>
                    <a:pt x="759" y="235"/>
                  </a:cubicBezTo>
                  <a:cubicBezTo>
                    <a:pt x="759" y="235"/>
                    <a:pt x="759" y="236"/>
                    <a:pt x="758" y="236"/>
                  </a:cubicBezTo>
                  <a:cubicBezTo>
                    <a:pt x="758" y="238"/>
                    <a:pt x="759" y="240"/>
                    <a:pt x="757" y="241"/>
                  </a:cubicBezTo>
                  <a:cubicBezTo>
                    <a:pt x="757" y="242"/>
                    <a:pt x="756" y="242"/>
                    <a:pt x="756" y="241"/>
                  </a:cubicBezTo>
                  <a:cubicBezTo>
                    <a:pt x="755" y="241"/>
                    <a:pt x="755" y="240"/>
                    <a:pt x="755" y="240"/>
                  </a:cubicBezTo>
                  <a:cubicBezTo>
                    <a:pt x="755" y="238"/>
                    <a:pt x="753" y="238"/>
                    <a:pt x="752" y="238"/>
                  </a:cubicBezTo>
                  <a:cubicBezTo>
                    <a:pt x="751" y="240"/>
                    <a:pt x="749" y="239"/>
                    <a:pt x="748" y="240"/>
                  </a:cubicBezTo>
                  <a:cubicBezTo>
                    <a:pt x="747" y="241"/>
                    <a:pt x="748" y="242"/>
                    <a:pt x="747" y="243"/>
                  </a:cubicBezTo>
                  <a:cubicBezTo>
                    <a:pt x="746" y="244"/>
                    <a:pt x="746" y="245"/>
                    <a:pt x="747" y="246"/>
                  </a:cubicBezTo>
                  <a:cubicBezTo>
                    <a:pt x="747" y="248"/>
                    <a:pt x="747" y="249"/>
                    <a:pt x="747" y="251"/>
                  </a:cubicBezTo>
                  <a:cubicBezTo>
                    <a:pt x="747" y="252"/>
                    <a:pt x="745" y="252"/>
                    <a:pt x="744" y="253"/>
                  </a:cubicBezTo>
                  <a:cubicBezTo>
                    <a:pt x="743" y="254"/>
                    <a:pt x="743" y="255"/>
                    <a:pt x="743" y="257"/>
                  </a:cubicBezTo>
                  <a:cubicBezTo>
                    <a:pt x="743" y="258"/>
                    <a:pt x="743" y="260"/>
                    <a:pt x="744" y="262"/>
                  </a:cubicBezTo>
                  <a:cubicBezTo>
                    <a:pt x="744" y="263"/>
                    <a:pt x="745" y="264"/>
                    <a:pt x="746" y="265"/>
                  </a:cubicBezTo>
                  <a:cubicBezTo>
                    <a:pt x="746" y="266"/>
                    <a:pt x="747" y="266"/>
                    <a:pt x="748" y="265"/>
                  </a:cubicBezTo>
                  <a:cubicBezTo>
                    <a:pt x="749" y="265"/>
                    <a:pt x="749" y="264"/>
                    <a:pt x="749" y="263"/>
                  </a:cubicBezTo>
                  <a:cubicBezTo>
                    <a:pt x="750" y="263"/>
                    <a:pt x="750" y="263"/>
                    <a:pt x="751" y="263"/>
                  </a:cubicBezTo>
                  <a:cubicBezTo>
                    <a:pt x="752" y="264"/>
                    <a:pt x="752" y="265"/>
                    <a:pt x="753" y="265"/>
                  </a:cubicBezTo>
                  <a:cubicBezTo>
                    <a:pt x="753" y="265"/>
                    <a:pt x="753" y="266"/>
                    <a:pt x="753" y="267"/>
                  </a:cubicBezTo>
                  <a:cubicBezTo>
                    <a:pt x="753" y="267"/>
                    <a:pt x="752" y="268"/>
                    <a:pt x="752" y="268"/>
                  </a:cubicBezTo>
                  <a:cubicBezTo>
                    <a:pt x="751" y="269"/>
                    <a:pt x="751" y="270"/>
                    <a:pt x="752" y="271"/>
                  </a:cubicBezTo>
                  <a:cubicBezTo>
                    <a:pt x="752" y="272"/>
                    <a:pt x="752" y="272"/>
                    <a:pt x="752" y="272"/>
                  </a:cubicBezTo>
                  <a:cubicBezTo>
                    <a:pt x="752" y="273"/>
                    <a:pt x="753" y="275"/>
                    <a:pt x="753" y="276"/>
                  </a:cubicBezTo>
                  <a:cubicBezTo>
                    <a:pt x="753" y="276"/>
                    <a:pt x="754" y="276"/>
                    <a:pt x="754" y="276"/>
                  </a:cubicBezTo>
                  <a:cubicBezTo>
                    <a:pt x="754" y="277"/>
                    <a:pt x="754" y="277"/>
                    <a:pt x="755" y="277"/>
                  </a:cubicBezTo>
                  <a:cubicBezTo>
                    <a:pt x="755" y="277"/>
                    <a:pt x="754" y="277"/>
                    <a:pt x="754" y="278"/>
                  </a:cubicBezTo>
                  <a:cubicBezTo>
                    <a:pt x="756" y="278"/>
                    <a:pt x="758" y="276"/>
                    <a:pt x="759" y="278"/>
                  </a:cubicBezTo>
                  <a:cubicBezTo>
                    <a:pt x="759" y="280"/>
                    <a:pt x="759" y="283"/>
                    <a:pt x="759" y="285"/>
                  </a:cubicBezTo>
                  <a:cubicBezTo>
                    <a:pt x="757" y="285"/>
                    <a:pt x="758" y="282"/>
                    <a:pt x="757" y="280"/>
                  </a:cubicBezTo>
                  <a:cubicBezTo>
                    <a:pt x="757" y="280"/>
                    <a:pt x="756" y="280"/>
                    <a:pt x="755" y="281"/>
                  </a:cubicBezTo>
                  <a:cubicBezTo>
                    <a:pt x="755" y="283"/>
                    <a:pt x="754" y="284"/>
                    <a:pt x="753" y="286"/>
                  </a:cubicBezTo>
                  <a:cubicBezTo>
                    <a:pt x="753" y="287"/>
                    <a:pt x="752" y="287"/>
                    <a:pt x="752" y="288"/>
                  </a:cubicBezTo>
                  <a:cubicBezTo>
                    <a:pt x="752" y="289"/>
                    <a:pt x="752" y="290"/>
                    <a:pt x="752" y="291"/>
                  </a:cubicBezTo>
                  <a:cubicBezTo>
                    <a:pt x="753" y="294"/>
                    <a:pt x="755" y="297"/>
                    <a:pt x="757" y="299"/>
                  </a:cubicBezTo>
                  <a:cubicBezTo>
                    <a:pt x="757" y="300"/>
                    <a:pt x="757" y="301"/>
                    <a:pt x="757" y="302"/>
                  </a:cubicBezTo>
                  <a:cubicBezTo>
                    <a:pt x="756" y="303"/>
                    <a:pt x="754" y="303"/>
                    <a:pt x="753" y="304"/>
                  </a:cubicBezTo>
                  <a:cubicBezTo>
                    <a:pt x="752" y="305"/>
                    <a:pt x="752" y="304"/>
                    <a:pt x="751" y="304"/>
                  </a:cubicBezTo>
                  <a:cubicBezTo>
                    <a:pt x="749" y="303"/>
                    <a:pt x="749" y="305"/>
                    <a:pt x="748" y="306"/>
                  </a:cubicBezTo>
                  <a:cubicBezTo>
                    <a:pt x="747" y="307"/>
                    <a:pt x="747" y="307"/>
                    <a:pt x="746" y="308"/>
                  </a:cubicBezTo>
                  <a:cubicBezTo>
                    <a:pt x="746" y="308"/>
                    <a:pt x="746" y="309"/>
                    <a:pt x="746" y="309"/>
                  </a:cubicBezTo>
                  <a:cubicBezTo>
                    <a:pt x="745" y="312"/>
                    <a:pt x="746" y="314"/>
                    <a:pt x="746" y="317"/>
                  </a:cubicBezTo>
                  <a:cubicBezTo>
                    <a:pt x="747" y="317"/>
                    <a:pt x="748" y="318"/>
                    <a:pt x="748" y="319"/>
                  </a:cubicBezTo>
                  <a:cubicBezTo>
                    <a:pt x="747" y="320"/>
                    <a:pt x="745" y="319"/>
                    <a:pt x="744" y="319"/>
                  </a:cubicBezTo>
                  <a:cubicBezTo>
                    <a:pt x="744" y="319"/>
                    <a:pt x="743" y="319"/>
                    <a:pt x="742" y="319"/>
                  </a:cubicBezTo>
                  <a:cubicBezTo>
                    <a:pt x="741" y="319"/>
                    <a:pt x="740" y="321"/>
                    <a:pt x="740" y="322"/>
                  </a:cubicBezTo>
                  <a:cubicBezTo>
                    <a:pt x="740" y="324"/>
                    <a:pt x="740" y="326"/>
                    <a:pt x="740" y="328"/>
                  </a:cubicBezTo>
                  <a:cubicBezTo>
                    <a:pt x="739" y="331"/>
                    <a:pt x="737" y="334"/>
                    <a:pt x="735" y="336"/>
                  </a:cubicBezTo>
                  <a:cubicBezTo>
                    <a:pt x="734" y="337"/>
                    <a:pt x="734" y="338"/>
                    <a:pt x="733" y="339"/>
                  </a:cubicBezTo>
                  <a:cubicBezTo>
                    <a:pt x="733" y="340"/>
                    <a:pt x="732" y="341"/>
                    <a:pt x="730" y="342"/>
                  </a:cubicBezTo>
                  <a:cubicBezTo>
                    <a:pt x="729" y="342"/>
                    <a:pt x="729" y="342"/>
                    <a:pt x="728" y="341"/>
                  </a:cubicBezTo>
                  <a:cubicBezTo>
                    <a:pt x="728" y="340"/>
                    <a:pt x="728" y="339"/>
                    <a:pt x="727" y="338"/>
                  </a:cubicBezTo>
                  <a:cubicBezTo>
                    <a:pt x="726" y="336"/>
                    <a:pt x="726" y="335"/>
                    <a:pt x="726" y="334"/>
                  </a:cubicBezTo>
                  <a:cubicBezTo>
                    <a:pt x="725" y="333"/>
                    <a:pt x="725" y="333"/>
                    <a:pt x="725" y="333"/>
                  </a:cubicBezTo>
                  <a:cubicBezTo>
                    <a:pt x="724" y="331"/>
                    <a:pt x="726" y="327"/>
                    <a:pt x="723" y="326"/>
                  </a:cubicBezTo>
                  <a:cubicBezTo>
                    <a:pt x="723" y="326"/>
                    <a:pt x="723" y="325"/>
                    <a:pt x="723" y="325"/>
                  </a:cubicBezTo>
                  <a:cubicBezTo>
                    <a:pt x="722" y="324"/>
                    <a:pt x="721" y="324"/>
                    <a:pt x="720" y="323"/>
                  </a:cubicBezTo>
                  <a:cubicBezTo>
                    <a:pt x="720" y="322"/>
                    <a:pt x="720" y="321"/>
                    <a:pt x="719" y="320"/>
                  </a:cubicBezTo>
                  <a:cubicBezTo>
                    <a:pt x="718" y="317"/>
                    <a:pt x="716" y="315"/>
                    <a:pt x="715" y="312"/>
                  </a:cubicBezTo>
                  <a:cubicBezTo>
                    <a:pt x="714" y="311"/>
                    <a:pt x="714" y="310"/>
                    <a:pt x="713" y="309"/>
                  </a:cubicBezTo>
                  <a:cubicBezTo>
                    <a:pt x="713" y="308"/>
                    <a:pt x="713" y="308"/>
                    <a:pt x="713" y="308"/>
                  </a:cubicBezTo>
                  <a:cubicBezTo>
                    <a:pt x="712" y="306"/>
                    <a:pt x="711" y="304"/>
                    <a:pt x="710" y="302"/>
                  </a:cubicBezTo>
                  <a:cubicBezTo>
                    <a:pt x="710" y="301"/>
                    <a:pt x="710" y="300"/>
                    <a:pt x="709" y="299"/>
                  </a:cubicBezTo>
                  <a:cubicBezTo>
                    <a:pt x="706" y="294"/>
                    <a:pt x="706" y="289"/>
                    <a:pt x="705" y="284"/>
                  </a:cubicBezTo>
                  <a:cubicBezTo>
                    <a:pt x="705" y="281"/>
                    <a:pt x="704" y="279"/>
                    <a:pt x="705" y="276"/>
                  </a:cubicBezTo>
                  <a:cubicBezTo>
                    <a:pt x="706" y="275"/>
                    <a:pt x="707" y="274"/>
                    <a:pt x="708" y="272"/>
                  </a:cubicBezTo>
                  <a:cubicBezTo>
                    <a:pt x="708" y="270"/>
                    <a:pt x="708" y="269"/>
                    <a:pt x="708" y="268"/>
                  </a:cubicBezTo>
                  <a:cubicBezTo>
                    <a:pt x="708" y="267"/>
                    <a:pt x="707" y="266"/>
                    <a:pt x="707" y="266"/>
                  </a:cubicBezTo>
                  <a:cubicBezTo>
                    <a:pt x="709" y="265"/>
                    <a:pt x="710" y="264"/>
                    <a:pt x="712" y="263"/>
                  </a:cubicBezTo>
                  <a:cubicBezTo>
                    <a:pt x="713" y="262"/>
                    <a:pt x="715" y="263"/>
                    <a:pt x="716" y="263"/>
                  </a:cubicBezTo>
                  <a:cubicBezTo>
                    <a:pt x="717" y="262"/>
                    <a:pt x="717" y="262"/>
                    <a:pt x="717" y="262"/>
                  </a:cubicBezTo>
                  <a:cubicBezTo>
                    <a:pt x="717" y="262"/>
                    <a:pt x="717" y="261"/>
                    <a:pt x="718" y="261"/>
                  </a:cubicBezTo>
                  <a:cubicBezTo>
                    <a:pt x="719" y="260"/>
                    <a:pt x="720" y="258"/>
                    <a:pt x="721" y="257"/>
                  </a:cubicBezTo>
                  <a:cubicBezTo>
                    <a:pt x="721" y="257"/>
                    <a:pt x="721" y="256"/>
                    <a:pt x="721" y="256"/>
                  </a:cubicBezTo>
                  <a:cubicBezTo>
                    <a:pt x="721" y="255"/>
                    <a:pt x="721" y="255"/>
                    <a:pt x="721" y="255"/>
                  </a:cubicBezTo>
                  <a:cubicBezTo>
                    <a:pt x="722" y="254"/>
                    <a:pt x="722" y="254"/>
                    <a:pt x="723" y="253"/>
                  </a:cubicBezTo>
                  <a:cubicBezTo>
                    <a:pt x="724" y="251"/>
                    <a:pt x="724" y="249"/>
                    <a:pt x="725" y="248"/>
                  </a:cubicBezTo>
                  <a:cubicBezTo>
                    <a:pt x="726" y="246"/>
                    <a:pt x="727" y="245"/>
                    <a:pt x="728" y="243"/>
                  </a:cubicBezTo>
                  <a:cubicBezTo>
                    <a:pt x="729" y="242"/>
                    <a:pt x="729" y="241"/>
                    <a:pt x="730" y="240"/>
                  </a:cubicBezTo>
                  <a:cubicBezTo>
                    <a:pt x="731" y="238"/>
                    <a:pt x="732" y="237"/>
                    <a:pt x="733" y="236"/>
                  </a:cubicBezTo>
                  <a:cubicBezTo>
                    <a:pt x="733" y="236"/>
                    <a:pt x="734" y="236"/>
                    <a:pt x="734" y="235"/>
                  </a:cubicBezTo>
                  <a:cubicBezTo>
                    <a:pt x="734" y="235"/>
                    <a:pt x="734" y="234"/>
                    <a:pt x="734" y="234"/>
                  </a:cubicBezTo>
                  <a:cubicBezTo>
                    <a:pt x="734" y="234"/>
                    <a:pt x="733" y="233"/>
                    <a:pt x="733" y="233"/>
                  </a:cubicBezTo>
                  <a:cubicBezTo>
                    <a:pt x="733" y="232"/>
                    <a:pt x="734" y="231"/>
                    <a:pt x="735" y="230"/>
                  </a:cubicBezTo>
                  <a:cubicBezTo>
                    <a:pt x="737" y="229"/>
                    <a:pt x="739" y="228"/>
                    <a:pt x="742" y="228"/>
                  </a:cubicBezTo>
                  <a:cubicBezTo>
                    <a:pt x="743" y="227"/>
                    <a:pt x="741" y="225"/>
                    <a:pt x="742" y="224"/>
                  </a:cubicBezTo>
                  <a:cubicBezTo>
                    <a:pt x="742" y="223"/>
                    <a:pt x="743" y="223"/>
                    <a:pt x="743" y="222"/>
                  </a:cubicBezTo>
                  <a:cubicBezTo>
                    <a:pt x="743" y="222"/>
                    <a:pt x="744" y="221"/>
                    <a:pt x="743" y="221"/>
                  </a:cubicBezTo>
                  <a:cubicBezTo>
                    <a:pt x="743" y="220"/>
                    <a:pt x="741" y="221"/>
                    <a:pt x="741" y="220"/>
                  </a:cubicBezTo>
                  <a:cubicBezTo>
                    <a:pt x="740" y="219"/>
                    <a:pt x="740" y="218"/>
                    <a:pt x="741" y="218"/>
                  </a:cubicBezTo>
                  <a:cubicBezTo>
                    <a:pt x="741" y="217"/>
                    <a:pt x="741" y="215"/>
                    <a:pt x="741" y="214"/>
                  </a:cubicBezTo>
                  <a:cubicBezTo>
                    <a:pt x="741" y="213"/>
                    <a:pt x="740" y="211"/>
                    <a:pt x="741" y="210"/>
                  </a:cubicBezTo>
                  <a:cubicBezTo>
                    <a:pt x="742" y="210"/>
                    <a:pt x="742" y="210"/>
                    <a:pt x="743" y="209"/>
                  </a:cubicBezTo>
                  <a:cubicBezTo>
                    <a:pt x="744" y="208"/>
                    <a:pt x="746" y="209"/>
                    <a:pt x="747" y="209"/>
                  </a:cubicBezTo>
                  <a:cubicBezTo>
                    <a:pt x="747" y="209"/>
                    <a:pt x="747" y="208"/>
                    <a:pt x="747" y="208"/>
                  </a:cubicBezTo>
                  <a:cubicBezTo>
                    <a:pt x="745" y="207"/>
                    <a:pt x="744" y="206"/>
                    <a:pt x="742" y="206"/>
                  </a:cubicBezTo>
                  <a:cubicBezTo>
                    <a:pt x="741" y="206"/>
                    <a:pt x="740" y="206"/>
                    <a:pt x="739" y="206"/>
                  </a:cubicBezTo>
                  <a:cubicBezTo>
                    <a:pt x="737" y="207"/>
                    <a:pt x="735" y="207"/>
                    <a:pt x="733" y="208"/>
                  </a:cubicBezTo>
                  <a:cubicBezTo>
                    <a:pt x="732" y="208"/>
                    <a:pt x="732" y="210"/>
                    <a:pt x="733" y="210"/>
                  </a:cubicBezTo>
                  <a:cubicBezTo>
                    <a:pt x="735" y="212"/>
                    <a:pt x="734" y="214"/>
                    <a:pt x="735" y="216"/>
                  </a:cubicBezTo>
                  <a:cubicBezTo>
                    <a:pt x="736" y="216"/>
                    <a:pt x="737" y="218"/>
                    <a:pt x="737" y="219"/>
                  </a:cubicBezTo>
                  <a:cubicBezTo>
                    <a:pt x="736" y="220"/>
                    <a:pt x="736" y="220"/>
                    <a:pt x="736" y="220"/>
                  </a:cubicBezTo>
                  <a:cubicBezTo>
                    <a:pt x="734" y="220"/>
                    <a:pt x="732" y="220"/>
                    <a:pt x="731" y="220"/>
                  </a:cubicBezTo>
                  <a:cubicBezTo>
                    <a:pt x="729" y="220"/>
                    <a:pt x="729" y="222"/>
                    <a:pt x="728" y="224"/>
                  </a:cubicBezTo>
                  <a:cubicBezTo>
                    <a:pt x="728" y="225"/>
                    <a:pt x="726" y="225"/>
                    <a:pt x="725" y="226"/>
                  </a:cubicBezTo>
                  <a:cubicBezTo>
                    <a:pt x="724" y="227"/>
                    <a:pt x="724" y="229"/>
                    <a:pt x="723" y="230"/>
                  </a:cubicBezTo>
                  <a:cubicBezTo>
                    <a:pt x="722" y="230"/>
                    <a:pt x="721" y="230"/>
                    <a:pt x="721" y="230"/>
                  </a:cubicBezTo>
                  <a:cubicBezTo>
                    <a:pt x="720" y="230"/>
                    <a:pt x="720" y="231"/>
                    <a:pt x="719" y="231"/>
                  </a:cubicBezTo>
                  <a:cubicBezTo>
                    <a:pt x="719" y="230"/>
                    <a:pt x="719" y="228"/>
                    <a:pt x="719" y="227"/>
                  </a:cubicBezTo>
                  <a:cubicBezTo>
                    <a:pt x="718" y="226"/>
                    <a:pt x="716" y="227"/>
                    <a:pt x="715" y="227"/>
                  </a:cubicBezTo>
                  <a:cubicBezTo>
                    <a:pt x="714" y="226"/>
                    <a:pt x="714" y="223"/>
                    <a:pt x="714" y="222"/>
                  </a:cubicBezTo>
                  <a:cubicBezTo>
                    <a:pt x="714" y="220"/>
                    <a:pt x="715" y="217"/>
                    <a:pt x="714" y="215"/>
                  </a:cubicBezTo>
                  <a:cubicBezTo>
                    <a:pt x="714" y="215"/>
                    <a:pt x="713" y="215"/>
                    <a:pt x="713" y="215"/>
                  </a:cubicBezTo>
                  <a:cubicBezTo>
                    <a:pt x="712" y="216"/>
                    <a:pt x="713" y="217"/>
                    <a:pt x="712" y="218"/>
                  </a:cubicBezTo>
                  <a:cubicBezTo>
                    <a:pt x="712" y="219"/>
                    <a:pt x="711" y="220"/>
                    <a:pt x="710" y="219"/>
                  </a:cubicBezTo>
                  <a:cubicBezTo>
                    <a:pt x="709" y="218"/>
                    <a:pt x="708" y="217"/>
                    <a:pt x="707" y="216"/>
                  </a:cubicBezTo>
                  <a:cubicBezTo>
                    <a:pt x="707" y="216"/>
                    <a:pt x="705" y="216"/>
                    <a:pt x="704" y="216"/>
                  </a:cubicBezTo>
                  <a:cubicBezTo>
                    <a:pt x="703" y="217"/>
                    <a:pt x="703" y="218"/>
                    <a:pt x="702" y="218"/>
                  </a:cubicBezTo>
                  <a:cubicBezTo>
                    <a:pt x="700" y="219"/>
                    <a:pt x="699" y="218"/>
                    <a:pt x="698" y="219"/>
                  </a:cubicBezTo>
                  <a:cubicBezTo>
                    <a:pt x="696" y="219"/>
                    <a:pt x="695" y="220"/>
                    <a:pt x="694" y="220"/>
                  </a:cubicBezTo>
                  <a:cubicBezTo>
                    <a:pt x="693" y="221"/>
                    <a:pt x="692" y="221"/>
                    <a:pt x="691" y="222"/>
                  </a:cubicBezTo>
                  <a:cubicBezTo>
                    <a:pt x="691" y="223"/>
                    <a:pt x="691" y="224"/>
                    <a:pt x="691" y="224"/>
                  </a:cubicBezTo>
                  <a:cubicBezTo>
                    <a:pt x="689" y="225"/>
                    <a:pt x="689" y="227"/>
                    <a:pt x="688" y="227"/>
                  </a:cubicBezTo>
                  <a:cubicBezTo>
                    <a:pt x="688" y="227"/>
                    <a:pt x="688" y="228"/>
                    <a:pt x="687" y="228"/>
                  </a:cubicBezTo>
                  <a:cubicBezTo>
                    <a:pt x="687" y="229"/>
                    <a:pt x="687" y="229"/>
                    <a:pt x="687" y="230"/>
                  </a:cubicBezTo>
                  <a:cubicBezTo>
                    <a:pt x="687" y="232"/>
                    <a:pt x="685" y="233"/>
                    <a:pt x="684" y="234"/>
                  </a:cubicBezTo>
                  <a:cubicBezTo>
                    <a:pt x="683" y="235"/>
                    <a:pt x="681" y="235"/>
                    <a:pt x="681" y="236"/>
                  </a:cubicBezTo>
                  <a:cubicBezTo>
                    <a:pt x="680" y="237"/>
                    <a:pt x="680" y="238"/>
                    <a:pt x="680" y="240"/>
                  </a:cubicBezTo>
                  <a:cubicBezTo>
                    <a:pt x="680" y="240"/>
                    <a:pt x="680" y="241"/>
                    <a:pt x="681" y="241"/>
                  </a:cubicBezTo>
                  <a:cubicBezTo>
                    <a:pt x="681" y="242"/>
                    <a:pt x="681" y="242"/>
                    <a:pt x="682" y="243"/>
                  </a:cubicBezTo>
                  <a:cubicBezTo>
                    <a:pt x="683" y="243"/>
                    <a:pt x="684" y="244"/>
                    <a:pt x="685" y="245"/>
                  </a:cubicBezTo>
                  <a:cubicBezTo>
                    <a:pt x="686" y="245"/>
                    <a:pt x="687" y="245"/>
                    <a:pt x="688" y="246"/>
                  </a:cubicBezTo>
                  <a:cubicBezTo>
                    <a:pt x="688" y="247"/>
                    <a:pt x="688" y="248"/>
                    <a:pt x="688" y="248"/>
                  </a:cubicBezTo>
                  <a:cubicBezTo>
                    <a:pt x="687" y="248"/>
                    <a:pt x="686" y="248"/>
                    <a:pt x="686" y="249"/>
                  </a:cubicBezTo>
                  <a:cubicBezTo>
                    <a:pt x="684" y="250"/>
                    <a:pt x="683" y="250"/>
                    <a:pt x="681" y="249"/>
                  </a:cubicBezTo>
                  <a:cubicBezTo>
                    <a:pt x="679" y="248"/>
                    <a:pt x="676" y="247"/>
                    <a:pt x="675" y="249"/>
                  </a:cubicBezTo>
                  <a:cubicBezTo>
                    <a:pt x="674" y="250"/>
                    <a:pt x="674" y="252"/>
                    <a:pt x="673" y="252"/>
                  </a:cubicBezTo>
                  <a:cubicBezTo>
                    <a:pt x="672" y="252"/>
                    <a:pt x="671" y="252"/>
                    <a:pt x="670" y="252"/>
                  </a:cubicBezTo>
                  <a:cubicBezTo>
                    <a:pt x="670" y="251"/>
                    <a:pt x="669" y="251"/>
                    <a:pt x="668" y="252"/>
                  </a:cubicBezTo>
                  <a:cubicBezTo>
                    <a:pt x="667" y="253"/>
                    <a:pt x="665" y="253"/>
                    <a:pt x="663" y="253"/>
                  </a:cubicBezTo>
                  <a:cubicBezTo>
                    <a:pt x="662" y="253"/>
                    <a:pt x="662" y="252"/>
                    <a:pt x="661" y="251"/>
                  </a:cubicBezTo>
                  <a:cubicBezTo>
                    <a:pt x="661" y="251"/>
                    <a:pt x="661" y="251"/>
                    <a:pt x="660" y="251"/>
                  </a:cubicBezTo>
                  <a:cubicBezTo>
                    <a:pt x="660" y="250"/>
                    <a:pt x="660" y="249"/>
                    <a:pt x="660" y="249"/>
                  </a:cubicBezTo>
                  <a:cubicBezTo>
                    <a:pt x="662" y="248"/>
                    <a:pt x="665" y="248"/>
                    <a:pt x="667" y="248"/>
                  </a:cubicBezTo>
                  <a:cubicBezTo>
                    <a:pt x="667" y="248"/>
                    <a:pt x="667" y="247"/>
                    <a:pt x="667" y="247"/>
                  </a:cubicBezTo>
                  <a:cubicBezTo>
                    <a:pt x="665" y="247"/>
                    <a:pt x="662" y="246"/>
                    <a:pt x="660" y="245"/>
                  </a:cubicBezTo>
                  <a:cubicBezTo>
                    <a:pt x="659" y="245"/>
                    <a:pt x="659" y="245"/>
                    <a:pt x="658" y="245"/>
                  </a:cubicBezTo>
                  <a:cubicBezTo>
                    <a:pt x="658" y="245"/>
                    <a:pt x="657" y="246"/>
                    <a:pt x="656" y="246"/>
                  </a:cubicBezTo>
                  <a:cubicBezTo>
                    <a:pt x="656" y="246"/>
                    <a:pt x="655" y="246"/>
                    <a:pt x="655" y="246"/>
                  </a:cubicBezTo>
                  <a:cubicBezTo>
                    <a:pt x="654" y="245"/>
                    <a:pt x="655" y="244"/>
                    <a:pt x="655" y="242"/>
                  </a:cubicBezTo>
                  <a:cubicBezTo>
                    <a:pt x="655" y="242"/>
                    <a:pt x="654" y="242"/>
                    <a:pt x="654" y="242"/>
                  </a:cubicBezTo>
                  <a:cubicBezTo>
                    <a:pt x="654" y="243"/>
                    <a:pt x="654" y="243"/>
                    <a:pt x="653" y="244"/>
                  </a:cubicBezTo>
                  <a:cubicBezTo>
                    <a:pt x="652" y="244"/>
                    <a:pt x="650" y="244"/>
                    <a:pt x="649" y="244"/>
                  </a:cubicBezTo>
                  <a:cubicBezTo>
                    <a:pt x="647" y="243"/>
                    <a:pt x="646" y="243"/>
                    <a:pt x="644" y="243"/>
                  </a:cubicBezTo>
                  <a:cubicBezTo>
                    <a:pt x="644" y="243"/>
                    <a:pt x="644" y="244"/>
                    <a:pt x="644" y="244"/>
                  </a:cubicBezTo>
                  <a:cubicBezTo>
                    <a:pt x="643" y="245"/>
                    <a:pt x="643" y="245"/>
                    <a:pt x="642" y="245"/>
                  </a:cubicBezTo>
                  <a:cubicBezTo>
                    <a:pt x="642" y="246"/>
                    <a:pt x="642" y="246"/>
                    <a:pt x="642" y="246"/>
                  </a:cubicBezTo>
                  <a:cubicBezTo>
                    <a:pt x="643" y="247"/>
                    <a:pt x="643" y="248"/>
                    <a:pt x="643" y="248"/>
                  </a:cubicBezTo>
                  <a:cubicBezTo>
                    <a:pt x="641" y="249"/>
                    <a:pt x="638" y="247"/>
                    <a:pt x="636" y="247"/>
                  </a:cubicBezTo>
                  <a:cubicBezTo>
                    <a:pt x="635" y="248"/>
                    <a:pt x="633" y="248"/>
                    <a:pt x="632" y="248"/>
                  </a:cubicBezTo>
                  <a:cubicBezTo>
                    <a:pt x="630" y="247"/>
                    <a:pt x="628" y="246"/>
                    <a:pt x="626" y="246"/>
                  </a:cubicBezTo>
                  <a:cubicBezTo>
                    <a:pt x="625" y="246"/>
                    <a:pt x="625" y="247"/>
                    <a:pt x="625" y="247"/>
                  </a:cubicBezTo>
                  <a:cubicBezTo>
                    <a:pt x="625" y="248"/>
                    <a:pt x="625" y="248"/>
                    <a:pt x="625" y="249"/>
                  </a:cubicBezTo>
                  <a:cubicBezTo>
                    <a:pt x="624" y="250"/>
                    <a:pt x="623" y="250"/>
                    <a:pt x="622" y="250"/>
                  </a:cubicBezTo>
                  <a:cubicBezTo>
                    <a:pt x="621" y="249"/>
                    <a:pt x="622" y="247"/>
                    <a:pt x="621" y="246"/>
                  </a:cubicBezTo>
                  <a:cubicBezTo>
                    <a:pt x="619" y="246"/>
                    <a:pt x="618" y="246"/>
                    <a:pt x="616" y="247"/>
                  </a:cubicBezTo>
                  <a:cubicBezTo>
                    <a:pt x="611" y="248"/>
                    <a:pt x="606" y="246"/>
                    <a:pt x="600" y="247"/>
                  </a:cubicBezTo>
                  <a:cubicBezTo>
                    <a:pt x="600" y="247"/>
                    <a:pt x="600" y="248"/>
                    <a:pt x="599" y="248"/>
                  </a:cubicBezTo>
                  <a:cubicBezTo>
                    <a:pt x="599" y="248"/>
                    <a:pt x="598" y="248"/>
                    <a:pt x="597" y="248"/>
                  </a:cubicBezTo>
                  <a:cubicBezTo>
                    <a:pt x="596" y="249"/>
                    <a:pt x="594" y="251"/>
                    <a:pt x="595" y="253"/>
                  </a:cubicBezTo>
                  <a:cubicBezTo>
                    <a:pt x="593" y="255"/>
                    <a:pt x="591" y="255"/>
                    <a:pt x="589" y="256"/>
                  </a:cubicBezTo>
                  <a:cubicBezTo>
                    <a:pt x="589" y="257"/>
                    <a:pt x="588" y="257"/>
                    <a:pt x="588" y="258"/>
                  </a:cubicBezTo>
                  <a:cubicBezTo>
                    <a:pt x="588" y="259"/>
                    <a:pt x="587" y="259"/>
                    <a:pt x="587" y="260"/>
                  </a:cubicBezTo>
                  <a:cubicBezTo>
                    <a:pt x="586" y="261"/>
                    <a:pt x="587" y="263"/>
                    <a:pt x="587" y="265"/>
                  </a:cubicBezTo>
                  <a:cubicBezTo>
                    <a:pt x="586" y="265"/>
                    <a:pt x="585" y="266"/>
                    <a:pt x="585" y="267"/>
                  </a:cubicBezTo>
                  <a:cubicBezTo>
                    <a:pt x="584" y="268"/>
                    <a:pt x="584" y="269"/>
                    <a:pt x="583" y="269"/>
                  </a:cubicBezTo>
                  <a:cubicBezTo>
                    <a:pt x="581" y="271"/>
                    <a:pt x="579" y="273"/>
                    <a:pt x="577" y="276"/>
                  </a:cubicBezTo>
                  <a:cubicBezTo>
                    <a:pt x="577" y="275"/>
                    <a:pt x="577" y="275"/>
                    <a:pt x="577" y="275"/>
                  </a:cubicBezTo>
                  <a:cubicBezTo>
                    <a:pt x="577" y="277"/>
                    <a:pt x="577" y="278"/>
                    <a:pt x="576" y="279"/>
                  </a:cubicBezTo>
                  <a:cubicBezTo>
                    <a:pt x="576" y="280"/>
                    <a:pt x="576" y="281"/>
                    <a:pt x="575" y="281"/>
                  </a:cubicBezTo>
                  <a:cubicBezTo>
                    <a:pt x="575" y="282"/>
                    <a:pt x="575" y="282"/>
                    <a:pt x="574" y="282"/>
                  </a:cubicBezTo>
                  <a:cubicBezTo>
                    <a:pt x="573" y="283"/>
                    <a:pt x="572" y="284"/>
                    <a:pt x="572" y="285"/>
                  </a:cubicBezTo>
                  <a:cubicBezTo>
                    <a:pt x="571" y="286"/>
                    <a:pt x="572" y="287"/>
                    <a:pt x="571" y="288"/>
                  </a:cubicBezTo>
                  <a:cubicBezTo>
                    <a:pt x="570" y="289"/>
                    <a:pt x="568" y="290"/>
                    <a:pt x="567" y="291"/>
                  </a:cubicBezTo>
                  <a:cubicBezTo>
                    <a:pt x="565" y="291"/>
                    <a:pt x="566" y="293"/>
                    <a:pt x="566" y="294"/>
                  </a:cubicBezTo>
                  <a:cubicBezTo>
                    <a:pt x="564" y="296"/>
                    <a:pt x="562" y="296"/>
                    <a:pt x="560" y="298"/>
                  </a:cubicBezTo>
                  <a:cubicBezTo>
                    <a:pt x="559" y="298"/>
                    <a:pt x="560" y="299"/>
                    <a:pt x="560" y="300"/>
                  </a:cubicBezTo>
                  <a:cubicBezTo>
                    <a:pt x="560" y="301"/>
                    <a:pt x="562" y="301"/>
                    <a:pt x="563" y="301"/>
                  </a:cubicBezTo>
                  <a:cubicBezTo>
                    <a:pt x="563" y="302"/>
                    <a:pt x="563" y="303"/>
                    <a:pt x="564" y="303"/>
                  </a:cubicBezTo>
                  <a:cubicBezTo>
                    <a:pt x="565" y="303"/>
                    <a:pt x="566" y="303"/>
                    <a:pt x="567" y="303"/>
                  </a:cubicBezTo>
                  <a:cubicBezTo>
                    <a:pt x="568" y="303"/>
                    <a:pt x="569" y="302"/>
                    <a:pt x="570" y="301"/>
                  </a:cubicBezTo>
                  <a:cubicBezTo>
                    <a:pt x="570" y="301"/>
                    <a:pt x="572" y="301"/>
                    <a:pt x="572" y="302"/>
                  </a:cubicBezTo>
                  <a:cubicBezTo>
                    <a:pt x="573" y="303"/>
                    <a:pt x="572" y="304"/>
                    <a:pt x="573" y="305"/>
                  </a:cubicBezTo>
                  <a:cubicBezTo>
                    <a:pt x="573" y="306"/>
                    <a:pt x="573" y="308"/>
                    <a:pt x="574" y="309"/>
                  </a:cubicBezTo>
                  <a:cubicBezTo>
                    <a:pt x="574" y="309"/>
                    <a:pt x="575" y="310"/>
                    <a:pt x="576" y="309"/>
                  </a:cubicBezTo>
                  <a:cubicBezTo>
                    <a:pt x="576" y="309"/>
                    <a:pt x="576" y="308"/>
                    <a:pt x="576" y="308"/>
                  </a:cubicBezTo>
                  <a:cubicBezTo>
                    <a:pt x="576" y="307"/>
                    <a:pt x="576" y="306"/>
                    <a:pt x="576" y="305"/>
                  </a:cubicBezTo>
                  <a:cubicBezTo>
                    <a:pt x="576" y="305"/>
                    <a:pt x="578" y="304"/>
                    <a:pt x="579" y="305"/>
                  </a:cubicBezTo>
                  <a:cubicBezTo>
                    <a:pt x="579" y="305"/>
                    <a:pt x="579" y="306"/>
                    <a:pt x="579" y="306"/>
                  </a:cubicBezTo>
                  <a:cubicBezTo>
                    <a:pt x="578" y="307"/>
                    <a:pt x="577" y="307"/>
                    <a:pt x="578" y="308"/>
                  </a:cubicBezTo>
                  <a:cubicBezTo>
                    <a:pt x="578" y="309"/>
                    <a:pt x="580" y="309"/>
                    <a:pt x="580" y="310"/>
                  </a:cubicBezTo>
                  <a:cubicBezTo>
                    <a:pt x="580" y="310"/>
                    <a:pt x="580" y="311"/>
                    <a:pt x="580" y="311"/>
                  </a:cubicBezTo>
                  <a:cubicBezTo>
                    <a:pt x="580" y="312"/>
                    <a:pt x="579" y="312"/>
                    <a:pt x="578" y="313"/>
                  </a:cubicBezTo>
                  <a:cubicBezTo>
                    <a:pt x="577" y="313"/>
                    <a:pt x="578" y="314"/>
                    <a:pt x="578" y="314"/>
                  </a:cubicBezTo>
                  <a:cubicBezTo>
                    <a:pt x="579" y="314"/>
                    <a:pt x="580" y="314"/>
                    <a:pt x="581" y="314"/>
                  </a:cubicBezTo>
                  <a:cubicBezTo>
                    <a:pt x="582" y="314"/>
                    <a:pt x="582" y="313"/>
                    <a:pt x="583" y="312"/>
                  </a:cubicBezTo>
                  <a:cubicBezTo>
                    <a:pt x="583" y="312"/>
                    <a:pt x="584" y="312"/>
                    <a:pt x="585" y="311"/>
                  </a:cubicBezTo>
                  <a:cubicBezTo>
                    <a:pt x="585" y="310"/>
                    <a:pt x="586" y="309"/>
                    <a:pt x="587" y="310"/>
                  </a:cubicBezTo>
                  <a:cubicBezTo>
                    <a:pt x="587" y="311"/>
                    <a:pt x="587" y="312"/>
                    <a:pt x="587" y="313"/>
                  </a:cubicBezTo>
                  <a:cubicBezTo>
                    <a:pt x="587" y="313"/>
                    <a:pt x="587" y="313"/>
                    <a:pt x="588" y="313"/>
                  </a:cubicBezTo>
                  <a:cubicBezTo>
                    <a:pt x="588" y="312"/>
                    <a:pt x="589" y="309"/>
                    <a:pt x="588" y="307"/>
                  </a:cubicBezTo>
                  <a:cubicBezTo>
                    <a:pt x="587" y="307"/>
                    <a:pt x="586" y="306"/>
                    <a:pt x="587" y="305"/>
                  </a:cubicBezTo>
                  <a:cubicBezTo>
                    <a:pt x="587" y="305"/>
                    <a:pt x="588" y="305"/>
                    <a:pt x="588" y="305"/>
                  </a:cubicBezTo>
                  <a:cubicBezTo>
                    <a:pt x="589" y="306"/>
                    <a:pt x="590" y="306"/>
                    <a:pt x="590" y="306"/>
                  </a:cubicBezTo>
                  <a:cubicBezTo>
                    <a:pt x="591" y="307"/>
                    <a:pt x="592" y="306"/>
                    <a:pt x="593" y="306"/>
                  </a:cubicBezTo>
                  <a:cubicBezTo>
                    <a:pt x="594" y="305"/>
                    <a:pt x="595" y="305"/>
                    <a:pt x="595" y="306"/>
                  </a:cubicBezTo>
                  <a:cubicBezTo>
                    <a:pt x="596" y="306"/>
                    <a:pt x="597" y="307"/>
                    <a:pt x="598" y="308"/>
                  </a:cubicBezTo>
                  <a:cubicBezTo>
                    <a:pt x="599" y="310"/>
                    <a:pt x="599" y="312"/>
                    <a:pt x="601" y="313"/>
                  </a:cubicBezTo>
                  <a:cubicBezTo>
                    <a:pt x="601" y="314"/>
                    <a:pt x="601" y="314"/>
                    <a:pt x="602" y="314"/>
                  </a:cubicBezTo>
                  <a:cubicBezTo>
                    <a:pt x="604" y="315"/>
                    <a:pt x="606" y="318"/>
                    <a:pt x="609" y="319"/>
                  </a:cubicBezTo>
                  <a:cubicBezTo>
                    <a:pt x="610" y="319"/>
                    <a:pt x="610" y="321"/>
                    <a:pt x="609" y="322"/>
                  </a:cubicBezTo>
                  <a:cubicBezTo>
                    <a:pt x="609" y="322"/>
                    <a:pt x="609" y="323"/>
                    <a:pt x="609" y="323"/>
                  </a:cubicBezTo>
                  <a:cubicBezTo>
                    <a:pt x="610" y="324"/>
                    <a:pt x="610" y="324"/>
                    <a:pt x="611" y="325"/>
                  </a:cubicBezTo>
                  <a:cubicBezTo>
                    <a:pt x="611" y="326"/>
                    <a:pt x="611" y="326"/>
                    <a:pt x="611" y="327"/>
                  </a:cubicBezTo>
                  <a:cubicBezTo>
                    <a:pt x="611" y="327"/>
                    <a:pt x="612" y="328"/>
                    <a:pt x="612" y="328"/>
                  </a:cubicBezTo>
                  <a:cubicBezTo>
                    <a:pt x="613" y="329"/>
                    <a:pt x="613" y="331"/>
                    <a:pt x="612" y="332"/>
                  </a:cubicBezTo>
                  <a:cubicBezTo>
                    <a:pt x="612" y="332"/>
                    <a:pt x="612" y="333"/>
                    <a:pt x="611" y="333"/>
                  </a:cubicBezTo>
                  <a:cubicBezTo>
                    <a:pt x="610" y="336"/>
                    <a:pt x="611" y="338"/>
                    <a:pt x="610" y="341"/>
                  </a:cubicBezTo>
                  <a:cubicBezTo>
                    <a:pt x="610" y="341"/>
                    <a:pt x="610" y="341"/>
                    <a:pt x="610" y="341"/>
                  </a:cubicBezTo>
                  <a:cubicBezTo>
                    <a:pt x="610" y="343"/>
                    <a:pt x="610" y="344"/>
                    <a:pt x="610" y="346"/>
                  </a:cubicBezTo>
                  <a:cubicBezTo>
                    <a:pt x="611" y="347"/>
                    <a:pt x="612" y="349"/>
                    <a:pt x="613" y="351"/>
                  </a:cubicBezTo>
                  <a:cubicBezTo>
                    <a:pt x="613" y="353"/>
                    <a:pt x="614" y="355"/>
                    <a:pt x="615" y="357"/>
                  </a:cubicBezTo>
                  <a:cubicBezTo>
                    <a:pt x="615" y="360"/>
                    <a:pt x="614" y="363"/>
                    <a:pt x="614" y="366"/>
                  </a:cubicBezTo>
                  <a:cubicBezTo>
                    <a:pt x="614" y="368"/>
                    <a:pt x="614" y="368"/>
                    <a:pt x="614" y="368"/>
                  </a:cubicBezTo>
                  <a:cubicBezTo>
                    <a:pt x="614" y="369"/>
                    <a:pt x="614" y="371"/>
                    <a:pt x="614" y="372"/>
                  </a:cubicBezTo>
                  <a:cubicBezTo>
                    <a:pt x="613" y="373"/>
                    <a:pt x="612" y="375"/>
                    <a:pt x="611" y="376"/>
                  </a:cubicBezTo>
                  <a:cubicBezTo>
                    <a:pt x="611" y="377"/>
                    <a:pt x="611" y="377"/>
                    <a:pt x="611" y="378"/>
                  </a:cubicBezTo>
                  <a:cubicBezTo>
                    <a:pt x="610" y="379"/>
                    <a:pt x="610" y="379"/>
                    <a:pt x="609" y="380"/>
                  </a:cubicBezTo>
                  <a:cubicBezTo>
                    <a:pt x="609" y="382"/>
                    <a:pt x="609" y="385"/>
                    <a:pt x="608" y="387"/>
                  </a:cubicBezTo>
                  <a:cubicBezTo>
                    <a:pt x="607" y="388"/>
                    <a:pt x="607" y="390"/>
                    <a:pt x="607" y="391"/>
                  </a:cubicBezTo>
                  <a:cubicBezTo>
                    <a:pt x="606" y="393"/>
                    <a:pt x="605" y="395"/>
                    <a:pt x="604" y="397"/>
                  </a:cubicBezTo>
                  <a:cubicBezTo>
                    <a:pt x="603" y="399"/>
                    <a:pt x="601" y="401"/>
                    <a:pt x="600" y="403"/>
                  </a:cubicBezTo>
                  <a:cubicBezTo>
                    <a:pt x="599" y="405"/>
                    <a:pt x="598" y="407"/>
                    <a:pt x="597" y="410"/>
                  </a:cubicBezTo>
                  <a:cubicBezTo>
                    <a:pt x="596" y="410"/>
                    <a:pt x="596" y="410"/>
                    <a:pt x="596" y="410"/>
                  </a:cubicBezTo>
                  <a:cubicBezTo>
                    <a:pt x="595" y="411"/>
                    <a:pt x="595" y="412"/>
                    <a:pt x="594" y="413"/>
                  </a:cubicBezTo>
                  <a:cubicBezTo>
                    <a:pt x="593" y="414"/>
                    <a:pt x="592" y="416"/>
                    <a:pt x="591" y="417"/>
                  </a:cubicBezTo>
                  <a:cubicBezTo>
                    <a:pt x="591" y="418"/>
                    <a:pt x="591" y="419"/>
                    <a:pt x="590" y="420"/>
                  </a:cubicBezTo>
                  <a:cubicBezTo>
                    <a:pt x="589" y="422"/>
                    <a:pt x="587" y="425"/>
                    <a:pt x="585" y="427"/>
                  </a:cubicBezTo>
                  <a:cubicBezTo>
                    <a:pt x="584" y="428"/>
                    <a:pt x="582" y="428"/>
                    <a:pt x="580" y="429"/>
                  </a:cubicBezTo>
                  <a:cubicBezTo>
                    <a:pt x="580" y="430"/>
                    <a:pt x="580" y="430"/>
                    <a:pt x="579" y="430"/>
                  </a:cubicBezTo>
                  <a:cubicBezTo>
                    <a:pt x="578" y="431"/>
                    <a:pt x="576" y="431"/>
                    <a:pt x="575" y="430"/>
                  </a:cubicBezTo>
                  <a:cubicBezTo>
                    <a:pt x="575" y="430"/>
                    <a:pt x="574" y="430"/>
                    <a:pt x="574" y="429"/>
                  </a:cubicBezTo>
                  <a:cubicBezTo>
                    <a:pt x="573" y="429"/>
                    <a:pt x="572" y="430"/>
                    <a:pt x="571" y="430"/>
                  </a:cubicBezTo>
                  <a:cubicBezTo>
                    <a:pt x="569" y="431"/>
                    <a:pt x="569" y="428"/>
                    <a:pt x="567" y="427"/>
                  </a:cubicBezTo>
                  <a:cubicBezTo>
                    <a:pt x="566" y="427"/>
                    <a:pt x="565" y="426"/>
                    <a:pt x="564" y="427"/>
                  </a:cubicBezTo>
                  <a:cubicBezTo>
                    <a:pt x="562" y="428"/>
                    <a:pt x="562" y="430"/>
                    <a:pt x="561" y="432"/>
                  </a:cubicBezTo>
                  <a:cubicBezTo>
                    <a:pt x="560" y="433"/>
                    <a:pt x="559" y="433"/>
                    <a:pt x="558" y="433"/>
                  </a:cubicBezTo>
                  <a:cubicBezTo>
                    <a:pt x="558" y="432"/>
                    <a:pt x="558" y="432"/>
                    <a:pt x="558" y="432"/>
                  </a:cubicBezTo>
                  <a:cubicBezTo>
                    <a:pt x="558" y="432"/>
                    <a:pt x="557" y="431"/>
                    <a:pt x="558" y="431"/>
                  </a:cubicBezTo>
                  <a:cubicBezTo>
                    <a:pt x="558" y="430"/>
                    <a:pt x="559" y="429"/>
                    <a:pt x="560" y="429"/>
                  </a:cubicBezTo>
                  <a:cubicBezTo>
                    <a:pt x="561" y="428"/>
                    <a:pt x="561" y="426"/>
                    <a:pt x="561" y="425"/>
                  </a:cubicBezTo>
                  <a:cubicBezTo>
                    <a:pt x="561" y="424"/>
                    <a:pt x="560" y="423"/>
                    <a:pt x="559" y="421"/>
                  </a:cubicBezTo>
                  <a:cubicBezTo>
                    <a:pt x="559" y="420"/>
                    <a:pt x="559" y="419"/>
                    <a:pt x="559" y="418"/>
                  </a:cubicBezTo>
                  <a:cubicBezTo>
                    <a:pt x="559" y="415"/>
                    <a:pt x="558" y="413"/>
                    <a:pt x="559" y="410"/>
                  </a:cubicBezTo>
                  <a:cubicBezTo>
                    <a:pt x="560" y="409"/>
                    <a:pt x="560" y="407"/>
                    <a:pt x="560" y="406"/>
                  </a:cubicBezTo>
                  <a:cubicBezTo>
                    <a:pt x="560" y="405"/>
                    <a:pt x="562" y="405"/>
                    <a:pt x="563" y="405"/>
                  </a:cubicBezTo>
                  <a:cubicBezTo>
                    <a:pt x="563" y="405"/>
                    <a:pt x="563" y="406"/>
                    <a:pt x="564" y="406"/>
                  </a:cubicBezTo>
                  <a:cubicBezTo>
                    <a:pt x="565" y="407"/>
                    <a:pt x="566" y="407"/>
                    <a:pt x="568" y="408"/>
                  </a:cubicBezTo>
                  <a:cubicBezTo>
                    <a:pt x="568" y="408"/>
                    <a:pt x="569" y="408"/>
                    <a:pt x="570" y="408"/>
                  </a:cubicBezTo>
                  <a:cubicBezTo>
                    <a:pt x="570" y="406"/>
                    <a:pt x="569" y="403"/>
                    <a:pt x="571" y="402"/>
                  </a:cubicBezTo>
                  <a:cubicBezTo>
                    <a:pt x="572" y="401"/>
                    <a:pt x="572" y="401"/>
                    <a:pt x="573" y="401"/>
                  </a:cubicBezTo>
                  <a:cubicBezTo>
                    <a:pt x="573" y="399"/>
                    <a:pt x="572" y="398"/>
                    <a:pt x="573" y="397"/>
                  </a:cubicBezTo>
                  <a:cubicBezTo>
                    <a:pt x="573" y="397"/>
                    <a:pt x="573" y="396"/>
                    <a:pt x="573" y="396"/>
                  </a:cubicBezTo>
                  <a:cubicBezTo>
                    <a:pt x="574" y="391"/>
                    <a:pt x="574" y="387"/>
                    <a:pt x="574" y="383"/>
                  </a:cubicBezTo>
                  <a:cubicBezTo>
                    <a:pt x="575" y="381"/>
                    <a:pt x="576" y="380"/>
                    <a:pt x="576" y="378"/>
                  </a:cubicBezTo>
                  <a:cubicBezTo>
                    <a:pt x="575" y="378"/>
                    <a:pt x="575" y="378"/>
                    <a:pt x="575" y="377"/>
                  </a:cubicBezTo>
                  <a:cubicBezTo>
                    <a:pt x="574" y="376"/>
                    <a:pt x="575" y="375"/>
                    <a:pt x="575" y="374"/>
                  </a:cubicBezTo>
                  <a:cubicBezTo>
                    <a:pt x="575" y="373"/>
                    <a:pt x="574" y="373"/>
                    <a:pt x="574" y="373"/>
                  </a:cubicBezTo>
                  <a:cubicBezTo>
                    <a:pt x="574" y="373"/>
                    <a:pt x="573" y="373"/>
                    <a:pt x="573" y="373"/>
                  </a:cubicBezTo>
                  <a:cubicBezTo>
                    <a:pt x="572" y="372"/>
                    <a:pt x="572" y="372"/>
                    <a:pt x="571" y="371"/>
                  </a:cubicBezTo>
                  <a:cubicBezTo>
                    <a:pt x="570" y="371"/>
                    <a:pt x="569" y="372"/>
                    <a:pt x="568" y="372"/>
                  </a:cubicBezTo>
                  <a:cubicBezTo>
                    <a:pt x="567" y="374"/>
                    <a:pt x="566" y="376"/>
                    <a:pt x="564" y="376"/>
                  </a:cubicBezTo>
                  <a:cubicBezTo>
                    <a:pt x="561" y="377"/>
                    <a:pt x="559" y="378"/>
                    <a:pt x="557" y="379"/>
                  </a:cubicBezTo>
                  <a:cubicBezTo>
                    <a:pt x="555" y="380"/>
                    <a:pt x="553" y="380"/>
                    <a:pt x="550" y="379"/>
                  </a:cubicBezTo>
                  <a:cubicBezTo>
                    <a:pt x="550" y="379"/>
                    <a:pt x="549" y="378"/>
                    <a:pt x="548" y="378"/>
                  </a:cubicBezTo>
                  <a:cubicBezTo>
                    <a:pt x="547" y="377"/>
                    <a:pt x="546" y="377"/>
                    <a:pt x="546" y="376"/>
                  </a:cubicBezTo>
                  <a:cubicBezTo>
                    <a:pt x="546" y="376"/>
                    <a:pt x="545" y="375"/>
                    <a:pt x="545" y="375"/>
                  </a:cubicBezTo>
                  <a:cubicBezTo>
                    <a:pt x="545" y="374"/>
                    <a:pt x="545" y="373"/>
                    <a:pt x="545" y="372"/>
                  </a:cubicBezTo>
                  <a:cubicBezTo>
                    <a:pt x="545" y="371"/>
                    <a:pt x="543" y="370"/>
                    <a:pt x="543" y="370"/>
                  </a:cubicBezTo>
                  <a:cubicBezTo>
                    <a:pt x="542" y="369"/>
                    <a:pt x="543" y="368"/>
                    <a:pt x="542" y="367"/>
                  </a:cubicBezTo>
                  <a:cubicBezTo>
                    <a:pt x="541" y="365"/>
                    <a:pt x="539" y="367"/>
                    <a:pt x="537" y="366"/>
                  </a:cubicBezTo>
                  <a:cubicBezTo>
                    <a:pt x="536" y="364"/>
                    <a:pt x="535" y="363"/>
                    <a:pt x="534" y="361"/>
                  </a:cubicBezTo>
                  <a:cubicBezTo>
                    <a:pt x="533" y="360"/>
                    <a:pt x="531" y="359"/>
                    <a:pt x="530" y="360"/>
                  </a:cubicBezTo>
                  <a:cubicBezTo>
                    <a:pt x="529" y="360"/>
                    <a:pt x="527" y="360"/>
                    <a:pt x="526" y="360"/>
                  </a:cubicBezTo>
                  <a:cubicBezTo>
                    <a:pt x="525" y="360"/>
                    <a:pt x="524" y="359"/>
                    <a:pt x="523" y="358"/>
                  </a:cubicBezTo>
                  <a:cubicBezTo>
                    <a:pt x="522" y="358"/>
                    <a:pt x="521" y="358"/>
                    <a:pt x="521" y="358"/>
                  </a:cubicBezTo>
                  <a:cubicBezTo>
                    <a:pt x="520" y="358"/>
                    <a:pt x="520" y="358"/>
                    <a:pt x="519" y="357"/>
                  </a:cubicBezTo>
                  <a:cubicBezTo>
                    <a:pt x="517" y="355"/>
                    <a:pt x="515" y="352"/>
                    <a:pt x="514" y="350"/>
                  </a:cubicBezTo>
                  <a:cubicBezTo>
                    <a:pt x="514" y="349"/>
                    <a:pt x="513" y="348"/>
                    <a:pt x="513" y="348"/>
                  </a:cubicBezTo>
                  <a:cubicBezTo>
                    <a:pt x="512" y="347"/>
                    <a:pt x="512" y="346"/>
                    <a:pt x="512" y="345"/>
                  </a:cubicBezTo>
                  <a:cubicBezTo>
                    <a:pt x="512" y="343"/>
                    <a:pt x="510" y="343"/>
                    <a:pt x="509" y="342"/>
                  </a:cubicBezTo>
                  <a:cubicBezTo>
                    <a:pt x="507" y="339"/>
                    <a:pt x="504" y="337"/>
                    <a:pt x="502" y="334"/>
                  </a:cubicBezTo>
                  <a:cubicBezTo>
                    <a:pt x="502" y="331"/>
                    <a:pt x="500" y="328"/>
                    <a:pt x="499" y="326"/>
                  </a:cubicBezTo>
                  <a:cubicBezTo>
                    <a:pt x="498" y="325"/>
                    <a:pt x="498" y="324"/>
                    <a:pt x="498" y="324"/>
                  </a:cubicBezTo>
                  <a:cubicBezTo>
                    <a:pt x="496" y="322"/>
                    <a:pt x="495" y="320"/>
                    <a:pt x="492" y="319"/>
                  </a:cubicBezTo>
                  <a:cubicBezTo>
                    <a:pt x="490" y="319"/>
                    <a:pt x="487" y="319"/>
                    <a:pt x="485" y="319"/>
                  </a:cubicBezTo>
                  <a:cubicBezTo>
                    <a:pt x="485" y="319"/>
                    <a:pt x="484" y="318"/>
                    <a:pt x="483" y="318"/>
                  </a:cubicBezTo>
                  <a:cubicBezTo>
                    <a:pt x="481" y="318"/>
                    <a:pt x="479" y="317"/>
                    <a:pt x="477" y="316"/>
                  </a:cubicBezTo>
                  <a:cubicBezTo>
                    <a:pt x="475" y="316"/>
                    <a:pt x="473" y="316"/>
                    <a:pt x="470" y="317"/>
                  </a:cubicBezTo>
                  <a:cubicBezTo>
                    <a:pt x="469" y="318"/>
                    <a:pt x="468" y="319"/>
                    <a:pt x="467" y="319"/>
                  </a:cubicBezTo>
                  <a:cubicBezTo>
                    <a:pt x="465" y="319"/>
                    <a:pt x="462" y="319"/>
                    <a:pt x="460" y="319"/>
                  </a:cubicBezTo>
                  <a:cubicBezTo>
                    <a:pt x="458" y="320"/>
                    <a:pt x="458" y="321"/>
                    <a:pt x="458" y="323"/>
                  </a:cubicBezTo>
                  <a:cubicBezTo>
                    <a:pt x="457" y="323"/>
                    <a:pt x="457" y="324"/>
                    <a:pt x="456" y="324"/>
                  </a:cubicBezTo>
                  <a:cubicBezTo>
                    <a:pt x="455" y="325"/>
                    <a:pt x="454" y="326"/>
                    <a:pt x="455" y="327"/>
                  </a:cubicBezTo>
                  <a:cubicBezTo>
                    <a:pt x="457" y="327"/>
                    <a:pt x="459" y="326"/>
                    <a:pt x="460" y="327"/>
                  </a:cubicBezTo>
                  <a:cubicBezTo>
                    <a:pt x="461" y="329"/>
                    <a:pt x="461" y="331"/>
                    <a:pt x="461" y="333"/>
                  </a:cubicBezTo>
                  <a:cubicBezTo>
                    <a:pt x="460" y="334"/>
                    <a:pt x="460" y="335"/>
                    <a:pt x="459" y="335"/>
                  </a:cubicBezTo>
                  <a:cubicBezTo>
                    <a:pt x="458" y="337"/>
                    <a:pt x="456" y="339"/>
                    <a:pt x="455" y="341"/>
                  </a:cubicBezTo>
                  <a:cubicBezTo>
                    <a:pt x="455" y="343"/>
                    <a:pt x="455" y="345"/>
                    <a:pt x="454" y="347"/>
                  </a:cubicBezTo>
                  <a:cubicBezTo>
                    <a:pt x="454" y="347"/>
                    <a:pt x="454" y="347"/>
                    <a:pt x="454" y="348"/>
                  </a:cubicBezTo>
                  <a:cubicBezTo>
                    <a:pt x="454" y="349"/>
                    <a:pt x="453" y="349"/>
                    <a:pt x="454" y="350"/>
                  </a:cubicBezTo>
                  <a:cubicBezTo>
                    <a:pt x="455" y="351"/>
                    <a:pt x="455" y="353"/>
                    <a:pt x="454" y="353"/>
                  </a:cubicBezTo>
                  <a:cubicBezTo>
                    <a:pt x="453" y="355"/>
                    <a:pt x="451" y="357"/>
                    <a:pt x="449" y="357"/>
                  </a:cubicBezTo>
                  <a:cubicBezTo>
                    <a:pt x="448" y="358"/>
                    <a:pt x="447" y="358"/>
                    <a:pt x="446" y="359"/>
                  </a:cubicBezTo>
                  <a:cubicBezTo>
                    <a:pt x="445" y="359"/>
                    <a:pt x="444" y="359"/>
                    <a:pt x="443" y="359"/>
                  </a:cubicBezTo>
                  <a:cubicBezTo>
                    <a:pt x="442" y="358"/>
                    <a:pt x="441" y="357"/>
                    <a:pt x="439" y="357"/>
                  </a:cubicBezTo>
                  <a:cubicBezTo>
                    <a:pt x="439" y="356"/>
                    <a:pt x="438" y="356"/>
                    <a:pt x="437" y="356"/>
                  </a:cubicBezTo>
                  <a:cubicBezTo>
                    <a:pt x="437" y="356"/>
                    <a:pt x="437" y="355"/>
                    <a:pt x="436" y="355"/>
                  </a:cubicBezTo>
                  <a:cubicBezTo>
                    <a:pt x="436" y="355"/>
                    <a:pt x="435" y="355"/>
                    <a:pt x="435" y="355"/>
                  </a:cubicBezTo>
                  <a:cubicBezTo>
                    <a:pt x="435" y="355"/>
                    <a:pt x="435" y="355"/>
                    <a:pt x="435" y="355"/>
                  </a:cubicBezTo>
                  <a:cubicBezTo>
                    <a:pt x="433" y="353"/>
                    <a:pt x="430" y="355"/>
                    <a:pt x="427" y="354"/>
                  </a:cubicBezTo>
                  <a:cubicBezTo>
                    <a:pt x="425" y="354"/>
                    <a:pt x="424" y="352"/>
                    <a:pt x="422" y="352"/>
                  </a:cubicBezTo>
                  <a:cubicBezTo>
                    <a:pt x="421" y="351"/>
                    <a:pt x="420" y="351"/>
                    <a:pt x="419" y="352"/>
                  </a:cubicBezTo>
                  <a:cubicBezTo>
                    <a:pt x="419" y="352"/>
                    <a:pt x="418" y="352"/>
                    <a:pt x="417" y="353"/>
                  </a:cubicBezTo>
                  <a:cubicBezTo>
                    <a:pt x="417" y="353"/>
                    <a:pt x="416" y="353"/>
                    <a:pt x="416" y="353"/>
                  </a:cubicBezTo>
                  <a:cubicBezTo>
                    <a:pt x="414" y="355"/>
                    <a:pt x="413" y="357"/>
                    <a:pt x="410" y="358"/>
                  </a:cubicBezTo>
                  <a:cubicBezTo>
                    <a:pt x="408" y="360"/>
                    <a:pt x="405" y="358"/>
                    <a:pt x="403" y="360"/>
                  </a:cubicBezTo>
                  <a:cubicBezTo>
                    <a:pt x="403" y="360"/>
                    <a:pt x="402" y="361"/>
                    <a:pt x="402" y="361"/>
                  </a:cubicBezTo>
                  <a:cubicBezTo>
                    <a:pt x="400" y="362"/>
                    <a:pt x="399" y="362"/>
                    <a:pt x="397" y="362"/>
                  </a:cubicBezTo>
                  <a:cubicBezTo>
                    <a:pt x="393" y="362"/>
                    <a:pt x="389" y="362"/>
                    <a:pt x="384" y="362"/>
                  </a:cubicBezTo>
                  <a:cubicBezTo>
                    <a:pt x="382" y="360"/>
                    <a:pt x="379" y="362"/>
                    <a:pt x="376" y="360"/>
                  </a:cubicBezTo>
                  <a:cubicBezTo>
                    <a:pt x="373" y="359"/>
                    <a:pt x="372" y="356"/>
                    <a:pt x="369" y="355"/>
                  </a:cubicBezTo>
                  <a:cubicBezTo>
                    <a:pt x="368" y="355"/>
                    <a:pt x="367" y="355"/>
                    <a:pt x="366" y="355"/>
                  </a:cubicBezTo>
                  <a:cubicBezTo>
                    <a:pt x="365" y="355"/>
                    <a:pt x="365" y="354"/>
                    <a:pt x="364" y="354"/>
                  </a:cubicBezTo>
                  <a:cubicBezTo>
                    <a:pt x="362" y="351"/>
                    <a:pt x="357" y="349"/>
                    <a:pt x="353" y="350"/>
                  </a:cubicBezTo>
                  <a:cubicBezTo>
                    <a:pt x="353" y="350"/>
                    <a:pt x="352" y="351"/>
                    <a:pt x="351" y="351"/>
                  </a:cubicBezTo>
                  <a:cubicBezTo>
                    <a:pt x="349" y="352"/>
                    <a:pt x="347" y="352"/>
                    <a:pt x="345" y="353"/>
                  </a:cubicBezTo>
                  <a:cubicBezTo>
                    <a:pt x="344" y="353"/>
                    <a:pt x="342" y="353"/>
                    <a:pt x="341" y="353"/>
                  </a:cubicBezTo>
                  <a:cubicBezTo>
                    <a:pt x="341" y="353"/>
                    <a:pt x="340" y="352"/>
                    <a:pt x="339" y="352"/>
                  </a:cubicBezTo>
                  <a:cubicBezTo>
                    <a:pt x="337" y="352"/>
                    <a:pt x="335" y="352"/>
                    <a:pt x="333" y="351"/>
                  </a:cubicBezTo>
                  <a:cubicBezTo>
                    <a:pt x="332" y="351"/>
                    <a:pt x="331" y="351"/>
                    <a:pt x="330" y="350"/>
                  </a:cubicBezTo>
                  <a:cubicBezTo>
                    <a:pt x="330" y="350"/>
                    <a:pt x="330" y="349"/>
                    <a:pt x="330" y="349"/>
                  </a:cubicBezTo>
                  <a:cubicBezTo>
                    <a:pt x="330" y="348"/>
                    <a:pt x="329" y="347"/>
                    <a:pt x="328" y="347"/>
                  </a:cubicBezTo>
                  <a:cubicBezTo>
                    <a:pt x="328" y="346"/>
                    <a:pt x="328" y="345"/>
                    <a:pt x="328" y="345"/>
                  </a:cubicBezTo>
                  <a:cubicBezTo>
                    <a:pt x="327" y="344"/>
                    <a:pt x="326" y="343"/>
                    <a:pt x="326" y="343"/>
                  </a:cubicBezTo>
                  <a:cubicBezTo>
                    <a:pt x="326" y="342"/>
                    <a:pt x="326" y="341"/>
                    <a:pt x="326" y="341"/>
                  </a:cubicBezTo>
                  <a:cubicBezTo>
                    <a:pt x="325" y="339"/>
                    <a:pt x="324" y="338"/>
                    <a:pt x="323" y="338"/>
                  </a:cubicBezTo>
                  <a:cubicBezTo>
                    <a:pt x="321" y="337"/>
                    <a:pt x="320" y="337"/>
                    <a:pt x="318" y="337"/>
                  </a:cubicBezTo>
                  <a:cubicBezTo>
                    <a:pt x="317" y="337"/>
                    <a:pt x="315" y="336"/>
                    <a:pt x="314" y="336"/>
                  </a:cubicBezTo>
                  <a:cubicBezTo>
                    <a:pt x="312" y="335"/>
                    <a:pt x="309" y="336"/>
                    <a:pt x="307" y="335"/>
                  </a:cubicBezTo>
                  <a:cubicBezTo>
                    <a:pt x="305" y="334"/>
                    <a:pt x="303" y="333"/>
                    <a:pt x="301" y="332"/>
                  </a:cubicBezTo>
                  <a:cubicBezTo>
                    <a:pt x="300" y="332"/>
                    <a:pt x="299" y="331"/>
                    <a:pt x="299" y="332"/>
                  </a:cubicBezTo>
                  <a:cubicBezTo>
                    <a:pt x="298" y="333"/>
                    <a:pt x="297" y="334"/>
                    <a:pt x="297" y="336"/>
                  </a:cubicBezTo>
                  <a:cubicBezTo>
                    <a:pt x="297" y="337"/>
                    <a:pt x="295" y="336"/>
                    <a:pt x="294" y="337"/>
                  </a:cubicBezTo>
                  <a:cubicBezTo>
                    <a:pt x="294" y="337"/>
                    <a:pt x="294" y="338"/>
                    <a:pt x="294" y="339"/>
                  </a:cubicBezTo>
                  <a:cubicBezTo>
                    <a:pt x="293" y="340"/>
                    <a:pt x="292" y="340"/>
                    <a:pt x="291" y="341"/>
                  </a:cubicBezTo>
                  <a:cubicBezTo>
                    <a:pt x="291" y="342"/>
                    <a:pt x="291" y="343"/>
                    <a:pt x="292" y="344"/>
                  </a:cubicBezTo>
                  <a:cubicBezTo>
                    <a:pt x="293" y="345"/>
                    <a:pt x="295" y="345"/>
                    <a:pt x="296" y="347"/>
                  </a:cubicBezTo>
                  <a:cubicBezTo>
                    <a:pt x="297" y="349"/>
                    <a:pt x="296" y="350"/>
                    <a:pt x="296" y="352"/>
                  </a:cubicBezTo>
                  <a:cubicBezTo>
                    <a:pt x="297" y="352"/>
                    <a:pt x="297" y="352"/>
                    <a:pt x="298" y="353"/>
                  </a:cubicBezTo>
                  <a:cubicBezTo>
                    <a:pt x="298" y="353"/>
                    <a:pt x="298" y="353"/>
                    <a:pt x="298" y="353"/>
                  </a:cubicBezTo>
                  <a:cubicBezTo>
                    <a:pt x="299" y="355"/>
                    <a:pt x="298" y="356"/>
                    <a:pt x="297" y="356"/>
                  </a:cubicBezTo>
                  <a:cubicBezTo>
                    <a:pt x="295" y="357"/>
                    <a:pt x="294" y="356"/>
                    <a:pt x="292" y="357"/>
                  </a:cubicBezTo>
                  <a:cubicBezTo>
                    <a:pt x="291" y="357"/>
                    <a:pt x="289" y="357"/>
                    <a:pt x="288" y="357"/>
                  </a:cubicBezTo>
                  <a:cubicBezTo>
                    <a:pt x="286" y="356"/>
                    <a:pt x="285" y="356"/>
                    <a:pt x="283" y="355"/>
                  </a:cubicBezTo>
                  <a:cubicBezTo>
                    <a:pt x="283" y="355"/>
                    <a:pt x="282" y="355"/>
                    <a:pt x="282" y="355"/>
                  </a:cubicBezTo>
                  <a:cubicBezTo>
                    <a:pt x="281" y="355"/>
                    <a:pt x="279" y="355"/>
                    <a:pt x="278" y="356"/>
                  </a:cubicBezTo>
                  <a:cubicBezTo>
                    <a:pt x="277" y="356"/>
                    <a:pt x="275" y="355"/>
                    <a:pt x="274" y="354"/>
                  </a:cubicBezTo>
                  <a:cubicBezTo>
                    <a:pt x="273" y="353"/>
                    <a:pt x="272" y="354"/>
                    <a:pt x="271" y="354"/>
                  </a:cubicBezTo>
                  <a:cubicBezTo>
                    <a:pt x="270" y="353"/>
                    <a:pt x="271" y="352"/>
                    <a:pt x="269" y="352"/>
                  </a:cubicBezTo>
                  <a:cubicBezTo>
                    <a:pt x="269" y="350"/>
                    <a:pt x="270" y="349"/>
                    <a:pt x="269" y="348"/>
                  </a:cubicBezTo>
                  <a:cubicBezTo>
                    <a:pt x="269" y="347"/>
                    <a:pt x="268" y="347"/>
                    <a:pt x="267" y="347"/>
                  </a:cubicBezTo>
                  <a:cubicBezTo>
                    <a:pt x="265" y="348"/>
                    <a:pt x="263" y="347"/>
                    <a:pt x="261" y="346"/>
                  </a:cubicBezTo>
                  <a:cubicBezTo>
                    <a:pt x="260" y="346"/>
                    <a:pt x="259" y="346"/>
                    <a:pt x="258" y="345"/>
                  </a:cubicBezTo>
                  <a:cubicBezTo>
                    <a:pt x="257" y="345"/>
                    <a:pt x="255" y="346"/>
                    <a:pt x="254" y="345"/>
                  </a:cubicBezTo>
                  <a:cubicBezTo>
                    <a:pt x="253" y="345"/>
                    <a:pt x="252" y="345"/>
                    <a:pt x="251" y="344"/>
                  </a:cubicBezTo>
                  <a:cubicBezTo>
                    <a:pt x="251" y="344"/>
                    <a:pt x="250" y="344"/>
                    <a:pt x="249" y="345"/>
                  </a:cubicBezTo>
                  <a:cubicBezTo>
                    <a:pt x="248" y="346"/>
                    <a:pt x="247" y="347"/>
                    <a:pt x="246" y="348"/>
                  </a:cubicBezTo>
                  <a:cubicBezTo>
                    <a:pt x="245" y="348"/>
                    <a:pt x="245" y="349"/>
                    <a:pt x="245" y="349"/>
                  </a:cubicBezTo>
                  <a:cubicBezTo>
                    <a:pt x="244" y="349"/>
                    <a:pt x="242" y="348"/>
                    <a:pt x="241" y="349"/>
                  </a:cubicBezTo>
                  <a:cubicBezTo>
                    <a:pt x="239" y="350"/>
                    <a:pt x="238" y="352"/>
                    <a:pt x="237" y="355"/>
                  </a:cubicBezTo>
                  <a:cubicBezTo>
                    <a:pt x="236" y="355"/>
                    <a:pt x="236" y="355"/>
                    <a:pt x="235" y="356"/>
                  </a:cubicBezTo>
                  <a:cubicBezTo>
                    <a:pt x="234" y="357"/>
                    <a:pt x="233" y="358"/>
                    <a:pt x="233" y="359"/>
                  </a:cubicBezTo>
                  <a:cubicBezTo>
                    <a:pt x="232" y="360"/>
                    <a:pt x="231" y="360"/>
                    <a:pt x="230" y="361"/>
                  </a:cubicBezTo>
                  <a:cubicBezTo>
                    <a:pt x="228" y="361"/>
                    <a:pt x="226" y="360"/>
                    <a:pt x="224" y="361"/>
                  </a:cubicBezTo>
                  <a:cubicBezTo>
                    <a:pt x="223" y="362"/>
                    <a:pt x="222" y="364"/>
                    <a:pt x="222" y="366"/>
                  </a:cubicBezTo>
                  <a:cubicBezTo>
                    <a:pt x="220" y="366"/>
                    <a:pt x="218" y="365"/>
                    <a:pt x="216" y="366"/>
                  </a:cubicBezTo>
                  <a:cubicBezTo>
                    <a:pt x="214" y="365"/>
                    <a:pt x="212" y="365"/>
                    <a:pt x="211" y="363"/>
                  </a:cubicBezTo>
                  <a:cubicBezTo>
                    <a:pt x="210" y="363"/>
                    <a:pt x="210" y="362"/>
                    <a:pt x="210" y="361"/>
                  </a:cubicBezTo>
                  <a:cubicBezTo>
                    <a:pt x="209" y="360"/>
                    <a:pt x="210" y="359"/>
                    <a:pt x="209" y="359"/>
                  </a:cubicBezTo>
                  <a:cubicBezTo>
                    <a:pt x="208" y="358"/>
                    <a:pt x="207" y="358"/>
                    <a:pt x="206" y="359"/>
                  </a:cubicBezTo>
                  <a:cubicBezTo>
                    <a:pt x="205" y="359"/>
                    <a:pt x="205" y="359"/>
                    <a:pt x="204" y="360"/>
                  </a:cubicBezTo>
                  <a:cubicBezTo>
                    <a:pt x="203" y="360"/>
                    <a:pt x="202" y="360"/>
                    <a:pt x="201" y="360"/>
                  </a:cubicBezTo>
                  <a:cubicBezTo>
                    <a:pt x="201" y="359"/>
                    <a:pt x="200" y="359"/>
                    <a:pt x="199" y="358"/>
                  </a:cubicBezTo>
                  <a:cubicBezTo>
                    <a:pt x="198" y="358"/>
                    <a:pt x="197" y="357"/>
                    <a:pt x="196" y="356"/>
                  </a:cubicBezTo>
                  <a:cubicBezTo>
                    <a:pt x="196" y="355"/>
                    <a:pt x="196" y="354"/>
                    <a:pt x="196" y="353"/>
                  </a:cubicBezTo>
                  <a:cubicBezTo>
                    <a:pt x="196" y="353"/>
                    <a:pt x="195" y="352"/>
                    <a:pt x="195" y="352"/>
                  </a:cubicBezTo>
                  <a:cubicBezTo>
                    <a:pt x="194" y="351"/>
                    <a:pt x="192" y="352"/>
                    <a:pt x="191" y="351"/>
                  </a:cubicBezTo>
                  <a:cubicBezTo>
                    <a:pt x="190" y="349"/>
                    <a:pt x="187" y="348"/>
                    <a:pt x="186" y="346"/>
                  </a:cubicBezTo>
                  <a:cubicBezTo>
                    <a:pt x="185" y="344"/>
                    <a:pt x="183" y="343"/>
                    <a:pt x="181" y="344"/>
                  </a:cubicBezTo>
                  <a:cubicBezTo>
                    <a:pt x="180" y="344"/>
                    <a:pt x="180" y="345"/>
                    <a:pt x="179" y="345"/>
                  </a:cubicBezTo>
                  <a:cubicBezTo>
                    <a:pt x="177" y="346"/>
                    <a:pt x="176" y="345"/>
                    <a:pt x="175" y="345"/>
                  </a:cubicBezTo>
                  <a:cubicBezTo>
                    <a:pt x="173" y="344"/>
                    <a:pt x="172" y="345"/>
                    <a:pt x="170" y="346"/>
                  </a:cubicBezTo>
                  <a:cubicBezTo>
                    <a:pt x="170" y="347"/>
                    <a:pt x="169" y="347"/>
                    <a:pt x="168" y="346"/>
                  </a:cubicBezTo>
                  <a:cubicBezTo>
                    <a:pt x="167" y="345"/>
                    <a:pt x="166" y="344"/>
                    <a:pt x="166" y="342"/>
                  </a:cubicBezTo>
                  <a:cubicBezTo>
                    <a:pt x="166" y="342"/>
                    <a:pt x="165" y="341"/>
                    <a:pt x="165" y="341"/>
                  </a:cubicBezTo>
                  <a:cubicBezTo>
                    <a:pt x="164" y="341"/>
                    <a:pt x="163" y="341"/>
                    <a:pt x="162" y="342"/>
                  </a:cubicBezTo>
                  <a:cubicBezTo>
                    <a:pt x="161" y="342"/>
                    <a:pt x="160" y="343"/>
                    <a:pt x="159" y="344"/>
                  </a:cubicBezTo>
                  <a:cubicBezTo>
                    <a:pt x="159" y="345"/>
                    <a:pt x="158" y="344"/>
                    <a:pt x="157" y="343"/>
                  </a:cubicBezTo>
                  <a:cubicBezTo>
                    <a:pt x="157" y="343"/>
                    <a:pt x="157" y="342"/>
                    <a:pt x="157" y="342"/>
                  </a:cubicBezTo>
                  <a:cubicBezTo>
                    <a:pt x="156" y="342"/>
                    <a:pt x="156" y="341"/>
                    <a:pt x="156" y="341"/>
                  </a:cubicBezTo>
                  <a:cubicBezTo>
                    <a:pt x="153" y="337"/>
                    <a:pt x="151" y="334"/>
                    <a:pt x="147" y="331"/>
                  </a:cubicBezTo>
                  <a:cubicBezTo>
                    <a:pt x="147" y="331"/>
                    <a:pt x="146" y="330"/>
                    <a:pt x="145" y="330"/>
                  </a:cubicBezTo>
                  <a:cubicBezTo>
                    <a:pt x="143" y="328"/>
                    <a:pt x="141" y="326"/>
                    <a:pt x="139" y="324"/>
                  </a:cubicBezTo>
                  <a:cubicBezTo>
                    <a:pt x="138" y="321"/>
                    <a:pt x="135" y="319"/>
                    <a:pt x="133" y="317"/>
                  </a:cubicBezTo>
                  <a:cubicBezTo>
                    <a:pt x="131" y="315"/>
                    <a:pt x="128" y="313"/>
                    <a:pt x="126" y="311"/>
                  </a:cubicBezTo>
                  <a:cubicBezTo>
                    <a:pt x="126" y="311"/>
                    <a:pt x="126" y="310"/>
                    <a:pt x="126" y="310"/>
                  </a:cubicBezTo>
                  <a:cubicBezTo>
                    <a:pt x="127" y="309"/>
                    <a:pt x="127" y="308"/>
                    <a:pt x="127" y="307"/>
                  </a:cubicBezTo>
                  <a:cubicBezTo>
                    <a:pt x="124" y="307"/>
                    <a:pt x="122" y="309"/>
                    <a:pt x="120" y="310"/>
                  </a:cubicBezTo>
                  <a:cubicBezTo>
                    <a:pt x="118" y="312"/>
                    <a:pt x="116" y="312"/>
                    <a:pt x="115" y="314"/>
                  </a:cubicBezTo>
                  <a:cubicBezTo>
                    <a:pt x="114" y="314"/>
                    <a:pt x="114" y="315"/>
                    <a:pt x="114" y="315"/>
                  </a:cubicBezTo>
                  <a:cubicBezTo>
                    <a:pt x="113" y="315"/>
                    <a:pt x="113" y="315"/>
                    <a:pt x="113" y="315"/>
                  </a:cubicBezTo>
                  <a:cubicBezTo>
                    <a:pt x="111" y="316"/>
                    <a:pt x="110" y="316"/>
                    <a:pt x="109" y="316"/>
                  </a:cubicBezTo>
                  <a:cubicBezTo>
                    <a:pt x="109" y="316"/>
                    <a:pt x="108" y="316"/>
                    <a:pt x="108" y="316"/>
                  </a:cubicBezTo>
                  <a:cubicBezTo>
                    <a:pt x="107" y="317"/>
                    <a:pt x="105" y="317"/>
                    <a:pt x="104" y="316"/>
                  </a:cubicBezTo>
                  <a:cubicBezTo>
                    <a:pt x="104" y="316"/>
                    <a:pt x="104" y="315"/>
                    <a:pt x="104" y="314"/>
                  </a:cubicBezTo>
                  <a:cubicBezTo>
                    <a:pt x="105" y="314"/>
                    <a:pt x="106" y="313"/>
                    <a:pt x="105" y="312"/>
                  </a:cubicBezTo>
                  <a:cubicBezTo>
                    <a:pt x="105" y="311"/>
                    <a:pt x="105" y="311"/>
                    <a:pt x="104" y="311"/>
                  </a:cubicBezTo>
                  <a:cubicBezTo>
                    <a:pt x="101" y="311"/>
                    <a:pt x="98" y="310"/>
                    <a:pt x="96" y="308"/>
                  </a:cubicBezTo>
                  <a:cubicBezTo>
                    <a:pt x="92" y="308"/>
                    <a:pt x="89" y="309"/>
                    <a:pt x="86" y="307"/>
                  </a:cubicBezTo>
                  <a:cubicBezTo>
                    <a:pt x="86" y="304"/>
                    <a:pt x="86" y="302"/>
                    <a:pt x="86" y="300"/>
                  </a:cubicBezTo>
                  <a:cubicBezTo>
                    <a:pt x="85" y="299"/>
                    <a:pt x="85" y="298"/>
                    <a:pt x="84" y="298"/>
                  </a:cubicBezTo>
                  <a:cubicBezTo>
                    <a:pt x="82" y="296"/>
                    <a:pt x="80" y="296"/>
                    <a:pt x="78" y="296"/>
                  </a:cubicBezTo>
                  <a:cubicBezTo>
                    <a:pt x="77" y="296"/>
                    <a:pt x="77" y="295"/>
                    <a:pt x="76" y="295"/>
                  </a:cubicBezTo>
                  <a:cubicBezTo>
                    <a:pt x="74" y="295"/>
                    <a:pt x="72" y="295"/>
                    <a:pt x="70" y="295"/>
                  </a:cubicBezTo>
                  <a:cubicBezTo>
                    <a:pt x="70" y="295"/>
                    <a:pt x="67" y="296"/>
                    <a:pt x="67" y="296"/>
                  </a:cubicBezTo>
                  <a:cubicBezTo>
                    <a:pt x="65" y="298"/>
                    <a:pt x="63" y="301"/>
                    <a:pt x="60" y="301"/>
                  </a:cubicBezTo>
                  <a:cubicBezTo>
                    <a:pt x="60" y="302"/>
                    <a:pt x="59" y="302"/>
                    <a:pt x="58" y="302"/>
                  </a:cubicBezTo>
                  <a:cubicBezTo>
                    <a:pt x="56" y="302"/>
                    <a:pt x="54" y="302"/>
                    <a:pt x="51" y="302"/>
                  </a:cubicBezTo>
                  <a:cubicBezTo>
                    <a:pt x="51" y="303"/>
                    <a:pt x="50" y="303"/>
                    <a:pt x="49" y="303"/>
                  </a:cubicBezTo>
                  <a:cubicBezTo>
                    <a:pt x="48" y="303"/>
                    <a:pt x="47" y="303"/>
                    <a:pt x="45" y="303"/>
                  </a:cubicBezTo>
                  <a:cubicBezTo>
                    <a:pt x="42" y="305"/>
                    <a:pt x="39" y="306"/>
                    <a:pt x="35" y="308"/>
                  </a:cubicBezTo>
                  <a:cubicBezTo>
                    <a:pt x="34" y="308"/>
                    <a:pt x="34" y="308"/>
                    <a:pt x="33" y="308"/>
                  </a:cubicBezTo>
                  <a:cubicBezTo>
                    <a:pt x="31" y="309"/>
                    <a:pt x="30" y="308"/>
                    <a:pt x="28" y="309"/>
                  </a:cubicBezTo>
                  <a:cubicBezTo>
                    <a:pt x="28" y="309"/>
                    <a:pt x="27" y="309"/>
                    <a:pt x="26" y="310"/>
                  </a:cubicBezTo>
                  <a:cubicBezTo>
                    <a:pt x="26" y="310"/>
                    <a:pt x="21" y="291"/>
                    <a:pt x="21" y="28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1" name="Freeform 272"/>
            <p:cNvSpPr>
              <a:spLocks/>
            </p:cNvSpPr>
            <p:nvPr/>
          </p:nvSpPr>
          <p:spPr bwMode="auto">
            <a:xfrm>
              <a:off x="7604418" y="4453070"/>
              <a:ext cx="5075" cy="6647"/>
            </a:xfrm>
            <a:custGeom>
              <a:avLst/>
              <a:gdLst>
                <a:gd name="T0" fmla="*/ 2497529 w 4"/>
                <a:gd name="T1" fmla="*/ 0 h 6"/>
                <a:gd name="T2" fmla="*/ 0 w 4"/>
                <a:gd name="T3" fmla="*/ 2243220 h 6"/>
                <a:gd name="T4" fmla="*/ 4450654 w 4"/>
                <a:gd name="T5" fmla="*/ 2970751 h 6"/>
                <a:gd name="T6" fmla="*/ 6243820 w 4"/>
                <a:gd name="T7" fmla="*/ 2243220 h 6"/>
                <a:gd name="T8" fmla="*/ 6243820 w 4"/>
                <a:gd name="T9" fmla="*/ 727531 h 6"/>
                <a:gd name="T10" fmla="*/ 2497529 w 4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1" y="0"/>
                  </a:moveTo>
                  <a:cubicBezTo>
                    <a:pt x="0" y="0"/>
                    <a:pt x="0" y="2"/>
                    <a:pt x="0" y="3"/>
                  </a:cubicBezTo>
                  <a:cubicBezTo>
                    <a:pt x="1" y="4"/>
                    <a:pt x="1" y="6"/>
                    <a:pt x="2" y="4"/>
                  </a:cubicBezTo>
                  <a:cubicBezTo>
                    <a:pt x="3" y="4"/>
                    <a:pt x="3" y="3"/>
                    <a:pt x="3" y="3"/>
                  </a:cubicBezTo>
                  <a:cubicBezTo>
                    <a:pt x="4" y="2"/>
                    <a:pt x="4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2" name="Freeform 273"/>
            <p:cNvSpPr>
              <a:spLocks/>
            </p:cNvSpPr>
            <p:nvPr/>
          </p:nvSpPr>
          <p:spPr bwMode="auto">
            <a:xfrm>
              <a:off x="7755210" y="4387196"/>
              <a:ext cx="48574" cy="27799"/>
            </a:xfrm>
            <a:custGeom>
              <a:avLst/>
              <a:gdLst>
                <a:gd name="T0" fmla="*/ 28785776 w 36"/>
                <a:gd name="T1" fmla="*/ 10127813 h 26"/>
                <a:gd name="T2" fmla="*/ 21259350 w 36"/>
                <a:gd name="T3" fmla="*/ 5038211 h 26"/>
                <a:gd name="T4" fmla="*/ 17710644 w 36"/>
                <a:gd name="T5" fmla="*/ 4316773 h 26"/>
                <a:gd name="T6" fmla="*/ 17075317 w 36"/>
                <a:gd name="T7" fmla="*/ 6922623 h 26"/>
                <a:gd name="T8" fmla="*/ 17075317 w 36"/>
                <a:gd name="T9" fmla="*/ 6922623 h 26"/>
                <a:gd name="T10" fmla="*/ 15729730 w 36"/>
                <a:gd name="T11" fmla="*/ 2476837 h 26"/>
                <a:gd name="T12" fmla="*/ 12191625 w 36"/>
                <a:gd name="T13" fmla="*/ 1839936 h 26"/>
                <a:gd name="T14" fmla="*/ 11049821 w 36"/>
                <a:gd name="T15" fmla="*/ 4316773 h 26"/>
                <a:gd name="T16" fmla="*/ 8379337 w 36"/>
                <a:gd name="T17" fmla="*/ 3198282 h 26"/>
                <a:gd name="T18" fmla="*/ 7500980 w 36"/>
                <a:gd name="T19" fmla="*/ 3198282 h 26"/>
                <a:gd name="T20" fmla="*/ 5519055 w 36"/>
                <a:gd name="T21" fmla="*/ 6922623 h 26"/>
                <a:gd name="T22" fmla="*/ 4679924 w 36"/>
                <a:gd name="T23" fmla="*/ 11156751 h 26"/>
                <a:gd name="T24" fmla="*/ 3548896 w 36"/>
                <a:gd name="T25" fmla="*/ 11820412 h 26"/>
                <a:gd name="T26" fmla="*/ 1982086 w 36"/>
                <a:gd name="T27" fmla="*/ 13633585 h 26"/>
                <a:gd name="T28" fmla="*/ 839472 w 36"/>
                <a:gd name="T29" fmla="*/ 14406455 h 26"/>
                <a:gd name="T30" fmla="*/ 839472 w 36"/>
                <a:gd name="T31" fmla="*/ 21921488 h 26"/>
                <a:gd name="T32" fmla="*/ 1982086 w 36"/>
                <a:gd name="T33" fmla="*/ 21921488 h 26"/>
                <a:gd name="T34" fmla="*/ 8379337 w 36"/>
                <a:gd name="T35" fmla="*/ 19444641 h 26"/>
                <a:gd name="T36" fmla="*/ 10210418 w 36"/>
                <a:gd name="T37" fmla="*/ 18660434 h 26"/>
                <a:gd name="T38" fmla="*/ 17710644 w 36"/>
                <a:gd name="T39" fmla="*/ 18660434 h 26"/>
                <a:gd name="T40" fmla="*/ 23229971 w 36"/>
                <a:gd name="T41" fmla="*/ 17604740 h 26"/>
                <a:gd name="T42" fmla="*/ 28123853 w 36"/>
                <a:gd name="T43" fmla="*/ 17604740 h 26"/>
                <a:gd name="T44" fmla="*/ 30767843 w 36"/>
                <a:gd name="T45" fmla="*/ 16821088 h 26"/>
                <a:gd name="T46" fmla="*/ 32815247 w 36"/>
                <a:gd name="T47" fmla="*/ 15127963 h 26"/>
                <a:gd name="T48" fmla="*/ 32815247 w 36"/>
                <a:gd name="T49" fmla="*/ 12522682 h 26"/>
                <a:gd name="T50" fmla="*/ 30767843 w 36"/>
                <a:gd name="T51" fmla="*/ 11156751 h 26"/>
                <a:gd name="T52" fmla="*/ 28785776 w 36"/>
                <a:gd name="T53" fmla="*/ 10127813 h 2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6"/>
                <a:gd name="T82" fmla="*/ 0 h 26"/>
                <a:gd name="T83" fmla="*/ 36 w 36"/>
                <a:gd name="T84" fmla="*/ 26 h 2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6" h="26">
                  <a:moveTo>
                    <a:pt x="31" y="12"/>
                  </a:moveTo>
                  <a:cubicBezTo>
                    <a:pt x="29" y="9"/>
                    <a:pt x="26" y="8"/>
                    <a:pt x="23" y="6"/>
                  </a:cubicBezTo>
                  <a:cubicBezTo>
                    <a:pt x="22" y="5"/>
                    <a:pt x="21" y="4"/>
                    <a:pt x="19" y="5"/>
                  </a:cubicBezTo>
                  <a:cubicBezTo>
                    <a:pt x="19" y="5"/>
                    <a:pt x="19" y="7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6"/>
                    <a:pt x="18" y="4"/>
                    <a:pt x="17" y="3"/>
                  </a:cubicBezTo>
                  <a:cubicBezTo>
                    <a:pt x="17" y="2"/>
                    <a:pt x="15" y="0"/>
                    <a:pt x="13" y="2"/>
                  </a:cubicBezTo>
                  <a:cubicBezTo>
                    <a:pt x="12" y="2"/>
                    <a:pt x="13" y="4"/>
                    <a:pt x="12" y="5"/>
                  </a:cubicBezTo>
                  <a:cubicBezTo>
                    <a:pt x="11" y="6"/>
                    <a:pt x="10" y="5"/>
                    <a:pt x="9" y="4"/>
                  </a:cubicBezTo>
                  <a:cubicBezTo>
                    <a:pt x="9" y="4"/>
                    <a:pt x="8" y="4"/>
                    <a:pt x="8" y="4"/>
                  </a:cubicBezTo>
                  <a:cubicBezTo>
                    <a:pt x="7" y="5"/>
                    <a:pt x="7" y="6"/>
                    <a:pt x="6" y="8"/>
                  </a:cubicBezTo>
                  <a:cubicBezTo>
                    <a:pt x="5" y="9"/>
                    <a:pt x="6" y="11"/>
                    <a:pt x="5" y="13"/>
                  </a:cubicBezTo>
                  <a:cubicBezTo>
                    <a:pt x="5" y="13"/>
                    <a:pt x="4" y="13"/>
                    <a:pt x="4" y="14"/>
                  </a:cubicBezTo>
                  <a:cubicBezTo>
                    <a:pt x="3" y="14"/>
                    <a:pt x="3" y="16"/>
                    <a:pt x="2" y="16"/>
                  </a:cubicBezTo>
                  <a:cubicBezTo>
                    <a:pt x="2" y="17"/>
                    <a:pt x="1" y="17"/>
                    <a:pt x="1" y="17"/>
                  </a:cubicBezTo>
                  <a:cubicBezTo>
                    <a:pt x="0" y="20"/>
                    <a:pt x="0" y="23"/>
                    <a:pt x="1" y="26"/>
                  </a:cubicBezTo>
                  <a:cubicBezTo>
                    <a:pt x="1" y="26"/>
                    <a:pt x="2" y="26"/>
                    <a:pt x="2" y="26"/>
                  </a:cubicBezTo>
                  <a:cubicBezTo>
                    <a:pt x="4" y="25"/>
                    <a:pt x="7" y="24"/>
                    <a:pt x="9" y="23"/>
                  </a:cubicBezTo>
                  <a:cubicBezTo>
                    <a:pt x="9" y="22"/>
                    <a:pt x="10" y="22"/>
                    <a:pt x="11" y="22"/>
                  </a:cubicBezTo>
                  <a:cubicBezTo>
                    <a:pt x="14" y="21"/>
                    <a:pt x="17" y="23"/>
                    <a:pt x="19" y="22"/>
                  </a:cubicBezTo>
                  <a:cubicBezTo>
                    <a:pt x="21" y="21"/>
                    <a:pt x="23" y="22"/>
                    <a:pt x="25" y="21"/>
                  </a:cubicBezTo>
                  <a:cubicBezTo>
                    <a:pt x="26" y="20"/>
                    <a:pt x="28" y="21"/>
                    <a:pt x="30" y="21"/>
                  </a:cubicBezTo>
                  <a:cubicBezTo>
                    <a:pt x="31" y="20"/>
                    <a:pt x="32" y="20"/>
                    <a:pt x="33" y="20"/>
                  </a:cubicBezTo>
                  <a:cubicBezTo>
                    <a:pt x="34" y="19"/>
                    <a:pt x="35" y="18"/>
                    <a:pt x="35" y="18"/>
                  </a:cubicBezTo>
                  <a:cubicBezTo>
                    <a:pt x="36" y="17"/>
                    <a:pt x="36" y="16"/>
                    <a:pt x="35" y="15"/>
                  </a:cubicBezTo>
                  <a:cubicBezTo>
                    <a:pt x="35" y="14"/>
                    <a:pt x="34" y="14"/>
                    <a:pt x="33" y="13"/>
                  </a:cubicBezTo>
                  <a:cubicBezTo>
                    <a:pt x="33" y="13"/>
                    <a:pt x="32" y="12"/>
                    <a:pt x="31" y="1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3" name="Freeform 274"/>
            <p:cNvSpPr>
              <a:spLocks/>
            </p:cNvSpPr>
            <p:nvPr/>
          </p:nvSpPr>
          <p:spPr bwMode="auto">
            <a:xfrm>
              <a:off x="7689239" y="4376320"/>
              <a:ext cx="63796" cy="25986"/>
            </a:xfrm>
            <a:custGeom>
              <a:avLst/>
              <a:gdLst>
                <a:gd name="T0" fmla="*/ 25383254 w 47"/>
                <a:gd name="T1" fmla="*/ 937382 h 24"/>
                <a:gd name="T2" fmla="*/ 17759659 w 47"/>
                <a:gd name="T3" fmla="*/ 937382 h 24"/>
                <a:gd name="T4" fmla="*/ 12226429 w 47"/>
                <a:gd name="T5" fmla="*/ 3065439 h 24"/>
                <a:gd name="T6" fmla="*/ 11077036 w 47"/>
                <a:gd name="T7" fmla="*/ 3065439 h 24"/>
                <a:gd name="T8" fmla="*/ 8399771 w 47"/>
                <a:gd name="T9" fmla="*/ 5287420 h 24"/>
                <a:gd name="T10" fmla="*/ 6683811 w 47"/>
                <a:gd name="T11" fmla="*/ 8176465 h 24"/>
                <a:gd name="T12" fmla="*/ 840908 w 47"/>
                <a:gd name="T13" fmla="*/ 9111497 h 24"/>
                <a:gd name="T14" fmla="*/ 840908 w 47"/>
                <a:gd name="T15" fmla="*/ 11242634 h 24"/>
                <a:gd name="T16" fmla="*/ 6683811 w 47"/>
                <a:gd name="T17" fmla="*/ 11242634 h 24"/>
                <a:gd name="T18" fmla="*/ 7519858 w 47"/>
                <a:gd name="T19" fmla="*/ 12557623 h 24"/>
                <a:gd name="T20" fmla="*/ 7519858 w 47"/>
                <a:gd name="T21" fmla="*/ 15581415 h 24"/>
                <a:gd name="T22" fmla="*/ 12226429 w 47"/>
                <a:gd name="T23" fmla="*/ 18521930 h 24"/>
                <a:gd name="T24" fmla="*/ 13933712 w 47"/>
                <a:gd name="T25" fmla="*/ 18521930 h 24"/>
                <a:gd name="T26" fmla="*/ 17759659 w 47"/>
                <a:gd name="T27" fmla="*/ 17290978 h 24"/>
                <a:gd name="T28" fmla="*/ 20626693 w 47"/>
                <a:gd name="T29" fmla="*/ 20751062 h 24"/>
                <a:gd name="T30" fmla="*/ 24173459 w 47"/>
                <a:gd name="T31" fmla="*/ 21639806 h 24"/>
                <a:gd name="T32" fmla="*/ 26160651 w 47"/>
                <a:gd name="T33" fmla="*/ 22349417 h 24"/>
                <a:gd name="T34" fmla="*/ 30073499 w 47"/>
                <a:gd name="T35" fmla="*/ 22349417 h 24"/>
                <a:gd name="T36" fmla="*/ 31710196 w 47"/>
                <a:gd name="T37" fmla="*/ 24547147 h 24"/>
                <a:gd name="T38" fmla="*/ 41943004 w 47"/>
                <a:gd name="T39" fmla="*/ 24547147 h 24"/>
                <a:gd name="T40" fmla="*/ 44022661 w 47"/>
                <a:gd name="T41" fmla="*/ 21639806 h 24"/>
                <a:gd name="T42" fmla="*/ 44022661 w 47"/>
                <a:gd name="T43" fmla="*/ 19419101 h 24"/>
                <a:gd name="T44" fmla="*/ 44022661 w 47"/>
                <a:gd name="T45" fmla="*/ 18521930 h 24"/>
                <a:gd name="T46" fmla="*/ 41943004 w 47"/>
                <a:gd name="T47" fmla="*/ 17290978 h 24"/>
                <a:gd name="T48" fmla="*/ 40463936 w 47"/>
                <a:gd name="T49" fmla="*/ 16353661 h 24"/>
                <a:gd name="T50" fmla="*/ 38478114 w 47"/>
                <a:gd name="T51" fmla="*/ 14143705 h 24"/>
                <a:gd name="T52" fmla="*/ 38478114 w 47"/>
                <a:gd name="T53" fmla="*/ 14143705 h 24"/>
                <a:gd name="T54" fmla="*/ 39314534 w 47"/>
                <a:gd name="T55" fmla="*/ 14143705 h 24"/>
                <a:gd name="T56" fmla="*/ 41308292 w 47"/>
                <a:gd name="T57" fmla="*/ 14143705 h 24"/>
                <a:gd name="T58" fmla="*/ 41308292 w 47"/>
                <a:gd name="T59" fmla="*/ 5287420 h 24"/>
                <a:gd name="T60" fmla="*/ 41308292 w 47"/>
                <a:gd name="T61" fmla="*/ 4351850 h 24"/>
                <a:gd name="T62" fmla="*/ 35774155 w 47"/>
                <a:gd name="T63" fmla="*/ 4351850 h 24"/>
                <a:gd name="T64" fmla="*/ 31710196 w 47"/>
                <a:gd name="T65" fmla="*/ 3065439 h 24"/>
                <a:gd name="T66" fmla="*/ 30914397 w 47"/>
                <a:gd name="T67" fmla="*/ 5955246 h 24"/>
                <a:gd name="T68" fmla="*/ 26160651 w 47"/>
                <a:gd name="T69" fmla="*/ 9111497 h 24"/>
                <a:gd name="T70" fmla="*/ 26160651 w 47"/>
                <a:gd name="T71" fmla="*/ 8176465 h 24"/>
                <a:gd name="T72" fmla="*/ 28875172 w 47"/>
                <a:gd name="T73" fmla="*/ 5287420 h 24"/>
                <a:gd name="T74" fmla="*/ 30073499 w 47"/>
                <a:gd name="T75" fmla="*/ 2226282 h 24"/>
                <a:gd name="T76" fmla="*/ 28875172 w 47"/>
                <a:gd name="T77" fmla="*/ 2226282 h 24"/>
                <a:gd name="T78" fmla="*/ 25383254 w 47"/>
                <a:gd name="T79" fmla="*/ 937382 h 24"/>
                <a:gd name="T80" fmla="*/ 25383254 w 47"/>
                <a:gd name="T81" fmla="*/ 937382 h 2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7"/>
                <a:gd name="T124" fmla="*/ 0 h 24"/>
                <a:gd name="T125" fmla="*/ 47 w 47"/>
                <a:gd name="T126" fmla="*/ 24 h 2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7" h="24">
                  <a:moveTo>
                    <a:pt x="27" y="1"/>
                  </a:moveTo>
                  <a:cubicBezTo>
                    <a:pt x="24" y="1"/>
                    <a:pt x="22" y="0"/>
                    <a:pt x="19" y="1"/>
                  </a:cubicBezTo>
                  <a:cubicBezTo>
                    <a:pt x="17" y="1"/>
                    <a:pt x="15" y="1"/>
                    <a:pt x="13" y="3"/>
                  </a:cubicBezTo>
                  <a:cubicBezTo>
                    <a:pt x="13" y="3"/>
                    <a:pt x="12" y="3"/>
                    <a:pt x="12" y="3"/>
                  </a:cubicBezTo>
                  <a:cubicBezTo>
                    <a:pt x="11" y="3"/>
                    <a:pt x="10" y="4"/>
                    <a:pt x="9" y="5"/>
                  </a:cubicBezTo>
                  <a:cubicBezTo>
                    <a:pt x="9" y="5"/>
                    <a:pt x="8" y="7"/>
                    <a:pt x="7" y="8"/>
                  </a:cubicBezTo>
                  <a:cubicBezTo>
                    <a:pt x="5" y="8"/>
                    <a:pt x="2" y="8"/>
                    <a:pt x="1" y="9"/>
                  </a:cubicBezTo>
                  <a:cubicBezTo>
                    <a:pt x="0" y="9"/>
                    <a:pt x="0" y="10"/>
                    <a:pt x="1" y="11"/>
                  </a:cubicBezTo>
                  <a:cubicBezTo>
                    <a:pt x="2" y="12"/>
                    <a:pt x="5" y="11"/>
                    <a:pt x="7" y="11"/>
                  </a:cubicBezTo>
                  <a:cubicBezTo>
                    <a:pt x="8" y="11"/>
                    <a:pt x="8" y="12"/>
                    <a:pt x="8" y="12"/>
                  </a:cubicBezTo>
                  <a:cubicBezTo>
                    <a:pt x="8" y="13"/>
                    <a:pt x="8" y="14"/>
                    <a:pt x="8" y="15"/>
                  </a:cubicBezTo>
                  <a:cubicBezTo>
                    <a:pt x="9" y="17"/>
                    <a:pt x="11" y="17"/>
                    <a:pt x="13" y="18"/>
                  </a:cubicBezTo>
                  <a:cubicBezTo>
                    <a:pt x="14" y="18"/>
                    <a:pt x="14" y="18"/>
                    <a:pt x="15" y="18"/>
                  </a:cubicBezTo>
                  <a:cubicBezTo>
                    <a:pt x="16" y="17"/>
                    <a:pt x="18" y="17"/>
                    <a:pt x="19" y="17"/>
                  </a:cubicBezTo>
                  <a:cubicBezTo>
                    <a:pt x="20" y="18"/>
                    <a:pt x="20" y="19"/>
                    <a:pt x="22" y="20"/>
                  </a:cubicBezTo>
                  <a:cubicBezTo>
                    <a:pt x="23" y="20"/>
                    <a:pt x="24" y="20"/>
                    <a:pt x="26" y="21"/>
                  </a:cubicBezTo>
                  <a:cubicBezTo>
                    <a:pt x="27" y="21"/>
                    <a:pt x="27" y="22"/>
                    <a:pt x="28" y="22"/>
                  </a:cubicBezTo>
                  <a:cubicBezTo>
                    <a:pt x="29" y="23"/>
                    <a:pt x="31" y="22"/>
                    <a:pt x="32" y="22"/>
                  </a:cubicBezTo>
                  <a:cubicBezTo>
                    <a:pt x="33" y="23"/>
                    <a:pt x="33" y="24"/>
                    <a:pt x="34" y="24"/>
                  </a:cubicBezTo>
                  <a:cubicBezTo>
                    <a:pt x="38" y="24"/>
                    <a:pt x="41" y="24"/>
                    <a:pt x="45" y="24"/>
                  </a:cubicBezTo>
                  <a:cubicBezTo>
                    <a:pt x="45" y="23"/>
                    <a:pt x="46" y="22"/>
                    <a:pt x="47" y="21"/>
                  </a:cubicBezTo>
                  <a:cubicBezTo>
                    <a:pt x="47" y="20"/>
                    <a:pt x="47" y="19"/>
                    <a:pt x="47" y="19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6" y="17"/>
                    <a:pt x="46" y="17"/>
                    <a:pt x="45" y="17"/>
                  </a:cubicBezTo>
                  <a:cubicBezTo>
                    <a:pt x="45" y="16"/>
                    <a:pt x="44" y="16"/>
                    <a:pt x="43" y="16"/>
                  </a:cubicBezTo>
                  <a:cubicBezTo>
                    <a:pt x="42" y="16"/>
                    <a:pt x="41" y="15"/>
                    <a:pt x="41" y="14"/>
                  </a:cubicBezTo>
                  <a:cubicBezTo>
                    <a:pt x="40" y="14"/>
                    <a:pt x="40" y="14"/>
                    <a:pt x="41" y="14"/>
                  </a:cubicBezTo>
                  <a:cubicBezTo>
                    <a:pt x="41" y="13"/>
                    <a:pt x="42" y="13"/>
                    <a:pt x="42" y="14"/>
                  </a:cubicBezTo>
                  <a:cubicBezTo>
                    <a:pt x="43" y="14"/>
                    <a:pt x="44" y="15"/>
                    <a:pt x="44" y="14"/>
                  </a:cubicBezTo>
                  <a:cubicBezTo>
                    <a:pt x="45" y="12"/>
                    <a:pt x="44" y="8"/>
                    <a:pt x="44" y="5"/>
                  </a:cubicBezTo>
                  <a:cubicBezTo>
                    <a:pt x="44" y="5"/>
                    <a:pt x="44" y="4"/>
                    <a:pt x="44" y="4"/>
                  </a:cubicBezTo>
                  <a:cubicBezTo>
                    <a:pt x="42" y="4"/>
                    <a:pt x="40" y="5"/>
                    <a:pt x="38" y="4"/>
                  </a:cubicBezTo>
                  <a:cubicBezTo>
                    <a:pt x="37" y="3"/>
                    <a:pt x="35" y="2"/>
                    <a:pt x="34" y="3"/>
                  </a:cubicBezTo>
                  <a:cubicBezTo>
                    <a:pt x="33" y="4"/>
                    <a:pt x="34" y="5"/>
                    <a:pt x="33" y="6"/>
                  </a:cubicBezTo>
                  <a:cubicBezTo>
                    <a:pt x="33" y="8"/>
                    <a:pt x="30" y="9"/>
                    <a:pt x="28" y="9"/>
                  </a:cubicBezTo>
                  <a:cubicBezTo>
                    <a:pt x="28" y="9"/>
                    <a:pt x="28" y="8"/>
                    <a:pt x="28" y="8"/>
                  </a:cubicBezTo>
                  <a:cubicBezTo>
                    <a:pt x="29" y="7"/>
                    <a:pt x="31" y="7"/>
                    <a:pt x="31" y="5"/>
                  </a:cubicBezTo>
                  <a:cubicBezTo>
                    <a:pt x="32" y="4"/>
                    <a:pt x="32" y="3"/>
                    <a:pt x="32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0" y="2"/>
                    <a:pt x="29" y="1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4" name="Freeform 275"/>
            <p:cNvSpPr>
              <a:spLocks/>
            </p:cNvSpPr>
            <p:nvPr/>
          </p:nvSpPr>
          <p:spPr bwMode="auto">
            <a:xfrm>
              <a:off x="7669664" y="4379340"/>
              <a:ext cx="22474" cy="7253"/>
            </a:xfrm>
            <a:custGeom>
              <a:avLst/>
              <a:gdLst>
                <a:gd name="T0" fmla="*/ 13070851 w 17"/>
                <a:gd name="T1" fmla="*/ 4768082 h 6"/>
                <a:gd name="T2" fmla="*/ 12471472 w 17"/>
                <a:gd name="T3" fmla="*/ 2975593 h 6"/>
                <a:gd name="T4" fmla="*/ 5300376 w 17"/>
                <a:gd name="T5" fmla="*/ 0 h 6"/>
                <a:gd name="T6" fmla="*/ 0 w 17"/>
                <a:gd name="T7" fmla="*/ 0 h 6"/>
                <a:gd name="T8" fmla="*/ 0 w 17"/>
                <a:gd name="T9" fmla="*/ 4768082 h 6"/>
                <a:gd name="T10" fmla="*/ 2560181 w 17"/>
                <a:gd name="T11" fmla="*/ 9251750 h 6"/>
                <a:gd name="T12" fmla="*/ 6023953 w 17"/>
                <a:gd name="T13" fmla="*/ 11920201 h 6"/>
                <a:gd name="T14" fmla="*/ 11661007 w 17"/>
                <a:gd name="T15" fmla="*/ 13878121 h 6"/>
                <a:gd name="T16" fmla="*/ 14174003 w 17"/>
                <a:gd name="T17" fmla="*/ 7438980 h 6"/>
                <a:gd name="T18" fmla="*/ 13070851 w 17"/>
                <a:gd name="T19" fmla="*/ 4768082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6"/>
                <a:gd name="T32" fmla="*/ 17 w 1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6">
                  <a:moveTo>
                    <a:pt x="15" y="2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1" y="0"/>
                    <a:pt x="9" y="1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3"/>
                    <a:pt x="3" y="4"/>
                  </a:cubicBezTo>
                  <a:cubicBezTo>
                    <a:pt x="4" y="5"/>
                    <a:pt x="6" y="4"/>
                    <a:pt x="7" y="5"/>
                  </a:cubicBezTo>
                  <a:cubicBezTo>
                    <a:pt x="9" y="6"/>
                    <a:pt x="11" y="6"/>
                    <a:pt x="13" y="6"/>
                  </a:cubicBezTo>
                  <a:cubicBezTo>
                    <a:pt x="14" y="5"/>
                    <a:pt x="16" y="5"/>
                    <a:pt x="16" y="3"/>
                  </a:cubicBezTo>
                  <a:cubicBezTo>
                    <a:pt x="17" y="3"/>
                    <a:pt x="16" y="2"/>
                    <a:pt x="15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5" name="Freeform 276"/>
            <p:cNvSpPr>
              <a:spLocks/>
            </p:cNvSpPr>
            <p:nvPr/>
          </p:nvSpPr>
          <p:spPr bwMode="auto">
            <a:xfrm>
              <a:off x="7669664" y="4356979"/>
              <a:ext cx="52924" cy="22360"/>
            </a:xfrm>
            <a:custGeom>
              <a:avLst/>
              <a:gdLst>
                <a:gd name="T0" fmla="*/ 26920716 w 40"/>
                <a:gd name="T1" fmla="*/ 3961001 h 21"/>
                <a:gd name="T2" fmla="*/ 25868593 w 40"/>
                <a:gd name="T3" fmla="*/ 2243220 h 21"/>
                <a:gd name="T4" fmla="*/ 21789991 w 40"/>
                <a:gd name="T5" fmla="*/ 727531 h 21"/>
                <a:gd name="T6" fmla="*/ 19118601 w 40"/>
                <a:gd name="T7" fmla="*/ 727531 h 21"/>
                <a:gd name="T8" fmla="*/ 18009157 w 40"/>
                <a:gd name="T9" fmla="*/ 2970751 h 21"/>
                <a:gd name="T10" fmla="*/ 17186742 w 40"/>
                <a:gd name="T11" fmla="*/ 3961001 h 21"/>
                <a:gd name="T12" fmla="*/ 12876646 w 40"/>
                <a:gd name="T13" fmla="*/ 4688532 h 21"/>
                <a:gd name="T14" fmla="*/ 11455630 w 40"/>
                <a:gd name="T15" fmla="*/ 5234180 h 21"/>
                <a:gd name="T16" fmla="*/ 7062610 w 40"/>
                <a:gd name="T17" fmla="*/ 7659274 h 21"/>
                <a:gd name="T18" fmla="*/ 5927927 w 40"/>
                <a:gd name="T19" fmla="*/ 10939909 h 21"/>
                <a:gd name="T20" fmla="*/ 2522523 w 40"/>
                <a:gd name="T21" fmla="*/ 11620010 h 21"/>
                <a:gd name="T22" fmla="*/ 795113 w 40"/>
                <a:gd name="T23" fmla="*/ 14590762 h 21"/>
                <a:gd name="T24" fmla="*/ 2522523 w 40"/>
                <a:gd name="T25" fmla="*/ 13906433 h 21"/>
                <a:gd name="T26" fmla="*/ 5927927 w 40"/>
                <a:gd name="T27" fmla="*/ 14590762 h 21"/>
                <a:gd name="T28" fmla="*/ 11455630 w 40"/>
                <a:gd name="T29" fmla="*/ 15628432 h 21"/>
                <a:gd name="T30" fmla="*/ 12876646 w 40"/>
                <a:gd name="T31" fmla="*/ 16174077 h 21"/>
                <a:gd name="T32" fmla="*/ 18009157 w 40"/>
                <a:gd name="T33" fmla="*/ 16174077 h 21"/>
                <a:gd name="T34" fmla="*/ 19857972 w 40"/>
                <a:gd name="T35" fmla="*/ 15628432 h 21"/>
                <a:gd name="T36" fmla="*/ 24249331 w 40"/>
                <a:gd name="T37" fmla="*/ 13906433 h 21"/>
                <a:gd name="T38" fmla="*/ 33871637 w 40"/>
                <a:gd name="T39" fmla="*/ 13184929 h 21"/>
                <a:gd name="T40" fmla="*/ 32736945 w 40"/>
                <a:gd name="T41" fmla="*/ 10939909 h 21"/>
                <a:gd name="T42" fmla="*/ 31938622 w 40"/>
                <a:gd name="T43" fmla="*/ 9902490 h 21"/>
                <a:gd name="T44" fmla="*/ 31938622 w 40"/>
                <a:gd name="T45" fmla="*/ 9242332 h 21"/>
                <a:gd name="T46" fmla="*/ 33871637 w 40"/>
                <a:gd name="T47" fmla="*/ 6931750 h 21"/>
                <a:gd name="T48" fmla="*/ 29479413 w 40"/>
                <a:gd name="T49" fmla="*/ 6253184 h 21"/>
                <a:gd name="T50" fmla="*/ 26920716 w 40"/>
                <a:gd name="T51" fmla="*/ 3961001 h 2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0"/>
                <a:gd name="T79" fmla="*/ 0 h 21"/>
                <a:gd name="T80" fmla="*/ 40 w 40"/>
                <a:gd name="T81" fmla="*/ 21 h 2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0" h="21">
                  <a:moveTo>
                    <a:pt x="31" y="5"/>
                  </a:moveTo>
                  <a:cubicBezTo>
                    <a:pt x="31" y="4"/>
                    <a:pt x="30" y="3"/>
                    <a:pt x="30" y="3"/>
                  </a:cubicBezTo>
                  <a:cubicBezTo>
                    <a:pt x="28" y="2"/>
                    <a:pt x="26" y="2"/>
                    <a:pt x="25" y="1"/>
                  </a:cubicBezTo>
                  <a:cubicBezTo>
                    <a:pt x="24" y="0"/>
                    <a:pt x="23" y="0"/>
                    <a:pt x="22" y="1"/>
                  </a:cubicBezTo>
                  <a:cubicBezTo>
                    <a:pt x="21" y="2"/>
                    <a:pt x="21" y="3"/>
                    <a:pt x="21" y="4"/>
                  </a:cubicBezTo>
                  <a:cubicBezTo>
                    <a:pt x="21" y="5"/>
                    <a:pt x="20" y="5"/>
                    <a:pt x="20" y="5"/>
                  </a:cubicBezTo>
                  <a:cubicBezTo>
                    <a:pt x="18" y="5"/>
                    <a:pt x="16" y="5"/>
                    <a:pt x="15" y="6"/>
                  </a:cubicBezTo>
                  <a:cubicBezTo>
                    <a:pt x="14" y="6"/>
                    <a:pt x="14" y="7"/>
                    <a:pt x="13" y="7"/>
                  </a:cubicBezTo>
                  <a:cubicBezTo>
                    <a:pt x="11" y="8"/>
                    <a:pt x="10" y="9"/>
                    <a:pt x="8" y="10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6" y="15"/>
                    <a:pt x="4" y="14"/>
                    <a:pt x="3" y="15"/>
                  </a:cubicBezTo>
                  <a:cubicBezTo>
                    <a:pt x="2" y="16"/>
                    <a:pt x="0" y="18"/>
                    <a:pt x="1" y="19"/>
                  </a:cubicBezTo>
                  <a:cubicBezTo>
                    <a:pt x="1" y="19"/>
                    <a:pt x="2" y="19"/>
                    <a:pt x="3" y="18"/>
                  </a:cubicBezTo>
                  <a:cubicBezTo>
                    <a:pt x="4" y="18"/>
                    <a:pt x="5" y="18"/>
                    <a:pt x="7" y="19"/>
                  </a:cubicBezTo>
                  <a:cubicBezTo>
                    <a:pt x="8" y="20"/>
                    <a:pt x="11" y="19"/>
                    <a:pt x="13" y="20"/>
                  </a:cubicBezTo>
                  <a:cubicBezTo>
                    <a:pt x="14" y="20"/>
                    <a:pt x="14" y="21"/>
                    <a:pt x="15" y="21"/>
                  </a:cubicBezTo>
                  <a:cubicBezTo>
                    <a:pt x="17" y="21"/>
                    <a:pt x="19" y="21"/>
                    <a:pt x="21" y="21"/>
                  </a:cubicBezTo>
                  <a:cubicBezTo>
                    <a:pt x="22" y="20"/>
                    <a:pt x="22" y="20"/>
                    <a:pt x="23" y="20"/>
                  </a:cubicBezTo>
                  <a:cubicBezTo>
                    <a:pt x="24" y="19"/>
                    <a:pt x="26" y="18"/>
                    <a:pt x="28" y="18"/>
                  </a:cubicBezTo>
                  <a:cubicBezTo>
                    <a:pt x="32" y="18"/>
                    <a:pt x="35" y="17"/>
                    <a:pt x="39" y="17"/>
                  </a:cubicBezTo>
                  <a:cubicBezTo>
                    <a:pt x="39" y="16"/>
                    <a:pt x="39" y="15"/>
                    <a:pt x="38" y="14"/>
                  </a:cubicBezTo>
                  <a:cubicBezTo>
                    <a:pt x="38" y="14"/>
                    <a:pt x="37" y="13"/>
                    <a:pt x="37" y="13"/>
                  </a:cubicBezTo>
                  <a:cubicBezTo>
                    <a:pt x="37" y="13"/>
                    <a:pt x="37" y="12"/>
                    <a:pt x="37" y="12"/>
                  </a:cubicBezTo>
                  <a:cubicBezTo>
                    <a:pt x="38" y="11"/>
                    <a:pt x="40" y="10"/>
                    <a:pt x="39" y="9"/>
                  </a:cubicBezTo>
                  <a:cubicBezTo>
                    <a:pt x="38" y="9"/>
                    <a:pt x="36" y="8"/>
                    <a:pt x="34" y="8"/>
                  </a:cubicBezTo>
                  <a:cubicBezTo>
                    <a:pt x="33" y="7"/>
                    <a:pt x="32" y="6"/>
                    <a:pt x="31" y="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6" name="Freeform 277"/>
            <p:cNvSpPr>
              <a:spLocks/>
            </p:cNvSpPr>
            <p:nvPr/>
          </p:nvSpPr>
          <p:spPr bwMode="auto">
            <a:xfrm>
              <a:off x="7654440" y="4358189"/>
              <a:ext cx="12324" cy="4834"/>
            </a:xfrm>
            <a:custGeom>
              <a:avLst/>
              <a:gdLst>
                <a:gd name="T0" fmla="*/ 4688532 w 9"/>
                <a:gd name="T1" fmla="*/ 1064436 h 5"/>
                <a:gd name="T2" fmla="*/ 1697572 w 9"/>
                <a:gd name="T3" fmla="*/ 1064436 h 5"/>
                <a:gd name="T4" fmla="*/ 0 w 9"/>
                <a:gd name="T5" fmla="*/ 2554647 h 5"/>
                <a:gd name="T6" fmla="*/ 0 w 9"/>
                <a:gd name="T7" fmla="*/ 3577445 h 5"/>
                <a:gd name="T8" fmla="*/ 2243220 w 9"/>
                <a:gd name="T9" fmla="*/ 5085394 h 5"/>
                <a:gd name="T10" fmla="*/ 4688532 w 9"/>
                <a:gd name="T11" fmla="*/ 6131150 h 5"/>
                <a:gd name="T12" fmla="*/ 6253179 w 9"/>
                <a:gd name="T13" fmla="*/ 3577445 h 5"/>
                <a:gd name="T14" fmla="*/ 6931749 w 9"/>
                <a:gd name="T15" fmla="*/ 2554647 h 5"/>
                <a:gd name="T16" fmla="*/ 4688532 w 9"/>
                <a:gd name="T17" fmla="*/ 1064436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5"/>
                <a:gd name="T29" fmla="*/ 9 w 9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5">
                  <a:moveTo>
                    <a:pt x="6" y="1"/>
                  </a:moveTo>
                  <a:cubicBezTo>
                    <a:pt x="5" y="0"/>
                    <a:pt x="3" y="0"/>
                    <a:pt x="2" y="1"/>
                  </a:cubicBezTo>
                  <a:cubicBezTo>
                    <a:pt x="1" y="1"/>
                    <a:pt x="1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4" y="5"/>
                    <a:pt x="5" y="5"/>
                    <a:pt x="6" y="5"/>
                  </a:cubicBezTo>
                  <a:cubicBezTo>
                    <a:pt x="7" y="4"/>
                    <a:pt x="7" y="3"/>
                    <a:pt x="8" y="3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9" y="1"/>
                    <a:pt x="7" y="1"/>
                    <a:pt x="6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7" name="Freeform 278"/>
            <p:cNvSpPr>
              <a:spLocks/>
            </p:cNvSpPr>
            <p:nvPr/>
          </p:nvSpPr>
          <p:spPr bwMode="auto">
            <a:xfrm>
              <a:off x="7816107" y="4410163"/>
              <a:ext cx="10876" cy="3626"/>
            </a:xfrm>
            <a:custGeom>
              <a:avLst/>
              <a:gdLst>
                <a:gd name="T0" fmla="*/ 4351847 w 8"/>
                <a:gd name="T1" fmla="*/ 0 h 3"/>
                <a:gd name="T2" fmla="*/ 896786 w 8"/>
                <a:gd name="T3" fmla="*/ 727531 h 3"/>
                <a:gd name="T4" fmla="*/ 896786 w 8"/>
                <a:gd name="T5" fmla="*/ 2243220 h 3"/>
                <a:gd name="T6" fmla="*/ 3065115 w 8"/>
                <a:gd name="T7" fmla="*/ 2243220 h 3"/>
                <a:gd name="T8" fmla="*/ 5058432 w 8"/>
                <a:gd name="T9" fmla="*/ 2243220 h 3"/>
                <a:gd name="T10" fmla="*/ 8176458 w 8"/>
                <a:gd name="T11" fmla="*/ 1697572 h 3"/>
                <a:gd name="T12" fmla="*/ 8176458 w 8"/>
                <a:gd name="T13" fmla="*/ 727531 h 3"/>
                <a:gd name="T14" fmla="*/ 4351847 w 8"/>
                <a:gd name="T15" fmla="*/ 0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3"/>
                <a:gd name="T26" fmla="*/ 8 w 8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3">
                  <a:moveTo>
                    <a:pt x="4" y="0"/>
                  </a:moveTo>
                  <a:cubicBezTo>
                    <a:pt x="3" y="0"/>
                    <a:pt x="2" y="0"/>
                    <a:pt x="1" y="1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1" y="3"/>
                    <a:pt x="2" y="3"/>
                    <a:pt x="3" y="3"/>
                  </a:cubicBezTo>
                  <a:cubicBezTo>
                    <a:pt x="4" y="3"/>
                    <a:pt x="4" y="3"/>
                    <a:pt x="5" y="3"/>
                  </a:cubicBezTo>
                  <a:cubicBezTo>
                    <a:pt x="6" y="2"/>
                    <a:pt x="7" y="3"/>
                    <a:pt x="8" y="2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7" y="1"/>
                    <a:pt x="6" y="1"/>
                    <a:pt x="4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8" name="Freeform 279"/>
            <p:cNvSpPr>
              <a:spLocks/>
            </p:cNvSpPr>
            <p:nvPr/>
          </p:nvSpPr>
          <p:spPr bwMode="auto">
            <a:xfrm>
              <a:off x="7711710" y="4425876"/>
              <a:ext cx="9425" cy="6044"/>
            </a:xfrm>
            <a:custGeom>
              <a:avLst/>
              <a:gdLst>
                <a:gd name="T0" fmla="*/ 5930334 w 7"/>
                <a:gd name="T1" fmla="*/ 1064436 h 5"/>
                <a:gd name="T2" fmla="*/ 5930334 w 7"/>
                <a:gd name="T3" fmla="*/ 2554647 h 5"/>
                <a:gd name="T4" fmla="*/ 0 w 7"/>
                <a:gd name="T5" fmla="*/ 5085394 h 5"/>
                <a:gd name="T6" fmla="*/ 0 w 7"/>
                <a:gd name="T7" fmla="*/ 5085394 h 5"/>
                <a:gd name="T8" fmla="*/ 7158428 w 7"/>
                <a:gd name="T9" fmla="*/ 6131150 h 5"/>
                <a:gd name="T10" fmla="*/ 10226328 w 7"/>
                <a:gd name="T11" fmla="*/ 3577445 h 5"/>
                <a:gd name="T12" fmla="*/ 10226328 w 7"/>
                <a:gd name="T13" fmla="*/ 1064436 h 5"/>
                <a:gd name="T14" fmla="*/ 5930334 w 7"/>
                <a:gd name="T15" fmla="*/ 106443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5"/>
                <a:gd name="T26" fmla="*/ 7 w 7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5">
                  <a:moveTo>
                    <a:pt x="4" y="1"/>
                  </a:moveTo>
                  <a:cubicBezTo>
                    <a:pt x="4" y="1"/>
                    <a:pt x="4" y="2"/>
                    <a:pt x="4" y="2"/>
                  </a:cubicBezTo>
                  <a:cubicBezTo>
                    <a:pt x="3" y="4"/>
                    <a:pt x="2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3" y="5"/>
                    <a:pt x="5" y="5"/>
                  </a:cubicBezTo>
                  <a:cubicBezTo>
                    <a:pt x="5" y="4"/>
                    <a:pt x="6" y="4"/>
                    <a:pt x="7" y="3"/>
                  </a:cubicBezTo>
                  <a:cubicBezTo>
                    <a:pt x="7" y="2"/>
                    <a:pt x="7" y="1"/>
                    <a:pt x="7" y="1"/>
                  </a:cubicBezTo>
                  <a:cubicBezTo>
                    <a:pt x="6" y="0"/>
                    <a:pt x="5" y="0"/>
                    <a:pt x="4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9" name="Freeform 280"/>
            <p:cNvSpPr>
              <a:spLocks/>
            </p:cNvSpPr>
            <p:nvPr/>
          </p:nvSpPr>
          <p:spPr bwMode="auto">
            <a:xfrm>
              <a:off x="7585569" y="4486914"/>
              <a:ext cx="7974" cy="9065"/>
            </a:xfrm>
            <a:custGeom>
              <a:avLst/>
              <a:gdLst>
                <a:gd name="T0" fmla="*/ 4688532 w 6"/>
                <a:gd name="T1" fmla="*/ 5058432 h 8"/>
                <a:gd name="T2" fmla="*/ 3961001 w 6"/>
                <a:gd name="T3" fmla="*/ 896786 h 8"/>
                <a:gd name="T4" fmla="*/ 2243220 w 6"/>
                <a:gd name="T5" fmla="*/ 0 h 8"/>
                <a:gd name="T6" fmla="*/ 727531 w 6"/>
                <a:gd name="T7" fmla="*/ 4351847 h 8"/>
                <a:gd name="T8" fmla="*/ 0 w 6"/>
                <a:gd name="T9" fmla="*/ 5955246 h 8"/>
                <a:gd name="T10" fmla="*/ 0 w 6"/>
                <a:gd name="T11" fmla="*/ 7279645 h 8"/>
                <a:gd name="T12" fmla="*/ 2243220 w 6"/>
                <a:gd name="T13" fmla="*/ 8176458 h 8"/>
                <a:gd name="T14" fmla="*/ 3961001 w 6"/>
                <a:gd name="T15" fmla="*/ 8176458 h 8"/>
                <a:gd name="T16" fmla="*/ 4688532 w 6"/>
                <a:gd name="T17" fmla="*/ 5058432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8"/>
                <a:gd name="T29" fmla="*/ 6 w 6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8">
                  <a:moveTo>
                    <a:pt x="6" y="5"/>
                  </a:moveTo>
                  <a:cubicBezTo>
                    <a:pt x="6" y="4"/>
                    <a:pt x="5" y="2"/>
                    <a:pt x="5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3"/>
                    <a:pt x="1" y="4"/>
                  </a:cubicBezTo>
                  <a:cubicBezTo>
                    <a:pt x="1" y="5"/>
                    <a:pt x="1" y="5"/>
                    <a:pt x="0" y="6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1" y="7"/>
                    <a:pt x="2" y="8"/>
                    <a:pt x="3" y="8"/>
                  </a:cubicBezTo>
                  <a:cubicBezTo>
                    <a:pt x="4" y="8"/>
                    <a:pt x="5" y="8"/>
                    <a:pt x="5" y="8"/>
                  </a:cubicBezTo>
                  <a:cubicBezTo>
                    <a:pt x="6" y="7"/>
                    <a:pt x="6" y="6"/>
                    <a:pt x="6" y="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0" name="Freeform 281"/>
            <p:cNvSpPr>
              <a:spLocks/>
            </p:cNvSpPr>
            <p:nvPr/>
          </p:nvSpPr>
          <p:spPr bwMode="auto">
            <a:xfrm>
              <a:off x="7573244" y="4495980"/>
              <a:ext cx="12324" cy="7253"/>
            </a:xfrm>
            <a:custGeom>
              <a:avLst/>
              <a:gdLst>
                <a:gd name="T0" fmla="*/ 2970751 w 9"/>
                <a:gd name="T1" fmla="*/ 1213713 h 7"/>
                <a:gd name="T2" fmla="*/ 1697572 w 9"/>
                <a:gd name="T3" fmla="*/ 4210842 h 7"/>
                <a:gd name="T4" fmla="*/ 0 w 9"/>
                <a:gd name="T5" fmla="*/ 8872004 h 7"/>
                <a:gd name="T6" fmla="*/ 0 w 9"/>
                <a:gd name="T7" fmla="*/ 10226328 h 7"/>
                <a:gd name="T8" fmla="*/ 2970751 w 9"/>
                <a:gd name="T9" fmla="*/ 10226328 h 7"/>
                <a:gd name="T10" fmla="*/ 6253179 w 9"/>
                <a:gd name="T11" fmla="*/ 1213713 h 7"/>
                <a:gd name="T12" fmla="*/ 2970751 w 9"/>
                <a:gd name="T13" fmla="*/ 1213713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7"/>
                <a:gd name="T23" fmla="*/ 9 w 9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7">
                  <a:moveTo>
                    <a:pt x="4" y="1"/>
                  </a:moveTo>
                  <a:cubicBezTo>
                    <a:pt x="3" y="2"/>
                    <a:pt x="2" y="3"/>
                    <a:pt x="2" y="3"/>
                  </a:cubicBezTo>
                  <a:cubicBezTo>
                    <a:pt x="2" y="5"/>
                    <a:pt x="1" y="5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1" y="7"/>
                    <a:pt x="3" y="7"/>
                    <a:pt x="4" y="7"/>
                  </a:cubicBezTo>
                  <a:cubicBezTo>
                    <a:pt x="6" y="6"/>
                    <a:pt x="9" y="4"/>
                    <a:pt x="8" y="1"/>
                  </a:cubicBezTo>
                  <a:cubicBezTo>
                    <a:pt x="7" y="1"/>
                    <a:pt x="5" y="0"/>
                    <a:pt x="4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1" name="Freeform 282"/>
            <p:cNvSpPr>
              <a:spLocks/>
            </p:cNvSpPr>
            <p:nvPr/>
          </p:nvSpPr>
          <p:spPr bwMode="auto">
            <a:xfrm>
              <a:off x="7506548" y="4480870"/>
              <a:ext cx="14500" cy="9065"/>
            </a:xfrm>
            <a:custGeom>
              <a:avLst/>
              <a:gdLst>
                <a:gd name="T0" fmla="*/ 7630664 w 11"/>
                <a:gd name="T1" fmla="*/ 3065115 h 8"/>
                <a:gd name="T2" fmla="*/ 4745295 w 11"/>
                <a:gd name="T3" fmla="*/ 896786 h 8"/>
                <a:gd name="T4" fmla="*/ 849380 w 11"/>
                <a:gd name="T5" fmla="*/ 896786 h 8"/>
                <a:gd name="T6" fmla="*/ 0 w 11"/>
                <a:gd name="T7" fmla="*/ 7279645 h 8"/>
                <a:gd name="T8" fmla="*/ 5595820 w 11"/>
                <a:gd name="T9" fmla="*/ 7279645 h 8"/>
                <a:gd name="T10" fmla="*/ 6840539 w 11"/>
                <a:gd name="T11" fmla="*/ 7279645 h 8"/>
                <a:gd name="T12" fmla="*/ 10341118 w 11"/>
                <a:gd name="T13" fmla="*/ 7279645 h 8"/>
                <a:gd name="T14" fmla="*/ 10341118 w 11"/>
                <a:gd name="T15" fmla="*/ 5955246 h 8"/>
                <a:gd name="T16" fmla="*/ 7630664 w 11"/>
                <a:gd name="T17" fmla="*/ 3065115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8"/>
                <a:gd name="T29" fmla="*/ 11 w 11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8">
                  <a:moveTo>
                    <a:pt x="8" y="3"/>
                  </a:moveTo>
                  <a:cubicBezTo>
                    <a:pt x="7" y="2"/>
                    <a:pt x="7" y="1"/>
                    <a:pt x="5" y="1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0" y="3"/>
                    <a:pt x="1" y="5"/>
                    <a:pt x="0" y="7"/>
                  </a:cubicBezTo>
                  <a:cubicBezTo>
                    <a:pt x="2" y="8"/>
                    <a:pt x="4" y="8"/>
                    <a:pt x="6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8" y="7"/>
                    <a:pt x="10" y="7"/>
                    <a:pt x="11" y="7"/>
                  </a:cubicBezTo>
                  <a:cubicBezTo>
                    <a:pt x="11" y="7"/>
                    <a:pt x="11" y="6"/>
                    <a:pt x="11" y="6"/>
                  </a:cubicBezTo>
                  <a:cubicBezTo>
                    <a:pt x="10" y="5"/>
                    <a:pt x="9" y="4"/>
                    <a:pt x="8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2" name="Freeform 283"/>
            <p:cNvSpPr>
              <a:spLocks/>
            </p:cNvSpPr>
            <p:nvPr/>
          </p:nvSpPr>
          <p:spPr bwMode="auto">
            <a:xfrm>
              <a:off x="8102468" y="4473617"/>
              <a:ext cx="7248" cy="6044"/>
            </a:xfrm>
            <a:custGeom>
              <a:avLst/>
              <a:gdLst>
                <a:gd name="T0" fmla="*/ 5085394 w 5"/>
                <a:gd name="T1" fmla="*/ 2554647 h 5"/>
                <a:gd name="T2" fmla="*/ 2554647 w 5"/>
                <a:gd name="T3" fmla="*/ 1064436 h 5"/>
                <a:gd name="T4" fmla="*/ 1064436 w 5"/>
                <a:gd name="T5" fmla="*/ 0 h 5"/>
                <a:gd name="T6" fmla="*/ 5085394 w 5"/>
                <a:gd name="T7" fmla="*/ 6131150 h 5"/>
                <a:gd name="T8" fmla="*/ 5085394 w 5"/>
                <a:gd name="T9" fmla="*/ 2554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4" y="2"/>
                  </a:moveTo>
                  <a:cubicBezTo>
                    <a:pt x="3" y="1"/>
                    <a:pt x="2" y="1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2"/>
                    <a:pt x="1" y="5"/>
                    <a:pt x="4" y="5"/>
                  </a:cubicBezTo>
                  <a:cubicBezTo>
                    <a:pt x="4" y="4"/>
                    <a:pt x="5" y="2"/>
                    <a:pt x="4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3" name="Freeform 284"/>
            <p:cNvSpPr>
              <a:spLocks/>
            </p:cNvSpPr>
            <p:nvPr/>
          </p:nvSpPr>
          <p:spPr bwMode="auto">
            <a:xfrm>
              <a:off x="8092318" y="4447631"/>
              <a:ext cx="5075" cy="9065"/>
            </a:xfrm>
            <a:custGeom>
              <a:avLst/>
              <a:gdLst>
                <a:gd name="T0" fmla="*/ 9219213 w 4"/>
                <a:gd name="T1" fmla="*/ 5058432 h 8"/>
                <a:gd name="T2" fmla="*/ 9219213 w 4"/>
                <a:gd name="T3" fmla="*/ 3065115 h 8"/>
                <a:gd name="T4" fmla="*/ 6243820 w 4"/>
                <a:gd name="T5" fmla="*/ 896786 h 8"/>
                <a:gd name="T6" fmla="*/ 2497529 w 4"/>
                <a:gd name="T7" fmla="*/ 0 h 8"/>
                <a:gd name="T8" fmla="*/ 2497529 w 4"/>
                <a:gd name="T9" fmla="*/ 5955246 h 8"/>
                <a:gd name="T10" fmla="*/ 6243820 w 4"/>
                <a:gd name="T11" fmla="*/ 7279645 h 8"/>
                <a:gd name="T12" fmla="*/ 9219213 w 4"/>
                <a:gd name="T13" fmla="*/ 5058432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8"/>
                <a:gd name="T23" fmla="*/ 4 w 4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8">
                  <a:moveTo>
                    <a:pt x="4" y="5"/>
                  </a:moveTo>
                  <a:cubicBezTo>
                    <a:pt x="4" y="4"/>
                    <a:pt x="4" y="3"/>
                    <a:pt x="4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2"/>
                    <a:pt x="0" y="4"/>
                    <a:pt x="1" y="6"/>
                  </a:cubicBezTo>
                  <a:cubicBezTo>
                    <a:pt x="2" y="6"/>
                    <a:pt x="2" y="7"/>
                    <a:pt x="3" y="7"/>
                  </a:cubicBezTo>
                  <a:cubicBezTo>
                    <a:pt x="4" y="8"/>
                    <a:pt x="4" y="6"/>
                    <a:pt x="4" y="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4" name="Freeform 285"/>
            <p:cNvSpPr>
              <a:spLocks/>
            </p:cNvSpPr>
            <p:nvPr/>
          </p:nvSpPr>
          <p:spPr bwMode="auto">
            <a:xfrm>
              <a:off x="8105367" y="4442192"/>
              <a:ext cx="73222" cy="27195"/>
            </a:xfrm>
            <a:custGeom>
              <a:avLst/>
              <a:gdLst>
                <a:gd name="T0" fmla="*/ 48605189 w 54"/>
                <a:gd name="T1" fmla="*/ 6629066 h 25"/>
                <a:gd name="T2" fmla="*/ 48605189 w 54"/>
                <a:gd name="T3" fmla="*/ 6629066 h 25"/>
                <a:gd name="T4" fmla="*/ 46472236 w 54"/>
                <a:gd name="T5" fmla="*/ 5488568 h 25"/>
                <a:gd name="T6" fmla="*/ 43645200 w 54"/>
                <a:gd name="T7" fmla="*/ 3515237 h 25"/>
                <a:gd name="T8" fmla="*/ 39742159 w 54"/>
                <a:gd name="T9" fmla="*/ 4650620 h 25"/>
                <a:gd name="T10" fmla="*/ 34830772 w 54"/>
                <a:gd name="T11" fmla="*/ 4650620 h 25"/>
                <a:gd name="T12" fmla="*/ 29666476 w 54"/>
                <a:gd name="T13" fmla="*/ 1970602 h 25"/>
                <a:gd name="T14" fmla="*/ 29666476 w 54"/>
                <a:gd name="T15" fmla="*/ 1970602 h 25"/>
                <a:gd name="T16" fmla="*/ 25959805 w 54"/>
                <a:gd name="T17" fmla="*/ 835001 h 25"/>
                <a:gd name="T18" fmla="*/ 24755278 w 54"/>
                <a:gd name="T19" fmla="*/ 7460446 h 25"/>
                <a:gd name="T20" fmla="*/ 22964094 w 54"/>
                <a:gd name="T21" fmla="*/ 7460446 h 25"/>
                <a:gd name="T22" fmla="*/ 21766963 w 54"/>
                <a:gd name="T23" fmla="*/ 4650620 h 25"/>
                <a:gd name="T24" fmla="*/ 18064640 w 54"/>
                <a:gd name="T25" fmla="*/ 4650620 h 25"/>
                <a:gd name="T26" fmla="*/ 15887104 w 54"/>
                <a:gd name="T27" fmla="*/ 2808927 h 25"/>
                <a:gd name="T28" fmla="*/ 11641450 w 54"/>
                <a:gd name="T29" fmla="*/ 0 h 25"/>
                <a:gd name="T30" fmla="*/ 7991856 w 54"/>
                <a:gd name="T31" fmla="*/ 835001 h 25"/>
                <a:gd name="T32" fmla="*/ 2984029 w 54"/>
                <a:gd name="T33" fmla="*/ 3515237 h 25"/>
                <a:gd name="T34" fmla="*/ 2071929 w 54"/>
                <a:gd name="T35" fmla="*/ 4650620 h 25"/>
                <a:gd name="T36" fmla="*/ 2071929 w 54"/>
                <a:gd name="T37" fmla="*/ 6629066 h 25"/>
                <a:gd name="T38" fmla="*/ 874095 w 54"/>
                <a:gd name="T39" fmla="*/ 9524393 h 25"/>
                <a:gd name="T40" fmla="*/ 2071929 w 54"/>
                <a:gd name="T41" fmla="*/ 12117629 h 25"/>
                <a:gd name="T42" fmla="*/ 874095 w 54"/>
                <a:gd name="T43" fmla="*/ 12117629 h 25"/>
                <a:gd name="T44" fmla="*/ 874095 w 54"/>
                <a:gd name="T45" fmla="*/ 12953021 h 25"/>
                <a:gd name="T46" fmla="*/ 7991856 w 54"/>
                <a:gd name="T47" fmla="*/ 16480852 h 25"/>
                <a:gd name="T48" fmla="*/ 10072692 w 54"/>
                <a:gd name="T49" fmla="*/ 20413475 h 25"/>
                <a:gd name="T50" fmla="*/ 14972246 w 54"/>
                <a:gd name="T51" fmla="*/ 21138070 h 25"/>
                <a:gd name="T52" fmla="*/ 15887104 w 54"/>
                <a:gd name="T53" fmla="*/ 22477568 h 25"/>
                <a:gd name="T54" fmla="*/ 16766227 w 54"/>
                <a:gd name="T55" fmla="*/ 22477568 h 25"/>
                <a:gd name="T56" fmla="*/ 21010663 w 54"/>
                <a:gd name="T57" fmla="*/ 23108688 h 25"/>
                <a:gd name="T58" fmla="*/ 21766963 w 54"/>
                <a:gd name="T59" fmla="*/ 16480852 h 25"/>
                <a:gd name="T60" fmla="*/ 24755278 w 54"/>
                <a:gd name="T61" fmla="*/ 20413475 h 25"/>
                <a:gd name="T62" fmla="*/ 26838890 w 54"/>
                <a:gd name="T63" fmla="*/ 20413475 h 25"/>
                <a:gd name="T64" fmla="*/ 27594545 w 54"/>
                <a:gd name="T65" fmla="*/ 18442993 h 25"/>
                <a:gd name="T66" fmla="*/ 31844808 w 54"/>
                <a:gd name="T67" fmla="*/ 18442993 h 25"/>
                <a:gd name="T68" fmla="*/ 35489754 w 54"/>
                <a:gd name="T69" fmla="*/ 17606647 h 25"/>
                <a:gd name="T70" fmla="*/ 38549332 w 54"/>
                <a:gd name="T71" fmla="*/ 18442993 h 25"/>
                <a:gd name="T72" fmla="*/ 42819894 w 54"/>
                <a:gd name="T73" fmla="*/ 18442993 h 25"/>
                <a:gd name="T74" fmla="*/ 45648068 w 54"/>
                <a:gd name="T75" fmla="*/ 19578455 h 25"/>
                <a:gd name="T76" fmla="*/ 47731111 w 54"/>
                <a:gd name="T77" fmla="*/ 19578455 h 25"/>
                <a:gd name="T78" fmla="*/ 45648068 w 54"/>
                <a:gd name="T79" fmla="*/ 16480852 h 25"/>
                <a:gd name="T80" fmla="*/ 41900646 w 54"/>
                <a:gd name="T81" fmla="*/ 15644591 h 25"/>
                <a:gd name="T82" fmla="*/ 41900646 w 54"/>
                <a:gd name="T83" fmla="*/ 15644591 h 25"/>
                <a:gd name="T84" fmla="*/ 36902683 w 54"/>
                <a:gd name="T85" fmla="*/ 12953021 h 25"/>
                <a:gd name="T86" fmla="*/ 34830772 w 54"/>
                <a:gd name="T87" fmla="*/ 10144084 h 25"/>
                <a:gd name="T88" fmla="*/ 35489754 w 54"/>
                <a:gd name="T89" fmla="*/ 6629066 h 25"/>
                <a:gd name="T90" fmla="*/ 37658319 w 54"/>
                <a:gd name="T91" fmla="*/ 6629066 h 25"/>
                <a:gd name="T92" fmla="*/ 37658319 w 54"/>
                <a:gd name="T93" fmla="*/ 10975465 h 25"/>
                <a:gd name="T94" fmla="*/ 41900646 w 54"/>
                <a:gd name="T95" fmla="*/ 12953021 h 25"/>
                <a:gd name="T96" fmla="*/ 43645200 w 54"/>
                <a:gd name="T97" fmla="*/ 13821180 h 25"/>
                <a:gd name="T98" fmla="*/ 45648068 w 54"/>
                <a:gd name="T99" fmla="*/ 14926566 h 25"/>
                <a:gd name="T100" fmla="*/ 48605189 w 54"/>
                <a:gd name="T101" fmla="*/ 15644591 h 25"/>
                <a:gd name="T102" fmla="*/ 49803041 w 54"/>
                <a:gd name="T103" fmla="*/ 15644591 h 25"/>
                <a:gd name="T104" fmla="*/ 51595761 w 54"/>
                <a:gd name="T105" fmla="*/ 13821180 h 25"/>
                <a:gd name="T106" fmla="*/ 52895407 w 54"/>
                <a:gd name="T107" fmla="*/ 10144084 h 25"/>
                <a:gd name="T108" fmla="*/ 53542461 w 54"/>
                <a:gd name="T109" fmla="*/ 6629066 h 25"/>
                <a:gd name="T110" fmla="*/ 49803041 w 54"/>
                <a:gd name="T111" fmla="*/ 6629066 h 25"/>
                <a:gd name="T112" fmla="*/ 48605189 w 54"/>
                <a:gd name="T113" fmla="*/ 6629066 h 2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4"/>
                <a:gd name="T172" fmla="*/ 0 h 25"/>
                <a:gd name="T173" fmla="*/ 54 w 54"/>
                <a:gd name="T174" fmla="*/ 25 h 2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4" h="25">
                  <a:moveTo>
                    <a:pt x="49" y="7"/>
                  </a:moveTo>
                  <a:cubicBezTo>
                    <a:pt x="49" y="7"/>
                    <a:pt x="49" y="7"/>
                    <a:pt x="49" y="7"/>
                  </a:cubicBezTo>
                  <a:cubicBezTo>
                    <a:pt x="48" y="6"/>
                    <a:pt x="47" y="6"/>
                    <a:pt x="47" y="6"/>
                  </a:cubicBezTo>
                  <a:cubicBezTo>
                    <a:pt x="46" y="5"/>
                    <a:pt x="45" y="5"/>
                    <a:pt x="44" y="4"/>
                  </a:cubicBezTo>
                  <a:cubicBezTo>
                    <a:pt x="43" y="3"/>
                    <a:pt x="41" y="5"/>
                    <a:pt x="40" y="5"/>
                  </a:cubicBezTo>
                  <a:cubicBezTo>
                    <a:pt x="38" y="6"/>
                    <a:pt x="36" y="6"/>
                    <a:pt x="35" y="5"/>
                  </a:cubicBezTo>
                  <a:cubicBezTo>
                    <a:pt x="33" y="4"/>
                    <a:pt x="32" y="3"/>
                    <a:pt x="30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9" y="1"/>
                    <a:pt x="27" y="1"/>
                    <a:pt x="26" y="1"/>
                  </a:cubicBezTo>
                  <a:cubicBezTo>
                    <a:pt x="25" y="3"/>
                    <a:pt x="27" y="6"/>
                    <a:pt x="25" y="8"/>
                  </a:cubicBezTo>
                  <a:cubicBezTo>
                    <a:pt x="25" y="8"/>
                    <a:pt x="24" y="8"/>
                    <a:pt x="23" y="8"/>
                  </a:cubicBezTo>
                  <a:cubicBezTo>
                    <a:pt x="23" y="7"/>
                    <a:pt x="23" y="6"/>
                    <a:pt x="22" y="5"/>
                  </a:cubicBezTo>
                  <a:cubicBezTo>
                    <a:pt x="21" y="5"/>
                    <a:pt x="19" y="5"/>
                    <a:pt x="18" y="5"/>
                  </a:cubicBezTo>
                  <a:cubicBezTo>
                    <a:pt x="17" y="5"/>
                    <a:pt x="17" y="3"/>
                    <a:pt x="16" y="3"/>
                  </a:cubicBezTo>
                  <a:cubicBezTo>
                    <a:pt x="14" y="3"/>
                    <a:pt x="12" y="2"/>
                    <a:pt x="12" y="0"/>
                  </a:cubicBezTo>
                  <a:cubicBezTo>
                    <a:pt x="10" y="0"/>
                    <a:pt x="9" y="0"/>
                    <a:pt x="8" y="1"/>
                  </a:cubicBezTo>
                  <a:cubicBezTo>
                    <a:pt x="6" y="2"/>
                    <a:pt x="4" y="3"/>
                    <a:pt x="3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6"/>
                    <a:pt x="3" y="7"/>
                    <a:pt x="2" y="7"/>
                  </a:cubicBezTo>
                  <a:cubicBezTo>
                    <a:pt x="2" y="8"/>
                    <a:pt x="0" y="9"/>
                    <a:pt x="1" y="10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3"/>
                    <a:pt x="2" y="14"/>
                    <a:pt x="1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4" y="16"/>
                    <a:pt x="6" y="17"/>
                    <a:pt x="8" y="18"/>
                  </a:cubicBezTo>
                  <a:cubicBezTo>
                    <a:pt x="9" y="19"/>
                    <a:pt x="9" y="21"/>
                    <a:pt x="10" y="22"/>
                  </a:cubicBezTo>
                  <a:cubicBezTo>
                    <a:pt x="12" y="23"/>
                    <a:pt x="13" y="22"/>
                    <a:pt x="15" y="23"/>
                  </a:cubicBezTo>
                  <a:cubicBezTo>
                    <a:pt x="15" y="23"/>
                    <a:pt x="16" y="23"/>
                    <a:pt x="16" y="24"/>
                  </a:cubicBezTo>
                  <a:cubicBezTo>
                    <a:pt x="16" y="24"/>
                    <a:pt x="17" y="24"/>
                    <a:pt x="17" y="24"/>
                  </a:cubicBezTo>
                  <a:cubicBezTo>
                    <a:pt x="18" y="25"/>
                    <a:pt x="20" y="25"/>
                    <a:pt x="21" y="25"/>
                  </a:cubicBezTo>
                  <a:cubicBezTo>
                    <a:pt x="22" y="23"/>
                    <a:pt x="21" y="20"/>
                    <a:pt x="22" y="18"/>
                  </a:cubicBezTo>
                  <a:cubicBezTo>
                    <a:pt x="24" y="17"/>
                    <a:pt x="24" y="21"/>
                    <a:pt x="25" y="22"/>
                  </a:cubicBezTo>
                  <a:cubicBezTo>
                    <a:pt x="25" y="22"/>
                    <a:pt x="26" y="22"/>
                    <a:pt x="27" y="22"/>
                  </a:cubicBezTo>
                  <a:cubicBezTo>
                    <a:pt x="27" y="21"/>
                    <a:pt x="28" y="21"/>
                    <a:pt x="28" y="20"/>
                  </a:cubicBezTo>
                  <a:cubicBezTo>
                    <a:pt x="29" y="19"/>
                    <a:pt x="31" y="20"/>
                    <a:pt x="32" y="20"/>
                  </a:cubicBezTo>
                  <a:cubicBezTo>
                    <a:pt x="34" y="19"/>
                    <a:pt x="35" y="18"/>
                    <a:pt x="36" y="19"/>
                  </a:cubicBezTo>
                  <a:cubicBezTo>
                    <a:pt x="37" y="19"/>
                    <a:pt x="38" y="20"/>
                    <a:pt x="39" y="20"/>
                  </a:cubicBezTo>
                  <a:cubicBezTo>
                    <a:pt x="40" y="19"/>
                    <a:pt x="42" y="19"/>
                    <a:pt x="43" y="20"/>
                  </a:cubicBezTo>
                  <a:cubicBezTo>
                    <a:pt x="44" y="20"/>
                    <a:pt x="45" y="20"/>
                    <a:pt x="46" y="21"/>
                  </a:cubicBezTo>
                  <a:cubicBezTo>
                    <a:pt x="46" y="21"/>
                    <a:pt x="48" y="21"/>
                    <a:pt x="48" y="21"/>
                  </a:cubicBezTo>
                  <a:cubicBezTo>
                    <a:pt x="49" y="20"/>
                    <a:pt x="47" y="19"/>
                    <a:pt x="46" y="18"/>
                  </a:cubicBezTo>
                  <a:cubicBezTo>
                    <a:pt x="45" y="17"/>
                    <a:pt x="43" y="18"/>
                    <a:pt x="4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6"/>
                    <a:pt x="38" y="16"/>
                    <a:pt x="37" y="14"/>
                  </a:cubicBezTo>
                  <a:cubicBezTo>
                    <a:pt x="36" y="13"/>
                    <a:pt x="35" y="12"/>
                    <a:pt x="35" y="11"/>
                  </a:cubicBezTo>
                  <a:cubicBezTo>
                    <a:pt x="34" y="10"/>
                    <a:pt x="34" y="8"/>
                    <a:pt x="36" y="7"/>
                  </a:cubicBezTo>
                  <a:cubicBezTo>
                    <a:pt x="36" y="7"/>
                    <a:pt x="38" y="7"/>
                    <a:pt x="38" y="7"/>
                  </a:cubicBezTo>
                  <a:cubicBezTo>
                    <a:pt x="38" y="9"/>
                    <a:pt x="38" y="11"/>
                    <a:pt x="38" y="12"/>
                  </a:cubicBezTo>
                  <a:cubicBezTo>
                    <a:pt x="39" y="14"/>
                    <a:pt x="41" y="14"/>
                    <a:pt x="42" y="14"/>
                  </a:cubicBezTo>
                  <a:cubicBezTo>
                    <a:pt x="43" y="14"/>
                    <a:pt x="43" y="14"/>
                    <a:pt x="44" y="15"/>
                  </a:cubicBezTo>
                  <a:cubicBezTo>
                    <a:pt x="45" y="15"/>
                    <a:pt x="45" y="16"/>
                    <a:pt x="46" y="16"/>
                  </a:cubicBezTo>
                  <a:cubicBezTo>
                    <a:pt x="47" y="17"/>
                    <a:pt x="48" y="17"/>
                    <a:pt x="49" y="17"/>
                  </a:cubicBezTo>
                  <a:cubicBezTo>
                    <a:pt x="49" y="18"/>
                    <a:pt x="50" y="18"/>
                    <a:pt x="50" y="17"/>
                  </a:cubicBezTo>
                  <a:cubicBezTo>
                    <a:pt x="51" y="17"/>
                    <a:pt x="52" y="16"/>
                    <a:pt x="52" y="15"/>
                  </a:cubicBezTo>
                  <a:cubicBezTo>
                    <a:pt x="53" y="14"/>
                    <a:pt x="52" y="12"/>
                    <a:pt x="53" y="11"/>
                  </a:cubicBezTo>
                  <a:cubicBezTo>
                    <a:pt x="53" y="10"/>
                    <a:pt x="54" y="9"/>
                    <a:pt x="54" y="7"/>
                  </a:cubicBezTo>
                  <a:cubicBezTo>
                    <a:pt x="52" y="7"/>
                    <a:pt x="51" y="7"/>
                    <a:pt x="50" y="7"/>
                  </a:cubicBezTo>
                  <a:cubicBezTo>
                    <a:pt x="49" y="7"/>
                    <a:pt x="49" y="7"/>
                    <a:pt x="49" y="7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5" name="Freeform 286"/>
            <p:cNvSpPr>
              <a:spLocks/>
            </p:cNvSpPr>
            <p:nvPr/>
          </p:nvSpPr>
          <p:spPr bwMode="auto">
            <a:xfrm>
              <a:off x="8145241" y="4471804"/>
              <a:ext cx="8699" cy="7856"/>
            </a:xfrm>
            <a:custGeom>
              <a:avLst/>
              <a:gdLst>
                <a:gd name="T0" fmla="*/ 3397424 w 7"/>
                <a:gd name="T1" fmla="*/ 4210842 h 7"/>
                <a:gd name="T2" fmla="*/ 2642432 w 7"/>
                <a:gd name="T3" fmla="*/ 1213713 h 7"/>
                <a:gd name="T4" fmla="*/ 505778 w 7"/>
                <a:gd name="T5" fmla="*/ 1213713 h 7"/>
                <a:gd name="T6" fmla="*/ 505778 w 7"/>
                <a:gd name="T7" fmla="*/ 7158428 h 7"/>
                <a:gd name="T8" fmla="*/ 1156064 w 7"/>
                <a:gd name="T9" fmla="*/ 10226328 h 7"/>
                <a:gd name="T10" fmla="*/ 1724631 w 7"/>
                <a:gd name="T11" fmla="*/ 10226328 h 7"/>
                <a:gd name="T12" fmla="*/ 3397424 w 7"/>
                <a:gd name="T13" fmla="*/ 7158428 h 7"/>
                <a:gd name="T14" fmla="*/ 3397424 w 7"/>
                <a:gd name="T15" fmla="*/ 4210842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7"/>
                <a:gd name="T26" fmla="*/ 7 w 7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7">
                  <a:moveTo>
                    <a:pt x="6" y="3"/>
                  </a:moveTo>
                  <a:cubicBezTo>
                    <a:pt x="7" y="3"/>
                    <a:pt x="6" y="1"/>
                    <a:pt x="5" y="1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0" y="2"/>
                    <a:pt x="0" y="4"/>
                    <a:pt x="1" y="5"/>
                  </a:cubicBezTo>
                  <a:cubicBezTo>
                    <a:pt x="1" y="5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4" y="6"/>
                    <a:pt x="5" y="6"/>
                    <a:pt x="6" y="5"/>
                  </a:cubicBezTo>
                  <a:cubicBezTo>
                    <a:pt x="6" y="5"/>
                    <a:pt x="6" y="4"/>
                    <a:pt x="6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6" name="Freeform 287"/>
            <p:cNvSpPr>
              <a:spLocks/>
            </p:cNvSpPr>
            <p:nvPr/>
          </p:nvSpPr>
          <p:spPr bwMode="auto">
            <a:xfrm>
              <a:off x="8146689" y="4477847"/>
              <a:ext cx="31900" cy="10879"/>
            </a:xfrm>
            <a:custGeom>
              <a:avLst/>
              <a:gdLst>
                <a:gd name="T0" fmla="*/ 22349417 w 24"/>
                <a:gd name="T1" fmla="*/ 5085394 h 10"/>
                <a:gd name="T2" fmla="*/ 20751062 w 24"/>
                <a:gd name="T3" fmla="*/ 3577445 h 10"/>
                <a:gd name="T4" fmla="*/ 16353661 w 24"/>
                <a:gd name="T5" fmla="*/ 2554647 h 10"/>
                <a:gd name="T6" fmla="*/ 14143705 w 24"/>
                <a:gd name="T7" fmla="*/ 1064436 h 10"/>
                <a:gd name="T8" fmla="*/ 11242634 w 24"/>
                <a:gd name="T9" fmla="*/ 0 h 10"/>
                <a:gd name="T10" fmla="*/ 5955246 w 24"/>
                <a:gd name="T11" fmla="*/ 0 h 10"/>
                <a:gd name="T12" fmla="*/ 5287420 w 24"/>
                <a:gd name="T13" fmla="*/ 5085394 h 10"/>
                <a:gd name="T14" fmla="*/ 3065439 w 24"/>
                <a:gd name="T15" fmla="*/ 7196548 h 10"/>
                <a:gd name="T16" fmla="*/ 937382 w 24"/>
                <a:gd name="T17" fmla="*/ 8585865 h 10"/>
                <a:gd name="T18" fmla="*/ 0 w 24"/>
                <a:gd name="T19" fmla="*/ 9650293 h 10"/>
                <a:gd name="T20" fmla="*/ 937382 w 24"/>
                <a:gd name="T21" fmla="*/ 11140513 h 10"/>
                <a:gd name="T22" fmla="*/ 2226282 w 24"/>
                <a:gd name="T23" fmla="*/ 11140513 h 10"/>
                <a:gd name="T24" fmla="*/ 3065439 w 24"/>
                <a:gd name="T25" fmla="*/ 9650293 h 10"/>
                <a:gd name="T26" fmla="*/ 5955246 w 24"/>
                <a:gd name="T27" fmla="*/ 8585865 h 10"/>
                <a:gd name="T28" fmla="*/ 11242634 w 24"/>
                <a:gd name="T29" fmla="*/ 8585865 h 10"/>
                <a:gd name="T30" fmla="*/ 20751062 w 24"/>
                <a:gd name="T31" fmla="*/ 11140513 h 10"/>
                <a:gd name="T32" fmla="*/ 24547147 w 24"/>
                <a:gd name="T33" fmla="*/ 11140513 h 10"/>
                <a:gd name="T34" fmla="*/ 24547147 w 24"/>
                <a:gd name="T35" fmla="*/ 9650293 h 10"/>
                <a:gd name="T36" fmla="*/ 23798965 w 24"/>
                <a:gd name="T37" fmla="*/ 7196548 h 10"/>
                <a:gd name="T38" fmla="*/ 22349417 w 24"/>
                <a:gd name="T39" fmla="*/ 5085394 h 1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4"/>
                <a:gd name="T61" fmla="*/ 0 h 10"/>
                <a:gd name="T62" fmla="*/ 24 w 24"/>
                <a:gd name="T63" fmla="*/ 10 h 1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4" h="10">
                  <a:moveTo>
                    <a:pt x="22" y="4"/>
                  </a:moveTo>
                  <a:cubicBezTo>
                    <a:pt x="21" y="4"/>
                    <a:pt x="21" y="3"/>
                    <a:pt x="20" y="3"/>
                  </a:cubicBezTo>
                  <a:cubicBezTo>
                    <a:pt x="19" y="2"/>
                    <a:pt x="17" y="2"/>
                    <a:pt x="16" y="2"/>
                  </a:cubicBezTo>
                  <a:cubicBezTo>
                    <a:pt x="15" y="2"/>
                    <a:pt x="14" y="2"/>
                    <a:pt x="14" y="1"/>
                  </a:cubicBezTo>
                  <a:cubicBezTo>
                    <a:pt x="13" y="1"/>
                    <a:pt x="12" y="1"/>
                    <a:pt x="11" y="0"/>
                  </a:cubicBezTo>
                  <a:cubicBezTo>
                    <a:pt x="9" y="0"/>
                    <a:pt x="7" y="0"/>
                    <a:pt x="6" y="0"/>
                  </a:cubicBezTo>
                  <a:cubicBezTo>
                    <a:pt x="6" y="2"/>
                    <a:pt x="6" y="3"/>
                    <a:pt x="5" y="4"/>
                  </a:cubicBezTo>
                  <a:cubicBezTo>
                    <a:pt x="5" y="5"/>
                    <a:pt x="3" y="5"/>
                    <a:pt x="3" y="6"/>
                  </a:cubicBezTo>
                  <a:cubicBezTo>
                    <a:pt x="2" y="6"/>
                    <a:pt x="2" y="6"/>
                    <a:pt x="1" y="7"/>
                  </a:cubicBezTo>
                  <a:cubicBezTo>
                    <a:pt x="1" y="7"/>
                    <a:pt x="0" y="7"/>
                    <a:pt x="0" y="8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1" y="9"/>
                    <a:pt x="2" y="9"/>
                    <a:pt x="2" y="9"/>
                  </a:cubicBezTo>
                  <a:cubicBezTo>
                    <a:pt x="2" y="8"/>
                    <a:pt x="3" y="8"/>
                    <a:pt x="3" y="8"/>
                  </a:cubicBezTo>
                  <a:cubicBezTo>
                    <a:pt x="4" y="8"/>
                    <a:pt x="5" y="7"/>
                    <a:pt x="6" y="7"/>
                  </a:cubicBezTo>
                  <a:cubicBezTo>
                    <a:pt x="8" y="6"/>
                    <a:pt x="10" y="7"/>
                    <a:pt x="11" y="7"/>
                  </a:cubicBezTo>
                  <a:cubicBezTo>
                    <a:pt x="14" y="7"/>
                    <a:pt x="17" y="8"/>
                    <a:pt x="20" y="9"/>
                  </a:cubicBezTo>
                  <a:cubicBezTo>
                    <a:pt x="21" y="10"/>
                    <a:pt x="23" y="10"/>
                    <a:pt x="24" y="9"/>
                  </a:cubicBezTo>
                  <a:cubicBezTo>
                    <a:pt x="24" y="9"/>
                    <a:pt x="24" y="8"/>
                    <a:pt x="24" y="8"/>
                  </a:cubicBezTo>
                  <a:cubicBezTo>
                    <a:pt x="24" y="7"/>
                    <a:pt x="23" y="7"/>
                    <a:pt x="23" y="6"/>
                  </a:cubicBezTo>
                  <a:cubicBezTo>
                    <a:pt x="22" y="6"/>
                    <a:pt x="23" y="5"/>
                    <a:pt x="22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7" name="Freeform 288"/>
            <p:cNvSpPr>
              <a:spLocks/>
            </p:cNvSpPr>
            <p:nvPr/>
          </p:nvSpPr>
          <p:spPr bwMode="auto">
            <a:xfrm>
              <a:off x="8188014" y="4450049"/>
              <a:ext cx="44947" cy="16317"/>
            </a:xfrm>
            <a:custGeom>
              <a:avLst/>
              <a:gdLst>
                <a:gd name="T0" fmla="*/ 25480374 w 34"/>
                <a:gd name="T1" fmla="*/ 4688532 h 15"/>
                <a:gd name="T2" fmla="*/ 24050521 w 34"/>
                <a:gd name="T3" fmla="*/ 4688532 h 15"/>
                <a:gd name="T4" fmla="*/ 19433342 w 34"/>
                <a:gd name="T5" fmla="*/ 3961001 h 15"/>
                <a:gd name="T6" fmla="*/ 17684806 w 34"/>
                <a:gd name="T7" fmla="*/ 5234181 h 15"/>
                <a:gd name="T8" fmla="*/ 15774699 w 34"/>
                <a:gd name="T9" fmla="*/ 4688532 h 15"/>
                <a:gd name="T10" fmla="*/ 14174003 w 34"/>
                <a:gd name="T11" fmla="*/ 3961001 h 15"/>
                <a:gd name="T12" fmla="*/ 8957156 w 34"/>
                <a:gd name="T13" fmla="*/ 3961001 h 15"/>
                <a:gd name="T14" fmla="*/ 7173119 w 34"/>
                <a:gd name="T15" fmla="*/ 4688532 h 15"/>
                <a:gd name="T16" fmla="*/ 5300376 w 34"/>
                <a:gd name="T17" fmla="*/ 4688532 h 15"/>
                <a:gd name="T18" fmla="*/ 4467192 w 34"/>
                <a:gd name="T19" fmla="*/ 3961001 h 15"/>
                <a:gd name="T20" fmla="*/ 1898557 w 34"/>
                <a:gd name="T21" fmla="*/ 0 h 15"/>
                <a:gd name="T22" fmla="*/ 806887 w 34"/>
                <a:gd name="T23" fmla="*/ 0 h 15"/>
                <a:gd name="T24" fmla="*/ 806887 w 34"/>
                <a:gd name="T25" fmla="*/ 2243220 h 15"/>
                <a:gd name="T26" fmla="*/ 806887 w 34"/>
                <a:gd name="T27" fmla="*/ 4688532 h 15"/>
                <a:gd name="T28" fmla="*/ 3318400 w 34"/>
                <a:gd name="T29" fmla="*/ 6253185 h 15"/>
                <a:gd name="T30" fmla="*/ 10511040 w 34"/>
                <a:gd name="T31" fmla="*/ 8614993 h 15"/>
                <a:gd name="T32" fmla="*/ 14174003 w 34"/>
                <a:gd name="T33" fmla="*/ 9902491 h 15"/>
                <a:gd name="T34" fmla="*/ 17684806 w 34"/>
                <a:gd name="T35" fmla="*/ 11620011 h 15"/>
                <a:gd name="T36" fmla="*/ 20263812 w 34"/>
                <a:gd name="T37" fmla="*/ 10939910 h 15"/>
                <a:gd name="T38" fmla="*/ 25480374 w 34"/>
                <a:gd name="T39" fmla="*/ 10939910 h 15"/>
                <a:gd name="T40" fmla="*/ 28048994 w 34"/>
                <a:gd name="T41" fmla="*/ 10939910 h 15"/>
                <a:gd name="T42" fmla="*/ 28048994 w 34"/>
                <a:gd name="T43" fmla="*/ 4688532 h 15"/>
                <a:gd name="T44" fmla="*/ 27437644 w 34"/>
                <a:gd name="T45" fmla="*/ 4688532 h 15"/>
                <a:gd name="T46" fmla="*/ 25480374 w 34"/>
                <a:gd name="T47" fmla="*/ 4688532 h 1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4"/>
                <a:gd name="T73" fmla="*/ 0 h 15"/>
                <a:gd name="T74" fmla="*/ 34 w 34"/>
                <a:gd name="T75" fmla="*/ 15 h 1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4" h="15">
                  <a:moveTo>
                    <a:pt x="29" y="6"/>
                  </a:moveTo>
                  <a:cubicBezTo>
                    <a:pt x="28" y="6"/>
                    <a:pt x="28" y="6"/>
                    <a:pt x="27" y="6"/>
                  </a:cubicBezTo>
                  <a:cubicBezTo>
                    <a:pt x="26" y="5"/>
                    <a:pt x="24" y="4"/>
                    <a:pt x="22" y="5"/>
                  </a:cubicBezTo>
                  <a:cubicBezTo>
                    <a:pt x="21" y="6"/>
                    <a:pt x="21" y="6"/>
                    <a:pt x="20" y="7"/>
                  </a:cubicBezTo>
                  <a:cubicBezTo>
                    <a:pt x="19" y="7"/>
                    <a:pt x="18" y="7"/>
                    <a:pt x="18" y="6"/>
                  </a:cubicBezTo>
                  <a:cubicBezTo>
                    <a:pt x="17" y="6"/>
                    <a:pt x="17" y="5"/>
                    <a:pt x="16" y="5"/>
                  </a:cubicBezTo>
                  <a:cubicBezTo>
                    <a:pt x="14" y="4"/>
                    <a:pt x="12" y="4"/>
                    <a:pt x="10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7"/>
                    <a:pt x="7" y="7"/>
                    <a:pt x="6" y="6"/>
                  </a:cubicBezTo>
                  <a:cubicBezTo>
                    <a:pt x="6" y="6"/>
                    <a:pt x="5" y="5"/>
                    <a:pt x="5" y="5"/>
                  </a:cubicBezTo>
                  <a:cubicBezTo>
                    <a:pt x="2" y="4"/>
                    <a:pt x="3" y="2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1" y="7"/>
                    <a:pt x="3" y="8"/>
                    <a:pt x="4" y="8"/>
                  </a:cubicBezTo>
                  <a:cubicBezTo>
                    <a:pt x="7" y="9"/>
                    <a:pt x="9" y="10"/>
                    <a:pt x="12" y="11"/>
                  </a:cubicBezTo>
                  <a:cubicBezTo>
                    <a:pt x="13" y="12"/>
                    <a:pt x="15" y="12"/>
                    <a:pt x="16" y="13"/>
                  </a:cubicBezTo>
                  <a:cubicBezTo>
                    <a:pt x="17" y="14"/>
                    <a:pt x="19" y="14"/>
                    <a:pt x="20" y="15"/>
                  </a:cubicBezTo>
                  <a:cubicBezTo>
                    <a:pt x="21" y="15"/>
                    <a:pt x="22" y="14"/>
                    <a:pt x="23" y="14"/>
                  </a:cubicBezTo>
                  <a:cubicBezTo>
                    <a:pt x="25" y="14"/>
                    <a:pt x="27" y="14"/>
                    <a:pt x="29" y="14"/>
                  </a:cubicBezTo>
                  <a:cubicBezTo>
                    <a:pt x="30" y="14"/>
                    <a:pt x="32" y="15"/>
                    <a:pt x="32" y="14"/>
                  </a:cubicBezTo>
                  <a:cubicBezTo>
                    <a:pt x="33" y="11"/>
                    <a:pt x="34" y="9"/>
                    <a:pt x="32" y="6"/>
                  </a:cubicBezTo>
                  <a:cubicBezTo>
                    <a:pt x="32" y="6"/>
                    <a:pt x="31" y="6"/>
                    <a:pt x="31" y="6"/>
                  </a:cubicBezTo>
                  <a:lnTo>
                    <a:pt x="29" y="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8" name="Freeform 289"/>
            <p:cNvSpPr>
              <a:spLocks/>
            </p:cNvSpPr>
            <p:nvPr/>
          </p:nvSpPr>
          <p:spPr bwMode="auto">
            <a:xfrm>
              <a:off x="8035044" y="4497792"/>
              <a:ext cx="21749" cy="7253"/>
            </a:xfrm>
            <a:custGeom>
              <a:avLst/>
              <a:gdLst>
                <a:gd name="T0" fmla="*/ 15456858 w 16"/>
                <a:gd name="T1" fmla="*/ 2642432 h 7"/>
                <a:gd name="T2" fmla="*/ 13463332 w 16"/>
                <a:gd name="T3" fmla="*/ 1724631 h 7"/>
                <a:gd name="T4" fmla="*/ 5955246 w 16"/>
                <a:gd name="T5" fmla="*/ 505778 h 7"/>
                <a:gd name="T6" fmla="*/ 2129866 w 16"/>
                <a:gd name="T7" fmla="*/ 505778 h 7"/>
                <a:gd name="T8" fmla="*/ 896786 w 16"/>
                <a:gd name="T9" fmla="*/ 505778 h 7"/>
                <a:gd name="T10" fmla="*/ 0 w 16"/>
                <a:gd name="T11" fmla="*/ 1724631 h 7"/>
                <a:gd name="T12" fmla="*/ 5058432 w 16"/>
                <a:gd name="T13" fmla="*/ 2234466 h 7"/>
                <a:gd name="T14" fmla="*/ 8176458 w 16"/>
                <a:gd name="T15" fmla="*/ 3397424 h 7"/>
                <a:gd name="T16" fmla="*/ 15456858 w 16"/>
                <a:gd name="T17" fmla="*/ 3942014 h 7"/>
                <a:gd name="T18" fmla="*/ 16353582 w 16"/>
                <a:gd name="T19" fmla="*/ 2642432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7"/>
                <a:gd name="T32" fmla="*/ 16 w 1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7">
                  <a:moveTo>
                    <a:pt x="15" y="5"/>
                  </a:moveTo>
                  <a:cubicBezTo>
                    <a:pt x="14" y="4"/>
                    <a:pt x="14" y="3"/>
                    <a:pt x="13" y="3"/>
                  </a:cubicBezTo>
                  <a:cubicBezTo>
                    <a:pt x="11" y="2"/>
                    <a:pt x="8" y="2"/>
                    <a:pt x="6" y="1"/>
                  </a:cubicBezTo>
                  <a:cubicBezTo>
                    <a:pt x="5" y="0"/>
                    <a:pt x="3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2" y="4"/>
                    <a:pt x="4" y="3"/>
                    <a:pt x="5" y="4"/>
                  </a:cubicBezTo>
                  <a:cubicBezTo>
                    <a:pt x="6" y="4"/>
                    <a:pt x="7" y="5"/>
                    <a:pt x="8" y="6"/>
                  </a:cubicBezTo>
                  <a:cubicBezTo>
                    <a:pt x="10" y="7"/>
                    <a:pt x="13" y="7"/>
                    <a:pt x="15" y="7"/>
                  </a:cubicBezTo>
                  <a:cubicBezTo>
                    <a:pt x="16" y="7"/>
                    <a:pt x="16" y="6"/>
                    <a:pt x="16" y="5"/>
                  </a:cubicBezTo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9" name="Freeform 290"/>
            <p:cNvSpPr>
              <a:spLocks/>
            </p:cNvSpPr>
            <p:nvPr/>
          </p:nvSpPr>
          <p:spPr bwMode="auto">
            <a:xfrm>
              <a:off x="8043744" y="4495980"/>
              <a:ext cx="9425" cy="3626"/>
            </a:xfrm>
            <a:custGeom>
              <a:avLst/>
              <a:gdLst>
                <a:gd name="T0" fmla="*/ 7158428 w 7"/>
                <a:gd name="T1" fmla="*/ 2497529 h 4"/>
                <a:gd name="T2" fmla="*/ 1213713 w 7"/>
                <a:gd name="T3" fmla="*/ 2497529 h 4"/>
                <a:gd name="T4" fmla="*/ 1213713 w 7"/>
                <a:gd name="T5" fmla="*/ 6243820 h 4"/>
                <a:gd name="T6" fmla="*/ 10226328 w 7"/>
                <a:gd name="T7" fmla="*/ 6243820 h 4"/>
                <a:gd name="T8" fmla="*/ 10226328 w 7"/>
                <a:gd name="T9" fmla="*/ 4450654 h 4"/>
                <a:gd name="T10" fmla="*/ 5930334 w 7"/>
                <a:gd name="T11" fmla="*/ 2497529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4"/>
                <a:gd name="T20" fmla="*/ 7 w 7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4">
                  <a:moveTo>
                    <a:pt x="5" y="1"/>
                  </a:moveTo>
                  <a:cubicBezTo>
                    <a:pt x="3" y="2"/>
                    <a:pt x="2" y="0"/>
                    <a:pt x="1" y="1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3" y="4"/>
                    <a:pt x="6" y="3"/>
                    <a:pt x="7" y="3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5" y="2"/>
                    <a:pt x="4" y="1"/>
                  </a:cubicBezTo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0" name="Freeform 291"/>
            <p:cNvSpPr>
              <a:spLocks/>
            </p:cNvSpPr>
            <p:nvPr/>
          </p:nvSpPr>
          <p:spPr bwMode="auto">
            <a:xfrm>
              <a:off x="7884254" y="4468179"/>
              <a:ext cx="13050" cy="7856"/>
            </a:xfrm>
            <a:custGeom>
              <a:avLst/>
              <a:gdLst>
                <a:gd name="T0" fmla="*/ 5234180 w 9"/>
                <a:gd name="T1" fmla="*/ 1213713 h 7"/>
                <a:gd name="T2" fmla="*/ 2243220 w 9"/>
                <a:gd name="T3" fmla="*/ 1213713 h 7"/>
                <a:gd name="T4" fmla="*/ 727531 w 9"/>
                <a:gd name="T5" fmla="*/ 5930334 h 7"/>
                <a:gd name="T6" fmla="*/ 727531 w 9"/>
                <a:gd name="T7" fmla="*/ 7158428 h 7"/>
                <a:gd name="T8" fmla="*/ 2970751 w 9"/>
                <a:gd name="T9" fmla="*/ 8872004 h 7"/>
                <a:gd name="T10" fmla="*/ 4688532 w 9"/>
                <a:gd name="T11" fmla="*/ 8872004 h 7"/>
                <a:gd name="T12" fmla="*/ 6253179 w 9"/>
                <a:gd name="T13" fmla="*/ 7158428 h 7"/>
                <a:gd name="T14" fmla="*/ 6931749 w 9"/>
                <a:gd name="T15" fmla="*/ 5930334 h 7"/>
                <a:gd name="T16" fmla="*/ 6931749 w 9"/>
                <a:gd name="T17" fmla="*/ 1213713 h 7"/>
                <a:gd name="T18" fmla="*/ 5234180 w 9"/>
                <a:gd name="T19" fmla="*/ 1213713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7"/>
                <a:gd name="T32" fmla="*/ 9 w 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7">
                  <a:moveTo>
                    <a:pt x="7" y="1"/>
                  </a:moveTo>
                  <a:cubicBezTo>
                    <a:pt x="6" y="1"/>
                    <a:pt x="4" y="0"/>
                    <a:pt x="3" y="1"/>
                  </a:cubicBezTo>
                  <a:cubicBezTo>
                    <a:pt x="2" y="2"/>
                    <a:pt x="1" y="3"/>
                    <a:pt x="1" y="4"/>
                  </a:cubicBezTo>
                  <a:cubicBezTo>
                    <a:pt x="0" y="4"/>
                    <a:pt x="0" y="5"/>
                    <a:pt x="1" y="5"/>
                  </a:cubicBezTo>
                  <a:cubicBezTo>
                    <a:pt x="2" y="6"/>
                    <a:pt x="3" y="5"/>
                    <a:pt x="4" y="6"/>
                  </a:cubicBezTo>
                  <a:cubicBezTo>
                    <a:pt x="5" y="7"/>
                    <a:pt x="6" y="6"/>
                    <a:pt x="6" y="6"/>
                  </a:cubicBezTo>
                  <a:cubicBezTo>
                    <a:pt x="7" y="6"/>
                    <a:pt x="7" y="5"/>
                    <a:pt x="8" y="5"/>
                  </a:cubicBezTo>
                  <a:cubicBezTo>
                    <a:pt x="8" y="5"/>
                    <a:pt x="8" y="4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8" y="1"/>
                    <a:pt x="8" y="1"/>
                    <a:pt x="7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1" name="Freeform 292"/>
            <p:cNvSpPr>
              <a:spLocks/>
            </p:cNvSpPr>
            <p:nvPr/>
          </p:nvSpPr>
          <p:spPr bwMode="auto">
            <a:xfrm>
              <a:off x="8346779" y="4863416"/>
              <a:ext cx="9425" cy="7856"/>
            </a:xfrm>
            <a:custGeom>
              <a:avLst/>
              <a:gdLst>
                <a:gd name="T0" fmla="*/ 2234466 w 7"/>
                <a:gd name="T1" fmla="*/ 2947589 h 7"/>
                <a:gd name="T2" fmla="*/ 1156064 w 7"/>
                <a:gd name="T3" fmla="*/ 5930334 h 7"/>
                <a:gd name="T4" fmla="*/ 505778 w 7"/>
                <a:gd name="T5" fmla="*/ 10226328 h 7"/>
                <a:gd name="T6" fmla="*/ 1156064 w 7"/>
                <a:gd name="T7" fmla="*/ 10226328 h 7"/>
                <a:gd name="T8" fmla="*/ 2234466 w 7"/>
                <a:gd name="T9" fmla="*/ 5930334 h 7"/>
                <a:gd name="T10" fmla="*/ 2642432 w 7"/>
                <a:gd name="T11" fmla="*/ 4210842 h 7"/>
                <a:gd name="T12" fmla="*/ 3942014 w 7"/>
                <a:gd name="T13" fmla="*/ 1213713 h 7"/>
                <a:gd name="T14" fmla="*/ 3942014 w 7"/>
                <a:gd name="T15" fmla="*/ 1213713 h 7"/>
                <a:gd name="T16" fmla="*/ 2234466 w 7"/>
                <a:gd name="T17" fmla="*/ 2947589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7"/>
                <a:gd name="T29" fmla="*/ 7 w 7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7">
                  <a:moveTo>
                    <a:pt x="4" y="2"/>
                  </a:moveTo>
                  <a:cubicBezTo>
                    <a:pt x="3" y="3"/>
                    <a:pt x="2" y="3"/>
                    <a:pt x="2" y="4"/>
                  </a:cubicBezTo>
                  <a:cubicBezTo>
                    <a:pt x="1" y="5"/>
                    <a:pt x="0" y="6"/>
                    <a:pt x="1" y="7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3" y="6"/>
                    <a:pt x="4" y="5"/>
                    <a:pt x="4" y="4"/>
                  </a:cubicBezTo>
                  <a:cubicBezTo>
                    <a:pt x="5" y="4"/>
                    <a:pt x="5" y="3"/>
                    <a:pt x="5" y="3"/>
                  </a:cubicBezTo>
                  <a:cubicBezTo>
                    <a:pt x="6" y="2"/>
                    <a:pt x="6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0"/>
                    <a:pt x="5" y="1"/>
                    <a:pt x="4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2" name="Freeform 293"/>
            <p:cNvSpPr>
              <a:spLocks/>
            </p:cNvSpPr>
            <p:nvPr/>
          </p:nvSpPr>
          <p:spPr bwMode="auto">
            <a:xfrm>
              <a:off x="8360554" y="4850725"/>
              <a:ext cx="15949" cy="12691"/>
            </a:xfrm>
            <a:custGeom>
              <a:avLst/>
              <a:gdLst>
                <a:gd name="T0" fmla="*/ 5234181 w 12"/>
                <a:gd name="T1" fmla="*/ 1697572 h 12"/>
                <a:gd name="T2" fmla="*/ 2243220 w 12"/>
                <a:gd name="T3" fmla="*/ 3961001 h 12"/>
                <a:gd name="T4" fmla="*/ 0 w 12"/>
                <a:gd name="T5" fmla="*/ 8614988 h 12"/>
                <a:gd name="T6" fmla="*/ 0 w 12"/>
                <a:gd name="T7" fmla="*/ 9242333 h 12"/>
                <a:gd name="T8" fmla="*/ 727531 w 12"/>
                <a:gd name="T9" fmla="*/ 9242333 h 12"/>
                <a:gd name="T10" fmla="*/ 5234181 w 12"/>
                <a:gd name="T11" fmla="*/ 4688532 h 12"/>
                <a:gd name="T12" fmla="*/ 8614988 w 12"/>
                <a:gd name="T13" fmla="*/ 1697572 h 12"/>
                <a:gd name="T14" fmla="*/ 8614988 w 12"/>
                <a:gd name="T15" fmla="*/ 727531 h 12"/>
                <a:gd name="T16" fmla="*/ 7659274 w 12"/>
                <a:gd name="T17" fmla="*/ 727531 h 12"/>
                <a:gd name="T18" fmla="*/ 5234181 w 12"/>
                <a:gd name="T19" fmla="*/ 1697572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12"/>
                <a:gd name="T32" fmla="*/ 12 w 12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12">
                  <a:moveTo>
                    <a:pt x="7" y="2"/>
                  </a:moveTo>
                  <a:cubicBezTo>
                    <a:pt x="5" y="1"/>
                    <a:pt x="3" y="3"/>
                    <a:pt x="3" y="5"/>
                  </a:cubicBezTo>
                  <a:cubicBezTo>
                    <a:pt x="3" y="7"/>
                    <a:pt x="2" y="10"/>
                    <a:pt x="0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1" y="12"/>
                    <a:pt x="1" y="12"/>
                  </a:cubicBezTo>
                  <a:cubicBezTo>
                    <a:pt x="4" y="10"/>
                    <a:pt x="5" y="8"/>
                    <a:pt x="7" y="6"/>
                  </a:cubicBezTo>
                  <a:cubicBezTo>
                    <a:pt x="9" y="4"/>
                    <a:pt x="10" y="4"/>
                    <a:pt x="11" y="2"/>
                  </a:cubicBezTo>
                  <a:cubicBezTo>
                    <a:pt x="12" y="2"/>
                    <a:pt x="12" y="1"/>
                    <a:pt x="11" y="1"/>
                  </a:cubicBezTo>
                  <a:cubicBezTo>
                    <a:pt x="11" y="0"/>
                    <a:pt x="10" y="0"/>
                    <a:pt x="10" y="1"/>
                  </a:cubicBezTo>
                  <a:cubicBezTo>
                    <a:pt x="9" y="1"/>
                    <a:pt x="8" y="2"/>
                    <a:pt x="7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3" name="Freeform 294"/>
            <p:cNvSpPr>
              <a:spLocks/>
            </p:cNvSpPr>
            <p:nvPr/>
          </p:nvSpPr>
          <p:spPr bwMode="auto">
            <a:xfrm>
              <a:off x="8381577" y="4842263"/>
              <a:ext cx="10151" cy="8460"/>
            </a:xfrm>
            <a:custGeom>
              <a:avLst/>
              <a:gdLst>
                <a:gd name="T0" fmla="*/ 5930334 w 7"/>
                <a:gd name="T1" fmla="*/ 2129866 h 8"/>
                <a:gd name="T2" fmla="*/ 0 w 7"/>
                <a:gd name="T3" fmla="*/ 8176458 h 8"/>
                <a:gd name="T4" fmla="*/ 5930334 w 7"/>
                <a:gd name="T5" fmla="*/ 7279645 h 8"/>
                <a:gd name="T6" fmla="*/ 5930334 w 7"/>
                <a:gd name="T7" fmla="*/ 5955246 h 8"/>
                <a:gd name="T8" fmla="*/ 10226328 w 7"/>
                <a:gd name="T9" fmla="*/ 2129866 h 8"/>
                <a:gd name="T10" fmla="*/ 10226328 w 7"/>
                <a:gd name="T11" fmla="*/ 896786 h 8"/>
                <a:gd name="T12" fmla="*/ 5930334 w 7"/>
                <a:gd name="T13" fmla="*/ 2129866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8"/>
                <a:gd name="T23" fmla="*/ 7 w 7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8">
                  <a:moveTo>
                    <a:pt x="4" y="2"/>
                  </a:moveTo>
                  <a:cubicBezTo>
                    <a:pt x="3" y="4"/>
                    <a:pt x="0" y="5"/>
                    <a:pt x="0" y="8"/>
                  </a:cubicBezTo>
                  <a:cubicBezTo>
                    <a:pt x="1" y="8"/>
                    <a:pt x="3" y="7"/>
                    <a:pt x="4" y="7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5" y="5"/>
                    <a:pt x="6" y="3"/>
                    <a:pt x="7" y="2"/>
                  </a:cubicBezTo>
                  <a:cubicBezTo>
                    <a:pt x="7" y="2"/>
                    <a:pt x="7" y="1"/>
                    <a:pt x="7" y="1"/>
                  </a:cubicBezTo>
                  <a:cubicBezTo>
                    <a:pt x="6" y="0"/>
                    <a:pt x="5" y="1"/>
                    <a:pt x="4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4" name="Freeform 295"/>
            <p:cNvSpPr>
              <a:spLocks/>
            </p:cNvSpPr>
            <p:nvPr/>
          </p:nvSpPr>
          <p:spPr bwMode="auto">
            <a:xfrm>
              <a:off x="8274281" y="4745570"/>
              <a:ext cx="50021" cy="102133"/>
            </a:xfrm>
            <a:custGeom>
              <a:avLst/>
              <a:gdLst>
                <a:gd name="T0" fmla="*/ 15991929 w 37"/>
                <a:gd name="T1" fmla="*/ 53533818 h 94"/>
                <a:gd name="T2" fmla="*/ 15991929 w 37"/>
                <a:gd name="T3" fmla="*/ 55099645 h 94"/>
                <a:gd name="T4" fmla="*/ 15991929 w 37"/>
                <a:gd name="T5" fmla="*/ 63769432 h 94"/>
                <a:gd name="T6" fmla="*/ 18938643 w 37"/>
                <a:gd name="T7" fmla="*/ 65490187 h 94"/>
                <a:gd name="T8" fmla="*/ 19795716 w 37"/>
                <a:gd name="T9" fmla="*/ 66688533 h 94"/>
                <a:gd name="T10" fmla="*/ 19795716 w 37"/>
                <a:gd name="T11" fmla="*/ 74252250 h 94"/>
                <a:gd name="T12" fmla="*/ 22055388 w 37"/>
                <a:gd name="T13" fmla="*/ 74890022 h 94"/>
                <a:gd name="T14" fmla="*/ 22055388 w 37"/>
                <a:gd name="T15" fmla="*/ 77717149 h 94"/>
                <a:gd name="T16" fmla="*/ 21127764 w 37"/>
                <a:gd name="T17" fmla="*/ 81260249 h 94"/>
                <a:gd name="T18" fmla="*/ 24313001 w 37"/>
                <a:gd name="T19" fmla="*/ 87316785 h 94"/>
                <a:gd name="T20" fmla="*/ 25164841 w 37"/>
                <a:gd name="T21" fmla="*/ 88043887 h 94"/>
                <a:gd name="T22" fmla="*/ 25164841 w 37"/>
                <a:gd name="T23" fmla="*/ 88043887 h 94"/>
                <a:gd name="T24" fmla="*/ 25954329 w 37"/>
                <a:gd name="T25" fmla="*/ 82501257 h 94"/>
                <a:gd name="T26" fmla="*/ 28211999 w 37"/>
                <a:gd name="T27" fmla="*/ 81260249 h 94"/>
                <a:gd name="T28" fmla="*/ 32660687 w 37"/>
                <a:gd name="T29" fmla="*/ 83278162 h 94"/>
                <a:gd name="T30" fmla="*/ 33517683 w 37"/>
                <a:gd name="T31" fmla="*/ 83278162 h 94"/>
                <a:gd name="T32" fmla="*/ 34438115 w 37"/>
                <a:gd name="T33" fmla="*/ 80422960 h 94"/>
                <a:gd name="T34" fmla="*/ 31321432 w 37"/>
                <a:gd name="T35" fmla="*/ 76931099 h 94"/>
                <a:gd name="T36" fmla="*/ 30401057 w 37"/>
                <a:gd name="T37" fmla="*/ 75730902 h 94"/>
                <a:gd name="T38" fmla="*/ 24313001 w 37"/>
                <a:gd name="T39" fmla="*/ 69340251 h 94"/>
                <a:gd name="T40" fmla="*/ 23005635 w 37"/>
                <a:gd name="T41" fmla="*/ 67353588 h 94"/>
                <a:gd name="T42" fmla="*/ 23005635 w 37"/>
                <a:gd name="T43" fmla="*/ 61157353 h 94"/>
                <a:gd name="T44" fmla="*/ 24313001 w 37"/>
                <a:gd name="T45" fmla="*/ 57954697 h 94"/>
                <a:gd name="T46" fmla="*/ 23005635 w 37"/>
                <a:gd name="T47" fmla="*/ 55099645 h 94"/>
                <a:gd name="T48" fmla="*/ 29450962 w 37"/>
                <a:gd name="T49" fmla="*/ 53533818 h 94"/>
                <a:gd name="T50" fmla="*/ 30401057 w 37"/>
                <a:gd name="T51" fmla="*/ 53533818 h 94"/>
                <a:gd name="T52" fmla="*/ 34438115 w 37"/>
                <a:gd name="T53" fmla="*/ 57090503 h 94"/>
                <a:gd name="T54" fmla="*/ 36527796 w 37"/>
                <a:gd name="T55" fmla="*/ 61157353 h 94"/>
                <a:gd name="T56" fmla="*/ 38724103 w 37"/>
                <a:gd name="T57" fmla="*/ 61157353 h 94"/>
                <a:gd name="T58" fmla="*/ 38724103 w 37"/>
                <a:gd name="T59" fmla="*/ 59947670 h 94"/>
                <a:gd name="T60" fmla="*/ 29450962 w 37"/>
                <a:gd name="T61" fmla="*/ 46850846 h 94"/>
                <a:gd name="T62" fmla="*/ 27261904 w 37"/>
                <a:gd name="T63" fmla="*/ 44864069 h 94"/>
                <a:gd name="T64" fmla="*/ 25954329 w 37"/>
                <a:gd name="T65" fmla="*/ 43179666 h 94"/>
                <a:gd name="T66" fmla="*/ 25164841 w 37"/>
                <a:gd name="T67" fmla="*/ 41943004 h 94"/>
                <a:gd name="T68" fmla="*/ 19795716 w 37"/>
                <a:gd name="T69" fmla="*/ 32907276 h 94"/>
                <a:gd name="T70" fmla="*/ 16681192 w 37"/>
                <a:gd name="T71" fmla="*/ 28875172 h 94"/>
                <a:gd name="T72" fmla="*/ 15991929 w 37"/>
                <a:gd name="T73" fmla="*/ 27001473 h 94"/>
                <a:gd name="T74" fmla="*/ 14479671 w 37"/>
                <a:gd name="T75" fmla="*/ 22667487 h 94"/>
                <a:gd name="T76" fmla="*/ 12782271 w 37"/>
                <a:gd name="T77" fmla="*/ 15147617 h 94"/>
                <a:gd name="T78" fmla="*/ 6088044 w 37"/>
                <a:gd name="T79" fmla="*/ 2830082 h 94"/>
                <a:gd name="T80" fmla="*/ 2259676 w 37"/>
                <a:gd name="T81" fmla="*/ 840908 h 94"/>
                <a:gd name="T82" fmla="*/ 2259676 w 37"/>
                <a:gd name="T83" fmla="*/ 1985974 h 94"/>
                <a:gd name="T84" fmla="*/ 4448692 w 37"/>
                <a:gd name="T85" fmla="*/ 4690279 h 94"/>
                <a:gd name="T86" fmla="*/ 4448692 w 37"/>
                <a:gd name="T87" fmla="*/ 5542566 h 94"/>
                <a:gd name="T88" fmla="*/ 3116679 w 37"/>
                <a:gd name="T89" fmla="*/ 6683811 h 94"/>
                <a:gd name="T90" fmla="*/ 3116679 w 37"/>
                <a:gd name="T91" fmla="*/ 7519858 h 94"/>
                <a:gd name="T92" fmla="*/ 4448692 w 37"/>
                <a:gd name="T93" fmla="*/ 10235609 h 94"/>
                <a:gd name="T94" fmla="*/ 950091 w 37"/>
                <a:gd name="T95" fmla="*/ 10235609 h 94"/>
                <a:gd name="T96" fmla="*/ 950091 w 37"/>
                <a:gd name="T97" fmla="*/ 13933712 h 94"/>
                <a:gd name="T98" fmla="*/ 2259676 w 37"/>
                <a:gd name="T99" fmla="*/ 17759659 h 94"/>
                <a:gd name="T100" fmla="*/ 3116679 w 37"/>
                <a:gd name="T101" fmla="*/ 18640233 h 94"/>
                <a:gd name="T102" fmla="*/ 3116679 w 37"/>
                <a:gd name="T103" fmla="*/ 24173459 h 94"/>
                <a:gd name="T104" fmla="*/ 4448692 w 37"/>
                <a:gd name="T105" fmla="*/ 27001473 h 94"/>
                <a:gd name="T106" fmla="*/ 8323201 w 37"/>
                <a:gd name="T107" fmla="*/ 30073499 h 94"/>
                <a:gd name="T108" fmla="*/ 10580673 w 37"/>
                <a:gd name="T109" fmla="*/ 33787888 h 94"/>
                <a:gd name="T110" fmla="*/ 10580673 w 37"/>
                <a:gd name="T111" fmla="*/ 36400365 h 94"/>
                <a:gd name="T112" fmla="*/ 10580673 w 37"/>
                <a:gd name="T113" fmla="*/ 40463936 h 94"/>
                <a:gd name="T114" fmla="*/ 14479671 w 37"/>
                <a:gd name="T115" fmla="*/ 48714096 h 94"/>
                <a:gd name="T116" fmla="*/ 14479671 w 37"/>
                <a:gd name="T117" fmla="*/ 52420796 h 94"/>
                <a:gd name="T118" fmla="*/ 15991929 w 37"/>
                <a:gd name="T119" fmla="*/ 53533818 h 9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7"/>
                <a:gd name="T181" fmla="*/ 0 h 94"/>
                <a:gd name="T182" fmla="*/ 37 w 37"/>
                <a:gd name="T183" fmla="*/ 94 h 9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7" h="94">
                  <a:moveTo>
                    <a:pt x="15" y="57"/>
                  </a:moveTo>
                  <a:cubicBezTo>
                    <a:pt x="15" y="58"/>
                    <a:pt x="15" y="58"/>
                    <a:pt x="15" y="59"/>
                  </a:cubicBezTo>
                  <a:cubicBezTo>
                    <a:pt x="15" y="62"/>
                    <a:pt x="14" y="65"/>
                    <a:pt x="15" y="68"/>
                  </a:cubicBezTo>
                  <a:cubicBezTo>
                    <a:pt x="16" y="69"/>
                    <a:pt x="17" y="70"/>
                    <a:pt x="18" y="70"/>
                  </a:cubicBezTo>
                  <a:cubicBezTo>
                    <a:pt x="18" y="70"/>
                    <a:pt x="18" y="71"/>
                    <a:pt x="19" y="71"/>
                  </a:cubicBezTo>
                  <a:cubicBezTo>
                    <a:pt x="20" y="73"/>
                    <a:pt x="19" y="76"/>
                    <a:pt x="19" y="79"/>
                  </a:cubicBezTo>
                  <a:cubicBezTo>
                    <a:pt x="19" y="79"/>
                    <a:pt x="20" y="80"/>
                    <a:pt x="21" y="80"/>
                  </a:cubicBezTo>
                  <a:cubicBezTo>
                    <a:pt x="21" y="81"/>
                    <a:pt x="21" y="82"/>
                    <a:pt x="21" y="83"/>
                  </a:cubicBezTo>
                  <a:cubicBezTo>
                    <a:pt x="20" y="84"/>
                    <a:pt x="19" y="86"/>
                    <a:pt x="20" y="87"/>
                  </a:cubicBezTo>
                  <a:cubicBezTo>
                    <a:pt x="21" y="89"/>
                    <a:pt x="22" y="91"/>
                    <a:pt x="23" y="93"/>
                  </a:cubicBezTo>
                  <a:cubicBezTo>
                    <a:pt x="23" y="93"/>
                    <a:pt x="23" y="94"/>
                    <a:pt x="24" y="94"/>
                  </a:cubicBezTo>
                  <a:cubicBezTo>
                    <a:pt x="24" y="94"/>
                    <a:pt x="24" y="94"/>
                    <a:pt x="24" y="94"/>
                  </a:cubicBezTo>
                  <a:cubicBezTo>
                    <a:pt x="25" y="92"/>
                    <a:pt x="24" y="90"/>
                    <a:pt x="25" y="88"/>
                  </a:cubicBezTo>
                  <a:cubicBezTo>
                    <a:pt x="25" y="87"/>
                    <a:pt x="27" y="87"/>
                    <a:pt x="27" y="87"/>
                  </a:cubicBezTo>
                  <a:cubicBezTo>
                    <a:pt x="28" y="88"/>
                    <a:pt x="30" y="88"/>
                    <a:pt x="31" y="89"/>
                  </a:cubicBezTo>
                  <a:cubicBezTo>
                    <a:pt x="32" y="89"/>
                    <a:pt x="32" y="89"/>
                    <a:pt x="32" y="89"/>
                  </a:cubicBezTo>
                  <a:cubicBezTo>
                    <a:pt x="33" y="88"/>
                    <a:pt x="33" y="87"/>
                    <a:pt x="33" y="86"/>
                  </a:cubicBezTo>
                  <a:cubicBezTo>
                    <a:pt x="32" y="84"/>
                    <a:pt x="31" y="83"/>
                    <a:pt x="30" y="82"/>
                  </a:cubicBezTo>
                  <a:cubicBezTo>
                    <a:pt x="30" y="81"/>
                    <a:pt x="29" y="81"/>
                    <a:pt x="29" y="81"/>
                  </a:cubicBezTo>
                  <a:cubicBezTo>
                    <a:pt x="27" y="78"/>
                    <a:pt x="25" y="76"/>
                    <a:pt x="23" y="74"/>
                  </a:cubicBezTo>
                  <a:cubicBezTo>
                    <a:pt x="23" y="74"/>
                    <a:pt x="22" y="73"/>
                    <a:pt x="22" y="72"/>
                  </a:cubicBezTo>
                  <a:cubicBezTo>
                    <a:pt x="22" y="70"/>
                    <a:pt x="22" y="67"/>
                    <a:pt x="22" y="65"/>
                  </a:cubicBezTo>
                  <a:cubicBezTo>
                    <a:pt x="23" y="64"/>
                    <a:pt x="23" y="63"/>
                    <a:pt x="23" y="62"/>
                  </a:cubicBezTo>
                  <a:cubicBezTo>
                    <a:pt x="22" y="61"/>
                    <a:pt x="22" y="60"/>
                    <a:pt x="22" y="59"/>
                  </a:cubicBezTo>
                  <a:cubicBezTo>
                    <a:pt x="23" y="57"/>
                    <a:pt x="26" y="57"/>
                    <a:pt x="28" y="57"/>
                  </a:cubicBezTo>
                  <a:cubicBezTo>
                    <a:pt x="28" y="57"/>
                    <a:pt x="29" y="57"/>
                    <a:pt x="29" y="57"/>
                  </a:cubicBezTo>
                  <a:cubicBezTo>
                    <a:pt x="31" y="58"/>
                    <a:pt x="32" y="59"/>
                    <a:pt x="33" y="61"/>
                  </a:cubicBezTo>
                  <a:cubicBezTo>
                    <a:pt x="33" y="63"/>
                    <a:pt x="34" y="64"/>
                    <a:pt x="35" y="65"/>
                  </a:cubicBezTo>
                  <a:cubicBezTo>
                    <a:pt x="36" y="65"/>
                    <a:pt x="36" y="65"/>
                    <a:pt x="37" y="65"/>
                  </a:cubicBezTo>
                  <a:cubicBezTo>
                    <a:pt x="37" y="65"/>
                    <a:pt x="37" y="64"/>
                    <a:pt x="37" y="64"/>
                  </a:cubicBezTo>
                  <a:cubicBezTo>
                    <a:pt x="33" y="60"/>
                    <a:pt x="29" y="56"/>
                    <a:pt x="28" y="50"/>
                  </a:cubicBezTo>
                  <a:cubicBezTo>
                    <a:pt x="28" y="49"/>
                    <a:pt x="27" y="49"/>
                    <a:pt x="26" y="48"/>
                  </a:cubicBezTo>
                  <a:cubicBezTo>
                    <a:pt x="26" y="47"/>
                    <a:pt x="25" y="47"/>
                    <a:pt x="25" y="46"/>
                  </a:cubicBezTo>
                  <a:cubicBezTo>
                    <a:pt x="25" y="46"/>
                    <a:pt x="24" y="45"/>
                    <a:pt x="24" y="45"/>
                  </a:cubicBezTo>
                  <a:cubicBezTo>
                    <a:pt x="22" y="42"/>
                    <a:pt x="21" y="38"/>
                    <a:pt x="19" y="35"/>
                  </a:cubicBezTo>
                  <a:cubicBezTo>
                    <a:pt x="19" y="33"/>
                    <a:pt x="17" y="33"/>
                    <a:pt x="16" y="31"/>
                  </a:cubicBezTo>
                  <a:cubicBezTo>
                    <a:pt x="16" y="30"/>
                    <a:pt x="15" y="29"/>
                    <a:pt x="15" y="29"/>
                  </a:cubicBezTo>
                  <a:cubicBezTo>
                    <a:pt x="14" y="27"/>
                    <a:pt x="15" y="26"/>
                    <a:pt x="14" y="24"/>
                  </a:cubicBezTo>
                  <a:cubicBezTo>
                    <a:pt x="14" y="22"/>
                    <a:pt x="13" y="19"/>
                    <a:pt x="12" y="16"/>
                  </a:cubicBezTo>
                  <a:cubicBezTo>
                    <a:pt x="10" y="12"/>
                    <a:pt x="8" y="8"/>
                    <a:pt x="6" y="3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3" y="3"/>
                    <a:pt x="4" y="4"/>
                    <a:pt x="4" y="5"/>
                  </a:cubicBezTo>
                  <a:cubicBezTo>
                    <a:pt x="4" y="5"/>
                    <a:pt x="4" y="6"/>
                    <a:pt x="4" y="6"/>
                  </a:cubicBezTo>
                  <a:cubicBezTo>
                    <a:pt x="4" y="7"/>
                    <a:pt x="3" y="7"/>
                    <a:pt x="3" y="7"/>
                  </a:cubicBezTo>
                  <a:cubicBezTo>
                    <a:pt x="2" y="7"/>
                    <a:pt x="2" y="8"/>
                    <a:pt x="3" y="8"/>
                  </a:cubicBezTo>
                  <a:cubicBezTo>
                    <a:pt x="4" y="9"/>
                    <a:pt x="5" y="10"/>
                    <a:pt x="4" y="11"/>
                  </a:cubicBezTo>
                  <a:cubicBezTo>
                    <a:pt x="3" y="11"/>
                    <a:pt x="2" y="11"/>
                    <a:pt x="1" y="11"/>
                  </a:cubicBezTo>
                  <a:cubicBezTo>
                    <a:pt x="0" y="12"/>
                    <a:pt x="0" y="14"/>
                    <a:pt x="1" y="15"/>
                  </a:cubicBezTo>
                  <a:cubicBezTo>
                    <a:pt x="2" y="16"/>
                    <a:pt x="2" y="17"/>
                    <a:pt x="2" y="19"/>
                  </a:cubicBezTo>
                  <a:cubicBezTo>
                    <a:pt x="2" y="19"/>
                    <a:pt x="3" y="20"/>
                    <a:pt x="3" y="20"/>
                  </a:cubicBezTo>
                  <a:cubicBezTo>
                    <a:pt x="3" y="22"/>
                    <a:pt x="3" y="24"/>
                    <a:pt x="3" y="26"/>
                  </a:cubicBezTo>
                  <a:cubicBezTo>
                    <a:pt x="3" y="27"/>
                    <a:pt x="3" y="28"/>
                    <a:pt x="4" y="29"/>
                  </a:cubicBezTo>
                  <a:cubicBezTo>
                    <a:pt x="5" y="30"/>
                    <a:pt x="7" y="31"/>
                    <a:pt x="8" y="32"/>
                  </a:cubicBezTo>
                  <a:cubicBezTo>
                    <a:pt x="9" y="33"/>
                    <a:pt x="10" y="35"/>
                    <a:pt x="10" y="36"/>
                  </a:cubicBezTo>
                  <a:cubicBezTo>
                    <a:pt x="10" y="37"/>
                    <a:pt x="10" y="38"/>
                    <a:pt x="10" y="39"/>
                  </a:cubicBezTo>
                  <a:cubicBezTo>
                    <a:pt x="10" y="40"/>
                    <a:pt x="9" y="42"/>
                    <a:pt x="10" y="43"/>
                  </a:cubicBezTo>
                  <a:cubicBezTo>
                    <a:pt x="11" y="46"/>
                    <a:pt x="13" y="49"/>
                    <a:pt x="14" y="52"/>
                  </a:cubicBezTo>
                  <a:cubicBezTo>
                    <a:pt x="14" y="53"/>
                    <a:pt x="14" y="55"/>
                    <a:pt x="14" y="56"/>
                  </a:cubicBezTo>
                  <a:lnTo>
                    <a:pt x="15" y="57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5" name="Freeform 296"/>
            <p:cNvSpPr>
              <a:spLocks/>
            </p:cNvSpPr>
            <p:nvPr/>
          </p:nvSpPr>
          <p:spPr bwMode="auto">
            <a:xfrm>
              <a:off x="8398977" y="4832593"/>
              <a:ext cx="8699" cy="5438"/>
            </a:xfrm>
            <a:custGeom>
              <a:avLst/>
              <a:gdLst>
                <a:gd name="T0" fmla="*/ 2970751 w 6"/>
                <a:gd name="T1" fmla="*/ 0 h 5"/>
                <a:gd name="T2" fmla="*/ 727531 w 6"/>
                <a:gd name="T3" fmla="*/ 5085394 h 5"/>
                <a:gd name="T4" fmla="*/ 2243220 w 6"/>
                <a:gd name="T5" fmla="*/ 5085394 h 5"/>
                <a:gd name="T6" fmla="*/ 3961001 w 6"/>
                <a:gd name="T7" fmla="*/ 1064436 h 5"/>
                <a:gd name="T8" fmla="*/ 3961001 w 6"/>
                <a:gd name="T9" fmla="*/ 0 h 5"/>
                <a:gd name="T10" fmla="*/ 2970751 w 6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4" y="0"/>
                  </a:moveTo>
                  <a:cubicBezTo>
                    <a:pt x="3" y="2"/>
                    <a:pt x="0" y="3"/>
                    <a:pt x="1" y="4"/>
                  </a:cubicBezTo>
                  <a:cubicBezTo>
                    <a:pt x="2" y="5"/>
                    <a:pt x="3" y="4"/>
                    <a:pt x="3" y="4"/>
                  </a:cubicBezTo>
                  <a:cubicBezTo>
                    <a:pt x="4" y="3"/>
                    <a:pt x="5" y="2"/>
                    <a:pt x="5" y="1"/>
                  </a:cubicBezTo>
                  <a:cubicBezTo>
                    <a:pt x="6" y="1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6" name="Freeform 297"/>
            <p:cNvSpPr>
              <a:spLocks/>
            </p:cNvSpPr>
            <p:nvPr/>
          </p:nvSpPr>
          <p:spPr bwMode="auto">
            <a:xfrm>
              <a:off x="8419275" y="4803585"/>
              <a:ext cx="2899" cy="3626"/>
            </a:xfrm>
            <a:custGeom>
              <a:avLst/>
              <a:gdLst>
                <a:gd name="T0" fmla="*/ 2497529 w 2"/>
                <a:gd name="T1" fmla="*/ 0 h 4"/>
                <a:gd name="T2" fmla="*/ 0 w 2"/>
                <a:gd name="T3" fmla="*/ 0 h 4"/>
                <a:gd name="T4" fmla="*/ 2497529 w 2"/>
                <a:gd name="T5" fmla="*/ 1699274 h 4"/>
                <a:gd name="T6" fmla="*/ 2497529 w 2"/>
                <a:gd name="T7" fmla="*/ 1699274 h 4"/>
                <a:gd name="T8" fmla="*/ 4450654 w 2"/>
                <a:gd name="T9" fmla="*/ 0 h 4"/>
                <a:gd name="T10" fmla="*/ 2497529 w 2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4"/>
                <a:gd name="T20" fmla="*/ 2 w 2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4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1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7" name="Freeform 298"/>
            <p:cNvSpPr>
              <a:spLocks/>
            </p:cNvSpPr>
            <p:nvPr/>
          </p:nvSpPr>
          <p:spPr bwMode="auto">
            <a:xfrm>
              <a:off x="8422176" y="4788478"/>
              <a:ext cx="6526" cy="10879"/>
            </a:xfrm>
            <a:custGeom>
              <a:avLst/>
              <a:gdLst>
                <a:gd name="T0" fmla="*/ 6131150 w 5"/>
                <a:gd name="T1" fmla="*/ 4692541 h 9"/>
                <a:gd name="T2" fmla="*/ 6131150 w 5"/>
                <a:gd name="T3" fmla="*/ 1324701 h 9"/>
                <a:gd name="T4" fmla="*/ 3577445 w 5"/>
                <a:gd name="T5" fmla="*/ 1324701 h 9"/>
                <a:gd name="T6" fmla="*/ 2554647 w 5"/>
                <a:gd name="T7" fmla="*/ 6550065 h 9"/>
                <a:gd name="T8" fmla="*/ 0 w 5"/>
                <a:gd name="T9" fmla="*/ 13330806 h 9"/>
                <a:gd name="T10" fmla="*/ 2554647 w 5"/>
                <a:gd name="T11" fmla="*/ 13330806 h 9"/>
                <a:gd name="T12" fmla="*/ 5085394 w 5"/>
                <a:gd name="T13" fmla="*/ 11470653 h 9"/>
                <a:gd name="T14" fmla="*/ 6131150 w 5"/>
                <a:gd name="T15" fmla="*/ 4692541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9"/>
                <a:gd name="T26" fmla="*/ 5 w 5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9">
                  <a:moveTo>
                    <a:pt x="5" y="3"/>
                  </a:moveTo>
                  <a:cubicBezTo>
                    <a:pt x="5" y="3"/>
                    <a:pt x="5" y="2"/>
                    <a:pt x="5" y="1"/>
                  </a:cubicBezTo>
                  <a:cubicBezTo>
                    <a:pt x="5" y="0"/>
                    <a:pt x="3" y="0"/>
                    <a:pt x="3" y="1"/>
                  </a:cubicBezTo>
                  <a:cubicBezTo>
                    <a:pt x="2" y="1"/>
                    <a:pt x="2" y="3"/>
                    <a:pt x="2" y="4"/>
                  </a:cubicBezTo>
                  <a:cubicBezTo>
                    <a:pt x="1" y="5"/>
                    <a:pt x="0" y="7"/>
                    <a:pt x="0" y="8"/>
                  </a:cubicBezTo>
                  <a:cubicBezTo>
                    <a:pt x="1" y="9"/>
                    <a:pt x="2" y="9"/>
                    <a:pt x="2" y="8"/>
                  </a:cubicBezTo>
                  <a:cubicBezTo>
                    <a:pt x="3" y="8"/>
                    <a:pt x="3" y="7"/>
                    <a:pt x="4" y="7"/>
                  </a:cubicBezTo>
                  <a:cubicBezTo>
                    <a:pt x="5" y="6"/>
                    <a:pt x="5" y="5"/>
                    <a:pt x="5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8" name="Freeform 299"/>
            <p:cNvSpPr>
              <a:spLocks/>
            </p:cNvSpPr>
            <p:nvPr/>
          </p:nvSpPr>
          <p:spPr bwMode="auto">
            <a:xfrm>
              <a:off x="8430150" y="4534656"/>
              <a:ext cx="14500" cy="8460"/>
            </a:xfrm>
            <a:custGeom>
              <a:avLst/>
              <a:gdLst>
                <a:gd name="T0" fmla="*/ 7630664 w 11"/>
                <a:gd name="T1" fmla="*/ 2129866 h 8"/>
                <a:gd name="T2" fmla="*/ 0 w 11"/>
                <a:gd name="T3" fmla="*/ 2129866 h 8"/>
                <a:gd name="T4" fmla="*/ 0 w 11"/>
                <a:gd name="T5" fmla="*/ 3065115 h 8"/>
                <a:gd name="T6" fmla="*/ 5595820 w 11"/>
                <a:gd name="T7" fmla="*/ 7279645 h 8"/>
                <a:gd name="T8" fmla="*/ 9698926 w 11"/>
                <a:gd name="T9" fmla="*/ 7279645 h 8"/>
                <a:gd name="T10" fmla="*/ 9698926 w 11"/>
                <a:gd name="T11" fmla="*/ 4351847 h 8"/>
                <a:gd name="T12" fmla="*/ 7630664 w 11"/>
                <a:gd name="T13" fmla="*/ 3065115 h 8"/>
                <a:gd name="T14" fmla="*/ 7630664 w 11"/>
                <a:gd name="T15" fmla="*/ 2129866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8"/>
                <a:gd name="T26" fmla="*/ 11 w 11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8">
                  <a:moveTo>
                    <a:pt x="8" y="2"/>
                  </a:moveTo>
                  <a:cubicBezTo>
                    <a:pt x="5" y="2"/>
                    <a:pt x="3" y="0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2" y="4"/>
                    <a:pt x="4" y="5"/>
                    <a:pt x="6" y="7"/>
                  </a:cubicBezTo>
                  <a:cubicBezTo>
                    <a:pt x="7" y="7"/>
                    <a:pt x="9" y="8"/>
                    <a:pt x="10" y="7"/>
                  </a:cubicBezTo>
                  <a:cubicBezTo>
                    <a:pt x="11" y="7"/>
                    <a:pt x="10" y="5"/>
                    <a:pt x="10" y="4"/>
                  </a:cubicBezTo>
                  <a:cubicBezTo>
                    <a:pt x="10" y="4"/>
                    <a:pt x="9" y="3"/>
                    <a:pt x="8" y="3"/>
                  </a:cubicBezTo>
                  <a:lnTo>
                    <a:pt x="8" y="2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9" name="Freeform 300"/>
            <p:cNvSpPr>
              <a:spLocks/>
            </p:cNvSpPr>
            <p:nvPr/>
          </p:nvSpPr>
          <p:spPr bwMode="auto">
            <a:xfrm>
              <a:off x="8520769" y="4511690"/>
              <a:ext cx="35524" cy="13901"/>
            </a:xfrm>
            <a:custGeom>
              <a:avLst/>
              <a:gdLst>
                <a:gd name="T0" fmla="*/ 11820412 w 26"/>
                <a:gd name="T1" fmla="*/ 0 h 13"/>
                <a:gd name="T2" fmla="*/ 5811039 w 26"/>
                <a:gd name="T3" fmla="*/ 642025 h 13"/>
                <a:gd name="T4" fmla="*/ 784235 w 26"/>
                <a:gd name="T5" fmla="*/ 4467808 h 13"/>
                <a:gd name="T6" fmla="*/ 0 w 26"/>
                <a:gd name="T7" fmla="*/ 5843110 h 13"/>
                <a:gd name="T8" fmla="*/ 2476837 w 26"/>
                <a:gd name="T9" fmla="*/ 8374537 h 13"/>
                <a:gd name="T10" fmla="*/ 5038211 w 26"/>
                <a:gd name="T11" fmla="*/ 8374537 h 13"/>
                <a:gd name="T12" fmla="*/ 7503662 w 26"/>
                <a:gd name="T13" fmla="*/ 7045625 h 13"/>
                <a:gd name="T14" fmla="*/ 10127813 w 26"/>
                <a:gd name="T15" fmla="*/ 7045625 h 13"/>
                <a:gd name="T16" fmla="*/ 12522682 w 26"/>
                <a:gd name="T17" fmla="*/ 7045625 h 13"/>
                <a:gd name="T18" fmla="*/ 13633585 w 26"/>
                <a:gd name="T19" fmla="*/ 6432919 h 13"/>
                <a:gd name="T20" fmla="*/ 19444641 w 26"/>
                <a:gd name="T21" fmla="*/ 5109822 h 13"/>
                <a:gd name="T22" fmla="*/ 21137273 w 26"/>
                <a:gd name="T23" fmla="*/ 4467808 h 13"/>
                <a:gd name="T24" fmla="*/ 21137273 w 26"/>
                <a:gd name="T25" fmla="*/ 3419068 h 13"/>
                <a:gd name="T26" fmla="*/ 19444641 w 26"/>
                <a:gd name="T27" fmla="*/ 2532014 h 13"/>
                <a:gd name="T28" fmla="*/ 17604740 w 26"/>
                <a:gd name="T29" fmla="*/ 1481596 h 13"/>
                <a:gd name="T30" fmla="*/ 16241531 w 26"/>
                <a:gd name="T31" fmla="*/ 1481596 h 13"/>
                <a:gd name="T32" fmla="*/ 13633585 w 26"/>
                <a:gd name="T33" fmla="*/ 0 h 13"/>
                <a:gd name="T34" fmla="*/ 11820412 w 26"/>
                <a:gd name="T35" fmla="*/ 0 h 1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6"/>
                <a:gd name="T55" fmla="*/ 0 h 13"/>
                <a:gd name="T56" fmla="*/ 26 w 26"/>
                <a:gd name="T57" fmla="*/ 13 h 1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6" h="13">
                  <a:moveTo>
                    <a:pt x="14" y="0"/>
                  </a:moveTo>
                  <a:cubicBezTo>
                    <a:pt x="12" y="0"/>
                    <a:pt x="9" y="1"/>
                    <a:pt x="7" y="1"/>
                  </a:cubicBezTo>
                  <a:cubicBezTo>
                    <a:pt x="5" y="4"/>
                    <a:pt x="2" y="4"/>
                    <a:pt x="1" y="7"/>
                  </a:cubicBezTo>
                  <a:cubicBezTo>
                    <a:pt x="0" y="7"/>
                    <a:pt x="0" y="9"/>
                    <a:pt x="0" y="9"/>
                  </a:cubicBezTo>
                  <a:cubicBezTo>
                    <a:pt x="1" y="11"/>
                    <a:pt x="2" y="12"/>
                    <a:pt x="3" y="13"/>
                  </a:cubicBezTo>
                  <a:cubicBezTo>
                    <a:pt x="4" y="13"/>
                    <a:pt x="6" y="13"/>
                    <a:pt x="6" y="13"/>
                  </a:cubicBezTo>
                  <a:cubicBezTo>
                    <a:pt x="7" y="12"/>
                    <a:pt x="8" y="11"/>
                    <a:pt x="9" y="11"/>
                  </a:cubicBezTo>
                  <a:cubicBezTo>
                    <a:pt x="10" y="10"/>
                    <a:pt x="11" y="11"/>
                    <a:pt x="12" y="11"/>
                  </a:cubicBezTo>
                  <a:cubicBezTo>
                    <a:pt x="13" y="11"/>
                    <a:pt x="14" y="11"/>
                    <a:pt x="15" y="11"/>
                  </a:cubicBezTo>
                  <a:cubicBezTo>
                    <a:pt x="15" y="11"/>
                    <a:pt x="16" y="10"/>
                    <a:pt x="16" y="10"/>
                  </a:cubicBezTo>
                  <a:cubicBezTo>
                    <a:pt x="19" y="9"/>
                    <a:pt x="21" y="10"/>
                    <a:pt x="23" y="8"/>
                  </a:cubicBezTo>
                  <a:cubicBezTo>
                    <a:pt x="24" y="7"/>
                    <a:pt x="25" y="7"/>
                    <a:pt x="25" y="7"/>
                  </a:cubicBezTo>
                  <a:cubicBezTo>
                    <a:pt x="25" y="6"/>
                    <a:pt x="26" y="5"/>
                    <a:pt x="25" y="5"/>
                  </a:cubicBezTo>
                  <a:cubicBezTo>
                    <a:pt x="24" y="5"/>
                    <a:pt x="24" y="4"/>
                    <a:pt x="23" y="4"/>
                  </a:cubicBezTo>
                  <a:cubicBezTo>
                    <a:pt x="22" y="4"/>
                    <a:pt x="22" y="3"/>
                    <a:pt x="21" y="2"/>
                  </a:cubicBezTo>
                  <a:cubicBezTo>
                    <a:pt x="20" y="2"/>
                    <a:pt x="20" y="2"/>
                    <a:pt x="19" y="2"/>
                  </a:cubicBezTo>
                  <a:cubicBezTo>
                    <a:pt x="18" y="1"/>
                    <a:pt x="17" y="0"/>
                    <a:pt x="16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0" name="Freeform 301"/>
            <p:cNvSpPr>
              <a:spLocks/>
            </p:cNvSpPr>
            <p:nvPr/>
          </p:nvSpPr>
          <p:spPr bwMode="auto">
            <a:xfrm>
              <a:off x="8462774" y="4685136"/>
              <a:ext cx="10151" cy="8460"/>
            </a:xfrm>
            <a:custGeom>
              <a:avLst/>
              <a:gdLst>
                <a:gd name="T0" fmla="*/ 4210842 w 7"/>
                <a:gd name="T1" fmla="*/ 0 h 8"/>
                <a:gd name="T2" fmla="*/ 0 w 7"/>
                <a:gd name="T3" fmla="*/ 941139 h 8"/>
                <a:gd name="T4" fmla="*/ 0 w 7"/>
                <a:gd name="T5" fmla="*/ 3394577 h 8"/>
                <a:gd name="T6" fmla="*/ 1213713 w 7"/>
                <a:gd name="T7" fmla="*/ 3394577 h 8"/>
                <a:gd name="T8" fmla="*/ 5930334 w 7"/>
                <a:gd name="T9" fmla="*/ 1699274 h 8"/>
                <a:gd name="T10" fmla="*/ 8872004 w 7"/>
                <a:gd name="T11" fmla="*/ 941139 h 8"/>
                <a:gd name="T12" fmla="*/ 8872004 w 7"/>
                <a:gd name="T13" fmla="*/ 0 h 8"/>
                <a:gd name="T14" fmla="*/ 7158428 w 7"/>
                <a:gd name="T15" fmla="*/ 0 h 8"/>
                <a:gd name="T16" fmla="*/ 4210842 w 7"/>
                <a:gd name="T17" fmla="*/ 0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8"/>
                <a:gd name="T29" fmla="*/ 7 w 7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8">
                  <a:moveTo>
                    <a:pt x="3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2" y="7"/>
                    <a:pt x="2" y="5"/>
                    <a:pt x="4" y="4"/>
                  </a:cubicBezTo>
                  <a:cubicBezTo>
                    <a:pt x="5" y="3"/>
                    <a:pt x="6" y="3"/>
                    <a:pt x="6" y="2"/>
                  </a:cubicBezTo>
                  <a:cubicBezTo>
                    <a:pt x="6" y="2"/>
                    <a:pt x="7" y="1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1" name="Freeform 302"/>
            <p:cNvSpPr>
              <a:spLocks/>
            </p:cNvSpPr>
            <p:nvPr/>
          </p:nvSpPr>
          <p:spPr bwMode="auto">
            <a:xfrm>
              <a:off x="8221361" y="4736504"/>
              <a:ext cx="9425" cy="4834"/>
            </a:xfrm>
            <a:custGeom>
              <a:avLst/>
              <a:gdLst>
                <a:gd name="T0" fmla="*/ 8872004 w 7"/>
                <a:gd name="T1" fmla="*/ 0 h 5"/>
                <a:gd name="T2" fmla="*/ 5930334 w 7"/>
                <a:gd name="T3" fmla="*/ 0 h 5"/>
                <a:gd name="T4" fmla="*/ 1213713 w 7"/>
                <a:gd name="T5" fmla="*/ 0 h 5"/>
                <a:gd name="T6" fmla="*/ 1213713 w 7"/>
                <a:gd name="T7" fmla="*/ 1245675 h 5"/>
                <a:gd name="T8" fmla="*/ 1213713 w 7"/>
                <a:gd name="T9" fmla="*/ 1245675 h 5"/>
                <a:gd name="T10" fmla="*/ 8872004 w 7"/>
                <a:gd name="T11" fmla="*/ 1245675 h 5"/>
                <a:gd name="T12" fmla="*/ 10226328 w 7"/>
                <a:gd name="T13" fmla="*/ 257371 h 5"/>
                <a:gd name="T14" fmla="*/ 8872004 w 7"/>
                <a:gd name="T15" fmla="*/ 257371 h 5"/>
                <a:gd name="T16" fmla="*/ 8872004 w 7"/>
                <a:gd name="T17" fmla="*/ 0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5"/>
                <a:gd name="T29" fmla="*/ 7 w 7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5">
                  <a:moveTo>
                    <a:pt x="6" y="0"/>
                  </a:moveTo>
                  <a:cubicBezTo>
                    <a:pt x="5" y="0"/>
                    <a:pt x="5" y="0"/>
                    <a:pt x="4" y="0"/>
                  </a:cubicBezTo>
                  <a:cubicBezTo>
                    <a:pt x="3" y="0"/>
                    <a:pt x="1" y="0"/>
                    <a:pt x="1" y="0"/>
                  </a:cubicBezTo>
                  <a:cubicBezTo>
                    <a:pt x="0" y="1"/>
                    <a:pt x="0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3" y="4"/>
                    <a:pt x="4" y="5"/>
                    <a:pt x="6" y="4"/>
                  </a:cubicBezTo>
                  <a:cubicBezTo>
                    <a:pt x="7" y="4"/>
                    <a:pt x="7" y="2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lnTo>
                    <a:pt x="6" y="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2" name="Freeform 303"/>
            <p:cNvSpPr>
              <a:spLocks/>
            </p:cNvSpPr>
            <p:nvPr/>
          </p:nvSpPr>
          <p:spPr bwMode="auto">
            <a:xfrm>
              <a:off x="8019095" y="5282827"/>
              <a:ext cx="7248" cy="4232"/>
            </a:xfrm>
            <a:custGeom>
              <a:avLst/>
              <a:gdLst>
                <a:gd name="T0" fmla="*/ 6131150 w 5"/>
                <a:gd name="T1" fmla="*/ 4450654 h 4"/>
                <a:gd name="T2" fmla="*/ 2554647 w 5"/>
                <a:gd name="T3" fmla="*/ 2497529 h 4"/>
                <a:gd name="T4" fmla="*/ 1064436 w 5"/>
                <a:gd name="T5" fmla="*/ 6243820 h 4"/>
                <a:gd name="T6" fmla="*/ 6131150 w 5"/>
                <a:gd name="T7" fmla="*/ 9219213 h 4"/>
                <a:gd name="T8" fmla="*/ 6131150 w 5"/>
                <a:gd name="T9" fmla="*/ 6243820 h 4"/>
                <a:gd name="T10" fmla="*/ 6131150 w 5"/>
                <a:gd name="T11" fmla="*/ 4450654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5" y="2"/>
                  </a:moveTo>
                  <a:cubicBezTo>
                    <a:pt x="3" y="2"/>
                    <a:pt x="3" y="0"/>
                    <a:pt x="2" y="1"/>
                  </a:cubicBezTo>
                  <a:cubicBezTo>
                    <a:pt x="1" y="1"/>
                    <a:pt x="0" y="3"/>
                    <a:pt x="1" y="3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5" y="4"/>
                    <a:pt x="5" y="3"/>
                    <a:pt x="5" y="3"/>
                  </a:cubicBezTo>
                  <a:cubicBezTo>
                    <a:pt x="5" y="3"/>
                    <a:pt x="5" y="2"/>
                    <a:pt x="5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3" name="Freeform 304"/>
            <p:cNvSpPr>
              <a:spLocks/>
            </p:cNvSpPr>
            <p:nvPr/>
          </p:nvSpPr>
          <p:spPr bwMode="auto">
            <a:xfrm>
              <a:off x="8265583" y="5326942"/>
              <a:ext cx="105119" cy="87026"/>
            </a:xfrm>
            <a:custGeom>
              <a:avLst/>
              <a:gdLst>
                <a:gd name="T0" fmla="*/ 69701494 w 78"/>
                <a:gd name="T1" fmla="*/ 75425430 h 80"/>
                <a:gd name="T2" fmla="*/ 63607416 w 78"/>
                <a:gd name="T3" fmla="*/ 67836251 h 80"/>
                <a:gd name="T4" fmla="*/ 55346329 w 78"/>
                <a:gd name="T5" fmla="*/ 66990136 h 80"/>
                <a:gd name="T6" fmla="*/ 48752979 w 78"/>
                <a:gd name="T7" fmla="*/ 64146708 h 80"/>
                <a:gd name="T8" fmla="*/ 49585074 w 78"/>
                <a:gd name="T9" fmla="*/ 60219441 h 80"/>
                <a:gd name="T10" fmla="*/ 53382531 w 78"/>
                <a:gd name="T11" fmla="*/ 53846665 h 80"/>
                <a:gd name="T12" fmla="*/ 49585074 w 78"/>
                <a:gd name="T13" fmla="*/ 44198295 h 80"/>
                <a:gd name="T14" fmla="*/ 44119239 w 78"/>
                <a:gd name="T15" fmla="*/ 39476103 h 80"/>
                <a:gd name="T16" fmla="*/ 37828621 w 78"/>
                <a:gd name="T17" fmla="*/ 37785366 h 80"/>
                <a:gd name="T18" fmla="*/ 33196125 w 78"/>
                <a:gd name="T19" fmla="*/ 35922205 h 80"/>
                <a:gd name="T20" fmla="*/ 21019765 w 78"/>
                <a:gd name="T21" fmla="*/ 28993222 h 80"/>
                <a:gd name="T22" fmla="*/ 18351884 w 78"/>
                <a:gd name="T23" fmla="*/ 22792248 h 80"/>
                <a:gd name="T24" fmla="*/ 16386029 w 78"/>
                <a:gd name="T25" fmla="*/ 26361304 h 80"/>
                <a:gd name="T26" fmla="*/ 15560445 w 78"/>
                <a:gd name="T27" fmla="*/ 30352925 h 80"/>
                <a:gd name="T28" fmla="*/ 12059200 w 78"/>
                <a:gd name="T29" fmla="*/ 31084412 h 80"/>
                <a:gd name="T30" fmla="*/ 10927930 w 78"/>
                <a:gd name="T31" fmla="*/ 25489712 h 80"/>
                <a:gd name="T32" fmla="*/ 6596277 w 78"/>
                <a:gd name="T33" fmla="*/ 21547154 h 80"/>
                <a:gd name="T34" fmla="*/ 12059200 w 78"/>
                <a:gd name="T35" fmla="*/ 20767473 h 80"/>
                <a:gd name="T36" fmla="*/ 13719388 w 78"/>
                <a:gd name="T37" fmla="*/ 18708285 h 80"/>
                <a:gd name="T38" fmla="*/ 18351884 w 78"/>
                <a:gd name="T39" fmla="*/ 19921263 h 80"/>
                <a:gd name="T40" fmla="*/ 19471774 w 78"/>
                <a:gd name="T41" fmla="*/ 17864883 h 80"/>
                <a:gd name="T42" fmla="*/ 12891861 w 78"/>
                <a:gd name="T43" fmla="*/ 15205172 h 80"/>
                <a:gd name="T44" fmla="*/ 6596277 w 78"/>
                <a:gd name="T45" fmla="*/ 11158230 h 80"/>
                <a:gd name="T46" fmla="*/ 0 w 78"/>
                <a:gd name="T47" fmla="*/ 10276394 h 80"/>
                <a:gd name="T48" fmla="*/ 832470 w 78"/>
                <a:gd name="T49" fmla="*/ 7561856 h 80"/>
                <a:gd name="T50" fmla="*/ 1963775 w 78"/>
                <a:gd name="T51" fmla="*/ 3569220 h 80"/>
                <a:gd name="T52" fmla="*/ 9376294 w 78"/>
                <a:gd name="T53" fmla="*/ 846214 h 80"/>
                <a:gd name="T54" fmla="*/ 21019765 w 78"/>
                <a:gd name="T55" fmla="*/ 3569220 h 80"/>
                <a:gd name="T56" fmla="*/ 22982846 w 78"/>
                <a:gd name="T57" fmla="*/ 8432281 h 80"/>
                <a:gd name="T58" fmla="*/ 22118424 w 78"/>
                <a:gd name="T59" fmla="*/ 14001592 h 80"/>
                <a:gd name="T60" fmla="*/ 25778701 w 78"/>
                <a:gd name="T61" fmla="*/ 18708285 h 80"/>
                <a:gd name="T62" fmla="*/ 26398262 w 78"/>
                <a:gd name="T63" fmla="*/ 26361304 h 80"/>
                <a:gd name="T64" fmla="*/ 31243763 w 78"/>
                <a:gd name="T65" fmla="*/ 26361304 h 80"/>
                <a:gd name="T66" fmla="*/ 36706674 w 78"/>
                <a:gd name="T67" fmla="*/ 19921263 h 80"/>
                <a:gd name="T68" fmla="*/ 42459465 w 78"/>
                <a:gd name="T69" fmla="*/ 15993812 h 80"/>
                <a:gd name="T70" fmla="*/ 45933383 w 78"/>
                <a:gd name="T71" fmla="*/ 10276394 h 80"/>
                <a:gd name="T72" fmla="*/ 53382531 w 78"/>
                <a:gd name="T73" fmla="*/ 12272271 h 80"/>
                <a:gd name="T74" fmla="*/ 59689445 w 78"/>
                <a:gd name="T75" fmla="*/ 15205172 h 80"/>
                <a:gd name="T76" fmla="*/ 67106510 w 78"/>
                <a:gd name="T77" fmla="*/ 17864883 h 80"/>
                <a:gd name="T78" fmla="*/ 71740062 w 78"/>
                <a:gd name="T79" fmla="*/ 19921263 h 80"/>
                <a:gd name="T80" fmla="*/ 69701494 w 78"/>
                <a:gd name="T81" fmla="*/ 72554823 h 8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8"/>
                <a:gd name="T124" fmla="*/ 0 h 80"/>
                <a:gd name="T125" fmla="*/ 78 w 78"/>
                <a:gd name="T126" fmla="*/ 80 h 8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8" h="80">
                  <a:moveTo>
                    <a:pt x="77" y="80"/>
                  </a:moveTo>
                  <a:cubicBezTo>
                    <a:pt x="76" y="80"/>
                    <a:pt x="76" y="80"/>
                    <a:pt x="76" y="80"/>
                  </a:cubicBezTo>
                  <a:cubicBezTo>
                    <a:pt x="75" y="80"/>
                    <a:pt x="74" y="79"/>
                    <a:pt x="74" y="78"/>
                  </a:cubicBezTo>
                  <a:cubicBezTo>
                    <a:pt x="72" y="76"/>
                    <a:pt x="71" y="74"/>
                    <a:pt x="69" y="72"/>
                  </a:cubicBezTo>
                  <a:cubicBezTo>
                    <a:pt x="68" y="71"/>
                    <a:pt x="67" y="71"/>
                    <a:pt x="66" y="71"/>
                  </a:cubicBezTo>
                  <a:cubicBezTo>
                    <a:pt x="64" y="70"/>
                    <a:pt x="62" y="70"/>
                    <a:pt x="60" y="71"/>
                  </a:cubicBezTo>
                  <a:cubicBezTo>
                    <a:pt x="57" y="73"/>
                    <a:pt x="54" y="73"/>
                    <a:pt x="51" y="73"/>
                  </a:cubicBezTo>
                  <a:cubicBezTo>
                    <a:pt x="50" y="71"/>
                    <a:pt x="53" y="70"/>
                    <a:pt x="53" y="68"/>
                  </a:cubicBezTo>
                  <a:cubicBezTo>
                    <a:pt x="52" y="67"/>
                    <a:pt x="53" y="66"/>
                    <a:pt x="54" y="66"/>
                  </a:cubicBezTo>
                  <a:cubicBezTo>
                    <a:pt x="54" y="65"/>
                    <a:pt x="54" y="64"/>
                    <a:pt x="54" y="64"/>
                  </a:cubicBezTo>
                  <a:cubicBezTo>
                    <a:pt x="55" y="63"/>
                    <a:pt x="57" y="64"/>
                    <a:pt x="59" y="63"/>
                  </a:cubicBezTo>
                  <a:cubicBezTo>
                    <a:pt x="59" y="61"/>
                    <a:pt x="58" y="59"/>
                    <a:pt x="58" y="57"/>
                  </a:cubicBezTo>
                  <a:cubicBezTo>
                    <a:pt x="57" y="55"/>
                    <a:pt x="57" y="53"/>
                    <a:pt x="56" y="51"/>
                  </a:cubicBezTo>
                  <a:cubicBezTo>
                    <a:pt x="55" y="50"/>
                    <a:pt x="55" y="49"/>
                    <a:pt x="54" y="47"/>
                  </a:cubicBezTo>
                  <a:cubicBezTo>
                    <a:pt x="53" y="46"/>
                    <a:pt x="52" y="45"/>
                    <a:pt x="50" y="44"/>
                  </a:cubicBezTo>
                  <a:cubicBezTo>
                    <a:pt x="50" y="43"/>
                    <a:pt x="49" y="43"/>
                    <a:pt x="48" y="42"/>
                  </a:cubicBezTo>
                  <a:cubicBezTo>
                    <a:pt x="48" y="42"/>
                    <a:pt x="47" y="41"/>
                    <a:pt x="47" y="41"/>
                  </a:cubicBezTo>
                  <a:cubicBezTo>
                    <a:pt x="45" y="40"/>
                    <a:pt x="43" y="41"/>
                    <a:pt x="41" y="40"/>
                  </a:cubicBezTo>
                  <a:cubicBezTo>
                    <a:pt x="40" y="40"/>
                    <a:pt x="40" y="39"/>
                    <a:pt x="39" y="39"/>
                  </a:cubicBezTo>
                  <a:cubicBezTo>
                    <a:pt x="38" y="38"/>
                    <a:pt x="37" y="38"/>
                    <a:pt x="36" y="38"/>
                  </a:cubicBezTo>
                  <a:cubicBezTo>
                    <a:pt x="34" y="37"/>
                    <a:pt x="32" y="37"/>
                    <a:pt x="30" y="36"/>
                  </a:cubicBezTo>
                  <a:cubicBezTo>
                    <a:pt x="28" y="35"/>
                    <a:pt x="25" y="32"/>
                    <a:pt x="23" y="31"/>
                  </a:cubicBezTo>
                  <a:cubicBezTo>
                    <a:pt x="22" y="31"/>
                    <a:pt x="21" y="30"/>
                    <a:pt x="20" y="29"/>
                  </a:cubicBezTo>
                  <a:cubicBezTo>
                    <a:pt x="20" y="28"/>
                    <a:pt x="21" y="26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19" y="26"/>
                    <a:pt x="19" y="27"/>
                    <a:pt x="18" y="28"/>
                  </a:cubicBezTo>
                  <a:cubicBezTo>
                    <a:pt x="17" y="29"/>
                    <a:pt x="18" y="30"/>
                    <a:pt x="17" y="30"/>
                  </a:cubicBezTo>
                  <a:cubicBezTo>
                    <a:pt x="17" y="31"/>
                    <a:pt x="17" y="31"/>
                    <a:pt x="17" y="32"/>
                  </a:cubicBezTo>
                  <a:cubicBezTo>
                    <a:pt x="16" y="32"/>
                    <a:pt x="17" y="34"/>
                    <a:pt x="16" y="34"/>
                  </a:cubicBezTo>
                  <a:cubicBezTo>
                    <a:pt x="15" y="34"/>
                    <a:pt x="13" y="34"/>
                    <a:pt x="13" y="33"/>
                  </a:cubicBezTo>
                  <a:cubicBezTo>
                    <a:pt x="12" y="31"/>
                    <a:pt x="13" y="30"/>
                    <a:pt x="13" y="28"/>
                  </a:cubicBezTo>
                  <a:cubicBezTo>
                    <a:pt x="12" y="28"/>
                    <a:pt x="12" y="27"/>
                    <a:pt x="12" y="27"/>
                  </a:cubicBezTo>
                  <a:cubicBezTo>
                    <a:pt x="11" y="26"/>
                    <a:pt x="12" y="25"/>
                    <a:pt x="11" y="24"/>
                  </a:cubicBezTo>
                  <a:cubicBezTo>
                    <a:pt x="11" y="23"/>
                    <a:pt x="9" y="24"/>
                    <a:pt x="7" y="23"/>
                  </a:cubicBezTo>
                  <a:cubicBezTo>
                    <a:pt x="7" y="23"/>
                    <a:pt x="7" y="23"/>
                    <a:pt x="7" y="22"/>
                  </a:cubicBezTo>
                  <a:cubicBezTo>
                    <a:pt x="9" y="21"/>
                    <a:pt x="11" y="22"/>
                    <a:pt x="13" y="22"/>
                  </a:cubicBezTo>
                  <a:cubicBezTo>
                    <a:pt x="13" y="22"/>
                    <a:pt x="14" y="21"/>
                    <a:pt x="14" y="21"/>
                  </a:cubicBezTo>
                  <a:cubicBezTo>
                    <a:pt x="14" y="21"/>
                    <a:pt x="15" y="20"/>
                    <a:pt x="15" y="20"/>
                  </a:cubicBezTo>
                  <a:cubicBezTo>
                    <a:pt x="16" y="19"/>
                    <a:pt x="17" y="20"/>
                    <a:pt x="17" y="20"/>
                  </a:cubicBezTo>
                  <a:cubicBezTo>
                    <a:pt x="18" y="20"/>
                    <a:pt x="19" y="21"/>
                    <a:pt x="20" y="21"/>
                  </a:cubicBezTo>
                  <a:cubicBezTo>
                    <a:pt x="20" y="21"/>
                    <a:pt x="20" y="20"/>
                    <a:pt x="20" y="20"/>
                  </a:cubicBezTo>
                  <a:cubicBezTo>
                    <a:pt x="20" y="19"/>
                    <a:pt x="21" y="19"/>
                    <a:pt x="21" y="19"/>
                  </a:cubicBezTo>
                  <a:cubicBezTo>
                    <a:pt x="21" y="18"/>
                    <a:pt x="21" y="17"/>
                    <a:pt x="21" y="17"/>
                  </a:cubicBezTo>
                  <a:cubicBezTo>
                    <a:pt x="19" y="16"/>
                    <a:pt x="16" y="17"/>
                    <a:pt x="14" y="16"/>
                  </a:cubicBezTo>
                  <a:cubicBezTo>
                    <a:pt x="12" y="16"/>
                    <a:pt x="10" y="17"/>
                    <a:pt x="8" y="16"/>
                  </a:cubicBezTo>
                  <a:cubicBezTo>
                    <a:pt x="6" y="16"/>
                    <a:pt x="7" y="14"/>
                    <a:pt x="7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4" y="12"/>
                    <a:pt x="2" y="12"/>
                    <a:pt x="0" y="11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0" y="9"/>
                    <a:pt x="1" y="9"/>
                    <a:pt x="1" y="8"/>
                  </a:cubicBezTo>
                  <a:cubicBezTo>
                    <a:pt x="1" y="7"/>
                    <a:pt x="1" y="6"/>
                    <a:pt x="1" y="5"/>
                  </a:cubicBezTo>
                  <a:cubicBezTo>
                    <a:pt x="1" y="5"/>
                    <a:pt x="2" y="4"/>
                    <a:pt x="2" y="4"/>
                  </a:cubicBezTo>
                  <a:cubicBezTo>
                    <a:pt x="3" y="4"/>
                    <a:pt x="5" y="5"/>
                    <a:pt x="6" y="4"/>
                  </a:cubicBezTo>
                  <a:cubicBezTo>
                    <a:pt x="8" y="3"/>
                    <a:pt x="9" y="1"/>
                    <a:pt x="10" y="1"/>
                  </a:cubicBezTo>
                  <a:cubicBezTo>
                    <a:pt x="13" y="0"/>
                    <a:pt x="16" y="2"/>
                    <a:pt x="18" y="4"/>
                  </a:cubicBezTo>
                  <a:cubicBezTo>
                    <a:pt x="20" y="4"/>
                    <a:pt x="22" y="3"/>
                    <a:pt x="23" y="4"/>
                  </a:cubicBezTo>
                  <a:cubicBezTo>
                    <a:pt x="24" y="4"/>
                    <a:pt x="24" y="5"/>
                    <a:pt x="24" y="6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6" y="10"/>
                    <a:pt x="25" y="11"/>
                    <a:pt x="24" y="12"/>
                  </a:cubicBezTo>
                  <a:cubicBezTo>
                    <a:pt x="24" y="13"/>
                    <a:pt x="24" y="14"/>
                    <a:pt x="24" y="15"/>
                  </a:cubicBezTo>
                  <a:cubicBezTo>
                    <a:pt x="25" y="16"/>
                    <a:pt x="25" y="18"/>
                    <a:pt x="26" y="20"/>
                  </a:cubicBezTo>
                  <a:cubicBezTo>
                    <a:pt x="26" y="20"/>
                    <a:pt x="27" y="20"/>
                    <a:pt x="28" y="20"/>
                  </a:cubicBezTo>
                  <a:cubicBezTo>
                    <a:pt x="28" y="20"/>
                    <a:pt x="29" y="21"/>
                    <a:pt x="29" y="21"/>
                  </a:cubicBezTo>
                  <a:cubicBezTo>
                    <a:pt x="29" y="23"/>
                    <a:pt x="28" y="25"/>
                    <a:pt x="29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1" y="28"/>
                    <a:pt x="33" y="28"/>
                    <a:pt x="34" y="28"/>
                  </a:cubicBezTo>
                  <a:cubicBezTo>
                    <a:pt x="35" y="28"/>
                    <a:pt x="35" y="27"/>
                    <a:pt x="35" y="27"/>
                  </a:cubicBezTo>
                  <a:cubicBezTo>
                    <a:pt x="35" y="23"/>
                    <a:pt x="39" y="23"/>
                    <a:pt x="40" y="21"/>
                  </a:cubicBezTo>
                  <a:cubicBezTo>
                    <a:pt x="41" y="20"/>
                    <a:pt x="40" y="18"/>
                    <a:pt x="41" y="17"/>
                  </a:cubicBezTo>
                  <a:cubicBezTo>
                    <a:pt x="43" y="16"/>
                    <a:pt x="45" y="18"/>
                    <a:pt x="46" y="17"/>
                  </a:cubicBezTo>
                  <a:cubicBezTo>
                    <a:pt x="48" y="16"/>
                    <a:pt x="48" y="14"/>
                    <a:pt x="48" y="13"/>
                  </a:cubicBezTo>
                  <a:cubicBezTo>
                    <a:pt x="48" y="11"/>
                    <a:pt x="49" y="11"/>
                    <a:pt x="50" y="11"/>
                  </a:cubicBezTo>
                  <a:cubicBezTo>
                    <a:pt x="52" y="10"/>
                    <a:pt x="55" y="11"/>
                    <a:pt x="57" y="12"/>
                  </a:cubicBezTo>
                  <a:cubicBezTo>
                    <a:pt x="57" y="13"/>
                    <a:pt x="58" y="13"/>
                    <a:pt x="58" y="13"/>
                  </a:cubicBezTo>
                  <a:cubicBezTo>
                    <a:pt x="60" y="14"/>
                    <a:pt x="61" y="16"/>
                    <a:pt x="64" y="16"/>
                  </a:cubicBezTo>
                  <a:cubicBezTo>
                    <a:pt x="65" y="16"/>
                    <a:pt x="65" y="16"/>
                    <a:pt x="65" y="16"/>
                  </a:cubicBezTo>
                  <a:cubicBezTo>
                    <a:pt x="67" y="17"/>
                    <a:pt x="68" y="18"/>
                    <a:pt x="70" y="18"/>
                  </a:cubicBezTo>
                  <a:cubicBezTo>
                    <a:pt x="71" y="19"/>
                    <a:pt x="72" y="19"/>
                    <a:pt x="73" y="19"/>
                  </a:cubicBezTo>
                  <a:cubicBezTo>
                    <a:pt x="74" y="19"/>
                    <a:pt x="75" y="20"/>
                    <a:pt x="76" y="20"/>
                  </a:cubicBezTo>
                  <a:cubicBezTo>
                    <a:pt x="77" y="21"/>
                    <a:pt x="78" y="21"/>
                    <a:pt x="78" y="21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6" y="77"/>
                    <a:pt x="76" y="77"/>
                    <a:pt x="76" y="77"/>
                  </a:cubicBezTo>
                  <a:lnTo>
                    <a:pt x="77" y="8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4" name="Freeform 305"/>
            <p:cNvSpPr>
              <a:spLocks/>
            </p:cNvSpPr>
            <p:nvPr/>
          </p:nvSpPr>
          <p:spPr bwMode="auto">
            <a:xfrm>
              <a:off x="7982123" y="5311835"/>
              <a:ext cx="3624" cy="3022"/>
            </a:xfrm>
            <a:custGeom>
              <a:avLst/>
              <a:gdLst>
                <a:gd name="T0" fmla="*/ 2243220 w 3"/>
                <a:gd name="T1" fmla="*/ 727531 h 3"/>
                <a:gd name="T2" fmla="*/ 0 w 3"/>
                <a:gd name="T3" fmla="*/ 727531 h 3"/>
                <a:gd name="T4" fmla="*/ 0 w 3"/>
                <a:gd name="T5" fmla="*/ 2243220 h 3"/>
                <a:gd name="T6" fmla="*/ 1697572 w 3"/>
                <a:gd name="T7" fmla="*/ 2243220 h 3"/>
                <a:gd name="T8" fmla="*/ 2243220 w 3"/>
                <a:gd name="T9" fmla="*/ 72753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1"/>
                  </a:moveTo>
                  <a:cubicBezTo>
                    <a:pt x="2" y="0"/>
                    <a:pt x="1" y="0"/>
                    <a:pt x="0" y="1"/>
                  </a:cubicBezTo>
                  <a:cubicBezTo>
                    <a:pt x="0" y="1"/>
                    <a:pt x="0" y="3"/>
                    <a:pt x="0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3" y="3"/>
                    <a:pt x="3" y="2"/>
                    <a:pt x="3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5" name="Freeform 306"/>
            <p:cNvSpPr>
              <a:spLocks/>
            </p:cNvSpPr>
            <p:nvPr/>
          </p:nvSpPr>
          <p:spPr bwMode="auto">
            <a:xfrm>
              <a:off x="7881354" y="5268926"/>
              <a:ext cx="116720" cy="111802"/>
            </a:xfrm>
            <a:custGeom>
              <a:avLst/>
              <a:gdLst>
                <a:gd name="T0" fmla="*/ 55165151 w 87"/>
                <a:gd name="T1" fmla="*/ 82851550 h 104"/>
                <a:gd name="T2" fmla="*/ 53351010 w 87"/>
                <a:gd name="T3" fmla="*/ 79146247 h 104"/>
                <a:gd name="T4" fmla="*/ 46052975 w 87"/>
                <a:gd name="T5" fmla="*/ 72945393 h 104"/>
                <a:gd name="T6" fmla="*/ 40672532 w 87"/>
                <a:gd name="T7" fmla="*/ 63716359 h 104"/>
                <a:gd name="T8" fmla="*/ 38728992 w 87"/>
                <a:gd name="T9" fmla="*/ 57726148 h 104"/>
                <a:gd name="T10" fmla="*/ 34514287 w 87"/>
                <a:gd name="T11" fmla="*/ 48440462 h 104"/>
                <a:gd name="T12" fmla="*/ 32523177 w 87"/>
                <a:gd name="T13" fmla="*/ 45076463 h 104"/>
                <a:gd name="T14" fmla="*/ 27948314 w 87"/>
                <a:gd name="T15" fmla="*/ 38617426 h 104"/>
                <a:gd name="T16" fmla="*/ 27188881 w 87"/>
                <a:gd name="T17" fmla="*/ 32428388 h 104"/>
                <a:gd name="T18" fmla="*/ 20003535 w 87"/>
                <a:gd name="T19" fmla="*/ 27046946 h 104"/>
                <a:gd name="T20" fmla="*/ 18078171 w 87"/>
                <a:gd name="T21" fmla="*/ 23340154 h 104"/>
                <a:gd name="T22" fmla="*/ 9259218 w 87"/>
                <a:gd name="T23" fmla="*/ 14580459 h 104"/>
                <a:gd name="T24" fmla="*/ 1941517 w 87"/>
                <a:gd name="T25" fmla="*/ 6189257 h 104"/>
                <a:gd name="T26" fmla="*/ 1941517 w 87"/>
                <a:gd name="T27" fmla="*/ 0 h 104"/>
                <a:gd name="T28" fmla="*/ 7325413 w 87"/>
                <a:gd name="T29" fmla="*/ 3358986 h 104"/>
                <a:gd name="T30" fmla="*/ 13328176 w 87"/>
                <a:gd name="T31" fmla="*/ 4527393 h 104"/>
                <a:gd name="T32" fmla="*/ 17261027 w 87"/>
                <a:gd name="T33" fmla="*/ 3358986 h 104"/>
                <a:gd name="T34" fmla="*/ 22641653 w 87"/>
                <a:gd name="T35" fmla="*/ 10665492 h 104"/>
                <a:gd name="T36" fmla="*/ 24578662 w 87"/>
                <a:gd name="T37" fmla="*/ 13291166 h 104"/>
                <a:gd name="T38" fmla="*/ 34514287 w 87"/>
                <a:gd name="T39" fmla="*/ 22492944 h 104"/>
                <a:gd name="T40" fmla="*/ 38728992 w 87"/>
                <a:gd name="T41" fmla="*/ 25941205 h 104"/>
                <a:gd name="T42" fmla="*/ 39848574 w 87"/>
                <a:gd name="T43" fmla="*/ 27862777 h 104"/>
                <a:gd name="T44" fmla="*/ 41341614 w 87"/>
                <a:gd name="T45" fmla="*/ 29800613 h 104"/>
                <a:gd name="T46" fmla="*/ 42597967 w 87"/>
                <a:gd name="T47" fmla="*/ 25941205 h 104"/>
                <a:gd name="T48" fmla="*/ 45209374 w 87"/>
                <a:gd name="T49" fmla="*/ 28685242 h 104"/>
                <a:gd name="T50" fmla="*/ 53351010 w 87"/>
                <a:gd name="T51" fmla="*/ 32428388 h 104"/>
                <a:gd name="T52" fmla="*/ 55989109 w 87"/>
                <a:gd name="T53" fmla="*/ 37775135 h 104"/>
                <a:gd name="T54" fmla="*/ 55989109 w 87"/>
                <a:gd name="T55" fmla="*/ 43144808 h 104"/>
                <a:gd name="T56" fmla="*/ 57915222 w 87"/>
                <a:gd name="T57" fmla="*/ 43144808 h 104"/>
                <a:gd name="T58" fmla="*/ 63307654 w 87"/>
                <a:gd name="T59" fmla="*/ 47708629 h 104"/>
                <a:gd name="T60" fmla="*/ 61280577 w 87"/>
                <a:gd name="T61" fmla="*/ 50444863 h 104"/>
                <a:gd name="T62" fmla="*/ 62462696 w 87"/>
                <a:gd name="T63" fmla="*/ 53810258 h 104"/>
                <a:gd name="T64" fmla="*/ 66679229 w 87"/>
                <a:gd name="T65" fmla="*/ 56564057 h 104"/>
                <a:gd name="T66" fmla="*/ 68620875 w 87"/>
                <a:gd name="T67" fmla="*/ 61111482 h 104"/>
                <a:gd name="T68" fmla="*/ 69312578 w 87"/>
                <a:gd name="T69" fmla="*/ 63716359 h 104"/>
                <a:gd name="T70" fmla="*/ 71253960 w 87"/>
                <a:gd name="T71" fmla="*/ 67575786 h 104"/>
                <a:gd name="T72" fmla="*/ 75939231 w 87"/>
                <a:gd name="T73" fmla="*/ 67575786 h 104"/>
                <a:gd name="T74" fmla="*/ 77717518 w 87"/>
                <a:gd name="T75" fmla="*/ 71019128 h 104"/>
                <a:gd name="T76" fmla="*/ 78541363 w 87"/>
                <a:gd name="T77" fmla="*/ 73761243 h 104"/>
                <a:gd name="T78" fmla="*/ 76635043 w 87"/>
                <a:gd name="T79" fmla="*/ 90154357 h 104"/>
                <a:gd name="T80" fmla="*/ 75168695 w 87"/>
                <a:gd name="T81" fmla="*/ 93516812 h 104"/>
                <a:gd name="T82" fmla="*/ 66679229 w 87"/>
                <a:gd name="T83" fmla="*/ 93516812 h 104"/>
                <a:gd name="T84" fmla="*/ 57915222 w 87"/>
                <a:gd name="T85" fmla="*/ 84462067 h 10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7"/>
                <a:gd name="T130" fmla="*/ 0 h 104"/>
                <a:gd name="T131" fmla="*/ 87 w 87"/>
                <a:gd name="T132" fmla="*/ 104 h 10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7" h="104">
                  <a:moveTo>
                    <a:pt x="64" y="94"/>
                  </a:moveTo>
                  <a:cubicBezTo>
                    <a:pt x="63" y="93"/>
                    <a:pt x="62" y="93"/>
                    <a:pt x="61" y="92"/>
                  </a:cubicBezTo>
                  <a:cubicBezTo>
                    <a:pt x="61" y="91"/>
                    <a:pt x="60" y="90"/>
                    <a:pt x="60" y="89"/>
                  </a:cubicBezTo>
                  <a:cubicBezTo>
                    <a:pt x="60" y="88"/>
                    <a:pt x="60" y="88"/>
                    <a:pt x="59" y="88"/>
                  </a:cubicBezTo>
                  <a:cubicBezTo>
                    <a:pt x="58" y="86"/>
                    <a:pt x="56" y="86"/>
                    <a:pt x="55" y="84"/>
                  </a:cubicBezTo>
                  <a:cubicBezTo>
                    <a:pt x="53" y="83"/>
                    <a:pt x="52" y="82"/>
                    <a:pt x="51" y="81"/>
                  </a:cubicBezTo>
                  <a:cubicBezTo>
                    <a:pt x="51" y="79"/>
                    <a:pt x="50" y="78"/>
                    <a:pt x="49" y="77"/>
                  </a:cubicBezTo>
                  <a:cubicBezTo>
                    <a:pt x="48" y="75"/>
                    <a:pt x="46" y="73"/>
                    <a:pt x="45" y="71"/>
                  </a:cubicBezTo>
                  <a:cubicBezTo>
                    <a:pt x="44" y="70"/>
                    <a:pt x="45" y="68"/>
                    <a:pt x="44" y="67"/>
                  </a:cubicBezTo>
                  <a:cubicBezTo>
                    <a:pt x="43" y="66"/>
                    <a:pt x="43" y="65"/>
                    <a:pt x="43" y="64"/>
                  </a:cubicBezTo>
                  <a:cubicBezTo>
                    <a:pt x="42" y="62"/>
                    <a:pt x="42" y="60"/>
                    <a:pt x="41" y="58"/>
                  </a:cubicBezTo>
                  <a:cubicBezTo>
                    <a:pt x="40" y="56"/>
                    <a:pt x="39" y="56"/>
                    <a:pt x="38" y="54"/>
                  </a:cubicBezTo>
                  <a:cubicBezTo>
                    <a:pt x="38" y="53"/>
                    <a:pt x="37" y="52"/>
                    <a:pt x="37" y="50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5" y="49"/>
                    <a:pt x="34" y="49"/>
                  </a:cubicBezTo>
                  <a:cubicBezTo>
                    <a:pt x="32" y="48"/>
                    <a:pt x="32" y="46"/>
                    <a:pt x="31" y="43"/>
                  </a:cubicBezTo>
                  <a:cubicBezTo>
                    <a:pt x="31" y="42"/>
                    <a:pt x="30" y="42"/>
                    <a:pt x="30" y="41"/>
                  </a:cubicBezTo>
                  <a:cubicBezTo>
                    <a:pt x="29" y="39"/>
                    <a:pt x="30" y="38"/>
                    <a:pt x="30" y="36"/>
                  </a:cubicBezTo>
                  <a:cubicBezTo>
                    <a:pt x="29" y="35"/>
                    <a:pt x="28" y="33"/>
                    <a:pt x="26" y="33"/>
                  </a:cubicBezTo>
                  <a:cubicBezTo>
                    <a:pt x="25" y="32"/>
                    <a:pt x="24" y="31"/>
                    <a:pt x="22" y="30"/>
                  </a:cubicBezTo>
                  <a:cubicBezTo>
                    <a:pt x="21" y="29"/>
                    <a:pt x="21" y="29"/>
                    <a:pt x="20" y="28"/>
                  </a:cubicBezTo>
                  <a:cubicBezTo>
                    <a:pt x="20" y="27"/>
                    <a:pt x="20" y="26"/>
                    <a:pt x="20" y="26"/>
                  </a:cubicBezTo>
                  <a:cubicBezTo>
                    <a:pt x="18" y="22"/>
                    <a:pt x="15" y="20"/>
                    <a:pt x="12" y="17"/>
                  </a:cubicBezTo>
                  <a:cubicBezTo>
                    <a:pt x="11" y="17"/>
                    <a:pt x="11" y="17"/>
                    <a:pt x="10" y="16"/>
                  </a:cubicBezTo>
                  <a:cubicBezTo>
                    <a:pt x="8" y="15"/>
                    <a:pt x="6" y="12"/>
                    <a:pt x="4" y="10"/>
                  </a:cubicBezTo>
                  <a:cubicBezTo>
                    <a:pt x="3" y="9"/>
                    <a:pt x="2" y="8"/>
                    <a:pt x="2" y="7"/>
                  </a:cubicBezTo>
                  <a:cubicBezTo>
                    <a:pt x="0" y="6"/>
                    <a:pt x="1" y="4"/>
                    <a:pt x="1" y="2"/>
                  </a:cubicBezTo>
                  <a:cubicBezTo>
                    <a:pt x="1" y="1"/>
                    <a:pt x="2" y="1"/>
                    <a:pt x="2" y="0"/>
                  </a:cubicBezTo>
                  <a:cubicBezTo>
                    <a:pt x="3" y="0"/>
                    <a:pt x="4" y="0"/>
                    <a:pt x="5" y="1"/>
                  </a:cubicBezTo>
                  <a:cubicBezTo>
                    <a:pt x="6" y="1"/>
                    <a:pt x="7" y="3"/>
                    <a:pt x="8" y="4"/>
                  </a:cubicBezTo>
                  <a:cubicBezTo>
                    <a:pt x="9" y="5"/>
                    <a:pt x="11" y="4"/>
                    <a:pt x="12" y="5"/>
                  </a:cubicBezTo>
                  <a:cubicBezTo>
                    <a:pt x="13" y="5"/>
                    <a:pt x="14" y="5"/>
                    <a:pt x="15" y="5"/>
                  </a:cubicBezTo>
                  <a:cubicBezTo>
                    <a:pt x="16" y="5"/>
                    <a:pt x="16" y="4"/>
                    <a:pt x="17" y="4"/>
                  </a:cubicBezTo>
                  <a:cubicBezTo>
                    <a:pt x="18" y="4"/>
                    <a:pt x="18" y="4"/>
                    <a:pt x="19" y="4"/>
                  </a:cubicBezTo>
                  <a:cubicBezTo>
                    <a:pt x="20" y="5"/>
                    <a:pt x="21" y="6"/>
                    <a:pt x="21" y="8"/>
                  </a:cubicBezTo>
                  <a:cubicBezTo>
                    <a:pt x="22" y="10"/>
                    <a:pt x="23" y="11"/>
                    <a:pt x="25" y="12"/>
                  </a:cubicBezTo>
                  <a:cubicBezTo>
                    <a:pt x="26" y="12"/>
                    <a:pt x="26" y="12"/>
                    <a:pt x="26" y="13"/>
                  </a:cubicBezTo>
                  <a:cubicBezTo>
                    <a:pt x="26" y="13"/>
                    <a:pt x="27" y="14"/>
                    <a:pt x="27" y="15"/>
                  </a:cubicBezTo>
                  <a:cubicBezTo>
                    <a:pt x="29" y="18"/>
                    <a:pt x="33" y="19"/>
                    <a:pt x="36" y="21"/>
                  </a:cubicBezTo>
                  <a:cubicBezTo>
                    <a:pt x="37" y="22"/>
                    <a:pt x="37" y="24"/>
                    <a:pt x="38" y="25"/>
                  </a:cubicBezTo>
                  <a:cubicBezTo>
                    <a:pt x="39" y="25"/>
                    <a:pt x="39" y="27"/>
                    <a:pt x="40" y="27"/>
                  </a:cubicBezTo>
                  <a:cubicBezTo>
                    <a:pt x="41" y="28"/>
                    <a:pt x="42" y="28"/>
                    <a:pt x="43" y="29"/>
                  </a:cubicBezTo>
                  <a:cubicBezTo>
                    <a:pt x="43" y="30"/>
                    <a:pt x="44" y="30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3"/>
                    <a:pt x="46" y="33"/>
                    <a:pt x="46" y="33"/>
                  </a:cubicBezTo>
                  <a:cubicBezTo>
                    <a:pt x="46" y="31"/>
                    <a:pt x="45" y="30"/>
                    <a:pt x="46" y="29"/>
                  </a:cubicBezTo>
                  <a:cubicBezTo>
                    <a:pt x="46" y="28"/>
                    <a:pt x="47" y="28"/>
                    <a:pt x="47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9" y="30"/>
                    <a:pt x="49" y="31"/>
                    <a:pt x="50" y="32"/>
                  </a:cubicBezTo>
                  <a:cubicBezTo>
                    <a:pt x="51" y="33"/>
                    <a:pt x="51" y="34"/>
                    <a:pt x="51" y="35"/>
                  </a:cubicBezTo>
                  <a:cubicBezTo>
                    <a:pt x="53" y="36"/>
                    <a:pt x="56" y="35"/>
                    <a:pt x="59" y="36"/>
                  </a:cubicBezTo>
                  <a:cubicBezTo>
                    <a:pt x="59" y="36"/>
                    <a:pt x="60" y="37"/>
                    <a:pt x="61" y="38"/>
                  </a:cubicBezTo>
                  <a:cubicBezTo>
                    <a:pt x="62" y="39"/>
                    <a:pt x="61" y="41"/>
                    <a:pt x="62" y="42"/>
                  </a:cubicBezTo>
                  <a:cubicBezTo>
                    <a:pt x="62" y="43"/>
                    <a:pt x="63" y="44"/>
                    <a:pt x="63" y="45"/>
                  </a:cubicBezTo>
                  <a:cubicBezTo>
                    <a:pt x="63" y="46"/>
                    <a:pt x="64" y="47"/>
                    <a:pt x="62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3" y="49"/>
                    <a:pt x="64" y="48"/>
                    <a:pt x="64" y="48"/>
                  </a:cubicBezTo>
                  <a:cubicBezTo>
                    <a:pt x="65" y="47"/>
                    <a:pt x="67" y="47"/>
                    <a:pt x="67" y="48"/>
                  </a:cubicBezTo>
                  <a:cubicBezTo>
                    <a:pt x="68" y="50"/>
                    <a:pt x="71" y="51"/>
                    <a:pt x="70" y="53"/>
                  </a:cubicBezTo>
                  <a:cubicBezTo>
                    <a:pt x="69" y="53"/>
                    <a:pt x="69" y="53"/>
                    <a:pt x="68" y="54"/>
                  </a:cubicBezTo>
                  <a:cubicBezTo>
                    <a:pt x="68" y="55"/>
                    <a:pt x="69" y="56"/>
                    <a:pt x="68" y="56"/>
                  </a:cubicBezTo>
                  <a:cubicBezTo>
                    <a:pt x="67" y="57"/>
                    <a:pt x="67" y="58"/>
                    <a:pt x="67" y="59"/>
                  </a:cubicBezTo>
                  <a:cubicBezTo>
                    <a:pt x="67" y="60"/>
                    <a:pt x="68" y="59"/>
                    <a:pt x="69" y="60"/>
                  </a:cubicBezTo>
                  <a:cubicBezTo>
                    <a:pt x="70" y="61"/>
                    <a:pt x="72" y="61"/>
                    <a:pt x="73" y="61"/>
                  </a:cubicBezTo>
                  <a:cubicBezTo>
                    <a:pt x="74" y="61"/>
                    <a:pt x="74" y="62"/>
                    <a:pt x="74" y="63"/>
                  </a:cubicBezTo>
                  <a:cubicBezTo>
                    <a:pt x="75" y="64"/>
                    <a:pt x="74" y="65"/>
                    <a:pt x="75" y="66"/>
                  </a:cubicBezTo>
                  <a:cubicBezTo>
                    <a:pt x="75" y="67"/>
                    <a:pt x="75" y="67"/>
                    <a:pt x="76" y="68"/>
                  </a:cubicBezTo>
                  <a:cubicBezTo>
                    <a:pt x="76" y="69"/>
                    <a:pt x="76" y="70"/>
                    <a:pt x="77" y="70"/>
                  </a:cubicBezTo>
                  <a:cubicBezTo>
                    <a:pt x="77" y="71"/>
                    <a:pt x="78" y="71"/>
                    <a:pt x="77" y="71"/>
                  </a:cubicBezTo>
                  <a:cubicBezTo>
                    <a:pt x="77" y="72"/>
                    <a:pt x="77" y="74"/>
                    <a:pt x="78" y="75"/>
                  </a:cubicBezTo>
                  <a:cubicBezTo>
                    <a:pt x="78" y="75"/>
                    <a:pt x="79" y="75"/>
                    <a:pt x="79" y="75"/>
                  </a:cubicBezTo>
                  <a:cubicBezTo>
                    <a:pt x="79" y="74"/>
                    <a:pt x="79" y="72"/>
                    <a:pt x="81" y="72"/>
                  </a:cubicBezTo>
                  <a:cubicBezTo>
                    <a:pt x="82" y="73"/>
                    <a:pt x="83" y="74"/>
                    <a:pt x="84" y="75"/>
                  </a:cubicBezTo>
                  <a:cubicBezTo>
                    <a:pt x="84" y="75"/>
                    <a:pt x="84" y="75"/>
                    <a:pt x="84" y="76"/>
                  </a:cubicBezTo>
                  <a:cubicBezTo>
                    <a:pt x="85" y="77"/>
                    <a:pt x="86" y="78"/>
                    <a:pt x="86" y="79"/>
                  </a:cubicBezTo>
                  <a:cubicBezTo>
                    <a:pt x="86" y="79"/>
                    <a:pt x="87" y="80"/>
                    <a:pt x="87" y="80"/>
                  </a:cubicBezTo>
                  <a:cubicBezTo>
                    <a:pt x="87" y="81"/>
                    <a:pt x="87" y="82"/>
                    <a:pt x="87" y="82"/>
                  </a:cubicBezTo>
                  <a:cubicBezTo>
                    <a:pt x="84" y="84"/>
                    <a:pt x="83" y="88"/>
                    <a:pt x="85" y="90"/>
                  </a:cubicBezTo>
                  <a:cubicBezTo>
                    <a:pt x="85" y="93"/>
                    <a:pt x="86" y="97"/>
                    <a:pt x="85" y="100"/>
                  </a:cubicBezTo>
                  <a:cubicBezTo>
                    <a:pt x="85" y="101"/>
                    <a:pt x="85" y="102"/>
                    <a:pt x="84" y="103"/>
                  </a:cubicBezTo>
                  <a:cubicBezTo>
                    <a:pt x="84" y="104"/>
                    <a:pt x="84" y="104"/>
                    <a:pt x="83" y="104"/>
                  </a:cubicBezTo>
                  <a:cubicBezTo>
                    <a:pt x="82" y="103"/>
                    <a:pt x="81" y="103"/>
                    <a:pt x="79" y="103"/>
                  </a:cubicBezTo>
                  <a:cubicBezTo>
                    <a:pt x="78" y="104"/>
                    <a:pt x="76" y="104"/>
                    <a:pt x="74" y="104"/>
                  </a:cubicBezTo>
                  <a:cubicBezTo>
                    <a:pt x="72" y="101"/>
                    <a:pt x="68" y="98"/>
                    <a:pt x="66" y="95"/>
                  </a:cubicBezTo>
                  <a:lnTo>
                    <a:pt x="64" y="9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6" name="Freeform 307"/>
            <p:cNvSpPr>
              <a:spLocks/>
            </p:cNvSpPr>
            <p:nvPr/>
          </p:nvSpPr>
          <p:spPr bwMode="auto">
            <a:xfrm>
              <a:off x="7903100" y="5308813"/>
              <a:ext cx="7248" cy="10879"/>
            </a:xfrm>
            <a:custGeom>
              <a:avLst/>
              <a:gdLst>
                <a:gd name="T0" fmla="*/ 6131150 w 5"/>
                <a:gd name="T1" fmla="*/ 7196548 h 10"/>
                <a:gd name="T2" fmla="*/ 6131150 w 5"/>
                <a:gd name="T3" fmla="*/ 6131150 h 10"/>
                <a:gd name="T4" fmla="*/ 2554647 w 5"/>
                <a:gd name="T5" fmla="*/ 0 h 10"/>
                <a:gd name="T6" fmla="*/ 0 w 5"/>
                <a:gd name="T7" fmla="*/ 1064436 h 10"/>
                <a:gd name="T8" fmla="*/ 0 w 5"/>
                <a:gd name="T9" fmla="*/ 3577445 h 10"/>
                <a:gd name="T10" fmla="*/ 2554647 w 5"/>
                <a:gd name="T11" fmla="*/ 6131150 h 10"/>
                <a:gd name="T12" fmla="*/ 5085394 w 5"/>
                <a:gd name="T13" fmla="*/ 12204941 h 10"/>
                <a:gd name="T14" fmla="*/ 6131150 w 5"/>
                <a:gd name="T15" fmla="*/ 12204941 h 10"/>
                <a:gd name="T16" fmla="*/ 6131150 w 5"/>
                <a:gd name="T17" fmla="*/ 7196548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10"/>
                <a:gd name="T29" fmla="*/ 5 w 5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10">
                  <a:moveTo>
                    <a:pt x="5" y="6"/>
                  </a:moveTo>
                  <a:cubicBezTo>
                    <a:pt x="5" y="6"/>
                    <a:pt x="5" y="5"/>
                    <a:pt x="5" y="5"/>
                  </a:cubicBezTo>
                  <a:cubicBezTo>
                    <a:pt x="5" y="3"/>
                    <a:pt x="4" y="2"/>
                    <a:pt x="2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1" y="4"/>
                    <a:pt x="2" y="5"/>
                  </a:cubicBezTo>
                  <a:cubicBezTo>
                    <a:pt x="2" y="7"/>
                    <a:pt x="3" y="8"/>
                    <a:pt x="4" y="10"/>
                  </a:cubicBezTo>
                  <a:cubicBezTo>
                    <a:pt x="4" y="10"/>
                    <a:pt x="5" y="10"/>
                    <a:pt x="5" y="10"/>
                  </a:cubicBezTo>
                  <a:cubicBezTo>
                    <a:pt x="5" y="9"/>
                    <a:pt x="5" y="7"/>
                    <a:pt x="5" y="6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7" name="Freeform 308"/>
            <p:cNvSpPr>
              <a:spLocks/>
            </p:cNvSpPr>
            <p:nvPr/>
          </p:nvSpPr>
          <p:spPr bwMode="auto">
            <a:xfrm>
              <a:off x="7916150" y="5328755"/>
              <a:ext cx="9425" cy="13295"/>
            </a:xfrm>
            <a:custGeom>
              <a:avLst/>
              <a:gdLst>
                <a:gd name="T0" fmla="*/ 8872004 w 7"/>
                <a:gd name="T1" fmla="*/ 5843110 h 13"/>
                <a:gd name="T2" fmla="*/ 5930334 w 7"/>
                <a:gd name="T3" fmla="*/ 3419068 h 13"/>
                <a:gd name="T4" fmla="*/ 2947589 w 7"/>
                <a:gd name="T5" fmla="*/ 0 h 13"/>
                <a:gd name="T6" fmla="*/ 1213713 w 7"/>
                <a:gd name="T7" fmla="*/ 1936050 h 13"/>
                <a:gd name="T8" fmla="*/ 1213713 w 7"/>
                <a:gd name="T9" fmla="*/ 1936050 h 13"/>
                <a:gd name="T10" fmla="*/ 8872004 w 7"/>
                <a:gd name="T11" fmla="*/ 8374537 h 13"/>
                <a:gd name="T12" fmla="*/ 10226328 w 7"/>
                <a:gd name="T13" fmla="*/ 8374537 h 13"/>
                <a:gd name="T14" fmla="*/ 10226328 w 7"/>
                <a:gd name="T15" fmla="*/ 7045625 h 13"/>
                <a:gd name="T16" fmla="*/ 8872004 w 7"/>
                <a:gd name="T17" fmla="*/ 5843110 h 13"/>
                <a:gd name="T18" fmla="*/ 8872004 w 7"/>
                <a:gd name="T19" fmla="*/ 5843110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6" y="9"/>
                  </a:moveTo>
                  <a:cubicBezTo>
                    <a:pt x="5" y="8"/>
                    <a:pt x="4" y="7"/>
                    <a:pt x="4" y="5"/>
                  </a:cubicBezTo>
                  <a:cubicBezTo>
                    <a:pt x="3" y="4"/>
                    <a:pt x="3" y="2"/>
                    <a:pt x="2" y="0"/>
                  </a:cubicBezTo>
                  <a:cubicBezTo>
                    <a:pt x="0" y="0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7"/>
                    <a:pt x="3" y="10"/>
                    <a:pt x="6" y="13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7" y="13"/>
                    <a:pt x="7" y="12"/>
                    <a:pt x="7" y="11"/>
                  </a:cubicBezTo>
                  <a:cubicBezTo>
                    <a:pt x="7" y="10"/>
                    <a:pt x="6" y="10"/>
                    <a:pt x="6" y="9"/>
                  </a:cubicBezTo>
                  <a:cubicBezTo>
                    <a:pt x="5" y="9"/>
                    <a:pt x="6" y="9"/>
                    <a:pt x="6" y="9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8" name="Freeform 309"/>
            <p:cNvSpPr>
              <a:spLocks/>
            </p:cNvSpPr>
            <p:nvPr/>
          </p:nvSpPr>
          <p:spPr bwMode="auto">
            <a:xfrm>
              <a:off x="7982123" y="5322713"/>
              <a:ext cx="4350" cy="4232"/>
            </a:xfrm>
            <a:custGeom>
              <a:avLst/>
              <a:gdLst>
                <a:gd name="T0" fmla="*/ 941139 w 4"/>
                <a:gd name="T1" fmla="*/ 0 h 4"/>
                <a:gd name="T2" fmla="*/ 0 w 4"/>
                <a:gd name="T3" fmla="*/ 418284 h 4"/>
                <a:gd name="T4" fmla="*/ 0 w 4"/>
                <a:gd name="T5" fmla="*/ 1359459 h 4"/>
                <a:gd name="T6" fmla="*/ 418284 w 4"/>
                <a:gd name="T7" fmla="*/ 1699274 h 4"/>
                <a:gd name="T8" fmla="*/ 941139 w 4"/>
                <a:gd name="T9" fmla="*/ 1699274 h 4"/>
                <a:gd name="T10" fmla="*/ 1699274 w 4"/>
                <a:gd name="T11" fmla="*/ 941139 h 4"/>
                <a:gd name="T12" fmla="*/ 1699274 w 4"/>
                <a:gd name="T13" fmla="*/ 0 h 4"/>
                <a:gd name="T14" fmla="*/ 941139 w 4"/>
                <a:gd name="T15" fmla="*/ 0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4"/>
                <a:gd name="T26" fmla="*/ 4 w 4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4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3" y="4"/>
                    <a:pt x="3" y="3"/>
                    <a:pt x="4" y="2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9" name="Freeform 310"/>
            <p:cNvSpPr>
              <a:spLocks/>
            </p:cNvSpPr>
            <p:nvPr/>
          </p:nvSpPr>
          <p:spPr bwMode="auto">
            <a:xfrm>
              <a:off x="7990097" y="5339030"/>
              <a:ext cx="15949" cy="15109"/>
            </a:xfrm>
            <a:custGeom>
              <a:avLst/>
              <a:gdLst>
                <a:gd name="T0" fmla="*/ 1697572 w 12"/>
                <a:gd name="T1" fmla="*/ 1947959 h 14"/>
                <a:gd name="T2" fmla="*/ 727531 w 12"/>
                <a:gd name="T3" fmla="*/ 4591618 h 14"/>
                <a:gd name="T4" fmla="*/ 727531 w 12"/>
                <a:gd name="T5" fmla="*/ 5415918 h 14"/>
                <a:gd name="T6" fmla="*/ 2970751 w 12"/>
                <a:gd name="T7" fmla="*/ 6527726 h 14"/>
                <a:gd name="T8" fmla="*/ 4688532 w 12"/>
                <a:gd name="T9" fmla="*/ 9297269 h 14"/>
                <a:gd name="T10" fmla="*/ 6253184 w 12"/>
                <a:gd name="T11" fmla="*/ 11919092 h 14"/>
                <a:gd name="T12" fmla="*/ 7659274 w 12"/>
                <a:gd name="T13" fmla="*/ 12766089 h 14"/>
                <a:gd name="T14" fmla="*/ 9242333 w 12"/>
                <a:gd name="T15" fmla="*/ 12766089 h 14"/>
                <a:gd name="T16" fmla="*/ 9242333 w 12"/>
                <a:gd name="T17" fmla="*/ 11919092 h 14"/>
                <a:gd name="T18" fmla="*/ 8614988 w 12"/>
                <a:gd name="T19" fmla="*/ 9297269 h 14"/>
                <a:gd name="T20" fmla="*/ 5234181 w 12"/>
                <a:gd name="T21" fmla="*/ 2769339 h 14"/>
                <a:gd name="T22" fmla="*/ 3961001 w 12"/>
                <a:gd name="T23" fmla="*/ 826407 h 14"/>
                <a:gd name="T24" fmla="*/ 3961001 w 12"/>
                <a:gd name="T25" fmla="*/ 1947959 h 14"/>
                <a:gd name="T26" fmla="*/ 2243220 w 12"/>
                <a:gd name="T27" fmla="*/ 1947959 h 14"/>
                <a:gd name="T28" fmla="*/ 1697572 w 12"/>
                <a:gd name="T29" fmla="*/ 1947959 h 1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"/>
                <a:gd name="T46" fmla="*/ 0 h 14"/>
                <a:gd name="T47" fmla="*/ 12 w 12"/>
                <a:gd name="T48" fmla="*/ 14 h 1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" h="14">
                  <a:moveTo>
                    <a:pt x="2" y="2"/>
                  </a:moveTo>
                  <a:cubicBezTo>
                    <a:pt x="1" y="2"/>
                    <a:pt x="1" y="4"/>
                    <a:pt x="1" y="5"/>
                  </a:cubicBezTo>
                  <a:cubicBezTo>
                    <a:pt x="0" y="5"/>
                    <a:pt x="0" y="6"/>
                    <a:pt x="1" y="6"/>
                  </a:cubicBezTo>
                  <a:cubicBezTo>
                    <a:pt x="2" y="7"/>
                    <a:pt x="3" y="6"/>
                    <a:pt x="4" y="7"/>
                  </a:cubicBezTo>
                  <a:cubicBezTo>
                    <a:pt x="5" y="8"/>
                    <a:pt x="5" y="9"/>
                    <a:pt x="6" y="10"/>
                  </a:cubicBezTo>
                  <a:cubicBezTo>
                    <a:pt x="6" y="11"/>
                    <a:pt x="7" y="12"/>
                    <a:pt x="8" y="13"/>
                  </a:cubicBezTo>
                  <a:cubicBezTo>
                    <a:pt x="9" y="13"/>
                    <a:pt x="10" y="13"/>
                    <a:pt x="10" y="14"/>
                  </a:cubicBezTo>
                  <a:cubicBezTo>
                    <a:pt x="11" y="14"/>
                    <a:pt x="11" y="14"/>
                    <a:pt x="12" y="14"/>
                  </a:cubicBezTo>
                  <a:cubicBezTo>
                    <a:pt x="12" y="14"/>
                    <a:pt x="12" y="13"/>
                    <a:pt x="12" y="13"/>
                  </a:cubicBezTo>
                  <a:cubicBezTo>
                    <a:pt x="11" y="12"/>
                    <a:pt x="12" y="11"/>
                    <a:pt x="11" y="10"/>
                  </a:cubicBezTo>
                  <a:cubicBezTo>
                    <a:pt x="9" y="8"/>
                    <a:pt x="8" y="6"/>
                    <a:pt x="7" y="3"/>
                  </a:cubicBezTo>
                  <a:cubicBezTo>
                    <a:pt x="7" y="2"/>
                    <a:pt x="6" y="0"/>
                    <a:pt x="5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2"/>
                    <a:pt x="4" y="2"/>
                    <a:pt x="3" y="2"/>
                  </a:cubicBezTo>
                  <a:cubicBezTo>
                    <a:pt x="3" y="2"/>
                    <a:pt x="3" y="1"/>
                    <a:pt x="2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0" name="Freeform 311"/>
            <p:cNvSpPr>
              <a:spLocks/>
            </p:cNvSpPr>
            <p:nvPr/>
          </p:nvSpPr>
          <p:spPr bwMode="auto">
            <a:xfrm>
              <a:off x="8015471" y="5349908"/>
              <a:ext cx="6524" cy="7253"/>
            </a:xfrm>
            <a:custGeom>
              <a:avLst/>
              <a:gdLst>
                <a:gd name="T0" fmla="*/ 6131150 w 5"/>
                <a:gd name="T1" fmla="*/ 505778 h 7"/>
                <a:gd name="T2" fmla="*/ 2554647 w 5"/>
                <a:gd name="T3" fmla="*/ 0 h 7"/>
                <a:gd name="T4" fmla="*/ 0 w 5"/>
                <a:gd name="T5" fmla="*/ 1724631 h 7"/>
                <a:gd name="T6" fmla="*/ 0 w 5"/>
                <a:gd name="T7" fmla="*/ 2642432 h 7"/>
                <a:gd name="T8" fmla="*/ 2554647 w 5"/>
                <a:gd name="T9" fmla="*/ 2642432 h 7"/>
                <a:gd name="T10" fmla="*/ 5085394 w 5"/>
                <a:gd name="T11" fmla="*/ 3397424 h 7"/>
                <a:gd name="T12" fmla="*/ 6131150 w 5"/>
                <a:gd name="T13" fmla="*/ 1156064 h 7"/>
                <a:gd name="T14" fmla="*/ 6131150 w 5"/>
                <a:gd name="T15" fmla="*/ 505778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7"/>
                <a:gd name="T26" fmla="*/ 5 w 5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7">
                  <a:moveTo>
                    <a:pt x="5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3" y="6"/>
                    <a:pt x="4" y="7"/>
                    <a:pt x="4" y="6"/>
                  </a:cubicBezTo>
                  <a:cubicBezTo>
                    <a:pt x="5" y="5"/>
                    <a:pt x="5" y="3"/>
                    <a:pt x="5" y="2"/>
                  </a:cubicBezTo>
                  <a:cubicBezTo>
                    <a:pt x="5" y="2"/>
                    <a:pt x="5" y="2"/>
                    <a:pt x="5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1" name="Freeform 312"/>
            <p:cNvSpPr>
              <a:spLocks/>
            </p:cNvSpPr>
            <p:nvPr/>
          </p:nvSpPr>
          <p:spPr bwMode="auto">
            <a:xfrm>
              <a:off x="7990097" y="5380730"/>
              <a:ext cx="96419" cy="29612"/>
            </a:xfrm>
            <a:custGeom>
              <a:avLst/>
              <a:gdLst>
                <a:gd name="T0" fmla="*/ 19784540 w 72"/>
                <a:gd name="T1" fmla="*/ 4911239 h 27"/>
                <a:gd name="T2" fmla="*/ 17710644 w 72"/>
                <a:gd name="T3" fmla="*/ 3739447 h 27"/>
                <a:gd name="T4" fmla="*/ 15040843 w 72"/>
                <a:gd name="T5" fmla="*/ 874095 h 27"/>
                <a:gd name="T6" fmla="*/ 13031094 w 72"/>
                <a:gd name="T7" fmla="*/ 874095 h 27"/>
                <a:gd name="T8" fmla="*/ 11049821 w 72"/>
                <a:gd name="T9" fmla="*/ 2071929 h 27"/>
                <a:gd name="T10" fmla="*/ 8379337 w 72"/>
                <a:gd name="T11" fmla="*/ 2071929 h 27"/>
                <a:gd name="T12" fmla="*/ 7500980 w 72"/>
                <a:gd name="T13" fmla="*/ 874095 h 27"/>
                <a:gd name="T14" fmla="*/ 4679924 w 72"/>
                <a:gd name="T15" fmla="*/ 874095 h 27"/>
                <a:gd name="T16" fmla="*/ 3548896 w 72"/>
                <a:gd name="T17" fmla="*/ 2984029 h 27"/>
                <a:gd name="T18" fmla="*/ 3548896 w 72"/>
                <a:gd name="T19" fmla="*/ 4911239 h 27"/>
                <a:gd name="T20" fmla="*/ 0 w 72"/>
                <a:gd name="T21" fmla="*/ 10072692 h 27"/>
                <a:gd name="T22" fmla="*/ 7500980 w 72"/>
                <a:gd name="T23" fmla="*/ 10951795 h 27"/>
                <a:gd name="T24" fmla="*/ 7500980 w 72"/>
                <a:gd name="T25" fmla="*/ 13820151 h 27"/>
                <a:gd name="T26" fmla="*/ 12191625 w 72"/>
                <a:gd name="T27" fmla="*/ 14972246 h 27"/>
                <a:gd name="T28" fmla="*/ 15040843 w 72"/>
                <a:gd name="T29" fmla="*/ 15887104 h 27"/>
                <a:gd name="T30" fmla="*/ 17710644 w 72"/>
                <a:gd name="T31" fmla="*/ 18064640 h 27"/>
                <a:gd name="T32" fmla="*/ 21259350 w 72"/>
                <a:gd name="T33" fmla="*/ 18064640 h 27"/>
                <a:gd name="T34" fmla="*/ 26089842 w 72"/>
                <a:gd name="T35" fmla="*/ 18064640 h 27"/>
                <a:gd name="T36" fmla="*/ 26929207 w 72"/>
                <a:gd name="T37" fmla="*/ 18064640 h 27"/>
                <a:gd name="T38" fmla="*/ 34316554 w 72"/>
                <a:gd name="T39" fmla="*/ 19605475 h 27"/>
                <a:gd name="T40" fmla="*/ 38334634 w 72"/>
                <a:gd name="T41" fmla="*/ 21766963 h 27"/>
                <a:gd name="T42" fmla="*/ 39118787 w 72"/>
                <a:gd name="T43" fmla="*/ 22964094 h 27"/>
                <a:gd name="T44" fmla="*/ 44639884 w 72"/>
                <a:gd name="T45" fmla="*/ 23876004 h 27"/>
                <a:gd name="T46" fmla="*/ 46713468 w 72"/>
                <a:gd name="T47" fmla="*/ 23876004 h 27"/>
                <a:gd name="T48" fmla="*/ 57762594 w 72"/>
                <a:gd name="T49" fmla="*/ 23876004 h 27"/>
                <a:gd name="T50" fmla="*/ 58891583 w 72"/>
                <a:gd name="T51" fmla="*/ 24755278 h 27"/>
                <a:gd name="T52" fmla="*/ 62435439 w 72"/>
                <a:gd name="T53" fmla="*/ 25959805 h 27"/>
                <a:gd name="T54" fmla="*/ 66403502 w 72"/>
                <a:gd name="T55" fmla="*/ 25959805 h 27"/>
                <a:gd name="T56" fmla="*/ 66403502 w 72"/>
                <a:gd name="T57" fmla="*/ 24755278 h 27"/>
                <a:gd name="T58" fmla="*/ 65283958 w 72"/>
                <a:gd name="T59" fmla="*/ 23876004 h 27"/>
                <a:gd name="T60" fmla="*/ 66403502 w 72"/>
                <a:gd name="T61" fmla="*/ 19605475 h 27"/>
                <a:gd name="T62" fmla="*/ 65283958 w 72"/>
                <a:gd name="T63" fmla="*/ 18064640 h 27"/>
                <a:gd name="T64" fmla="*/ 57762594 w 72"/>
                <a:gd name="T65" fmla="*/ 15887104 h 27"/>
                <a:gd name="T66" fmla="*/ 54848531 w 72"/>
                <a:gd name="T67" fmla="*/ 15887104 h 27"/>
                <a:gd name="T68" fmla="*/ 53372516 w 72"/>
                <a:gd name="T69" fmla="*/ 10951795 h 27"/>
                <a:gd name="T70" fmla="*/ 52225055 w 72"/>
                <a:gd name="T71" fmla="*/ 10072692 h 27"/>
                <a:gd name="T72" fmla="*/ 49404567 w 72"/>
                <a:gd name="T73" fmla="*/ 10072692 h 27"/>
                <a:gd name="T74" fmla="*/ 48542025 w 72"/>
                <a:gd name="T75" fmla="*/ 8863872 h 27"/>
                <a:gd name="T76" fmla="*/ 43014232 w 72"/>
                <a:gd name="T77" fmla="*/ 7991856 h 27"/>
                <a:gd name="T78" fmla="*/ 40316711 w 72"/>
                <a:gd name="T79" fmla="*/ 5830377 h 27"/>
                <a:gd name="T80" fmla="*/ 38334634 w 72"/>
                <a:gd name="T81" fmla="*/ 8863872 h 27"/>
                <a:gd name="T82" fmla="*/ 35513089 w 72"/>
                <a:gd name="T83" fmla="*/ 10072692 h 27"/>
                <a:gd name="T84" fmla="*/ 30767843 w 72"/>
                <a:gd name="T85" fmla="*/ 10072692 h 27"/>
                <a:gd name="T86" fmla="*/ 24107926 w 72"/>
                <a:gd name="T87" fmla="*/ 8863872 h 27"/>
                <a:gd name="T88" fmla="*/ 23229971 w 72"/>
                <a:gd name="T89" fmla="*/ 7073252 h 27"/>
                <a:gd name="T90" fmla="*/ 21259350 w 72"/>
                <a:gd name="T91" fmla="*/ 4911239 h 27"/>
                <a:gd name="T92" fmla="*/ 19784540 w 72"/>
                <a:gd name="T93" fmla="*/ 4911239 h 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2"/>
                <a:gd name="T142" fmla="*/ 0 h 27"/>
                <a:gd name="T143" fmla="*/ 72 w 72"/>
                <a:gd name="T144" fmla="*/ 27 h 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2" h="27">
                  <a:moveTo>
                    <a:pt x="21" y="5"/>
                  </a:moveTo>
                  <a:cubicBezTo>
                    <a:pt x="21" y="5"/>
                    <a:pt x="20" y="5"/>
                    <a:pt x="19" y="4"/>
                  </a:cubicBezTo>
                  <a:cubicBezTo>
                    <a:pt x="18" y="3"/>
                    <a:pt x="17" y="2"/>
                    <a:pt x="16" y="1"/>
                  </a:cubicBezTo>
                  <a:cubicBezTo>
                    <a:pt x="15" y="0"/>
                    <a:pt x="14" y="0"/>
                    <a:pt x="14" y="1"/>
                  </a:cubicBezTo>
                  <a:cubicBezTo>
                    <a:pt x="13" y="1"/>
                    <a:pt x="13" y="2"/>
                    <a:pt x="12" y="2"/>
                  </a:cubicBezTo>
                  <a:cubicBezTo>
                    <a:pt x="11" y="2"/>
                    <a:pt x="10" y="2"/>
                    <a:pt x="9" y="2"/>
                  </a:cubicBezTo>
                  <a:cubicBezTo>
                    <a:pt x="9" y="2"/>
                    <a:pt x="8" y="1"/>
                    <a:pt x="8" y="1"/>
                  </a:cubicBezTo>
                  <a:cubicBezTo>
                    <a:pt x="7" y="1"/>
                    <a:pt x="6" y="0"/>
                    <a:pt x="5" y="1"/>
                  </a:cubicBezTo>
                  <a:cubicBezTo>
                    <a:pt x="5" y="2"/>
                    <a:pt x="4" y="2"/>
                    <a:pt x="4" y="3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3" y="6"/>
                    <a:pt x="0" y="7"/>
                    <a:pt x="0" y="10"/>
                  </a:cubicBezTo>
                  <a:cubicBezTo>
                    <a:pt x="3" y="10"/>
                    <a:pt x="7" y="9"/>
                    <a:pt x="8" y="11"/>
                  </a:cubicBezTo>
                  <a:cubicBezTo>
                    <a:pt x="8" y="12"/>
                    <a:pt x="8" y="13"/>
                    <a:pt x="8" y="14"/>
                  </a:cubicBezTo>
                  <a:cubicBezTo>
                    <a:pt x="10" y="15"/>
                    <a:pt x="11" y="14"/>
                    <a:pt x="13" y="15"/>
                  </a:cubicBezTo>
                  <a:cubicBezTo>
                    <a:pt x="14" y="15"/>
                    <a:pt x="15" y="15"/>
                    <a:pt x="16" y="16"/>
                  </a:cubicBezTo>
                  <a:cubicBezTo>
                    <a:pt x="17" y="17"/>
                    <a:pt x="18" y="17"/>
                    <a:pt x="19" y="18"/>
                  </a:cubicBezTo>
                  <a:cubicBezTo>
                    <a:pt x="20" y="19"/>
                    <a:pt x="22" y="19"/>
                    <a:pt x="23" y="18"/>
                  </a:cubicBezTo>
                  <a:cubicBezTo>
                    <a:pt x="25" y="18"/>
                    <a:pt x="26" y="17"/>
                    <a:pt x="28" y="18"/>
                  </a:cubicBezTo>
                  <a:cubicBezTo>
                    <a:pt x="28" y="18"/>
                    <a:pt x="28" y="18"/>
                    <a:pt x="29" y="18"/>
                  </a:cubicBezTo>
                  <a:cubicBezTo>
                    <a:pt x="32" y="19"/>
                    <a:pt x="35" y="18"/>
                    <a:pt x="37" y="20"/>
                  </a:cubicBezTo>
                  <a:cubicBezTo>
                    <a:pt x="38" y="21"/>
                    <a:pt x="40" y="21"/>
                    <a:pt x="41" y="22"/>
                  </a:cubicBezTo>
                  <a:cubicBezTo>
                    <a:pt x="41" y="23"/>
                    <a:pt x="42" y="23"/>
                    <a:pt x="42" y="23"/>
                  </a:cubicBezTo>
                  <a:cubicBezTo>
                    <a:pt x="44" y="23"/>
                    <a:pt x="46" y="23"/>
                    <a:pt x="48" y="24"/>
                  </a:cubicBezTo>
                  <a:cubicBezTo>
                    <a:pt x="49" y="24"/>
                    <a:pt x="49" y="24"/>
                    <a:pt x="50" y="24"/>
                  </a:cubicBezTo>
                  <a:cubicBezTo>
                    <a:pt x="54" y="25"/>
                    <a:pt x="58" y="24"/>
                    <a:pt x="62" y="24"/>
                  </a:cubicBezTo>
                  <a:cubicBezTo>
                    <a:pt x="63" y="24"/>
                    <a:pt x="63" y="25"/>
                    <a:pt x="63" y="25"/>
                  </a:cubicBezTo>
                  <a:cubicBezTo>
                    <a:pt x="64" y="26"/>
                    <a:pt x="66" y="25"/>
                    <a:pt x="67" y="26"/>
                  </a:cubicBezTo>
                  <a:cubicBezTo>
                    <a:pt x="68" y="26"/>
                    <a:pt x="70" y="27"/>
                    <a:pt x="71" y="26"/>
                  </a:cubicBezTo>
                  <a:cubicBezTo>
                    <a:pt x="72" y="26"/>
                    <a:pt x="72" y="25"/>
                    <a:pt x="71" y="25"/>
                  </a:cubicBezTo>
                  <a:cubicBezTo>
                    <a:pt x="71" y="24"/>
                    <a:pt x="70" y="24"/>
                    <a:pt x="70" y="24"/>
                  </a:cubicBezTo>
                  <a:cubicBezTo>
                    <a:pt x="70" y="23"/>
                    <a:pt x="70" y="22"/>
                    <a:pt x="71" y="20"/>
                  </a:cubicBezTo>
                  <a:cubicBezTo>
                    <a:pt x="71" y="20"/>
                    <a:pt x="71" y="19"/>
                    <a:pt x="70" y="18"/>
                  </a:cubicBezTo>
                  <a:cubicBezTo>
                    <a:pt x="67" y="18"/>
                    <a:pt x="64" y="17"/>
                    <a:pt x="62" y="16"/>
                  </a:cubicBezTo>
                  <a:cubicBezTo>
                    <a:pt x="61" y="16"/>
                    <a:pt x="59" y="16"/>
                    <a:pt x="59" y="16"/>
                  </a:cubicBezTo>
                  <a:cubicBezTo>
                    <a:pt x="57" y="15"/>
                    <a:pt x="57" y="13"/>
                    <a:pt x="57" y="11"/>
                  </a:cubicBezTo>
                  <a:cubicBezTo>
                    <a:pt x="57" y="11"/>
                    <a:pt x="57" y="11"/>
                    <a:pt x="56" y="10"/>
                  </a:cubicBezTo>
                  <a:cubicBezTo>
                    <a:pt x="55" y="10"/>
                    <a:pt x="54" y="10"/>
                    <a:pt x="53" y="10"/>
                  </a:cubicBezTo>
                  <a:cubicBezTo>
                    <a:pt x="52" y="10"/>
                    <a:pt x="52" y="9"/>
                    <a:pt x="52" y="9"/>
                  </a:cubicBezTo>
                  <a:cubicBezTo>
                    <a:pt x="50" y="8"/>
                    <a:pt x="48" y="9"/>
                    <a:pt x="46" y="8"/>
                  </a:cubicBezTo>
                  <a:cubicBezTo>
                    <a:pt x="45" y="7"/>
                    <a:pt x="44" y="5"/>
                    <a:pt x="43" y="6"/>
                  </a:cubicBezTo>
                  <a:cubicBezTo>
                    <a:pt x="42" y="6"/>
                    <a:pt x="42" y="8"/>
                    <a:pt x="41" y="9"/>
                  </a:cubicBezTo>
                  <a:cubicBezTo>
                    <a:pt x="41" y="10"/>
                    <a:pt x="39" y="11"/>
                    <a:pt x="38" y="10"/>
                  </a:cubicBezTo>
                  <a:cubicBezTo>
                    <a:pt x="36" y="9"/>
                    <a:pt x="35" y="9"/>
                    <a:pt x="33" y="10"/>
                  </a:cubicBezTo>
                  <a:cubicBezTo>
                    <a:pt x="31" y="10"/>
                    <a:pt x="28" y="10"/>
                    <a:pt x="26" y="9"/>
                  </a:cubicBezTo>
                  <a:cubicBezTo>
                    <a:pt x="25" y="9"/>
                    <a:pt x="25" y="7"/>
                    <a:pt x="25" y="7"/>
                  </a:cubicBezTo>
                  <a:cubicBezTo>
                    <a:pt x="24" y="6"/>
                    <a:pt x="24" y="5"/>
                    <a:pt x="23" y="5"/>
                  </a:cubicBezTo>
                  <a:cubicBezTo>
                    <a:pt x="23" y="4"/>
                    <a:pt x="22" y="4"/>
                    <a:pt x="21" y="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2" name="Freeform 313"/>
            <p:cNvSpPr>
              <a:spLocks/>
            </p:cNvSpPr>
            <p:nvPr/>
          </p:nvSpPr>
          <p:spPr bwMode="auto">
            <a:xfrm>
              <a:off x="8067669" y="5391608"/>
              <a:ext cx="12324" cy="4232"/>
            </a:xfrm>
            <a:custGeom>
              <a:avLst/>
              <a:gdLst>
                <a:gd name="T0" fmla="*/ 4688532 w 9"/>
                <a:gd name="T1" fmla="*/ 0 h 4"/>
                <a:gd name="T2" fmla="*/ 3961001 w 9"/>
                <a:gd name="T3" fmla="*/ 0 h 4"/>
                <a:gd name="T4" fmla="*/ 727531 w 9"/>
                <a:gd name="T5" fmla="*/ 418284 h 4"/>
                <a:gd name="T6" fmla="*/ 0 w 9"/>
                <a:gd name="T7" fmla="*/ 1359459 h 4"/>
                <a:gd name="T8" fmla="*/ 2243220 w 9"/>
                <a:gd name="T9" fmla="*/ 1699274 h 4"/>
                <a:gd name="T10" fmla="*/ 4688532 w 9"/>
                <a:gd name="T11" fmla="*/ 1699274 h 4"/>
                <a:gd name="T12" fmla="*/ 6253179 w 9"/>
                <a:gd name="T13" fmla="*/ 1359459 h 4"/>
                <a:gd name="T14" fmla="*/ 6931749 w 9"/>
                <a:gd name="T15" fmla="*/ 1359459 h 4"/>
                <a:gd name="T16" fmla="*/ 6931749 w 9"/>
                <a:gd name="T17" fmla="*/ 418284 h 4"/>
                <a:gd name="T18" fmla="*/ 4688532 w 9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4"/>
                <a:gd name="T32" fmla="*/ 9 w 9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4">
                  <a:moveTo>
                    <a:pt x="6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1"/>
                    <a:pt x="0" y="3"/>
                    <a:pt x="0" y="3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4" y="4"/>
                    <a:pt x="5" y="4"/>
                    <a:pt x="6" y="4"/>
                  </a:cubicBezTo>
                  <a:cubicBezTo>
                    <a:pt x="6" y="4"/>
                    <a:pt x="7" y="4"/>
                    <a:pt x="8" y="3"/>
                  </a:cubicBezTo>
                  <a:cubicBezTo>
                    <a:pt x="8" y="3"/>
                    <a:pt x="8" y="3"/>
                    <a:pt x="9" y="3"/>
                  </a:cubicBezTo>
                  <a:cubicBezTo>
                    <a:pt x="9" y="2"/>
                    <a:pt x="9" y="1"/>
                    <a:pt x="9" y="1"/>
                  </a:cubicBezTo>
                  <a:cubicBezTo>
                    <a:pt x="8" y="0"/>
                    <a:pt x="7" y="1"/>
                    <a:pt x="6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3" name="Freeform 314"/>
            <p:cNvSpPr>
              <a:spLocks/>
            </p:cNvSpPr>
            <p:nvPr/>
          </p:nvSpPr>
          <p:spPr bwMode="auto">
            <a:xfrm>
              <a:off x="8089418" y="5403692"/>
              <a:ext cx="7974" cy="6044"/>
            </a:xfrm>
            <a:custGeom>
              <a:avLst/>
              <a:gdLst>
                <a:gd name="T0" fmla="*/ 3961001 w 6"/>
                <a:gd name="T1" fmla="*/ 1064436 h 5"/>
                <a:gd name="T2" fmla="*/ 2243220 w 6"/>
                <a:gd name="T3" fmla="*/ 0 h 5"/>
                <a:gd name="T4" fmla="*/ 727531 w 6"/>
                <a:gd name="T5" fmla="*/ 0 h 5"/>
                <a:gd name="T6" fmla="*/ 727531 w 6"/>
                <a:gd name="T7" fmla="*/ 3577445 h 5"/>
                <a:gd name="T8" fmla="*/ 1697572 w 6"/>
                <a:gd name="T9" fmla="*/ 6131150 h 5"/>
                <a:gd name="T10" fmla="*/ 2970751 w 6"/>
                <a:gd name="T11" fmla="*/ 6131150 h 5"/>
                <a:gd name="T12" fmla="*/ 4688532 w 6"/>
                <a:gd name="T13" fmla="*/ 1064436 h 5"/>
                <a:gd name="T14" fmla="*/ 3961001 w 6"/>
                <a:gd name="T15" fmla="*/ 106443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5"/>
                <a:gd name="T26" fmla="*/ 6 w 6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5">
                  <a:moveTo>
                    <a:pt x="5" y="1"/>
                  </a:moveTo>
                  <a:cubicBezTo>
                    <a:pt x="5" y="1"/>
                    <a:pt x="4" y="0"/>
                    <a:pt x="3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3" y="5"/>
                    <a:pt x="4" y="5"/>
                    <a:pt x="4" y="5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4" name="Freeform 315"/>
            <p:cNvSpPr>
              <a:spLocks/>
            </p:cNvSpPr>
            <p:nvPr/>
          </p:nvSpPr>
          <p:spPr bwMode="auto">
            <a:xfrm>
              <a:off x="8101743" y="5404902"/>
              <a:ext cx="6526" cy="6647"/>
            </a:xfrm>
            <a:custGeom>
              <a:avLst/>
              <a:gdLst>
                <a:gd name="T0" fmla="*/ 2554647 w 5"/>
                <a:gd name="T1" fmla="*/ 2975593 h 6"/>
                <a:gd name="T2" fmla="*/ 1064436 w 5"/>
                <a:gd name="T3" fmla="*/ 7438980 h 6"/>
                <a:gd name="T4" fmla="*/ 0 w 5"/>
                <a:gd name="T5" fmla="*/ 13878121 h 6"/>
                <a:gd name="T6" fmla="*/ 3577445 w 5"/>
                <a:gd name="T7" fmla="*/ 13878121 h 6"/>
                <a:gd name="T8" fmla="*/ 5085394 w 5"/>
                <a:gd name="T9" fmla="*/ 0 h 6"/>
                <a:gd name="T10" fmla="*/ 3577445 w 5"/>
                <a:gd name="T11" fmla="*/ 2975593 h 6"/>
                <a:gd name="T12" fmla="*/ 2554647 w 5"/>
                <a:gd name="T13" fmla="*/ 2975593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2" y="1"/>
                  </a:moveTo>
                  <a:cubicBezTo>
                    <a:pt x="2" y="2"/>
                    <a:pt x="2" y="2"/>
                    <a:pt x="1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5" y="5"/>
                    <a:pt x="4" y="2"/>
                    <a:pt x="4" y="0"/>
                  </a:cubicBezTo>
                  <a:cubicBezTo>
                    <a:pt x="4" y="0"/>
                    <a:pt x="3" y="0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5" name="Freeform 316"/>
            <p:cNvSpPr>
              <a:spLocks/>
            </p:cNvSpPr>
            <p:nvPr/>
          </p:nvSpPr>
          <p:spPr bwMode="auto">
            <a:xfrm>
              <a:off x="8108266" y="5404902"/>
              <a:ext cx="26825" cy="9065"/>
            </a:xfrm>
            <a:custGeom>
              <a:avLst/>
              <a:gdLst>
                <a:gd name="T0" fmla="*/ 5927927 w 20"/>
                <a:gd name="T1" fmla="*/ 2129866 h 8"/>
                <a:gd name="T2" fmla="*/ 2522523 w 20"/>
                <a:gd name="T3" fmla="*/ 2129866 h 8"/>
                <a:gd name="T4" fmla="*/ 795113 w 20"/>
                <a:gd name="T5" fmla="*/ 4351847 h 8"/>
                <a:gd name="T6" fmla="*/ 795113 w 20"/>
                <a:gd name="T7" fmla="*/ 7279645 h 8"/>
                <a:gd name="T8" fmla="*/ 795113 w 20"/>
                <a:gd name="T9" fmla="*/ 8176458 h 8"/>
                <a:gd name="T10" fmla="*/ 5927927 w 20"/>
                <a:gd name="T11" fmla="*/ 7279645 h 8"/>
                <a:gd name="T12" fmla="*/ 7062610 w 20"/>
                <a:gd name="T13" fmla="*/ 5955246 h 8"/>
                <a:gd name="T14" fmla="*/ 7663472 w 20"/>
                <a:gd name="T15" fmla="*/ 5955246 h 8"/>
                <a:gd name="T16" fmla="*/ 10318870 w 20"/>
                <a:gd name="T17" fmla="*/ 5058432 h 8"/>
                <a:gd name="T18" fmla="*/ 12190249 w 20"/>
                <a:gd name="T19" fmla="*/ 5058432 h 8"/>
                <a:gd name="T20" fmla="*/ 13930621 w 20"/>
                <a:gd name="T21" fmla="*/ 4351847 h 8"/>
                <a:gd name="T22" fmla="*/ 14725738 w 20"/>
                <a:gd name="T23" fmla="*/ 4351847 h 8"/>
                <a:gd name="T24" fmla="*/ 16597127 w 20"/>
                <a:gd name="T25" fmla="*/ 4351847 h 8"/>
                <a:gd name="T26" fmla="*/ 16597127 w 20"/>
                <a:gd name="T27" fmla="*/ 2129866 h 8"/>
                <a:gd name="T28" fmla="*/ 12876646 w 20"/>
                <a:gd name="T29" fmla="*/ 0 h 8"/>
                <a:gd name="T30" fmla="*/ 10318870 w 20"/>
                <a:gd name="T31" fmla="*/ 0 h 8"/>
                <a:gd name="T32" fmla="*/ 8799889 w 20"/>
                <a:gd name="T33" fmla="*/ 0 h 8"/>
                <a:gd name="T34" fmla="*/ 7663472 w 20"/>
                <a:gd name="T35" fmla="*/ 2129866 h 8"/>
                <a:gd name="T36" fmla="*/ 5927927 w 20"/>
                <a:gd name="T37" fmla="*/ 2129866 h 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0"/>
                <a:gd name="T58" fmla="*/ 0 h 8"/>
                <a:gd name="T59" fmla="*/ 20 w 20"/>
                <a:gd name="T60" fmla="*/ 8 h 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0" h="8">
                  <a:moveTo>
                    <a:pt x="7" y="2"/>
                  </a:moveTo>
                  <a:cubicBezTo>
                    <a:pt x="6" y="2"/>
                    <a:pt x="4" y="2"/>
                    <a:pt x="3" y="2"/>
                  </a:cubicBezTo>
                  <a:cubicBezTo>
                    <a:pt x="2" y="2"/>
                    <a:pt x="1" y="3"/>
                    <a:pt x="1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3" y="8"/>
                    <a:pt x="6" y="8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10" y="6"/>
                    <a:pt x="11" y="5"/>
                    <a:pt x="12" y="5"/>
                  </a:cubicBezTo>
                  <a:cubicBezTo>
                    <a:pt x="13" y="5"/>
                    <a:pt x="14" y="5"/>
                    <a:pt x="14" y="5"/>
                  </a:cubicBezTo>
                  <a:cubicBezTo>
                    <a:pt x="15" y="6"/>
                    <a:pt x="16" y="5"/>
                    <a:pt x="16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9" y="4"/>
                    <a:pt x="19" y="4"/>
                  </a:cubicBezTo>
                  <a:cubicBezTo>
                    <a:pt x="20" y="3"/>
                    <a:pt x="20" y="2"/>
                    <a:pt x="19" y="2"/>
                  </a:cubicBezTo>
                  <a:cubicBezTo>
                    <a:pt x="18" y="1"/>
                    <a:pt x="17" y="1"/>
                    <a:pt x="15" y="0"/>
                  </a:cubicBezTo>
                  <a:cubicBezTo>
                    <a:pt x="14" y="0"/>
                    <a:pt x="13" y="1"/>
                    <a:pt x="12" y="0"/>
                  </a:cubicBezTo>
                  <a:cubicBezTo>
                    <a:pt x="12" y="0"/>
                    <a:pt x="10" y="0"/>
                    <a:pt x="10" y="0"/>
                  </a:cubicBezTo>
                  <a:cubicBezTo>
                    <a:pt x="10" y="1"/>
                    <a:pt x="10" y="2"/>
                    <a:pt x="9" y="2"/>
                  </a:cubicBezTo>
                  <a:cubicBezTo>
                    <a:pt x="9" y="3"/>
                    <a:pt x="8" y="3"/>
                    <a:pt x="7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6" name="Freeform 317"/>
            <p:cNvSpPr>
              <a:spLocks/>
            </p:cNvSpPr>
            <p:nvPr/>
          </p:nvSpPr>
          <p:spPr bwMode="auto">
            <a:xfrm>
              <a:off x="8139440" y="5404902"/>
              <a:ext cx="28273" cy="7856"/>
            </a:xfrm>
            <a:custGeom>
              <a:avLst/>
              <a:gdLst>
                <a:gd name="T0" fmla="*/ 11680953 w 21"/>
                <a:gd name="T1" fmla="*/ 2947589 h 7"/>
                <a:gd name="T2" fmla="*/ 7499890 w 21"/>
                <a:gd name="T3" fmla="*/ 1213713 h 7"/>
                <a:gd name="T4" fmla="*/ 4514290 w 21"/>
                <a:gd name="T5" fmla="*/ 0 h 7"/>
                <a:gd name="T6" fmla="*/ 3149955 w 21"/>
                <a:gd name="T7" fmla="*/ 2947589 h 7"/>
                <a:gd name="T8" fmla="*/ 2284540 w 21"/>
                <a:gd name="T9" fmla="*/ 4210842 h 7"/>
                <a:gd name="T10" fmla="*/ 959507 w 21"/>
                <a:gd name="T11" fmla="*/ 4210842 h 7"/>
                <a:gd name="T12" fmla="*/ 959507 w 21"/>
                <a:gd name="T13" fmla="*/ 7158428 h 7"/>
                <a:gd name="T14" fmla="*/ 12950905 w 21"/>
                <a:gd name="T15" fmla="*/ 8872004 h 7"/>
                <a:gd name="T16" fmla="*/ 16200323 w 21"/>
                <a:gd name="T17" fmla="*/ 8872004 h 7"/>
                <a:gd name="T18" fmla="*/ 21410687 w 21"/>
                <a:gd name="T19" fmla="*/ 7158428 h 7"/>
                <a:gd name="T20" fmla="*/ 22371868 w 21"/>
                <a:gd name="T21" fmla="*/ 4210842 h 7"/>
                <a:gd name="T22" fmla="*/ 17856874 w 21"/>
                <a:gd name="T23" fmla="*/ 2947589 h 7"/>
                <a:gd name="T24" fmla="*/ 16200323 w 21"/>
                <a:gd name="T25" fmla="*/ 5930334 h 7"/>
                <a:gd name="T26" fmla="*/ 14871980 w 21"/>
                <a:gd name="T27" fmla="*/ 5930334 h 7"/>
                <a:gd name="T28" fmla="*/ 13910476 w 21"/>
                <a:gd name="T29" fmla="*/ 4210842 h 7"/>
                <a:gd name="T30" fmla="*/ 11680953 w 21"/>
                <a:gd name="T31" fmla="*/ 2947589 h 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1"/>
                <a:gd name="T49" fmla="*/ 0 h 7"/>
                <a:gd name="T50" fmla="*/ 21 w 21"/>
                <a:gd name="T51" fmla="*/ 7 h 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1" h="7">
                  <a:moveTo>
                    <a:pt x="11" y="2"/>
                  </a:moveTo>
                  <a:cubicBezTo>
                    <a:pt x="10" y="1"/>
                    <a:pt x="8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3" y="3"/>
                    <a:pt x="2" y="3"/>
                    <a:pt x="2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1" y="4"/>
                    <a:pt x="0" y="5"/>
                    <a:pt x="1" y="5"/>
                  </a:cubicBezTo>
                  <a:cubicBezTo>
                    <a:pt x="4" y="6"/>
                    <a:pt x="8" y="7"/>
                    <a:pt x="12" y="6"/>
                  </a:cubicBezTo>
                  <a:cubicBezTo>
                    <a:pt x="13" y="6"/>
                    <a:pt x="14" y="6"/>
                    <a:pt x="15" y="6"/>
                  </a:cubicBezTo>
                  <a:cubicBezTo>
                    <a:pt x="16" y="5"/>
                    <a:pt x="18" y="6"/>
                    <a:pt x="20" y="5"/>
                  </a:cubicBezTo>
                  <a:cubicBezTo>
                    <a:pt x="21" y="5"/>
                    <a:pt x="21" y="4"/>
                    <a:pt x="21" y="3"/>
                  </a:cubicBezTo>
                  <a:cubicBezTo>
                    <a:pt x="20" y="2"/>
                    <a:pt x="18" y="2"/>
                    <a:pt x="17" y="2"/>
                  </a:cubicBezTo>
                  <a:cubicBezTo>
                    <a:pt x="16" y="2"/>
                    <a:pt x="15" y="3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3" y="3"/>
                    <a:pt x="13" y="3"/>
                  </a:cubicBezTo>
                  <a:cubicBezTo>
                    <a:pt x="12" y="3"/>
                    <a:pt x="12" y="2"/>
                    <a:pt x="11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7" name="Freeform 318"/>
            <p:cNvSpPr>
              <a:spLocks/>
            </p:cNvSpPr>
            <p:nvPr/>
          </p:nvSpPr>
          <p:spPr bwMode="auto">
            <a:xfrm>
              <a:off x="8130015" y="5415780"/>
              <a:ext cx="21024" cy="11481"/>
            </a:xfrm>
            <a:custGeom>
              <a:avLst/>
              <a:gdLst>
                <a:gd name="T0" fmla="*/ 10759007 w 16"/>
                <a:gd name="T1" fmla="*/ 7196548 h 10"/>
                <a:gd name="T2" fmla="*/ 9233070 w 16"/>
                <a:gd name="T3" fmla="*/ 5085394 h 10"/>
                <a:gd name="T4" fmla="*/ 8654090 w 16"/>
                <a:gd name="T5" fmla="*/ 3577445 h 10"/>
                <a:gd name="T6" fmla="*/ 6644038 w 16"/>
                <a:gd name="T7" fmla="*/ 2554647 h 10"/>
                <a:gd name="T8" fmla="*/ 5524414 w 16"/>
                <a:gd name="T9" fmla="*/ 1064436 h 10"/>
                <a:gd name="T10" fmla="*/ 2011912 w 16"/>
                <a:gd name="T11" fmla="*/ 2554647 h 10"/>
                <a:gd name="T12" fmla="*/ 656077 w 16"/>
                <a:gd name="T13" fmla="*/ 2554647 h 10"/>
                <a:gd name="T14" fmla="*/ 2011912 w 16"/>
                <a:gd name="T15" fmla="*/ 5085394 h 10"/>
                <a:gd name="T16" fmla="*/ 4652545 w 16"/>
                <a:gd name="T17" fmla="*/ 7196548 h 10"/>
                <a:gd name="T18" fmla="*/ 8113345 w 16"/>
                <a:gd name="T19" fmla="*/ 12204941 h 10"/>
                <a:gd name="T20" fmla="*/ 9233070 w 16"/>
                <a:gd name="T21" fmla="*/ 12204941 h 10"/>
                <a:gd name="T22" fmla="*/ 10759007 w 16"/>
                <a:gd name="T23" fmla="*/ 9650293 h 10"/>
                <a:gd name="T24" fmla="*/ 10759007 w 16"/>
                <a:gd name="T25" fmla="*/ 7196548 h 1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6"/>
                <a:gd name="T40" fmla="*/ 0 h 10"/>
                <a:gd name="T41" fmla="*/ 16 w 16"/>
                <a:gd name="T42" fmla="*/ 10 h 1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6" h="10">
                  <a:moveTo>
                    <a:pt x="16" y="6"/>
                  </a:moveTo>
                  <a:cubicBezTo>
                    <a:pt x="15" y="6"/>
                    <a:pt x="14" y="5"/>
                    <a:pt x="14" y="4"/>
                  </a:cubicBezTo>
                  <a:cubicBezTo>
                    <a:pt x="14" y="3"/>
                    <a:pt x="14" y="3"/>
                    <a:pt x="13" y="3"/>
                  </a:cubicBezTo>
                  <a:cubicBezTo>
                    <a:pt x="12" y="2"/>
                    <a:pt x="11" y="3"/>
                    <a:pt x="10" y="2"/>
                  </a:cubicBezTo>
                  <a:cubicBezTo>
                    <a:pt x="9" y="2"/>
                    <a:pt x="8" y="1"/>
                    <a:pt x="8" y="1"/>
                  </a:cubicBezTo>
                  <a:cubicBezTo>
                    <a:pt x="6" y="0"/>
                    <a:pt x="5" y="1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4" y="5"/>
                    <a:pt x="6" y="5"/>
                    <a:pt x="7" y="6"/>
                  </a:cubicBezTo>
                  <a:cubicBezTo>
                    <a:pt x="9" y="7"/>
                    <a:pt x="10" y="8"/>
                    <a:pt x="12" y="10"/>
                  </a:cubicBezTo>
                  <a:cubicBezTo>
                    <a:pt x="13" y="10"/>
                    <a:pt x="14" y="10"/>
                    <a:pt x="14" y="10"/>
                  </a:cubicBezTo>
                  <a:cubicBezTo>
                    <a:pt x="15" y="9"/>
                    <a:pt x="16" y="9"/>
                    <a:pt x="16" y="8"/>
                  </a:cubicBezTo>
                  <a:cubicBezTo>
                    <a:pt x="16" y="7"/>
                    <a:pt x="16" y="7"/>
                    <a:pt x="16" y="6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8" name="Freeform 319"/>
            <p:cNvSpPr>
              <a:spLocks/>
            </p:cNvSpPr>
            <p:nvPr/>
          </p:nvSpPr>
          <p:spPr bwMode="auto">
            <a:xfrm>
              <a:off x="8168438" y="5404902"/>
              <a:ext cx="7248" cy="4834"/>
            </a:xfrm>
            <a:custGeom>
              <a:avLst/>
              <a:gdLst>
                <a:gd name="T0" fmla="*/ 3577445 w 5"/>
                <a:gd name="T1" fmla="*/ 0 h 4"/>
                <a:gd name="T2" fmla="*/ 3577445 w 5"/>
                <a:gd name="T3" fmla="*/ 2497529 h 4"/>
                <a:gd name="T4" fmla="*/ 1064436 w 5"/>
                <a:gd name="T5" fmla="*/ 4450654 h 4"/>
                <a:gd name="T6" fmla="*/ 0 w 5"/>
                <a:gd name="T7" fmla="*/ 9219213 h 4"/>
                <a:gd name="T8" fmla="*/ 6131150 w 5"/>
                <a:gd name="T9" fmla="*/ 9219213 h 4"/>
                <a:gd name="T10" fmla="*/ 6131150 w 5"/>
                <a:gd name="T11" fmla="*/ 4450654 h 4"/>
                <a:gd name="T12" fmla="*/ 6131150 w 5"/>
                <a:gd name="T13" fmla="*/ 2497529 h 4"/>
                <a:gd name="T14" fmla="*/ 3577445 w 5"/>
                <a:gd name="T15" fmla="*/ 0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4"/>
                <a:gd name="T26" fmla="*/ 5 w 5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4">
                  <a:moveTo>
                    <a:pt x="3" y="0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5" y="3"/>
                    <a:pt x="5" y="3"/>
                    <a:pt x="5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5" y="0"/>
                    <a:pt x="4" y="0"/>
                    <a:pt x="3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9" name="Freeform 320"/>
            <p:cNvSpPr>
              <a:spLocks/>
            </p:cNvSpPr>
            <p:nvPr/>
          </p:nvSpPr>
          <p:spPr bwMode="auto">
            <a:xfrm>
              <a:off x="8179314" y="5403692"/>
              <a:ext cx="5801" cy="4232"/>
            </a:xfrm>
            <a:custGeom>
              <a:avLst/>
              <a:gdLst>
                <a:gd name="T0" fmla="*/ 418284 w 4"/>
                <a:gd name="T1" fmla="*/ 418284 h 4"/>
                <a:gd name="T2" fmla="*/ 418284 w 4"/>
                <a:gd name="T3" fmla="*/ 941139 h 4"/>
                <a:gd name="T4" fmla="*/ 0 w 4"/>
                <a:gd name="T5" fmla="*/ 1699274 h 4"/>
                <a:gd name="T6" fmla="*/ 1359459 w 4"/>
                <a:gd name="T7" fmla="*/ 1699274 h 4"/>
                <a:gd name="T8" fmla="*/ 1359459 w 4"/>
                <a:gd name="T9" fmla="*/ 418284 h 4"/>
                <a:gd name="T10" fmla="*/ 418284 w 4"/>
                <a:gd name="T11" fmla="*/ 418284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1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4" y="3"/>
                    <a:pt x="3" y="2"/>
                    <a:pt x="3" y="1"/>
                  </a:cubicBezTo>
                  <a:cubicBezTo>
                    <a:pt x="3" y="1"/>
                    <a:pt x="2" y="0"/>
                    <a:pt x="1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0" name="Freeform 321"/>
            <p:cNvSpPr>
              <a:spLocks/>
            </p:cNvSpPr>
            <p:nvPr/>
          </p:nvSpPr>
          <p:spPr bwMode="auto">
            <a:xfrm>
              <a:off x="8186563" y="5403692"/>
              <a:ext cx="4350" cy="4232"/>
            </a:xfrm>
            <a:custGeom>
              <a:avLst/>
              <a:gdLst>
                <a:gd name="T0" fmla="*/ 727531 w 3"/>
                <a:gd name="T1" fmla="*/ 418284 h 4"/>
                <a:gd name="T2" fmla="*/ 0 w 3"/>
                <a:gd name="T3" fmla="*/ 1699274 h 4"/>
                <a:gd name="T4" fmla="*/ 1697572 w 3"/>
                <a:gd name="T5" fmla="*/ 1699274 h 4"/>
                <a:gd name="T6" fmla="*/ 2243220 w 3"/>
                <a:gd name="T7" fmla="*/ 418284 h 4"/>
                <a:gd name="T8" fmla="*/ 727531 w 3"/>
                <a:gd name="T9" fmla="*/ 418284 h 4"/>
                <a:gd name="T10" fmla="*/ 727531 w 3"/>
                <a:gd name="T11" fmla="*/ 418284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1" y="1"/>
                  </a:moveTo>
                  <a:cubicBezTo>
                    <a:pt x="0" y="2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3" y="3"/>
                    <a:pt x="3" y="2"/>
                    <a:pt x="3" y="1"/>
                  </a:cubicBezTo>
                  <a:cubicBezTo>
                    <a:pt x="3" y="0"/>
                    <a:pt x="2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1" name="Freeform 322"/>
            <p:cNvSpPr>
              <a:spLocks/>
            </p:cNvSpPr>
            <p:nvPr/>
          </p:nvSpPr>
          <p:spPr bwMode="auto">
            <a:xfrm>
              <a:off x="8191639" y="5403692"/>
              <a:ext cx="6526" cy="4232"/>
            </a:xfrm>
            <a:custGeom>
              <a:avLst/>
              <a:gdLst>
                <a:gd name="T0" fmla="*/ 3577445 w 5"/>
                <a:gd name="T1" fmla="*/ 0 h 4"/>
                <a:gd name="T2" fmla="*/ 1064436 w 5"/>
                <a:gd name="T3" fmla="*/ 418284 h 4"/>
                <a:gd name="T4" fmla="*/ 0 w 5"/>
                <a:gd name="T5" fmla="*/ 1359459 h 4"/>
                <a:gd name="T6" fmla="*/ 6131150 w 5"/>
                <a:gd name="T7" fmla="*/ 1359459 h 4"/>
                <a:gd name="T8" fmla="*/ 6131150 w 5"/>
                <a:gd name="T9" fmla="*/ 418284 h 4"/>
                <a:gd name="T10" fmla="*/ 3577445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3" y="0"/>
                  </a:moveTo>
                  <a:cubicBezTo>
                    <a:pt x="2" y="0"/>
                    <a:pt x="1" y="0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2" y="3"/>
                    <a:pt x="4" y="4"/>
                    <a:pt x="5" y="3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5" y="0"/>
                    <a:pt x="4" y="1"/>
                    <a:pt x="3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2" name="Freeform 323"/>
            <p:cNvSpPr>
              <a:spLocks/>
            </p:cNvSpPr>
            <p:nvPr/>
          </p:nvSpPr>
          <p:spPr bwMode="auto">
            <a:xfrm>
              <a:off x="8203961" y="5398858"/>
              <a:ext cx="10151" cy="4834"/>
            </a:xfrm>
            <a:custGeom>
              <a:avLst/>
              <a:gdLst>
                <a:gd name="T0" fmla="*/ 1699274 w 8"/>
                <a:gd name="T1" fmla="*/ 1064436 h 5"/>
                <a:gd name="T2" fmla="*/ 418284 w 8"/>
                <a:gd name="T3" fmla="*/ 1064436 h 5"/>
                <a:gd name="T4" fmla="*/ 418284 w 8"/>
                <a:gd name="T5" fmla="*/ 5085394 h 5"/>
                <a:gd name="T6" fmla="*/ 941139 w 8"/>
                <a:gd name="T7" fmla="*/ 5085394 h 5"/>
                <a:gd name="T8" fmla="*/ 1359459 w 8"/>
                <a:gd name="T9" fmla="*/ 5085394 h 5"/>
                <a:gd name="T10" fmla="*/ 2453348 w 8"/>
                <a:gd name="T11" fmla="*/ 5085394 h 5"/>
                <a:gd name="T12" fmla="*/ 3394577 w 8"/>
                <a:gd name="T13" fmla="*/ 0 h 5"/>
                <a:gd name="T14" fmla="*/ 1699274 w 8"/>
                <a:gd name="T15" fmla="*/ 106443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5"/>
                <a:gd name="T26" fmla="*/ 8 w 8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5">
                  <a:moveTo>
                    <a:pt x="4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0" y="1"/>
                    <a:pt x="1" y="3"/>
                    <a:pt x="1" y="4"/>
                  </a:cubicBezTo>
                  <a:cubicBezTo>
                    <a:pt x="1" y="5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5" y="4"/>
                    <a:pt x="6" y="4"/>
                  </a:cubicBezTo>
                  <a:cubicBezTo>
                    <a:pt x="8" y="3"/>
                    <a:pt x="8" y="2"/>
                    <a:pt x="8" y="0"/>
                  </a:cubicBezTo>
                  <a:cubicBezTo>
                    <a:pt x="7" y="0"/>
                    <a:pt x="5" y="0"/>
                    <a:pt x="4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3" name="Freeform 324"/>
            <p:cNvSpPr>
              <a:spLocks/>
            </p:cNvSpPr>
            <p:nvPr/>
          </p:nvSpPr>
          <p:spPr bwMode="auto">
            <a:xfrm>
              <a:off x="8177138" y="5406715"/>
              <a:ext cx="44223" cy="22360"/>
            </a:xfrm>
            <a:custGeom>
              <a:avLst/>
              <a:gdLst>
                <a:gd name="T0" fmla="*/ 20043996 w 33"/>
                <a:gd name="T1" fmla="*/ 1697572 h 21"/>
                <a:gd name="T2" fmla="*/ 15293841 w 33"/>
                <a:gd name="T3" fmla="*/ 2243220 h 21"/>
                <a:gd name="T4" fmla="*/ 10341117 w 33"/>
                <a:gd name="T5" fmla="*/ 6253184 h 21"/>
                <a:gd name="T6" fmla="*/ 6840533 w 33"/>
                <a:gd name="T7" fmla="*/ 6931750 h 21"/>
                <a:gd name="T8" fmla="*/ 3587761 w 33"/>
                <a:gd name="T9" fmla="*/ 9902490 h 21"/>
                <a:gd name="T10" fmla="*/ 3587761 w 33"/>
                <a:gd name="T11" fmla="*/ 9902490 h 21"/>
                <a:gd name="T12" fmla="*/ 2007625 w 33"/>
                <a:gd name="T13" fmla="*/ 11620010 h 21"/>
                <a:gd name="T14" fmla="*/ 2007625 w 33"/>
                <a:gd name="T15" fmla="*/ 13906433 h 21"/>
                <a:gd name="T16" fmla="*/ 849380 w 33"/>
                <a:gd name="T17" fmla="*/ 14590762 h 21"/>
                <a:gd name="T18" fmla="*/ 849380 w 33"/>
                <a:gd name="T19" fmla="*/ 16174077 h 21"/>
                <a:gd name="T20" fmla="*/ 3587761 w 33"/>
                <a:gd name="T21" fmla="*/ 14590762 h 21"/>
                <a:gd name="T22" fmla="*/ 4745294 w 33"/>
                <a:gd name="T23" fmla="*/ 14590762 h 21"/>
                <a:gd name="T24" fmla="*/ 6840533 w 33"/>
                <a:gd name="T25" fmla="*/ 13906433 h 21"/>
                <a:gd name="T26" fmla="*/ 10341117 w 33"/>
                <a:gd name="T27" fmla="*/ 11620010 h 21"/>
                <a:gd name="T28" fmla="*/ 16168527 w 33"/>
                <a:gd name="T29" fmla="*/ 7659274 h 21"/>
                <a:gd name="T30" fmla="*/ 18819581 w 33"/>
                <a:gd name="T31" fmla="*/ 6253184 h 21"/>
                <a:gd name="T32" fmla="*/ 22924719 w 33"/>
                <a:gd name="T33" fmla="*/ 4688532 h 21"/>
                <a:gd name="T34" fmla="*/ 30553758 w 33"/>
                <a:gd name="T35" fmla="*/ 1697572 h 21"/>
                <a:gd name="T36" fmla="*/ 27670974 w 33"/>
                <a:gd name="T37" fmla="*/ 727531 h 21"/>
                <a:gd name="T38" fmla="*/ 24442627 w 33"/>
                <a:gd name="T39" fmla="*/ 1697572 h 21"/>
                <a:gd name="T40" fmla="*/ 20915062 w 33"/>
                <a:gd name="T41" fmla="*/ 727531 h 21"/>
                <a:gd name="T42" fmla="*/ 20043996 w 33"/>
                <a:gd name="T43" fmla="*/ 1697572 h 2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3"/>
                <a:gd name="T67" fmla="*/ 0 h 21"/>
                <a:gd name="T68" fmla="*/ 33 w 33"/>
                <a:gd name="T69" fmla="*/ 21 h 2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3" h="21">
                  <a:moveTo>
                    <a:pt x="21" y="2"/>
                  </a:moveTo>
                  <a:cubicBezTo>
                    <a:pt x="20" y="2"/>
                    <a:pt x="17" y="1"/>
                    <a:pt x="16" y="3"/>
                  </a:cubicBezTo>
                  <a:cubicBezTo>
                    <a:pt x="15" y="5"/>
                    <a:pt x="13" y="7"/>
                    <a:pt x="11" y="8"/>
                  </a:cubicBezTo>
                  <a:cubicBezTo>
                    <a:pt x="10" y="9"/>
                    <a:pt x="8" y="8"/>
                    <a:pt x="7" y="9"/>
                  </a:cubicBezTo>
                  <a:cubicBezTo>
                    <a:pt x="5" y="10"/>
                    <a:pt x="6" y="12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3" y="14"/>
                    <a:pt x="3" y="14"/>
                    <a:pt x="2" y="15"/>
                  </a:cubicBezTo>
                  <a:cubicBezTo>
                    <a:pt x="2" y="16"/>
                    <a:pt x="3" y="17"/>
                    <a:pt x="2" y="18"/>
                  </a:cubicBezTo>
                  <a:cubicBezTo>
                    <a:pt x="2" y="18"/>
                    <a:pt x="1" y="19"/>
                    <a:pt x="1" y="19"/>
                  </a:cubicBezTo>
                  <a:cubicBezTo>
                    <a:pt x="0" y="20"/>
                    <a:pt x="0" y="21"/>
                    <a:pt x="1" y="21"/>
                  </a:cubicBezTo>
                  <a:cubicBezTo>
                    <a:pt x="2" y="21"/>
                    <a:pt x="3" y="21"/>
                    <a:pt x="4" y="19"/>
                  </a:cubicBezTo>
                  <a:cubicBezTo>
                    <a:pt x="4" y="19"/>
                    <a:pt x="5" y="19"/>
                    <a:pt x="5" y="19"/>
                  </a:cubicBezTo>
                  <a:cubicBezTo>
                    <a:pt x="6" y="19"/>
                    <a:pt x="6" y="19"/>
                    <a:pt x="7" y="18"/>
                  </a:cubicBezTo>
                  <a:cubicBezTo>
                    <a:pt x="8" y="17"/>
                    <a:pt x="9" y="16"/>
                    <a:pt x="11" y="15"/>
                  </a:cubicBezTo>
                  <a:cubicBezTo>
                    <a:pt x="14" y="14"/>
                    <a:pt x="15" y="12"/>
                    <a:pt x="17" y="10"/>
                  </a:cubicBezTo>
                  <a:cubicBezTo>
                    <a:pt x="18" y="9"/>
                    <a:pt x="19" y="9"/>
                    <a:pt x="20" y="8"/>
                  </a:cubicBezTo>
                  <a:cubicBezTo>
                    <a:pt x="21" y="7"/>
                    <a:pt x="23" y="7"/>
                    <a:pt x="24" y="6"/>
                  </a:cubicBezTo>
                  <a:cubicBezTo>
                    <a:pt x="27" y="5"/>
                    <a:pt x="29" y="3"/>
                    <a:pt x="32" y="2"/>
                  </a:cubicBezTo>
                  <a:cubicBezTo>
                    <a:pt x="33" y="0"/>
                    <a:pt x="30" y="1"/>
                    <a:pt x="29" y="1"/>
                  </a:cubicBezTo>
                  <a:cubicBezTo>
                    <a:pt x="28" y="1"/>
                    <a:pt x="27" y="2"/>
                    <a:pt x="26" y="2"/>
                  </a:cubicBezTo>
                  <a:cubicBezTo>
                    <a:pt x="24" y="1"/>
                    <a:pt x="23" y="1"/>
                    <a:pt x="22" y="1"/>
                  </a:cubicBezTo>
                  <a:cubicBezTo>
                    <a:pt x="22" y="1"/>
                    <a:pt x="21" y="2"/>
                    <a:pt x="21" y="2"/>
                  </a:cubicBezTo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4" name="Freeform 325"/>
            <p:cNvSpPr>
              <a:spLocks/>
            </p:cNvSpPr>
            <p:nvPr/>
          </p:nvSpPr>
          <p:spPr bwMode="auto">
            <a:xfrm>
              <a:off x="8209760" y="5354137"/>
              <a:ext cx="14500" cy="7856"/>
            </a:xfrm>
            <a:custGeom>
              <a:avLst/>
              <a:gdLst>
                <a:gd name="T0" fmla="*/ 7630664 w 11"/>
                <a:gd name="T1" fmla="*/ 2947589 h 7"/>
                <a:gd name="T2" fmla="*/ 4745295 w 11"/>
                <a:gd name="T3" fmla="*/ 1213713 h 7"/>
                <a:gd name="T4" fmla="*/ 2007625 w 11"/>
                <a:gd name="T5" fmla="*/ 2947589 h 7"/>
                <a:gd name="T6" fmla="*/ 2007625 w 11"/>
                <a:gd name="T7" fmla="*/ 7158428 h 7"/>
                <a:gd name="T8" fmla="*/ 4745295 w 11"/>
                <a:gd name="T9" fmla="*/ 10226328 h 7"/>
                <a:gd name="T10" fmla="*/ 6840539 w 11"/>
                <a:gd name="T11" fmla="*/ 7158428 h 7"/>
                <a:gd name="T12" fmla="*/ 9698926 w 11"/>
                <a:gd name="T13" fmla="*/ 7158428 h 7"/>
                <a:gd name="T14" fmla="*/ 7630664 w 11"/>
                <a:gd name="T15" fmla="*/ 2947589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7"/>
                <a:gd name="T26" fmla="*/ 11 w 11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7">
                  <a:moveTo>
                    <a:pt x="8" y="2"/>
                  </a:moveTo>
                  <a:cubicBezTo>
                    <a:pt x="7" y="1"/>
                    <a:pt x="6" y="0"/>
                    <a:pt x="5" y="1"/>
                  </a:cubicBezTo>
                  <a:cubicBezTo>
                    <a:pt x="4" y="1"/>
                    <a:pt x="2" y="2"/>
                    <a:pt x="2" y="2"/>
                  </a:cubicBezTo>
                  <a:cubicBezTo>
                    <a:pt x="0" y="3"/>
                    <a:pt x="1" y="5"/>
                    <a:pt x="2" y="5"/>
                  </a:cubicBezTo>
                  <a:cubicBezTo>
                    <a:pt x="3" y="6"/>
                    <a:pt x="4" y="7"/>
                    <a:pt x="5" y="7"/>
                  </a:cubicBezTo>
                  <a:cubicBezTo>
                    <a:pt x="6" y="7"/>
                    <a:pt x="6" y="6"/>
                    <a:pt x="7" y="5"/>
                  </a:cubicBezTo>
                  <a:cubicBezTo>
                    <a:pt x="8" y="4"/>
                    <a:pt x="9" y="5"/>
                    <a:pt x="10" y="5"/>
                  </a:cubicBezTo>
                  <a:cubicBezTo>
                    <a:pt x="11" y="3"/>
                    <a:pt x="9" y="2"/>
                    <a:pt x="8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5" name="Freeform 326"/>
            <p:cNvSpPr>
              <a:spLocks/>
            </p:cNvSpPr>
            <p:nvPr/>
          </p:nvSpPr>
          <p:spPr bwMode="auto">
            <a:xfrm>
              <a:off x="8205413" y="5341446"/>
              <a:ext cx="6524" cy="3022"/>
            </a:xfrm>
            <a:custGeom>
              <a:avLst/>
              <a:gdLst>
                <a:gd name="T0" fmla="*/ 2554647 w 5"/>
                <a:gd name="T1" fmla="*/ 727531 h 3"/>
                <a:gd name="T2" fmla="*/ 0 w 5"/>
                <a:gd name="T3" fmla="*/ 727531 h 3"/>
                <a:gd name="T4" fmla="*/ 0 w 5"/>
                <a:gd name="T5" fmla="*/ 1697572 h 3"/>
                <a:gd name="T6" fmla="*/ 6131150 w 5"/>
                <a:gd name="T7" fmla="*/ 727531 h 3"/>
                <a:gd name="T8" fmla="*/ 2554647 w 5"/>
                <a:gd name="T9" fmla="*/ 72753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2" y="1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4" y="3"/>
                    <a:pt x="5" y="1"/>
                  </a:cubicBezTo>
                  <a:cubicBezTo>
                    <a:pt x="4" y="1"/>
                    <a:pt x="3" y="1"/>
                    <a:pt x="2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6" name="Freeform 327"/>
            <p:cNvSpPr>
              <a:spLocks/>
            </p:cNvSpPr>
            <p:nvPr/>
          </p:nvSpPr>
          <p:spPr bwMode="auto">
            <a:xfrm>
              <a:off x="8191639" y="5341446"/>
              <a:ext cx="9425" cy="3626"/>
            </a:xfrm>
            <a:custGeom>
              <a:avLst/>
              <a:gdLst>
                <a:gd name="T0" fmla="*/ 8872004 w 7"/>
                <a:gd name="T1" fmla="*/ 418284 h 4"/>
                <a:gd name="T2" fmla="*/ 7158428 w 7"/>
                <a:gd name="T3" fmla="*/ 0 h 4"/>
                <a:gd name="T4" fmla="*/ 2947589 w 7"/>
                <a:gd name="T5" fmla="*/ 0 h 4"/>
                <a:gd name="T6" fmla="*/ 0 w 7"/>
                <a:gd name="T7" fmla="*/ 418284 h 4"/>
                <a:gd name="T8" fmla="*/ 1213713 w 7"/>
                <a:gd name="T9" fmla="*/ 1359459 h 4"/>
                <a:gd name="T10" fmla="*/ 4210842 w 7"/>
                <a:gd name="T11" fmla="*/ 1359459 h 4"/>
                <a:gd name="T12" fmla="*/ 10226328 w 7"/>
                <a:gd name="T13" fmla="*/ 941139 h 4"/>
                <a:gd name="T14" fmla="*/ 8872004 w 7"/>
                <a:gd name="T15" fmla="*/ 418284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4"/>
                <a:gd name="T26" fmla="*/ 7 w 7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4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1" y="1"/>
                    <a:pt x="1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2" y="4"/>
                    <a:pt x="2" y="3"/>
                    <a:pt x="3" y="3"/>
                  </a:cubicBezTo>
                  <a:cubicBezTo>
                    <a:pt x="4" y="2"/>
                    <a:pt x="6" y="3"/>
                    <a:pt x="7" y="2"/>
                  </a:cubicBezTo>
                  <a:cubicBezTo>
                    <a:pt x="7" y="2"/>
                    <a:pt x="7" y="2"/>
                    <a:pt x="6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7" name="Freeform 328"/>
            <p:cNvSpPr>
              <a:spLocks/>
            </p:cNvSpPr>
            <p:nvPr/>
          </p:nvSpPr>
          <p:spPr bwMode="auto">
            <a:xfrm>
              <a:off x="8132191" y="5306394"/>
              <a:ext cx="71770" cy="74334"/>
            </a:xfrm>
            <a:custGeom>
              <a:avLst/>
              <a:gdLst>
                <a:gd name="T0" fmla="*/ 3097986 w 53"/>
                <a:gd name="T1" fmla="*/ 39164075 h 68"/>
                <a:gd name="T2" fmla="*/ 5346599 w 53"/>
                <a:gd name="T3" fmla="*/ 36148244 h 68"/>
                <a:gd name="T4" fmla="*/ 6032472 w 53"/>
                <a:gd name="T5" fmla="*/ 28364712 h 68"/>
                <a:gd name="T6" fmla="*/ 9226932 w 53"/>
                <a:gd name="T7" fmla="*/ 22253230 h 68"/>
                <a:gd name="T8" fmla="*/ 9226932 w 53"/>
                <a:gd name="T9" fmla="*/ 18582503 h 68"/>
                <a:gd name="T10" fmla="*/ 9226932 w 53"/>
                <a:gd name="T11" fmla="*/ 11453738 h 68"/>
                <a:gd name="T12" fmla="*/ 11379171 w 53"/>
                <a:gd name="T13" fmla="*/ 8662405 h 68"/>
                <a:gd name="T14" fmla="*/ 15806619 w 53"/>
                <a:gd name="T15" fmla="*/ 7848512 h 68"/>
                <a:gd name="T16" fmla="*/ 20993144 w 53"/>
                <a:gd name="T17" fmla="*/ 2950784 h 68"/>
                <a:gd name="T18" fmla="*/ 22853379 w 53"/>
                <a:gd name="T19" fmla="*/ 5740275 h 68"/>
                <a:gd name="T20" fmla="*/ 36274933 w 53"/>
                <a:gd name="T21" fmla="*/ 7848512 h 68"/>
                <a:gd name="T22" fmla="*/ 43874823 w 53"/>
                <a:gd name="T23" fmla="*/ 7848512 h 68"/>
                <a:gd name="T24" fmla="*/ 47710699 w 53"/>
                <a:gd name="T25" fmla="*/ 4837606 h 68"/>
                <a:gd name="T26" fmla="*/ 55252135 w 53"/>
                <a:gd name="T27" fmla="*/ 2950784 h 68"/>
                <a:gd name="T28" fmla="*/ 46805440 w 53"/>
                <a:gd name="T29" fmla="*/ 12726017 h 68"/>
                <a:gd name="T30" fmla="*/ 35563742 w 53"/>
                <a:gd name="T31" fmla="*/ 11453738 h 68"/>
                <a:gd name="T32" fmla="*/ 27052363 w 53"/>
                <a:gd name="T33" fmla="*/ 11453738 h 68"/>
                <a:gd name="T34" fmla="*/ 22853379 w 53"/>
                <a:gd name="T35" fmla="*/ 11453738 h 68"/>
                <a:gd name="T36" fmla="*/ 17509302 w 53"/>
                <a:gd name="T37" fmla="*/ 13590937 h 68"/>
                <a:gd name="T38" fmla="*/ 13628066 w 53"/>
                <a:gd name="T39" fmla="*/ 12726017 h 68"/>
                <a:gd name="T40" fmla="*/ 12710776 w 53"/>
                <a:gd name="T41" fmla="*/ 21379550 h 68"/>
                <a:gd name="T42" fmla="*/ 15806619 w 53"/>
                <a:gd name="T43" fmla="*/ 27118402 h 68"/>
                <a:gd name="T44" fmla="*/ 21935719 w 53"/>
                <a:gd name="T45" fmla="*/ 25569109 h 68"/>
                <a:gd name="T46" fmla="*/ 27052363 w 53"/>
                <a:gd name="T47" fmla="*/ 23528293 h 68"/>
                <a:gd name="T48" fmla="*/ 31164089 w 53"/>
                <a:gd name="T49" fmla="*/ 23528293 h 68"/>
                <a:gd name="T50" fmla="*/ 37577991 w 53"/>
                <a:gd name="T51" fmla="*/ 20509506 h 68"/>
                <a:gd name="T52" fmla="*/ 38524047 w 53"/>
                <a:gd name="T53" fmla="*/ 24323102 h 68"/>
                <a:gd name="T54" fmla="*/ 29295695 w 53"/>
                <a:gd name="T55" fmla="*/ 29228050 h 68"/>
                <a:gd name="T56" fmla="*/ 25817393 w 53"/>
                <a:gd name="T57" fmla="*/ 33417931 h 68"/>
                <a:gd name="T58" fmla="*/ 22853379 w 53"/>
                <a:gd name="T59" fmla="*/ 34233367 h 68"/>
                <a:gd name="T60" fmla="*/ 29295695 w 53"/>
                <a:gd name="T61" fmla="*/ 41953456 h 68"/>
                <a:gd name="T62" fmla="*/ 30218072 w 53"/>
                <a:gd name="T63" fmla="*/ 46947560 h 68"/>
                <a:gd name="T64" fmla="*/ 31164089 w 53"/>
                <a:gd name="T65" fmla="*/ 50619192 h 68"/>
                <a:gd name="T66" fmla="*/ 33316055 w 53"/>
                <a:gd name="T67" fmla="*/ 54797197 h 68"/>
                <a:gd name="T68" fmla="*/ 25817393 w 53"/>
                <a:gd name="T69" fmla="*/ 54797197 h 68"/>
                <a:gd name="T70" fmla="*/ 22853379 w 53"/>
                <a:gd name="T71" fmla="*/ 58495232 h 68"/>
                <a:gd name="T72" fmla="*/ 19688008 w 53"/>
                <a:gd name="T73" fmla="*/ 48559264 h 68"/>
                <a:gd name="T74" fmla="*/ 19688008 w 53"/>
                <a:gd name="T75" fmla="*/ 44904376 h 68"/>
                <a:gd name="T76" fmla="*/ 17509302 w 53"/>
                <a:gd name="T77" fmla="*/ 39164075 h 68"/>
                <a:gd name="T78" fmla="*/ 14341349 w 53"/>
                <a:gd name="T79" fmla="*/ 40027063 h 68"/>
                <a:gd name="T80" fmla="*/ 11379171 w 53"/>
                <a:gd name="T81" fmla="*/ 42767206 h 68"/>
                <a:gd name="T82" fmla="*/ 14341349 w 53"/>
                <a:gd name="T83" fmla="*/ 48559264 h 68"/>
                <a:gd name="T84" fmla="*/ 13628066 w 53"/>
                <a:gd name="T85" fmla="*/ 54797197 h 68"/>
                <a:gd name="T86" fmla="*/ 12710776 w 53"/>
                <a:gd name="T87" fmla="*/ 64206790 h 68"/>
                <a:gd name="T88" fmla="*/ 9226932 w 53"/>
                <a:gd name="T89" fmla="*/ 65387923 h 68"/>
                <a:gd name="T90" fmla="*/ 5346599 w 53"/>
                <a:gd name="T91" fmla="*/ 64206790 h 68"/>
                <a:gd name="T92" fmla="*/ 7365024 w 53"/>
                <a:gd name="T93" fmla="*/ 55706676 h 68"/>
                <a:gd name="T94" fmla="*/ 6032472 w 53"/>
                <a:gd name="T95" fmla="*/ 49737026 h 68"/>
                <a:gd name="T96" fmla="*/ 3097986 w 53"/>
                <a:gd name="T97" fmla="*/ 45769381 h 68"/>
                <a:gd name="T98" fmla="*/ 2248967 w 53"/>
                <a:gd name="T99" fmla="*/ 47827264 h 68"/>
                <a:gd name="T100" fmla="*/ 945994 w 53"/>
                <a:gd name="T101" fmla="*/ 43996791 h 6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3"/>
                <a:gd name="T154" fmla="*/ 0 h 68"/>
                <a:gd name="T155" fmla="*/ 53 w 53"/>
                <a:gd name="T156" fmla="*/ 68 h 6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3" h="68">
                  <a:moveTo>
                    <a:pt x="1" y="45"/>
                  </a:moveTo>
                  <a:cubicBezTo>
                    <a:pt x="1" y="43"/>
                    <a:pt x="2" y="42"/>
                    <a:pt x="3" y="40"/>
                  </a:cubicBezTo>
                  <a:cubicBezTo>
                    <a:pt x="3" y="40"/>
                    <a:pt x="3" y="39"/>
                    <a:pt x="3" y="39"/>
                  </a:cubicBezTo>
                  <a:cubicBezTo>
                    <a:pt x="4" y="38"/>
                    <a:pt x="4" y="37"/>
                    <a:pt x="5" y="37"/>
                  </a:cubicBezTo>
                  <a:cubicBezTo>
                    <a:pt x="5" y="35"/>
                    <a:pt x="4" y="34"/>
                    <a:pt x="4" y="33"/>
                  </a:cubicBezTo>
                  <a:cubicBezTo>
                    <a:pt x="5" y="31"/>
                    <a:pt x="5" y="30"/>
                    <a:pt x="6" y="29"/>
                  </a:cubicBezTo>
                  <a:cubicBezTo>
                    <a:pt x="6" y="27"/>
                    <a:pt x="6" y="26"/>
                    <a:pt x="6" y="25"/>
                  </a:cubicBezTo>
                  <a:cubicBezTo>
                    <a:pt x="7" y="24"/>
                    <a:pt x="8" y="24"/>
                    <a:pt x="9" y="23"/>
                  </a:cubicBezTo>
                  <a:cubicBezTo>
                    <a:pt x="10" y="23"/>
                    <a:pt x="9" y="21"/>
                    <a:pt x="9" y="20"/>
                  </a:cubicBezTo>
                  <a:cubicBezTo>
                    <a:pt x="9" y="20"/>
                    <a:pt x="8" y="19"/>
                    <a:pt x="9" y="19"/>
                  </a:cubicBezTo>
                  <a:cubicBezTo>
                    <a:pt x="10" y="17"/>
                    <a:pt x="10" y="16"/>
                    <a:pt x="9" y="15"/>
                  </a:cubicBezTo>
                  <a:cubicBezTo>
                    <a:pt x="8" y="14"/>
                    <a:pt x="8" y="13"/>
                    <a:pt x="9" y="12"/>
                  </a:cubicBezTo>
                  <a:cubicBezTo>
                    <a:pt x="9" y="11"/>
                    <a:pt x="10" y="11"/>
                    <a:pt x="11" y="10"/>
                  </a:cubicBezTo>
                  <a:cubicBezTo>
                    <a:pt x="11" y="10"/>
                    <a:pt x="11" y="10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3" y="9"/>
                    <a:pt x="15" y="10"/>
                    <a:pt x="15" y="8"/>
                  </a:cubicBezTo>
                  <a:cubicBezTo>
                    <a:pt x="16" y="7"/>
                    <a:pt x="16" y="5"/>
                    <a:pt x="18" y="3"/>
                  </a:cubicBezTo>
                  <a:cubicBezTo>
                    <a:pt x="18" y="3"/>
                    <a:pt x="20" y="3"/>
                    <a:pt x="20" y="3"/>
                  </a:cubicBezTo>
                  <a:cubicBezTo>
                    <a:pt x="21" y="4"/>
                    <a:pt x="21" y="5"/>
                    <a:pt x="21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4" y="6"/>
                    <a:pt x="27" y="6"/>
                    <a:pt x="28" y="6"/>
                  </a:cubicBezTo>
                  <a:cubicBezTo>
                    <a:pt x="31" y="7"/>
                    <a:pt x="33" y="8"/>
                    <a:pt x="35" y="8"/>
                  </a:cubicBezTo>
                  <a:cubicBezTo>
                    <a:pt x="36" y="7"/>
                    <a:pt x="37" y="8"/>
                    <a:pt x="38" y="8"/>
                  </a:cubicBezTo>
                  <a:cubicBezTo>
                    <a:pt x="40" y="8"/>
                    <a:pt x="41" y="8"/>
                    <a:pt x="42" y="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4" y="6"/>
                    <a:pt x="45" y="5"/>
                    <a:pt x="46" y="5"/>
                  </a:cubicBezTo>
                  <a:cubicBezTo>
                    <a:pt x="49" y="4"/>
                    <a:pt x="49" y="0"/>
                    <a:pt x="52" y="0"/>
                  </a:cubicBezTo>
                  <a:cubicBezTo>
                    <a:pt x="53" y="1"/>
                    <a:pt x="53" y="2"/>
                    <a:pt x="53" y="3"/>
                  </a:cubicBezTo>
                  <a:cubicBezTo>
                    <a:pt x="51" y="4"/>
                    <a:pt x="51" y="6"/>
                    <a:pt x="49" y="8"/>
                  </a:cubicBezTo>
                  <a:cubicBezTo>
                    <a:pt x="47" y="9"/>
                    <a:pt x="47" y="11"/>
                    <a:pt x="45" y="13"/>
                  </a:cubicBezTo>
                  <a:cubicBezTo>
                    <a:pt x="42" y="14"/>
                    <a:pt x="40" y="14"/>
                    <a:pt x="37" y="13"/>
                  </a:cubicBezTo>
                  <a:cubicBezTo>
                    <a:pt x="36" y="13"/>
                    <a:pt x="35" y="12"/>
                    <a:pt x="34" y="12"/>
                  </a:cubicBezTo>
                  <a:cubicBezTo>
                    <a:pt x="33" y="11"/>
                    <a:pt x="31" y="11"/>
                    <a:pt x="30" y="12"/>
                  </a:cubicBezTo>
                  <a:cubicBezTo>
                    <a:pt x="29" y="13"/>
                    <a:pt x="27" y="13"/>
                    <a:pt x="26" y="12"/>
                  </a:cubicBezTo>
                  <a:cubicBezTo>
                    <a:pt x="25" y="12"/>
                    <a:pt x="23" y="12"/>
                    <a:pt x="22" y="12"/>
                  </a:cubicBezTo>
                  <a:cubicBezTo>
                    <a:pt x="22" y="12"/>
                    <a:pt x="21" y="12"/>
                    <a:pt x="22" y="12"/>
                  </a:cubicBezTo>
                  <a:cubicBezTo>
                    <a:pt x="21" y="13"/>
                    <a:pt x="20" y="13"/>
                    <a:pt x="19" y="13"/>
                  </a:cubicBezTo>
                  <a:cubicBezTo>
                    <a:pt x="19" y="14"/>
                    <a:pt x="18" y="14"/>
                    <a:pt x="17" y="14"/>
                  </a:cubicBezTo>
                  <a:cubicBezTo>
                    <a:pt x="16" y="13"/>
                    <a:pt x="16" y="12"/>
                    <a:pt x="15" y="12"/>
                  </a:cubicBezTo>
                  <a:cubicBezTo>
                    <a:pt x="15" y="11"/>
                    <a:pt x="13" y="12"/>
                    <a:pt x="13" y="13"/>
                  </a:cubicBezTo>
                  <a:cubicBezTo>
                    <a:pt x="11" y="15"/>
                    <a:pt x="12" y="18"/>
                    <a:pt x="12" y="21"/>
                  </a:cubicBezTo>
                  <a:cubicBezTo>
                    <a:pt x="12" y="21"/>
                    <a:pt x="12" y="21"/>
                    <a:pt x="12" y="22"/>
                  </a:cubicBezTo>
                  <a:cubicBezTo>
                    <a:pt x="13" y="23"/>
                    <a:pt x="14" y="24"/>
                    <a:pt x="15" y="26"/>
                  </a:cubicBezTo>
                  <a:cubicBezTo>
                    <a:pt x="16" y="26"/>
                    <a:pt x="15" y="27"/>
                    <a:pt x="15" y="28"/>
                  </a:cubicBezTo>
                  <a:cubicBezTo>
                    <a:pt x="16" y="29"/>
                    <a:pt x="18" y="30"/>
                    <a:pt x="19" y="30"/>
                  </a:cubicBezTo>
                  <a:cubicBezTo>
                    <a:pt x="19" y="28"/>
                    <a:pt x="19" y="27"/>
                    <a:pt x="21" y="26"/>
                  </a:cubicBezTo>
                  <a:cubicBezTo>
                    <a:pt x="21" y="25"/>
                    <a:pt x="22" y="25"/>
                    <a:pt x="23" y="24"/>
                  </a:cubicBezTo>
                  <a:cubicBezTo>
                    <a:pt x="24" y="24"/>
                    <a:pt x="25" y="24"/>
                    <a:pt x="26" y="24"/>
                  </a:cubicBezTo>
                  <a:cubicBezTo>
                    <a:pt x="27" y="25"/>
                    <a:pt x="28" y="25"/>
                    <a:pt x="30" y="24"/>
                  </a:cubicBezTo>
                  <a:cubicBezTo>
                    <a:pt x="29" y="24"/>
                    <a:pt x="30" y="24"/>
                    <a:pt x="30" y="24"/>
                  </a:cubicBezTo>
                  <a:cubicBezTo>
                    <a:pt x="30" y="24"/>
                    <a:pt x="31" y="24"/>
                    <a:pt x="31" y="23"/>
                  </a:cubicBezTo>
                  <a:cubicBezTo>
                    <a:pt x="33" y="22"/>
                    <a:pt x="34" y="21"/>
                    <a:pt x="36" y="21"/>
                  </a:cubicBezTo>
                  <a:cubicBezTo>
                    <a:pt x="36" y="22"/>
                    <a:pt x="37" y="22"/>
                    <a:pt x="37" y="23"/>
                  </a:cubicBezTo>
                  <a:cubicBezTo>
                    <a:pt x="37" y="24"/>
                    <a:pt x="37" y="25"/>
                    <a:pt x="37" y="25"/>
                  </a:cubicBezTo>
                  <a:cubicBezTo>
                    <a:pt x="36" y="26"/>
                    <a:pt x="35" y="25"/>
                    <a:pt x="33" y="25"/>
                  </a:cubicBezTo>
                  <a:cubicBezTo>
                    <a:pt x="32" y="27"/>
                    <a:pt x="30" y="29"/>
                    <a:pt x="28" y="30"/>
                  </a:cubicBezTo>
                  <a:cubicBezTo>
                    <a:pt x="28" y="31"/>
                    <a:pt x="27" y="31"/>
                    <a:pt x="27" y="31"/>
                  </a:cubicBezTo>
                  <a:cubicBezTo>
                    <a:pt x="26" y="32"/>
                    <a:pt x="26" y="33"/>
                    <a:pt x="25" y="34"/>
                  </a:cubicBezTo>
                  <a:cubicBezTo>
                    <a:pt x="24" y="34"/>
                    <a:pt x="23" y="34"/>
                    <a:pt x="22" y="34"/>
                  </a:cubicBezTo>
                  <a:cubicBezTo>
                    <a:pt x="22" y="34"/>
                    <a:pt x="22" y="35"/>
                    <a:pt x="22" y="35"/>
                  </a:cubicBezTo>
                  <a:cubicBezTo>
                    <a:pt x="24" y="36"/>
                    <a:pt x="24" y="38"/>
                    <a:pt x="26" y="39"/>
                  </a:cubicBezTo>
                  <a:cubicBezTo>
                    <a:pt x="27" y="41"/>
                    <a:pt x="28" y="42"/>
                    <a:pt x="28" y="43"/>
                  </a:cubicBezTo>
                  <a:cubicBezTo>
                    <a:pt x="29" y="44"/>
                    <a:pt x="30" y="46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8" y="49"/>
                    <a:pt x="28" y="50"/>
                    <a:pt x="29" y="51"/>
                  </a:cubicBezTo>
                  <a:cubicBezTo>
                    <a:pt x="29" y="51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4"/>
                    <a:pt x="33" y="55"/>
                    <a:pt x="32" y="56"/>
                  </a:cubicBezTo>
                  <a:cubicBezTo>
                    <a:pt x="30" y="56"/>
                    <a:pt x="29" y="56"/>
                    <a:pt x="27" y="56"/>
                  </a:cubicBezTo>
                  <a:cubicBezTo>
                    <a:pt x="27" y="55"/>
                    <a:pt x="26" y="55"/>
                    <a:pt x="25" y="56"/>
                  </a:cubicBezTo>
                  <a:cubicBezTo>
                    <a:pt x="25" y="57"/>
                    <a:pt x="26" y="58"/>
                    <a:pt x="25" y="59"/>
                  </a:cubicBezTo>
                  <a:cubicBezTo>
                    <a:pt x="25" y="60"/>
                    <a:pt x="23" y="60"/>
                    <a:pt x="22" y="60"/>
                  </a:cubicBezTo>
                  <a:cubicBezTo>
                    <a:pt x="22" y="57"/>
                    <a:pt x="23" y="55"/>
                    <a:pt x="22" y="53"/>
                  </a:cubicBezTo>
                  <a:cubicBezTo>
                    <a:pt x="21" y="52"/>
                    <a:pt x="20" y="51"/>
                    <a:pt x="19" y="50"/>
                  </a:cubicBezTo>
                  <a:cubicBezTo>
                    <a:pt x="18" y="50"/>
                    <a:pt x="16" y="48"/>
                    <a:pt x="17" y="47"/>
                  </a:cubicBezTo>
                  <a:cubicBezTo>
                    <a:pt x="17" y="47"/>
                    <a:pt x="19" y="47"/>
                    <a:pt x="19" y="46"/>
                  </a:cubicBezTo>
                  <a:cubicBezTo>
                    <a:pt x="19" y="45"/>
                    <a:pt x="19" y="44"/>
                    <a:pt x="19" y="44"/>
                  </a:cubicBezTo>
                  <a:cubicBezTo>
                    <a:pt x="18" y="43"/>
                    <a:pt x="18" y="41"/>
                    <a:pt x="17" y="40"/>
                  </a:cubicBezTo>
                  <a:cubicBezTo>
                    <a:pt x="17" y="40"/>
                    <a:pt x="16" y="40"/>
                    <a:pt x="16" y="40"/>
                  </a:cubicBezTo>
                  <a:cubicBezTo>
                    <a:pt x="15" y="40"/>
                    <a:pt x="15" y="41"/>
                    <a:pt x="14" y="41"/>
                  </a:cubicBezTo>
                  <a:cubicBezTo>
                    <a:pt x="13" y="41"/>
                    <a:pt x="12" y="41"/>
                    <a:pt x="12" y="42"/>
                  </a:cubicBezTo>
                  <a:cubicBezTo>
                    <a:pt x="11" y="43"/>
                    <a:pt x="11" y="43"/>
                    <a:pt x="11" y="44"/>
                  </a:cubicBezTo>
                  <a:cubicBezTo>
                    <a:pt x="12" y="45"/>
                    <a:pt x="13" y="46"/>
                    <a:pt x="14" y="47"/>
                  </a:cubicBezTo>
                  <a:cubicBezTo>
                    <a:pt x="14" y="48"/>
                    <a:pt x="14" y="49"/>
                    <a:pt x="14" y="50"/>
                  </a:cubicBezTo>
                  <a:cubicBezTo>
                    <a:pt x="13" y="51"/>
                    <a:pt x="12" y="52"/>
                    <a:pt x="13" y="53"/>
                  </a:cubicBezTo>
                  <a:cubicBezTo>
                    <a:pt x="14" y="54"/>
                    <a:pt x="13" y="55"/>
                    <a:pt x="13" y="56"/>
                  </a:cubicBezTo>
                  <a:cubicBezTo>
                    <a:pt x="13" y="56"/>
                    <a:pt x="13" y="56"/>
                    <a:pt x="13" y="57"/>
                  </a:cubicBezTo>
                  <a:cubicBezTo>
                    <a:pt x="13" y="60"/>
                    <a:pt x="13" y="63"/>
                    <a:pt x="12" y="66"/>
                  </a:cubicBezTo>
                  <a:cubicBezTo>
                    <a:pt x="12" y="66"/>
                    <a:pt x="12" y="67"/>
                    <a:pt x="11" y="67"/>
                  </a:cubicBezTo>
                  <a:cubicBezTo>
                    <a:pt x="11" y="67"/>
                    <a:pt x="10" y="67"/>
                    <a:pt x="9" y="67"/>
                  </a:cubicBezTo>
                  <a:cubicBezTo>
                    <a:pt x="8" y="68"/>
                    <a:pt x="7" y="68"/>
                    <a:pt x="6" y="67"/>
                  </a:cubicBezTo>
                  <a:cubicBezTo>
                    <a:pt x="6" y="67"/>
                    <a:pt x="5" y="66"/>
                    <a:pt x="5" y="66"/>
                  </a:cubicBezTo>
                  <a:cubicBezTo>
                    <a:pt x="4" y="64"/>
                    <a:pt x="4" y="62"/>
                    <a:pt x="5" y="60"/>
                  </a:cubicBezTo>
                  <a:cubicBezTo>
                    <a:pt x="5" y="59"/>
                    <a:pt x="7" y="58"/>
                    <a:pt x="7" y="57"/>
                  </a:cubicBezTo>
                  <a:cubicBezTo>
                    <a:pt x="7" y="56"/>
                    <a:pt x="8" y="54"/>
                    <a:pt x="7" y="53"/>
                  </a:cubicBezTo>
                  <a:cubicBezTo>
                    <a:pt x="7" y="52"/>
                    <a:pt x="6" y="52"/>
                    <a:pt x="6" y="51"/>
                  </a:cubicBezTo>
                  <a:cubicBezTo>
                    <a:pt x="6" y="50"/>
                    <a:pt x="6" y="49"/>
                    <a:pt x="6" y="48"/>
                  </a:cubicBezTo>
                  <a:cubicBezTo>
                    <a:pt x="5" y="47"/>
                    <a:pt x="4" y="47"/>
                    <a:pt x="3" y="47"/>
                  </a:cubicBezTo>
                  <a:cubicBezTo>
                    <a:pt x="3" y="48"/>
                    <a:pt x="3" y="48"/>
                    <a:pt x="2" y="49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0" y="47"/>
                    <a:pt x="1" y="46"/>
                    <a:pt x="1" y="4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8" name="Freeform 329"/>
            <p:cNvSpPr>
              <a:spLocks/>
            </p:cNvSpPr>
            <p:nvPr/>
          </p:nvSpPr>
          <p:spPr bwMode="auto">
            <a:xfrm>
              <a:off x="8174964" y="5368641"/>
              <a:ext cx="5801" cy="10879"/>
            </a:xfrm>
            <a:custGeom>
              <a:avLst/>
              <a:gdLst>
                <a:gd name="T0" fmla="*/ 940581 w 5"/>
                <a:gd name="T1" fmla="*/ 7196548 h 10"/>
                <a:gd name="T2" fmla="*/ 940581 w 5"/>
                <a:gd name="T3" fmla="*/ 3577445 h 10"/>
                <a:gd name="T4" fmla="*/ 1245675 w 5"/>
                <a:gd name="T5" fmla="*/ 1064436 h 10"/>
                <a:gd name="T6" fmla="*/ 566216 w 5"/>
                <a:gd name="T7" fmla="*/ 1064436 h 10"/>
                <a:gd name="T8" fmla="*/ 257371 w 5"/>
                <a:gd name="T9" fmla="*/ 5085394 h 10"/>
                <a:gd name="T10" fmla="*/ 0 w 5"/>
                <a:gd name="T11" fmla="*/ 12204941 h 10"/>
                <a:gd name="T12" fmla="*/ 257371 w 5"/>
                <a:gd name="T13" fmla="*/ 12204941 h 10"/>
                <a:gd name="T14" fmla="*/ 940581 w 5"/>
                <a:gd name="T15" fmla="*/ 11140513 h 10"/>
                <a:gd name="T16" fmla="*/ 940581 w 5"/>
                <a:gd name="T17" fmla="*/ 7196548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10"/>
                <a:gd name="T29" fmla="*/ 5 w 5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10">
                  <a:moveTo>
                    <a:pt x="3" y="6"/>
                  </a:moveTo>
                  <a:cubicBezTo>
                    <a:pt x="3" y="5"/>
                    <a:pt x="3" y="4"/>
                    <a:pt x="3" y="3"/>
                  </a:cubicBezTo>
                  <a:cubicBezTo>
                    <a:pt x="4" y="2"/>
                    <a:pt x="5" y="1"/>
                    <a:pt x="4" y="1"/>
                  </a:cubicBezTo>
                  <a:cubicBezTo>
                    <a:pt x="4" y="0"/>
                    <a:pt x="2" y="0"/>
                    <a:pt x="2" y="1"/>
                  </a:cubicBezTo>
                  <a:cubicBezTo>
                    <a:pt x="1" y="1"/>
                    <a:pt x="1" y="3"/>
                    <a:pt x="1" y="4"/>
                  </a:cubicBezTo>
                  <a:cubicBezTo>
                    <a:pt x="0" y="6"/>
                    <a:pt x="0" y="8"/>
                    <a:pt x="0" y="10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1" y="9"/>
                    <a:pt x="2" y="9"/>
                    <a:pt x="3" y="9"/>
                  </a:cubicBezTo>
                  <a:cubicBezTo>
                    <a:pt x="4" y="8"/>
                    <a:pt x="4" y="7"/>
                    <a:pt x="3" y="6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9" name="Freeform 330"/>
            <p:cNvSpPr>
              <a:spLocks/>
            </p:cNvSpPr>
            <p:nvPr/>
          </p:nvSpPr>
          <p:spPr bwMode="auto">
            <a:xfrm>
              <a:off x="8168438" y="5370456"/>
              <a:ext cx="4350" cy="6044"/>
            </a:xfrm>
            <a:custGeom>
              <a:avLst/>
              <a:gdLst>
                <a:gd name="T0" fmla="*/ 727531 w 3"/>
                <a:gd name="T1" fmla="*/ 727531 h 6"/>
                <a:gd name="T2" fmla="*/ 727531 w 3"/>
                <a:gd name="T3" fmla="*/ 727531 h 6"/>
                <a:gd name="T4" fmla="*/ 727531 w 3"/>
                <a:gd name="T5" fmla="*/ 2243220 h 6"/>
                <a:gd name="T6" fmla="*/ 1697572 w 3"/>
                <a:gd name="T7" fmla="*/ 4688532 h 6"/>
                <a:gd name="T8" fmla="*/ 1697572 w 3"/>
                <a:gd name="T9" fmla="*/ 4688532 h 6"/>
                <a:gd name="T10" fmla="*/ 2243220 w 3"/>
                <a:gd name="T11" fmla="*/ 727531 h 6"/>
                <a:gd name="T12" fmla="*/ 727531 w 3"/>
                <a:gd name="T13" fmla="*/ 727531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6"/>
                <a:gd name="T23" fmla="*/ 3 w 3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6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1" y="4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4"/>
                    <a:pt x="3" y="3"/>
                    <a:pt x="3" y="1"/>
                  </a:cubicBezTo>
                  <a:cubicBezTo>
                    <a:pt x="3" y="1"/>
                    <a:pt x="2" y="0"/>
                    <a:pt x="1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0" name="Freeform 331"/>
            <p:cNvSpPr>
              <a:spLocks/>
            </p:cNvSpPr>
            <p:nvPr/>
          </p:nvSpPr>
          <p:spPr bwMode="auto">
            <a:xfrm>
              <a:off x="8264860" y="5394629"/>
              <a:ext cx="5075" cy="7253"/>
            </a:xfrm>
            <a:custGeom>
              <a:avLst/>
              <a:gdLst>
                <a:gd name="T0" fmla="*/ 941139 w 4"/>
                <a:gd name="T1" fmla="*/ 3397424 h 7"/>
                <a:gd name="T2" fmla="*/ 941139 w 4"/>
                <a:gd name="T3" fmla="*/ 3397424 h 7"/>
                <a:gd name="T4" fmla="*/ 1359459 w 4"/>
                <a:gd name="T5" fmla="*/ 505778 h 7"/>
                <a:gd name="T6" fmla="*/ 941139 w 4"/>
                <a:gd name="T7" fmla="*/ 505778 h 7"/>
                <a:gd name="T8" fmla="*/ 418284 w 4"/>
                <a:gd name="T9" fmla="*/ 2234466 h 7"/>
                <a:gd name="T10" fmla="*/ 0 w 4"/>
                <a:gd name="T11" fmla="*/ 2642432 h 7"/>
                <a:gd name="T12" fmla="*/ 0 w 4"/>
                <a:gd name="T13" fmla="*/ 3942014 h 7"/>
                <a:gd name="T14" fmla="*/ 1359459 w 4"/>
                <a:gd name="T15" fmla="*/ 3397424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7"/>
                <a:gd name="T26" fmla="*/ 4 w 4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7">
                  <a:moveTo>
                    <a:pt x="2" y="6"/>
                  </a:move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3" y="3"/>
                    <a:pt x="3" y="1"/>
                  </a:cubicBezTo>
                  <a:cubicBezTo>
                    <a:pt x="3" y="1"/>
                    <a:pt x="2" y="0"/>
                    <a:pt x="2" y="1"/>
                  </a:cubicBezTo>
                  <a:cubicBezTo>
                    <a:pt x="1" y="2"/>
                    <a:pt x="2" y="3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1" y="7"/>
                    <a:pt x="2" y="7"/>
                    <a:pt x="3" y="6"/>
                  </a:cubicBezTo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1" name="Freeform 332"/>
            <p:cNvSpPr>
              <a:spLocks/>
            </p:cNvSpPr>
            <p:nvPr/>
          </p:nvSpPr>
          <p:spPr bwMode="auto">
            <a:xfrm>
              <a:off x="8295306" y="5384354"/>
              <a:ext cx="4350" cy="7253"/>
            </a:xfrm>
            <a:custGeom>
              <a:avLst/>
              <a:gdLst>
                <a:gd name="T0" fmla="*/ 2243220 w 3"/>
                <a:gd name="T1" fmla="*/ 9251750 h 6"/>
                <a:gd name="T2" fmla="*/ 1697572 w 3"/>
                <a:gd name="T3" fmla="*/ 2975593 h 6"/>
                <a:gd name="T4" fmla="*/ 0 w 3"/>
                <a:gd name="T5" fmla="*/ 2975593 h 6"/>
                <a:gd name="T6" fmla="*/ 0 w 3"/>
                <a:gd name="T7" fmla="*/ 11920201 h 6"/>
                <a:gd name="T8" fmla="*/ 1697572 w 3"/>
                <a:gd name="T9" fmla="*/ 13878121 h 6"/>
                <a:gd name="T10" fmla="*/ 1697572 w 3"/>
                <a:gd name="T11" fmla="*/ 11920201 h 6"/>
                <a:gd name="T12" fmla="*/ 2243220 w 3"/>
                <a:gd name="T13" fmla="*/ 925175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6"/>
                <a:gd name="T23" fmla="*/ 3 w 3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6">
                  <a:moveTo>
                    <a:pt x="3" y="4"/>
                  </a:moveTo>
                  <a:cubicBezTo>
                    <a:pt x="3" y="3"/>
                    <a:pt x="3" y="2"/>
                    <a:pt x="2" y="1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4"/>
                    <a:pt x="0" y="5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2" y="6"/>
                    <a:pt x="3" y="5"/>
                    <a:pt x="2" y="5"/>
                  </a:cubicBezTo>
                  <a:cubicBezTo>
                    <a:pt x="3" y="5"/>
                    <a:pt x="2" y="4"/>
                    <a:pt x="3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2" name="Freeform 333"/>
            <p:cNvSpPr>
              <a:spLocks/>
            </p:cNvSpPr>
            <p:nvPr/>
          </p:nvSpPr>
          <p:spPr bwMode="auto">
            <a:xfrm>
              <a:off x="8299656" y="5377707"/>
              <a:ext cx="3624" cy="10276"/>
            </a:xfrm>
            <a:custGeom>
              <a:avLst/>
              <a:gdLst>
                <a:gd name="T0" fmla="*/ 0 w 3"/>
                <a:gd name="T1" fmla="*/ 6550065 h 9"/>
                <a:gd name="T2" fmla="*/ 727531 w 3"/>
                <a:gd name="T3" fmla="*/ 13330806 h 9"/>
                <a:gd name="T4" fmla="*/ 2243220 w 3"/>
                <a:gd name="T5" fmla="*/ 13330806 h 9"/>
                <a:gd name="T6" fmla="*/ 2243220 w 3"/>
                <a:gd name="T7" fmla="*/ 7915496 h 9"/>
                <a:gd name="T8" fmla="*/ 727531 w 3"/>
                <a:gd name="T9" fmla="*/ 0 h 9"/>
                <a:gd name="T10" fmla="*/ 0 w 3"/>
                <a:gd name="T11" fmla="*/ 0 h 9"/>
                <a:gd name="T12" fmla="*/ 0 w 3"/>
                <a:gd name="T13" fmla="*/ 6550065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9"/>
                <a:gd name="T23" fmla="*/ 3 w 3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9">
                  <a:moveTo>
                    <a:pt x="0" y="4"/>
                  </a:moveTo>
                  <a:cubicBezTo>
                    <a:pt x="0" y="6"/>
                    <a:pt x="0" y="7"/>
                    <a:pt x="1" y="8"/>
                  </a:cubicBezTo>
                  <a:cubicBezTo>
                    <a:pt x="1" y="9"/>
                    <a:pt x="3" y="9"/>
                    <a:pt x="3" y="8"/>
                  </a:cubicBezTo>
                  <a:cubicBezTo>
                    <a:pt x="3" y="7"/>
                    <a:pt x="3" y="6"/>
                    <a:pt x="3" y="5"/>
                  </a:cubicBezTo>
                  <a:cubicBezTo>
                    <a:pt x="2" y="4"/>
                    <a:pt x="2" y="2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2"/>
                    <a:pt x="0" y="3"/>
                    <a:pt x="0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3" name="Freeform 334"/>
            <p:cNvSpPr>
              <a:spLocks/>
            </p:cNvSpPr>
            <p:nvPr/>
          </p:nvSpPr>
          <p:spPr bwMode="auto">
            <a:xfrm>
              <a:off x="8230784" y="5351115"/>
              <a:ext cx="30449" cy="8460"/>
            </a:xfrm>
            <a:custGeom>
              <a:avLst/>
              <a:gdLst>
                <a:gd name="T0" fmla="*/ 18819602 w 22"/>
                <a:gd name="T1" fmla="*/ 3065115 h 8"/>
                <a:gd name="T2" fmla="*/ 17330086 w 22"/>
                <a:gd name="T3" fmla="*/ 2129866 h 8"/>
                <a:gd name="T4" fmla="*/ 13226484 w 22"/>
                <a:gd name="T5" fmla="*/ 896786 h 8"/>
                <a:gd name="T6" fmla="*/ 13226484 w 22"/>
                <a:gd name="T7" fmla="*/ 0 h 8"/>
                <a:gd name="T8" fmla="*/ 11216146 w 22"/>
                <a:gd name="T9" fmla="*/ 0 h 8"/>
                <a:gd name="T10" fmla="*/ 5595820 w 22"/>
                <a:gd name="T11" fmla="*/ 0 h 8"/>
                <a:gd name="T12" fmla="*/ 2894074 w 22"/>
                <a:gd name="T13" fmla="*/ 0 h 8"/>
                <a:gd name="T14" fmla="*/ 0 w 22"/>
                <a:gd name="T15" fmla="*/ 4351847 h 8"/>
                <a:gd name="T16" fmla="*/ 6840539 w 22"/>
                <a:gd name="T17" fmla="*/ 5058432 h 8"/>
                <a:gd name="T18" fmla="*/ 8480159 w 22"/>
                <a:gd name="T19" fmla="*/ 5058432 h 8"/>
                <a:gd name="T20" fmla="*/ 17330086 w 22"/>
                <a:gd name="T21" fmla="*/ 5955246 h 8"/>
                <a:gd name="T22" fmla="*/ 20043998 w 22"/>
                <a:gd name="T23" fmla="*/ 8176458 h 8"/>
                <a:gd name="T24" fmla="*/ 20043998 w 22"/>
                <a:gd name="T25" fmla="*/ 5058432 h 8"/>
                <a:gd name="T26" fmla="*/ 18819602 w 22"/>
                <a:gd name="T27" fmla="*/ 3065115 h 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2"/>
                <a:gd name="T43" fmla="*/ 0 h 8"/>
                <a:gd name="T44" fmla="*/ 22 w 22"/>
                <a:gd name="T45" fmla="*/ 8 h 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2" h="8">
                  <a:moveTo>
                    <a:pt x="20" y="3"/>
                  </a:moveTo>
                  <a:cubicBezTo>
                    <a:pt x="19" y="3"/>
                    <a:pt x="19" y="2"/>
                    <a:pt x="18" y="2"/>
                  </a:cubicBezTo>
                  <a:cubicBezTo>
                    <a:pt x="17" y="1"/>
                    <a:pt x="15" y="2"/>
                    <a:pt x="14" y="1"/>
                  </a:cubicBezTo>
                  <a:cubicBezTo>
                    <a:pt x="14" y="1"/>
                    <a:pt x="14" y="0"/>
                    <a:pt x="14" y="0"/>
                  </a:cubicBezTo>
                  <a:cubicBezTo>
                    <a:pt x="13" y="0"/>
                    <a:pt x="12" y="0"/>
                    <a:pt x="12" y="0"/>
                  </a:cubicBezTo>
                  <a:cubicBezTo>
                    <a:pt x="10" y="1"/>
                    <a:pt x="7" y="2"/>
                    <a:pt x="6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2" y="6"/>
                    <a:pt x="5" y="6"/>
                    <a:pt x="7" y="5"/>
                  </a:cubicBezTo>
                  <a:cubicBezTo>
                    <a:pt x="7" y="4"/>
                    <a:pt x="8" y="4"/>
                    <a:pt x="9" y="5"/>
                  </a:cubicBezTo>
                  <a:cubicBezTo>
                    <a:pt x="12" y="6"/>
                    <a:pt x="15" y="5"/>
                    <a:pt x="18" y="6"/>
                  </a:cubicBezTo>
                  <a:cubicBezTo>
                    <a:pt x="19" y="6"/>
                    <a:pt x="20" y="8"/>
                    <a:pt x="21" y="8"/>
                  </a:cubicBezTo>
                  <a:cubicBezTo>
                    <a:pt x="22" y="7"/>
                    <a:pt x="22" y="6"/>
                    <a:pt x="21" y="5"/>
                  </a:cubicBezTo>
                  <a:cubicBezTo>
                    <a:pt x="21" y="5"/>
                    <a:pt x="20" y="4"/>
                    <a:pt x="20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4" name="Freeform 335"/>
            <p:cNvSpPr>
              <a:spLocks/>
            </p:cNvSpPr>
            <p:nvPr/>
          </p:nvSpPr>
          <p:spPr bwMode="auto">
            <a:xfrm>
              <a:off x="8249634" y="5340239"/>
              <a:ext cx="8699" cy="3626"/>
            </a:xfrm>
            <a:custGeom>
              <a:avLst/>
              <a:gdLst>
                <a:gd name="T0" fmla="*/ 2243220 w 6"/>
                <a:gd name="T1" fmla="*/ 727531 h 3"/>
                <a:gd name="T2" fmla="*/ 727531 w 6"/>
                <a:gd name="T3" fmla="*/ 1697572 h 3"/>
                <a:gd name="T4" fmla="*/ 2243220 w 6"/>
                <a:gd name="T5" fmla="*/ 2243220 h 3"/>
                <a:gd name="T6" fmla="*/ 4688532 w 6"/>
                <a:gd name="T7" fmla="*/ 2243220 h 3"/>
                <a:gd name="T8" fmla="*/ 4688532 w 6"/>
                <a:gd name="T9" fmla="*/ 727531 h 3"/>
                <a:gd name="T10" fmla="*/ 2243220 w 6"/>
                <a:gd name="T11" fmla="*/ 727531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2" y="2"/>
                    <a:pt x="3" y="3"/>
                  </a:cubicBezTo>
                  <a:cubicBezTo>
                    <a:pt x="4" y="3"/>
                    <a:pt x="5" y="3"/>
                    <a:pt x="6" y="3"/>
                  </a:cubicBezTo>
                  <a:cubicBezTo>
                    <a:pt x="6" y="3"/>
                    <a:pt x="6" y="1"/>
                    <a:pt x="6" y="1"/>
                  </a:cubicBezTo>
                  <a:cubicBezTo>
                    <a:pt x="5" y="1"/>
                    <a:pt x="4" y="1"/>
                    <a:pt x="3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5" name="Freeform 336"/>
            <p:cNvSpPr>
              <a:spLocks/>
            </p:cNvSpPr>
            <p:nvPr/>
          </p:nvSpPr>
          <p:spPr bwMode="auto">
            <a:xfrm>
              <a:off x="8225712" y="5337217"/>
              <a:ext cx="7248" cy="4232"/>
            </a:xfrm>
            <a:custGeom>
              <a:avLst/>
              <a:gdLst>
                <a:gd name="T0" fmla="*/ 2970751 w 6"/>
                <a:gd name="T1" fmla="*/ 941139 h 4"/>
                <a:gd name="T2" fmla="*/ 1697572 w 6"/>
                <a:gd name="T3" fmla="*/ 418284 h 4"/>
                <a:gd name="T4" fmla="*/ 727531 w 6"/>
                <a:gd name="T5" fmla="*/ 1359459 h 4"/>
                <a:gd name="T6" fmla="*/ 3961001 w 6"/>
                <a:gd name="T7" fmla="*/ 1359459 h 4"/>
                <a:gd name="T8" fmla="*/ 2970751 w 6"/>
                <a:gd name="T9" fmla="*/ 94113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4"/>
                <a:gd name="T17" fmla="*/ 6 w 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4">
                  <a:moveTo>
                    <a:pt x="4" y="2"/>
                  </a:moveTo>
                  <a:cubicBezTo>
                    <a:pt x="3" y="1"/>
                    <a:pt x="3" y="0"/>
                    <a:pt x="2" y="1"/>
                  </a:cubicBezTo>
                  <a:cubicBezTo>
                    <a:pt x="1" y="1"/>
                    <a:pt x="0" y="3"/>
                    <a:pt x="1" y="3"/>
                  </a:cubicBezTo>
                  <a:cubicBezTo>
                    <a:pt x="2" y="4"/>
                    <a:pt x="4" y="3"/>
                    <a:pt x="5" y="3"/>
                  </a:cubicBezTo>
                  <a:cubicBezTo>
                    <a:pt x="5" y="3"/>
                    <a:pt x="6" y="2"/>
                    <a:pt x="4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6" name="Freeform 337"/>
            <p:cNvSpPr>
              <a:spLocks/>
            </p:cNvSpPr>
            <p:nvPr/>
          </p:nvSpPr>
          <p:spPr bwMode="auto">
            <a:xfrm>
              <a:off x="8258334" y="5322713"/>
              <a:ext cx="11598" cy="6044"/>
            </a:xfrm>
            <a:custGeom>
              <a:avLst/>
              <a:gdLst>
                <a:gd name="T0" fmla="*/ 4688532 w 9"/>
                <a:gd name="T1" fmla="*/ 1064436 h 5"/>
                <a:gd name="T2" fmla="*/ 1697572 w 9"/>
                <a:gd name="T3" fmla="*/ 1064436 h 5"/>
                <a:gd name="T4" fmla="*/ 0 w 9"/>
                <a:gd name="T5" fmla="*/ 1064436 h 5"/>
                <a:gd name="T6" fmla="*/ 0 w 9"/>
                <a:gd name="T7" fmla="*/ 5085394 h 5"/>
                <a:gd name="T8" fmla="*/ 727531 w 9"/>
                <a:gd name="T9" fmla="*/ 5085394 h 5"/>
                <a:gd name="T10" fmla="*/ 1697572 w 9"/>
                <a:gd name="T11" fmla="*/ 6131150 h 5"/>
                <a:gd name="T12" fmla="*/ 2243220 w 9"/>
                <a:gd name="T13" fmla="*/ 6131150 h 5"/>
                <a:gd name="T14" fmla="*/ 6253179 w 9"/>
                <a:gd name="T15" fmla="*/ 5085394 h 5"/>
                <a:gd name="T16" fmla="*/ 6253179 w 9"/>
                <a:gd name="T17" fmla="*/ 2554647 h 5"/>
                <a:gd name="T18" fmla="*/ 4688532 w 9"/>
                <a:gd name="T19" fmla="*/ 1064436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5"/>
                <a:gd name="T32" fmla="*/ 9 w 9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5">
                  <a:moveTo>
                    <a:pt x="6" y="1"/>
                  </a:moveTo>
                  <a:cubicBezTo>
                    <a:pt x="5" y="1"/>
                    <a:pt x="3" y="1"/>
                    <a:pt x="2" y="1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4"/>
                    <a:pt x="1" y="3"/>
                    <a:pt x="1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3" y="5"/>
                    <a:pt x="3" y="5"/>
                  </a:cubicBezTo>
                  <a:cubicBezTo>
                    <a:pt x="4" y="3"/>
                    <a:pt x="7" y="5"/>
                    <a:pt x="8" y="4"/>
                  </a:cubicBezTo>
                  <a:cubicBezTo>
                    <a:pt x="9" y="4"/>
                    <a:pt x="8" y="2"/>
                    <a:pt x="8" y="2"/>
                  </a:cubicBezTo>
                  <a:cubicBezTo>
                    <a:pt x="8" y="1"/>
                    <a:pt x="7" y="1"/>
                    <a:pt x="6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7" name="Freeform 338"/>
            <p:cNvSpPr>
              <a:spLocks/>
            </p:cNvSpPr>
            <p:nvPr/>
          </p:nvSpPr>
          <p:spPr bwMode="auto">
            <a:xfrm>
              <a:off x="8311980" y="5329964"/>
              <a:ext cx="9425" cy="6044"/>
            </a:xfrm>
            <a:custGeom>
              <a:avLst/>
              <a:gdLst>
                <a:gd name="T0" fmla="*/ 3397424 w 7"/>
                <a:gd name="T1" fmla="*/ 2554647 h 5"/>
                <a:gd name="T2" fmla="*/ 2642432 w 7"/>
                <a:gd name="T3" fmla="*/ 2554647 h 5"/>
                <a:gd name="T4" fmla="*/ 505778 w 7"/>
                <a:gd name="T5" fmla="*/ 0 h 5"/>
                <a:gd name="T6" fmla="*/ 505778 w 7"/>
                <a:gd name="T7" fmla="*/ 1064436 h 5"/>
                <a:gd name="T8" fmla="*/ 1724631 w 7"/>
                <a:gd name="T9" fmla="*/ 5085394 h 5"/>
                <a:gd name="T10" fmla="*/ 3942014 w 7"/>
                <a:gd name="T11" fmla="*/ 6131150 h 5"/>
                <a:gd name="T12" fmla="*/ 3942014 w 7"/>
                <a:gd name="T13" fmla="*/ 3577445 h 5"/>
                <a:gd name="T14" fmla="*/ 3397424 w 7"/>
                <a:gd name="T15" fmla="*/ 2554647 h 5"/>
                <a:gd name="T16" fmla="*/ 3397424 w 7"/>
                <a:gd name="T17" fmla="*/ 2554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5"/>
                <a:gd name="T29" fmla="*/ 7 w 7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5">
                  <a:moveTo>
                    <a:pt x="6" y="2"/>
                  </a:moveTo>
                  <a:cubicBezTo>
                    <a:pt x="6" y="2"/>
                    <a:pt x="5" y="2"/>
                    <a:pt x="5" y="2"/>
                  </a:cubicBezTo>
                  <a:cubicBezTo>
                    <a:pt x="4" y="1"/>
                    <a:pt x="2" y="0"/>
                    <a:pt x="1" y="0"/>
                  </a:cubicBez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3"/>
                    <a:pt x="3" y="4"/>
                  </a:cubicBezTo>
                  <a:cubicBezTo>
                    <a:pt x="3" y="5"/>
                    <a:pt x="5" y="5"/>
                    <a:pt x="7" y="5"/>
                  </a:cubicBezTo>
                  <a:cubicBezTo>
                    <a:pt x="7" y="4"/>
                    <a:pt x="7" y="3"/>
                    <a:pt x="7" y="3"/>
                  </a:cubicBezTo>
                  <a:cubicBezTo>
                    <a:pt x="7" y="3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8" name="Freeform 339"/>
            <p:cNvSpPr>
              <a:spLocks/>
            </p:cNvSpPr>
            <p:nvPr/>
          </p:nvSpPr>
          <p:spPr bwMode="auto">
            <a:xfrm>
              <a:off x="8314157" y="5340239"/>
              <a:ext cx="12324" cy="1812"/>
            </a:xfrm>
            <a:custGeom>
              <a:avLst/>
              <a:gdLst>
                <a:gd name="T0" fmla="*/ 3961001 w 9"/>
                <a:gd name="T1" fmla="*/ 0 h 2"/>
                <a:gd name="T2" fmla="*/ 0 w 9"/>
                <a:gd name="T3" fmla="*/ 0 h 2"/>
                <a:gd name="T4" fmla="*/ 0 w 9"/>
                <a:gd name="T5" fmla="*/ 65536 h 2"/>
                <a:gd name="T6" fmla="*/ 3961001 w 9"/>
                <a:gd name="T7" fmla="*/ 131072 h 2"/>
                <a:gd name="T8" fmla="*/ 6253179 w 9"/>
                <a:gd name="T9" fmla="*/ 131072 h 2"/>
                <a:gd name="T10" fmla="*/ 3961001 w 9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2"/>
                <a:gd name="T20" fmla="*/ 9 w 9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2">
                  <a:moveTo>
                    <a:pt x="5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2" y="2"/>
                    <a:pt x="4" y="1"/>
                    <a:pt x="5" y="2"/>
                  </a:cubicBezTo>
                  <a:cubicBezTo>
                    <a:pt x="6" y="2"/>
                    <a:pt x="7" y="2"/>
                    <a:pt x="8" y="2"/>
                  </a:cubicBezTo>
                  <a:cubicBezTo>
                    <a:pt x="9" y="0"/>
                    <a:pt x="7" y="0"/>
                    <a:pt x="5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9" name="Freeform 340"/>
            <p:cNvSpPr>
              <a:spLocks/>
            </p:cNvSpPr>
            <p:nvPr/>
          </p:nvSpPr>
          <p:spPr bwMode="auto">
            <a:xfrm>
              <a:off x="8225712" y="5301560"/>
              <a:ext cx="13775" cy="28404"/>
            </a:xfrm>
            <a:custGeom>
              <a:avLst/>
              <a:gdLst>
                <a:gd name="T0" fmla="*/ 2554647 w 10"/>
                <a:gd name="T1" fmla="*/ 1697572 h 27"/>
                <a:gd name="T2" fmla="*/ 0 w 10"/>
                <a:gd name="T3" fmla="*/ 4688532 h 27"/>
                <a:gd name="T4" fmla="*/ 0 w 10"/>
                <a:gd name="T5" fmla="*/ 8614989 h 27"/>
                <a:gd name="T6" fmla="*/ 1064436 w 10"/>
                <a:gd name="T7" fmla="*/ 10939910 h 27"/>
                <a:gd name="T8" fmla="*/ 2554647 w 10"/>
                <a:gd name="T9" fmla="*/ 15628443 h 27"/>
                <a:gd name="T10" fmla="*/ 3577445 w 10"/>
                <a:gd name="T11" fmla="*/ 17871662 h 27"/>
                <a:gd name="T12" fmla="*/ 6131150 w 10"/>
                <a:gd name="T13" fmla="*/ 20101633 h 27"/>
                <a:gd name="T14" fmla="*/ 6131150 w 10"/>
                <a:gd name="T15" fmla="*/ 20837921 h 27"/>
                <a:gd name="T16" fmla="*/ 5085394 w 10"/>
                <a:gd name="T17" fmla="*/ 16901612 h 27"/>
                <a:gd name="T18" fmla="*/ 6131150 w 10"/>
                <a:gd name="T19" fmla="*/ 12213088 h 27"/>
                <a:gd name="T20" fmla="*/ 12204941 w 10"/>
                <a:gd name="T21" fmla="*/ 12213088 h 27"/>
                <a:gd name="T22" fmla="*/ 12204941 w 10"/>
                <a:gd name="T23" fmla="*/ 11620011 h 27"/>
                <a:gd name="T24" fmla="*/ 9650293 w 10"/>
                <a:gd name="T25" fmla="*/ 10939910 h 27"/>
                <a:gd name="T26" fmla="*/ 9650293 w 10"/>
                <a:gd name="T27" fmla="*/ 9242333 h 27"/>
                <a:gd name="T28" fmla="*/ 11140513 w 10"/>
                <a:gd name="T29" fmla="*/ 4688532 h 27"/>
                <a:gd name="T30" fmla="*/ 9650293 w 10"/>
                <a:gd name="T31" fmla="*/ 4688532 h 27"/>
                <a:gd name="T32" fmla="*/ 6131150 w 10"/>
                <a:gd name="T33" fmla="*/ 8614989 h 27"/>
                <a:gd name="T34" fmla="*/ 5085394 w 10"/>
                <a:gd name="T35" fmla="*/ 9242333 h 27"/>
                <a:gd name="T36" fmla="*/ 3577445 w 10"/>
                <a:gd name="T37" fmla="*/ 9902491 h 27"/>
                <a:gd name="T38" fmla="*/ 3577445 w 10"/>
                <a:gd name="T39" fmla="*/ 8614989 h 27"/>
                <a:gd name="T40" fmla="*/ 5085394 w 10"/>
                <a:gd name="T41" fmla="*/ 2970751 h 27"/>
                <a:gd name="T42" fmla="*/ 5085394 w 10"/>
                <a:gd name="T43" fmla="*/ 0 h 27"/>
                <a:gd name="T44" fmla="*/ 2554647 w 10"/>
                <a:gd name="T45" fmla="*/ 1697572 h 2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"/>
                <a:gd name="T70" fmla="*/ 0 h 27"/>
                <a:gd name="T71" fmla="*/ 10 w 10"/>
                <a:gd name="T72" fmla="*/ 27 h 2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" h="27">
                  <a:moveTo>
                    <a:pt x="2" y="2"/>
                  </a:moveTo>
                  <a:cubicBezTo>
                    <a:pt x="1" y="3"/>
                    <a:pt x="1" y="5"/>
                    <a:pt x="0" y="6"/>
                  </a:cubicBezTo>
                  <a:cubicBezTo>
                    <a:pt x="0" y="8"/>
                    <a:pt x="0" y="10"/>
                    <a:pt x="0" y="11"/>
                  </a:cubicBezTo>
                  <a:cubicBezTo>
                    <a:pt x="0" y="12"/>
                    <a:pt x="1" y="13"/>
                    <a:pt x="1" y="14"/>
                  </a:cubicBezTo>
                  <a:cubicBezTo>
                    <a:pt x="2" y="16"/>
                    <a:pt x="1" y="18"/>
                    <a:pt x="2" y="20"/>
                  </a:cubicBezTo>
                  <a:cubicBezTo>
                    <a:pt x="2" y="21"/>
                    <a:pt x="3" y="22"/>
                    <a:pt x="3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5" y="27"/>
                    <a:pt x="5" y="26"/>
                    <a:pt x="5" y="27"/>
                  </a:cubicBezTo>
                  <a:cubicBezTo>
                    <a:pt x="5" y="25"/>
                    <a:pt x="5" y="23"/>
                    <a:pt x="4" y="22"/>
                  </a:cubicBezTo>
                  <a:cubicBezTo>
                    <a:pt x="4" y="20"/>
                    <a:pt x="4" y="18"/>
                    <a:pt x="5" y="16"/>
                  </a:cubicBezTo>
                  <a:cubicBezTo>
                    <a:pt x="6" y="15"/>
                    <a:pt x="8" y="17"/>
                    <a:pt x="10" y="16"/>
                  </a:cubicBezTo>
                  <a:cubicBezTo>
                    <a:pt x="10" y="16"/>
                    <a:pt x="10" y="16"/>
                    <a:pt x="10" y="15"/>
                  </a:cubicBezTo>
                  <a:cubicBezTo>
                    <a:pt x="10" y="15"/>
                    <a:pt x="8" y="15"/>
                    <a:pt x="8" y="14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9" y="10"/>
                    <a:pt x="9" y="8"/>
                    <a:pt x="9" y="6"/>
                  </a:cubicBezTo>
                  <a:cubicBezTo>
                    <a:pt x="9" y="6"/>
                    <a:pt x="8" y="6"/>
                    <a:pt x="8" y="6"/>
                  </a:cubicBezTo>
                  <a:cubicBezTo>
                    <a:pt x="7" y="8"/>
                    <a:pt x="6" y="9"/>
                    <a:pt x="5" y="11"/>
                  </a:cubicBezTo>
                  <a:cubicBezTo>
                    <a:pt x="5" y="11"/>
                    <a:pt x="5" y="12"/>
                    <a:pt x="4" y="12"/>
                  </a:cubicBezTo>
                  <a:cubicBezTo>
                    <a:pt x="4" y="12"/>
                    <a:pt x="4" y="13"/>
                    <a:pt x="3" y="13"/>
                  </a:cubicBezTo>
                  <a:cubicBezTo>
                    <a:pt x="3" y="12"/>
                    <a:pt x="3" y="12"/>
                    <a:pt x="3" y="11"/>
                  </a:cubicBezTo>
                  <a:cubicBezTo>
                    <a:pt x="4" y="9"/>
                    <a:pt x="5" y="6"/>
                    <a:pt x="4" y="4"/>
                  </a:cubicBezTo>
                  <a:cubicBezTo>
                    <a:pt x="3" y="3"/>
                    <a:pt x="4" y="1"/>
                    <a:pt x="4" y="0"/>
                  </a:cubicBezTo>
                  <a:cubicBezTo>
                    <a:pt x="2" y="0"/>
                    <a:pt x="3" y="1"/>
                    <a:pt x="2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0" name="Freeform 341"/>
            <p:cNvSpPr>
              <a:spLocks/>
            </p:cNvSpPr>
            <p:nvPr/>
          </p:nvSpPr>
          <p:spPr bwMode="auto">
            <a:xfrm>
              <a:off x="8232961" y="5296725"/>
              <a:ext cx="6524" cy="6044"/>
            </a:xfrm>
            <a:custGeom>
              <a:avLst/>
              <a:gdLst>
                <a:gd name="T0" fmla="*/ 9219213 w 4"/>
                <a:gd name="T1" fmla="*/ 2243220 h 6"/>
                <a:gd name="T2" fmla="*/ 4450654 w 4"/>
                <a:gd name="T3" fmla="*/ 727531 h 6"/>
                <a:gd name="T4" fmla="*/ 2497529 w 4"/>
                <a:gd name="T5" fmla="*/ 4688532 h 6"/>
                <a:gd name="T6" fmla="*/ 6243820 w 4"/>
                <a:gd name="T7" fmla="*/ 4688532 h 6"/>
                <a:gd name="T8" fmla="*/ 6243820 w 4"/>
                <a:gd name="T9" fmla="*/ 3961001 h 6"/>
                <a:gd name="T10" fmla="*/ 9219213 w 4"/>
                <a:gd name="T11" fmla="*/ 2970751 h 6"/>
                <a:gd name="T12" fmla="*/ 9219213 w 4"/>
                <a:gd name="T13" fmla="*/ 224322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4" y="3"/>
                  </a:moveTo>
                  <a:cubicBezTo>
                    <a:pt x="4" y="1"/>
                    <a:pt x="3" y="0"/>
                    <a:pt x="2" y="1"/>
                  </a:cubicBezTo>
                  <a:cubicBezTo>
                    <a:pt x="1" y="2"/>
                    <a:pt x="0" y="4"/>
                    <a:pt x="1" y="6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3" y="6"/>
                    <a:pt x="3" y="5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3"/>
                    <a:pt x="4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1" name="Freeform 342"/>
            <p:cNvSpPr>
              <a:spLocks/>
            </p:cNvSpPr>
            <p:nvPr/>
          </p:nvSpPr>
          <p:spPr bwMode="auto">
            <a:xfrm>
              <a:off x="8027796" y="5280409"/>
              <a:ext cx="108743" cy="84004"/>
            </a:xfrm>
            <a:custGeom>
              <a:avLst/>
              <a:gdLst>
                <a:gd name="T0" fmla="*/ 7392440 w 81"/>
                <a:gd name="T1" fmla="*/ 22924720 h 77"/>
                <a:gd name="T2" fmla="*/ 10879370 w 81"/>
                <a:gd name="T3" fmla="*/ 29407076 h 77"/>
                <a:gd name="T4" fmla="*/ 15450192 w 81"/>
                <a:gd name="T5" fmla="*/ 28518481 h 77"/>
                <a:gd name="T6" fmla="*/ 24788744 w 81"/>
                <a:gd name="T7" fmla="*/ 24442628 h 77"/>
                <a:gd name="T8" fmla="*/ 32881727 w 81"/>
                <a:gd name="T9" fmla="*/ 23659149 h 77"/>
                <a:gd name="T10" fmla="*/ 36431930 w 81"/>
                <a:gd name="T11" fmla="*/ 24442628 h 77"/>
                <a:gd name="T12" fmla="*/ 43060778 w 81"/>
                <a:gd name="T13" fmla="*/ 18819601 h 77"/>
                <a:gd name="T14" fmla="*/ 45006053 w 81"/>
                <a:gd name="T15" fmla="*/ 13226474 h 77"/>
                <a:gd name="T16" fmla="*/ 47663188 w 81"/>
                <a:gd name="T17" fmla="*/ 12441463 h 77"/>
                <a:gd name="T18" fmla="*/ 49115051 w 81"/>
                <a:gd name="T19" fmla="*/ 2007625 h 77"/>
                <a:gd name="T20" fmla="*/ 61932929 w 81"/>
                <a:gd name="T21" fmla="*/ 849380 h 77"/>
                <a:gd name="T22" fmla="*/ 63889561 w 81"/>
                <a:gd name="T23" fmla="*/ 2894072 h 77"/>
                <a:gd name="T24" fmla="*/ 64742826 w 81"/>
                <a:gd name="T25" fmla="*/ 10341118 h 77"/>
                <a:gd name="T26" fmla="*/ 67375173 w 81"/>
                <a:gd name="T27" fmla="*/ 18819601 h 77"/>
                <a:gd name="T28" fmla="*/ 68502534 w 81"/>
                <a:gd name="T29" fmla="*/ 23659149 h 77"/>
                <a:gd name="T30" fmla="*/ 72136419 w 81"/>
                <a:gd name="T31" fmla="*/ 27670976 h 77"/>
                <a:gd name="T32" fmla="*/ 73939119 w 81"/>
                <a:gd name="T33" fmla="*/ 29407076 h 77"/>
                <a:gd name="T34" fmla="*/ 71282135 w 81"/>
                <a:gd name="T35" fmla="*/ 31262567 h 77"/>
                <a:gd name="T36" fmla="*/ 65935910 w 81"/>
                <a:gd name="T37" fmla="*/ 32133917 h 77"/>
                <a:gd name="T38" fmla="*/ 63064705 w 81"/>
                <a:gd name="T39" fmla="*/ 44482692 h 77"/>
                <a:gd name="T40" fmla="*/ 61932929 w 81"/>
                <a:gd name="T41" fmla="*/ 45332013 h 77"/>
                <a:gd name="T42" fmla="*/ 57685959 w 81"/>
                <a:gd name="T43" fmla="*/ 49435624 h 77"/>
                <a:gd name="T44" fmla="*/ 55878505 w 81"/>
                <a:gd name="T45" fmla="*/ 55921591 h 77"/>
                <a:gd name="T46" fmla="*/ 56507513 w 81"/>
                <a:gd name="T47" fmla="*/ 58931728 h 77"/>
                <a:gd name="T48" fmla="*/ 53875204 w 81"/>
                <a:gd name="T49" fmla="*/ 65404118 h 77"/>
                <a:gd name="T50" fmla="*/ 51920609 w 81"/>
                <a:gd name="T51" fmla="*/ 70999278 h 77"/>
                <a:gd name="T52" fmla="*/ 48501362 w 81"/>
                <a:gd name="T53" fmla="*/ 70357050 h 77"/>
                <a:gd name="T54" fmla="*/ 43676392 w 81"/>
                <a:gd name="T55" fmla="*/ 73006742 h 77"/>
                <a:gd name="T56" fmla="*/ 40279178 w 81"/>
                <a:gd name="T57" fmla="*/ 68254549 h 77"/>
                <a:gd name="T58" fmla="*/ 34838340 w 81"/>
                <a:gd name="T59" fmla="*/ 67407309 h 77"/>
                <a:gd name="T60" fmla="*/ 30229610 w 81"/>
                <a:gd name="T61" fmla="*/ 66254006 h 77"/>
                <a:gd name="T62" fmla="*/ 27456386 w 81"/>
                <a:gd name="T63" fmla="*/ 68254549 h 77"/>
                <a:gd name="T64" fmla="*/ 20828905 w 81"/>
                <a:gd name="T65" fmla="*/ 64773198 h 77"/>
                <a:gd name="T66" fmla="*/ 18261381 w 81"/>
                <a:gd name="T67" fmla="*/ 63396465 h 77"/>
                <a:gd name="T68" fmla="*/ 16230084 w 81"/>
                <a:gd name="T69" fmla="*/ 64773198 h 77"/>
                <a:gd name="T70" fmla="*/ 10879370 w 81"/>
                <a:gd name="T71" fmla="*/ 62662074 h 77"/>
                <a:gd name="T72" fmla="*/ 9337772 w 81"/>
                <a:gd name="T73" fmla="*/ 52962811 h 77"/>
                <a:gd name="T74" fmla="*/ 4613765 w 81"/>
                <a:gd name="T75" fmla="*/ 48586039 h 77"/>
                <a:gd name="T76" fmla="*/ 2778673 w 81"/>
                <a:gd name="T77" fmla="*/ 42630812 h 77"/>
                <a:gd name="T78" fmla="*/ 2778673 w 81"/>
                <a:gd name="T79" fmla="*/ 36149071 h 77"/>
                <a:gd name="T80" fmla="*/ 0 w 81"/>
                <a:gd name="T81" fmla="*/ 31262567 h 77"/>
                <a:gd name="T82" fmla="*/ 829772 w 81"/>
                <a:gd name="T83" fmla="*/ 30553760 h 77"/>
                <a:gd name="T84" fmla="*/ 5436709 w 81"/>
                <a:gd name="T85" fmla="*/ 21764402 h 77"/>
                <a:gd name="T86" fmla="*/ 6552177 w 81"/>
                <a:gd name="T87" fmla="*/ 21764402 h 7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1"/>
                <a:gd name="T133" fmla="*/ 0 h 77"/>
                <a:gd name="T134" fmla="*/ 81 w 81"/>
                <a:gd name="T135" fmla="*/ 77 h 7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1" h="77">
                  <a:moveTo>
                    <a:pt x="7" y="23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7" y="26"/>
                    <a:pt x="9" y="28"/>
                    <a:pt x="11" y="29"/>
                  </a:cubicBezTo>
                  <a:cubicBezTo>
                    <a:pt x="12" y="29"/>
                    <a:pt x="11" y="30"/>
                    <a:pt x="12" y="31"/>
                  </a:cubicBezTo>
                  <a:cubicBezTo>
                    <a:pt x="13" y="31"/>
                    <a:pt x="14" y="31"/>
                    <a:pt x="14" y="31"/>
                  </a:cubicBezTo>
                  <a:cubicBezTo>
                    <a:pt x="15" y="30"/>
                    <a:pt x="16" y="30"/>
                    <a:pt x="17" y="30"/>
                  </a:cubicBezTo>
                  <a:cubicBezTo>
                    <a:pt x="19" y="30"/>
                    <a:pt x="22" y="30"/>
                    <a:pt x="24" y="30"/>
                  </a:cubicBezTo>
                  <a:cubicBezTo>
                    <a:pt x="26" y="29"/>
                    <a:pt x="26" y="27"/>
                    <a:pt x="27" y="26"/>
                  </a:cubicBezTo>
                  <a:cubicBezTo>
                    <a:pt x="30" y="24"/>
                    <a:pt x="33" y="24"/>
                    <a:pt x="35" y="25"/>
                  </a:cubicBezTo>
                  <a:cubicBezTo>
                    <a:pt x="35" y="25"/>
                    <a:pt x="36" y="25"/>
                    <a:pt x="36" y="25"/>
                  </a:cubicBezTo>
                  <a:cubicBezTo>
                    <a:pt x="36" y="26"/>
                    <a:pt x="38" y="28"/>
                    <a:pt x="39" y="27"/>
                  </a:cubicBezTo>
                  <a:cubicBezTo>
                    <a:pt x="40" y="27"/>
                    <a:pt x="40" y="26"/>
                    <a:pt x="40" y="26"/>
                  </a:cubicBezTo>
                  <a:cubicBezTo>
                    <a:pt x="42" y="25"/>
                    <a:pt x="44" y="26"/>
                    <a:pt x="46" y="25"/>
                  </a:cubicBezTo>
                  <a:cubicBezTo>
                    <a:pt x="46" y="23"/>
                    <a:pt x="46" y="21"/>
                    <a:pt x="47" y="20"/>
                  </a:cubicBezTo>
                  <a:cubicBezTo>
                    <a:pt x="48" y="19"/>
                    <a:pt x="48" y="18"/>
                    <a:pt x="49" y="16"/>
                  </a:cubicBezTo>
                  <a:cubicBezTo>
                    <a:pt x="49" y="15"/>
                    <a:pt x="49" y="15"/>
                    <a:pt x="49" y="14"/>
                  </a:cubicBezTo>
                  <a:cubicBezTo>
                    <a:pt x="50" y="14"/>
                    <a:pt x="50" y="14"/>
                    <a:pt x="50" y="13"/>
                  </a:cubicBezTo>
                  <a:cubicBezTo>
                    <a:pt x="51" y="13"/>
                    <a:pt x="51" y="14"/>
                    <a:pt x="52" y="13"/>
                  </a:cubicBezTo>
                  <a:cubicBezTo>
                    <a:pt x="52" y="13"/>
                    <a:pt x="52" y="12"/>
                    <a:pt x="53" y="11"/>
                  </a:cubicBezTo>
                  <a:cubicBezTo>
                    <a:pt x="53" y="8"/>
                    <a:pt x="53" y="5"/>
                    <a:pt x="54" y="2"/>
                  </a:cubicBezTo>
                  <a:cubicBezTo>
                    <a:pt x="54" y="1"/>
                    <a:pt x="54" y="1"/>
                    <a:pt x="55" y="1"/>
                  </a:cubicBezTo>
                  <a:cubicBezTo>
                    <a:pt x="59" y="0"/>
                    <a:pt x="63" y="1"/>
                    <a:pt x="68" y="1"/>
                  </a:cubicBezTo>
                  <a:cubicBezTo>
                    <a:pt x="68" y="1"/>
                    <a:pt x="68" y="2"/>
                    <a:pt x="69" y="2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69" y="4"/>
                    <a:pt x="70" y="5"/>
                    <a:pt x="71" y="6"/>
                  </a:cubicBezTo>
                  <a:cubicBezTo>
                    <a:pt x="71" y="8"/>
                    <a:pt x="71" y="9"/>
                    <a:pt x="71" y="11"/>
                  </a:cubicBezTo>
                  <a:cubicBezTo>
                    <a:pt x="71" y="12"/>
                    <a:pt x="71" y="14"/>
                    <a:pt x="72" y="16"/>
                  </a:cubicBezTo>
                  <a:cubicBezTo>
                    <a:pt x="73" y="17"/>
                    <a:pt x="74" y="18"/>
                    <a:pt x="74" y="20"/>
                  </a:cubicBezTo>
                  <a:cubicBezTo>
                    <a:pt x="74" y="20"/>
                    <a:pt x="72" y="20"/>
                    <a:pt x="72" y="21"/>
                  </a:cubicBezTo>
                  <a:cubicBezTo>
                    <a:pt x="71" y="22"/>
                    <a:pt x="73" y="24"/>
                    <a:pt x="75" y="25"/>
                  </a:cubicBezTo>
                  <a:cubicBezTo>
                    <a:pt x="76" y="26"/>
                    <a:pt x="77" y="27"/>
                    <a:pt x="78" y="28"/>
                  </a:cubicBezTo>
                  <a:cubicBezTo>
                    <a:pt x="78" y="28"/>
                    <a:pt x="79" y="28"/>
                    <a:pt x="79" y="29"/>
                  </a:cubicBezTo>
                  <a:cubicBezTo>
                    <a:pt x="80" y="29"/>
                    <a:pt x="80" y="30"/>
                    <a:pt x="81" y="30"/>
                  </a:cubicBezTo>
                  <a:cubicBezTo>
                    <a:pt x="81" y="30"/>
                    <a:pt x="81" y="31"/>
                    <a:pt x="81" y="31"/>
                  </a:cubicBezTo>
                  <a:cubicBezTo>
                    <a:pt x="80" y="32"/>
                    <a:pt x="79" y="32"/>
                    <a:pt x="79" y="32"/>
                  </a:cubicBezTo>
                  <a:cubicBezTo>
                    <a:pt x="78" y="32"/>
                    <a:pt x="78" y="33"/>
                    <a:pt x="78" y="33"/>
                  </a:cubicBezTo>
                  <a:cubicBezTo>
                    <a:pt x="76" y="33"/>
                    <a:pt x="74" y="32"/>
                    <a:pt x="72" y="33"/>
                  </a:cubicBezTo>
                  <a:cubicBezTo>
                    <a:pt x="72" y="33"/>
                    <a:pt x="72" y="34"/>
                    <a:pt x="72" y="34"/>
                  </a:cubicBezTo>
                  <a:cubicBezTo>
                    <a:pt x="71" y="34"/>
                    <a:pt x="70" y="35"/>
                    <a:pt x="70" y="36"/>
                  </a:cubicBezTo>
                  <a:cubicBezTo>
                    <a:pt x="69" y="40"/>
                    <a:pt x="70" y="43"/>
                    <a:pt x="69" y="47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9"/>
                    <a:pt x="66" y="49"/>
                    <a:pt x="65" y="50"/>
                  </a:cubicBezTo>
                  <a:cubicBezTo>
                    <a:pt x="64" y="50"/>
                    <a:pt x="63" y="52"/>
                    <a:pt x="63" y="52"/>
                  </a:cubicBezTo>
                  <a:cubicBezTo>
                    <a:pt x="62" y="52"/>
                    <a:pt x="61" y="53"/>
                    <a:pt x="61" y="53"/>
                  </a:cubicBezTo>
                  <a:cubicBezTo>
                    <a:pt x="60" y="55"/>
                    <a:pt x="61" y="57"/>
                    <a:pt x="61" y="59"/>
                  </a:cubicBezTo>
                  <a:cubicBezTo>
                    <a:pt x="61" y="59"/>
                    <a:pt x="61" y="60"/>
                    <a:pt x="62" y="60"/>
                  </a:cubicBezTo>
                  <a:cubicBezTo>
                    <a:pt x="62" y="61"/>
                    <a:pt x="62" y="62"/>
                    <a:pt x="62" y="62"/>
                  </a:cubicBezTo>
                  <a:cubicBezTo>
                    <a:pt x="61" y="63"/>
                    <a:pt x="60" y="64"/>
                    <a:pt x="59" y="65"/>
                  </a:cubicBezTo>
                  <a:cubicBezTo>
                    <a:pt x="59" y="67"/>
                    <a:pt x="59" y="68"/>
                    <a:pt x="59" y="69"/>
                  </a:cubicBezTo>
                  <a:cubicBezTo>
                    <a:pt x="58" y="72"/>
                    <a:pt x="59" y="74"/>
                    <a:pt x="58" y="76"/>
                  </a:cubicBezTo>
                  <a:cubicBezTo>
                    <a:pt x="58" y="76"/>
                    <a:pt x="58" y="75"/>
                    <a:pt x="57" y="75"/>
                  </a:cubicBezTo>
                  <a:cubicBezTo>
                    <a:pt x="57" y="75"/>
                    <a:pt x="56" y="74"/>
                    <a:pt x="56" y="74"/>
                  </a:cubicBezTo>
                  <a:cubicBezTo>
                    <a:pt x="55" y="73"/>
                    <a:pt x="54" y="73"/>
                    <a:pt x="53" y="74"/>
                  </a:cubicBezTo>
                  <a:cubicBezTo>
                    <a:pt x="53" y="74"/>
                    <a:pt x="53" y="74"/>
                    <a:pt x="52" y="75"/>
                  </a:cubicBezTo>
                  <a:cubicBezTo>
                    <a:pt x="51" y="75"/>
                    <a:pt x="49" y="76"/>
                    <a:pt x="48" y="77"/>
                  </a:cubicBezTo>
                  <a:cubicBezTo>
                    <a:pt x="47" y="77"/>
                    <a:pt x="47" y="77"/>
                    <a:pt x="46" y="77"/>
                  </a:cubicBezTo>
                  <a:cubicBezTo>
                    <a:pt x="46" y="75"/>
                    <a:pt x="46" y="72"/>
                    <a:pt x="44" y="72"/>
                  </a:cubicBezTo>
                  <a:cubicBezTo>
                    <a:pt x="42" y="71"/>
                    <a:pt x="40" y="72"/>
                    <a:pt x="38" y="72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37" y="70"/>
                    <a:pt x="37" y="70"/>
                    <a:pt x="37" y="69"/>
                  </a:cubicBezTo>
                  <a:cubicBezTo>
                    <a:pt x="35" y="69"/>
                    <a:pt x="34" y="69"/>
                    <a:pt x="33" y="70"/>
                  </a:cubicBezTo>
                  <a:cubicBezTo>
                    <a:pt x="33" y="70"/>
                    <a:pt x="33" y="70"/>
                    <a:pt x="32" y="71"/>
                  </a:cubicBezTo>
                  <a:cubicBezTo>
                    <a:pt x="32" y="71"/>
                    <a:pt x="31" y="71"/>
                    <a:pt x="30" y="72"/>
                  </a:cubicBezTo>
                  <a:cubicBezTo>
                    <a:pt x="28" y="72"/>
                    <a:pt x="25" y="72"/>
                    <a:pt x="23" y="72"/>
                  </a:cubicBezTo>
                  <a:cubicBezTo>
                    <a:pt x="23" y="71"/>
                    <a:pt x="24" y="69"/>
                    <a:pt x="23" y="68"/>
                  </a:cubicBezTo>
                  <a:cubicBezTo>
                    <a:pt x="23" y="68"/>
                    <a:pt x="22" y="68"/>
                    <a:pt x="21" y="68"/>
                  </a:cubicBezTo>
                  <a:cubicBezTo>
                    <a:pt x="21" y="68"/>
                    <a:pt x="20" y="67"/>
                    <a:pt x="20" y="67"/>
                  </a:cubicBezTo>
                  <a:cubicBezTo>
                    <a:pt x="20" y="67"/>
                    <a:pt x="19" y="66"/>
                    <a:pt x="19" y="67"/>
                  </a:cubicBezTo>
                  <a:cubicBezTo>
                    <a:pt x="19" y="67"/>
                    <a:pt x="19" y="68"/>
                    <a:pt x="18" y="68"/>
                  </a:cubicBezTo>
                  <a:cubicBezTo>
                    <a:pt x="17" y="68"/>
                    <a:pt x="16" y="68"/>
                    <a:pt x="15" y="67"/>
                  </a:cubicBezTo>
                  <a:cubicBezTo>
                    <a:pt x="14" y="67"/>
                    <a:pt x="12" y="68"/>
                    <a:pt x="12" y="66"/>
                  </a:cubicBezTo>
                  <a:cubicBezTo>
                    <a:pt x="10" y="64"/>
                    <a:pt x="12" y="61"/>
                    <a:pt x="10" y="59"/>
                  </a:cubicBezTo>
                  <a:cubicBezTo>
                    <a:pt x="10" y="58"/>
                    <a:pt x="10" y="57"/>
                    <a:pt x="10" y="56"/>
                  </a:cubicBezTo>
                  <a:cubicBezTo>
                    <a:pt x="11" y="55"/>
                    <a:pt x="11" y="53"/>
                    <a:pt x="10" y="53"/>
                  </a:cubicBezTo>
                  <a:cubicBezTo>
                    <a:pt x="8" y="52"/>
                    <a:pt x="6" y="53"/>
                    <a:pt x="5" y="51"/>
                  </a:cubicBezTo>
                  <a:cubicBezTo>
                    <a:pt x="5" y="50"/>
                    <a:pt x="5" y="49"/>
                    <a:pt x="5" y="47"/>
                  </a:cubicBezTo>
                  <a:cubicBezTo>
                    <a:pt x="5" y="47"/>
                    <a:pt x="3" y="46"/>
                    <a:pt x="3" y="45"/>
                  </a:cubicBezTo>
                  <a:cubicBezTo>
                    <a:pt x="2" y="43"/>
                    <a:pt x="3" y="41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1" y="37"/>
                    <a:pt x="1" y="36"/>
                    <a:pt x="0" y="36"/>
                  </a:cubicBezTo>
                  <a:cubicBezTo>
                    <a:pt x="0" y="35"/>
                    <a:pt x="0" y="34"/>
                    <a:pt x="0" y="33"/>
                  </a:cubicBezTo>
                  <a:cubicBezTo>
                    <a:pt x="0" y="33"/>
                    <a:pt x="0" y="33"/>
                    <a:pt x="1" y="33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3" y="30"/>
                    <a:pt x="3" y="28"/>
                    <a:pt x="3" y="26"/>
                  </a:cubicBezTo>
                  <a:cubicBezTo>
                    <a:pt x="3" y="24"/>
                    <a:pt x="5" y="24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7" y="23"/>
                    <a:pt x="7" y="23"/>
                    <a:pt x="7" y="2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2" name="Freeform 343"/>
            <p:cNvSpPr>
              <a:spLocks/>
            </p:cNvSpPr>
            <p:nvPr/>
          </p:nvSpPr>
          <p:spPr bwMode="auto">
            <a:xfrm>
              <a:off x="8190913" y="5406715"/>
              <a:ext cx="30449" cy="14504"/>
            </a:xfrm>
            <a:custGeom>
              <a:avLst/>
              <a:gdLst>
                <a:gd name="T0" fmla="*/ 9424793 w 23"/>
                <a:gd name="T1" fmla="*/ 1947959 h 14"/>
                <a:gd name="T2" fmla="*/ 5078724 w 23"/>
                <a:gd name="T3" fmla="*/ 2769339 h 14"/>
                <a:gd name="T4" fmla="*/ 789222 w 23"/>
                <a:gd name="T5" fmla="*/ 7350477 h 14"/>
                <a:gd name="T6" fmla="*/ 3227747 w 23"/>
                <a:gd name="T7" fmla="*/ 11919092 h 14"/>
                <a:gd name="T8" fmla="*/ 5868462 w 23"/>
                <a:gd name="T9" fmla="*/ 9297269 h 14"/>
                <a:gd name="T10" fmla="*/ 8361068 w 23"/>
                <a:gd name="T11" fmla="*/ 7350477 h 14"/>
                <a:gd name="T12" fmla="*/ 11923961 w 23"/>
                <a:gd name="T13" fmla="*/ 6527726 h 14"/>
                <a:gd name="T14" fmla="*/ 18819769 w 23"/>
                <a:gd name="T15" fmla="*/ 1947959 h 14"/>
                <a:gd name="T16" fmla="*/ 16407218 w 23"/>
                <a:gd name="T17" fmla="*/ 826407 h 14"/>
                <a:gd name="T18" fmla="*/ 13778124 w 23"/>
                <a:gd name="T19" fmla="*/ 1947959 h 14"/>
                <a:gd name="T20" fmla="*/ 10214021 w 23"/>
                <a:gd name="T21" fmla="*/ 826407 h 14"/>
                <a:gd name="T22" fmla="*/ 9424793 w 23"/>
                <a:gd name="T23" fmla="*/ 1947959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3"/>
                <a:gd name="T37" fmla="*/ 0 h 14"/>
                <a:gd name="T38" fmla="*/ 23 w 23"/>
                <a:gd name="T39" fmla="*/ 14 h 1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3" h="14">
                  <a:moveTo>
                    <a:pt x="11" y="2"/>
                  </a:moveTo>
                  <a:cubicBezTo>
                    <a:pt x="10" y="2"/>
                    <a:pt x="7" y="2"/>
                    <a:pt x="6" y="3"/>
                  </a:cubicBezTo>
                  <a:cubicBezTo>
                    <a:pt x="5" y="6"/>
                    <a:pt x="3" y="7"/>
                    <a:pt x="1" y="8"/>
                  </a:cubicBezTo>
                  <a:cubicBezTo>
                    <a:pt x="0" y="9"/>
                    <a:pt x="3" y="14"/>
                    <a:pt x="4" y="13"/>
                  </a:cubicBezTo>
                  <a:cubicBezTo>
                    <a:pt x="5" y="12"/>
                    <a:pt x="6" y="11"/>
                    <a:pt x="7" y="10"/>
                  </a:cubicBezTo>
                  <a:cubicBezTo>
                    <a:pt x="8" y="10"/>
                    <a:pt x="9" y="9"/>
                    <a:pt x="10" y="8"/>
                  </a:cubicBezTo>
                  <a:cubicBezTo>
                    <a:pt x="11" y="7"/>
                    <a:pt x="13" y="7"/>
                    <a:pt x="14" y="7"/>
                  </a:cubicBezTo>
                  <a:cubicBezTo>
                    <a:pt x="17" y="5"/>
                    <a:pt x="19" y="3"/>
                    <a:pt x="22" y="2"/>
                  </a:cubicBezTo>
                  <a:cubicBezTo>
                    <a:pt x="23" y="0"/>
                    <a:pt x="20" y="1"/>
                    <a:pt x="19" y="1"/>
                  </a:cubicBezTo>
                  <a:cubicBezTo>
                    <a:pt x="18" y="1"/>
                    <a:pt x="17" y="3"/>
                    <a:pt x="16" y="2"/>
                  </a:cubicBezTo>
                  <a:cubicBezTo>
                    <a:pt x="14" y="1"/>
                    <a:pt x="13" y="1"/>
                    <a:pt x="12" y="1"/>
                  </a:cubicBezTo>
                  <a:cubicBezTo>
                    <a:pt x="12" y="1"/>
                    <a:pt x="11" y="2"/>
                    <a:pt x="11" y="2"/>
                  </a:cubicBezTo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3" name="Freeform 344"/>
            <p:cNvSpPr>
              <a:spLocks/>
            </p:cNvSpPr>
            <p:nvPr/>
          </p:nvSpPr>
          <p:spPr bwMode="auto">
            <a:xfrm>
              <a:off x="8190913" y="5406715"/>
              <a:ext cx="30449" cy="14504"/>
            </a:xfrm>
            <a:custGeom>
              <a:avLst/>
              <a:gdLst>
                <a:gd name="T0" fmla="*/ 9424793 w 23"/>
                <a:gd name="T1" fmla="*/ 1947959 h 14"/>
                <a:gd name="T2" fmla="*/ 5078724 w 23"/>
                <a:gd name="T3" fmla="*/ 2769339 h 14"/>
                <a:gd name="T4" fmla="*/ 789222 w 23"/>
                <a:gd name="T5" fmla="*/ 7350477 h 14"/>
                <a:gd name="T6" fmla="*/ 3227747 w 23"/>
                <a:gd name="T7" fmla="*/ 11919092 h 14"/>
                <a:gd name="T8" fmla="*/ 5868462 w 23"/>
                <a:gd name="T9" fmla="*/ 9297269 h 14"/>
                <a:gd name="T10" fmla="*/ 8361068 w 23"/>
                <a:gd name="T11" fmla="*/ 7350477 h 14"/>
                <a:gd name="T12" fmla="*/ 11923961 w 23"/>
                <a:gd name="T13" fmla="*/ 6527726 h 14"/>
                <a:gd name="T14" fmla="*/ 18819769 w 23"/>
                <a:gd name="T15" fmla="*/ 1947959 h 14"/>
                <a:gd name="T16" fmla="*/ 16407218 w 23"/>
                <a:gd name="T17" fmla="*/ 826407 h 14"/>
                <a:gd name="T18" fmla="*/ 13778124 w 23"/>
                <a:gd name="T19" fmla="*/ 1947959 h 14"/>
                <a:gd name="T20" fmla="*/ 10214021 w 23"/>
                <a:gd name="T21" fmla="*/ 826407 h 14"/>
                <a:gd name="T22" fmla="*/ 9424793 w 23"/>
                <a:gd name="T23" fmla="*/ 1947959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3"/>
                <a:gd name="T37" fmla="*/ 0 h 14"/>
                <a:gd name="T38" fmla="*/ 23 w 23"/>
                <a:gd name="T39" fmla="*/ 14 h 1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3" h="14">
                  <a:moveTo>
                    <a:pt x="11" y="2"/>
                  </a:moveTo>
                  <a:cubicBezTo>
                    <a:pt x="10" y="2"/>
                    <a:pt x="7" y="2"/>
                    <a:pt x="6" y="3"/>
                  </a:cubicBezTo>
                  <a:cubicBezTo>
                    <a:pt x="5" y="6"/>
                    <a:pt x="3" y="7"/>
                    <a:pt x="1" y="8"/>
                  </a:cubicBezTo>
                  <a:cubicBezTo>
                    <a:pt x="0" y="9"/>
                    <a:pt x="3" y="14"/>
                    <a:pt x="4" y="13"/>
                  </a:cubicBezTo>
                  <a:cubicBezTo>
                    <a:pt x="5" y="12"/>
                    <a:pt x="6" y="11"/>
                    <a:pt x="7" y="10"/>
                  </a:cubicBezTo>
                  <a:cubicBezTo>
                    <a:pt x="8" y="10"/>
                    <a:pt x="9" y="9"/>
                    <a:pt x="10" y="8"/>
                  </a:cubicBezTo>
                  <a:cubicBezTo>
                    <a:pt x="11" y="7"/>
                    <a:pt x="13" y="7"/>
                    <a:pt x="14" y="7"/>
                  </a:cubicBezTo>
                  <a:cubicBezTo>
                    <a:pt x="17" y="5"/>
                    <a:pt x="19" y="3"/>
                    <a:pt x="22" y="2"/>
                  </a:cubicBezTo>
                  <a:cubicBezTo>
                    <a:pt x="23" y="0"/>
                    <a:pt x="20" y="1"/>
                    <a:pt x="19" y="1"/>
                  </a:cubicBezTo>
                  <a:cubicBezTo>
                    <a:pt x="18" y="1"/>
                    <a:pt x="17" y="3"/>
                    <a:pt x="16" y="2"/>
                  </a:cubicBezTo>
                  <a:cubicBezTo>
                    <a:pt x="14" y="1"/>
                    <a:pt x="13" y="1"/>
                    <a:pt x="12" y="1"/>
                  </a:cubicBezTo>
                  <a:cubicBezTo>
                    <a:pt x="12" y="1"/>
                    <a:pt x="11" y="2"/>
                    <a:pt x="11" y="2"/>
                  </a:cubicBezTo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4" name="Freeform 346"/>
            <p:cNvSpPr>
              <a:spLocks/>
            </p:cNvSpPr>
            <p:nvPr/>
          </p:nvSpPr>
          <p:spPr bwMode="auto">
            <a:xfrm>
              <a:off x="7122318" y="5006039"/>
              <a:ext cx="118894" cy="105758"/>
            </a:xfrm>
            <a:custGeom>
              <a:avLst/>
              <a:gdLst>
                <a:gd name="T0" fmla="*/ 151317 w 88"/>
                <a:gd name="T1" fmla="*/ 39671 h 97"/>
                <a:gd name="T2" fmla="*/ 648645 w 88"/>
                <a:gd name="T3" fmla="*/ 116179 h 97"/>
                <a:gd name="T4" fmla="*/ 756461 w 88"/>
                <a:gd name="T5" fmla="*/ 223974 h 97"/>
                <a:gd name="T6" fmla="*/ 1090904 w 88"/>
                <a:gd name="T7" fmla="*/ 284238 h 97"/>
                <a:gd name="T8" fmla="*/ 1253064 w 88"/>
                <a:gd name="T9" fmla="*/ 360846 h 97"/>
                <a:gd name="T10" fmla="*/ 1569139 w 88"/>
                <a:gd name="T11" fmla="*/ 187177 h 97"/>
                <a:gd name="T12" fmla="*/ 2107428 w 88"/>
                <a:gd name="T13" fmla="*/ 223974 h 97"/>
                <a:gd name="T14" fmla="*/ 2672514 w 88"/>
                <a:gd name="T15" fmla="*/ 223974 h 97"/>
                <a:gd name="T16" fmla="*/ 2739208 w 88"/>
                <a:gd name="T17" fmla="*/ 244552 h 97"/>
                <a:gd name="T18" fmla="*/ 2985418 w 88"/>
                <a:gd name="T19" fmla="*/ 832410 h 97"/>
                <a:gd name="T20" fmla="*/ 2902140 w 88"/>
                <a:gd name="T21" fmla="*/ 1016893 h 97"/>
                <a:gd name="T22" fmla="*/ 2866447 w 88"/>
                <a:gd name="T23" fmla="*/ 1243616 h 97"/>
                <a:gd name="T24" fmla="*/ 2714402 w 88"/>
                <a:gd name="T25" fmla="*/ 1423111 h 97"/>
                <a:gd name="T26" fmla="*/ 2488004 w 88"/>
                <a:gd name="T27" fmla="*/ 1096069 h 97"/>
                <a:gd name="T28" fmla="*/ 2420692 w 88"/>
                <a:gd name="T29" fmla="*/ 940149 h 97"/>
                <a:gd name="T30" fmla="*/ 2217803 w 88"/>
                <a:gd name="T31" fmla="*/ 624499 h 97"/>
                <a:gd name="T32" fmla="*/ 2177524 w 88"/>
                <a:gd name="T33" fmla="*/ 389226 h 97"/>
                <a:gd name="T34" fmla="*/ 2258342 w 88"/>
                <a:gd name="T35" fmla="*/ 874969 h 97"/>
                <a:gd name="T36" fmla="*/ 2553249 w 88"/>
                <a:gd name="T37" fmla="*/ 1380374 h 97"/>
                <a:gd name="T38" fmla="*/ 2588461 w 88"/>
                <a:gd name="T39" fmla="*/ 1565076 h 97"/>
                <a:gd name="T40" fmla="*/ 2739208 w 88"/>
                <a:gd name="T41" fmla="*/ 1849359 h 97"/>
                <a:gd name="T42" fmla="*/ 2944813 w 88"/>
                <a:gd name="T43" fmla="*/ 2261281 h 97"/>
                <a:gd name="T44" fmla="*/ 3031291 w 88"/>
                <a:gd name="T45" fmla="*/ 2437160 h 97"/>
                <a:gd name="T46" fmla="*/ 3235606 w 88"/>
                <a:gd name="T47" fmla="*/ 2703845 h 97"/>
                <a:gd name="T48" fmla="*/ 3235606 w 88"/>
                <a:gd name="T49" fmla="*/ 2911712 h 97"/>
                <a:gd name="T50" fmla="*/ 3308706 w 88"/>
                <a:gd name="T51" fmla="*/ 3133366 h 97"/>
                <a:gd name="T52" fmla="*/ 3157613 w 88"/>
                <a:gd name="T53" fmla="*/ 3209870 h 97"/>
                <a:gd name="T54" fmla="*/ 2985418 w 88"/>
                <a:gd name="T55" fmla="*/ 3339849 h 97"/>
                <a:gd name="T56" fmla="*/ 2782659 w 88"/>
                <a:gd name="T57" fmla="*/ 3536102 h 97"/>
                <a:gd name="T58" fmla="*/ 2588461 w 88"/>
                <a:gd name="T59" fmla="*/ 3417625 h 97"/>
                <a:gd name="T60" fmla="*/ 40547 w 88"/>
                <a:gd name="T61" fmla="*/ 547964 h 97"/>
                <a:gd name="T62" fmla="*/ 78329 w 88"/>
                <a:gd name="T63" fmla="*/ 244552 h 97"/>
                <a:gd name="T64" fmla="*/ 118645 w 88"/>
                <a:gd name="T65" fmla="*/ 0 h 9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8"/>
                <a:gd name="T100" fmla="*/ 0 h 97"/>
                <a:gd name="T101" fmla="*/ 88 w 88"/>
                <a:gd name="T102" fmla="*/ 97 h 9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8" h="97">
                  <a:moveTo>
                    <a:pt x="3" y="0"/>
                  </a:moveTo>
                  <a:cubicBezTo>
                    <a:pt x="3" y="1"/>
                    <a:pt x="4" y="1"/>
                    <a:pt x="4" y="1"/>
                  </a:cubicBezTo>
                  <a:cubicBezTo>
                    <a:pt x="7" y="2"/>
                    <a:pt x="9" y="1"/>
                    <a:pt x="12" y="2"/>
                  </a:cubicBezTo>
                  <a:cubicBezTo>
                    <a:pt x="13" y="2"/>
                    <a:pt x="15" y="3"/>
                    <a:pt x="17" y="3"/>
                  </a:cubicBezTo>
                  <a:cubicBezTo>
                    <a:pt x="17" y="4"/>
                    <a:pt x="18" y="4"/>
                    <a:pt x="18" y="4"/>
                  </a:cubicBezTo>
                  <a:cubicBezTo>
                    <a:pt x="19" y="5"/>
                    <a:pt x="20" y="5"/>
                    <a:pt x="20" y="6"/>
                  </a:cubicBezTo>
                  <a:cubicBezTo>
                    <a:pt x="22" y="6"/>
                    <a:pt x="25" y="5"/>
                    <a:pt x="27" y="6"/>
                  </a:cubicBezTo>
                  <a:cubicBezTo>
                    <a:pt x="27" y="7"/>
                    <a:pt x="28" y="7"/>
                    <a:pt x="29" y="8"/>
                  </a:cubicBezTo>
                  <a:cubicBezTo>
                    <a:pt x="29" y="9"/>
                    <a:pt x="30" y="8"/>
                    <a:pt x="31" y="9"/>
                  </a:cubicBezTo>
                  <a:cubicBezTo>
                    <a:pt x="32" y="9"/>
                    <a:pt x="32" y="10"/>
                    <a:pt x="33" y="10"/>
                  </a:cubicBezTo>
                  <a:cubicBezTo>
                    <a:pt x="35" y="10"/>
                    <a:pt x="37" y="11"/>
                    <a:pt x="38" y="10"/>
                  </a:cubicBezTo>
                  <a:cubicBezTo>
                    <a:pt x="40" y="8"/>
                    <a:pt x="41" y="7"/>
                    <a:pt x="42" y="5"/>
                  </a:cubicBezTo>
                  <a:cubicBezTo>
                    <a:pt x="45" y="6"/>
                    <a:pt x="48" y="4"/>
                    <a:pt x="50" y="5"/>
                  </a:cubicBezTo>
                  <a:cubicBezTo>
                    <a:pt x="52" y="5"/>
                    <a:pt x="54" y="6"/>
                    <a:pt x="56" y="6"/>
                  </a:cubicBezTo>
                  <a:cubicBezTo>
                    <a:pt x="58" y="7"/>
                    <a:pt x="60" y="6"/>
                    <a:pt x="62" y="6"/>
                  </a:cubicBezTo>
                  <a:cubicBezTo>
                    <a:pt x="65" y="6"/>
                    <a:pt x="68" y="6"/>
                    <a:pt x="71" y="6"/>
                  </a:cubicBezTo>
                  <a:cubicBezTo>
                    <a:pt x="71" y="6"/>
                    <a:pt x="72" y="6"/>
                    <a:pt x="73" y="6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4"/>
                    <a:pt x="78" y="24"/>
                    <a:pt x="78" y="24"/>
                  </a:cubicBezTo>
                  <a:cubicBezTo>
                    <a:pt x="78" y="25"/>
                    <a:pt x="77" y="27"/>
                    <a:pt x="77" y="28"/>
                  </a:cubicBezTo>
                  <a:cubicBezTo>
                    <a:pt x="77" y="29"/>
                    <a:pt x="76" y="29"/>
                    <a:pt x="75" y="31"/>
                  </a:cubicBezTo>
                  <a:cubicBezTo>
                    <a:pt x="75" y="32"/>
                    <a:pt x="75" y="33"/>
                    <a:pt x="76" y="34"/>
                  </a:cubicBezTo>
                  <a:cubicBezTo>
                    <a:pt x="76" y="36"/>
                    <a:pt x="76" y="38"/>
                    <a:pt x="75" y="40"/>
                  </a:cubicBezTo>
                  <a:cubicBezTo>
                    <a:pt x="74" y="40"/>
                    <a:pt x="73" y="40"/>
                    <a:pt x="72" y="39"/>
                  </a:cubicBezTo>
                  <a:cubicBezTo>
                    <a:pt x="70" y="38"/>
                    <a:pt x="69" y="35"/>
                    <a:pt x="68" y="33"/>
                  </a:cubicBezTo>
                  <a:cubicBezTo>
                    <a:pt x="68" y="32"/>
                    <a:pt x="67" y="31"/>
                    <a:pt x="66" y="30"/>
                  </a:cubicBezTo>
                  <a:cubicBezTo>
                    <a:pt x="66" y="29"/>
                    <a:pt x="65" y="29"/>
                    <a:pt x="65" y="28"/>
                  </a:cubicBezTo>
                  <a:cubicBezTo>
                    <a:pt x="65" y="28"/>
                    <a:pt x="64" y="27"/>
                    <a:pt x="64" y="26"/>
                  </a:cubicBezTo>
                  <a:cubicBezTo>
                    <a:pt x="63" y="25"/>
                    <a:pt x="62" y="25"/>
                    <a:pt x="62" y="24"/>
                  </a:cubicBezTo>
                  <a:cubicBezTo>
                    <a:pt x="61" y="21"/>
                    <a:pt x="60" y="19"/>
                    <a:pt x="59" y="17"/>
                  </a:cubicBezTo>
                  <a:cubicBezTo>
                    <a:pt x="59" y="15"/>
                    <a:pt x="59" y="13"/>
                    <a:pt x="59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8" y="14"/>
                    <a:pt x="58" y="17"/>
                    <a:pt x="59" y="19"/>
                  </a:cubicBezTo>
                  <a:cubicBezTo>
                    <a:pt x="59" y="21"/>
                    <a:pt x="60" y="23"/>
                    <a:pt x="60" y="24"/>
                  </a:cubicBezTo>
                  <a:cubicBezTo>
                    <a:pt x="61" y="26"/>
                    <a:pt x="60" y="27"/>
                    <a:pt x="61" y="29"/>
                  </a:cubicBezTo>
                  <a:cubicBezTo>
                    <a:pt x="63" y="32"/>
                    <a:pt x="65" y="35"/>
                    <a:pt x="68" y="38"/>
                  </a:cubicBezTo>
                  <a:cubicBezTo>
                    <a:pt x="68" y="38"/>
                    <a:pt x="69" y="39"/>
                    <a:pt x="69" y="39"/>
                  </a:cubicBezTo>
                  <a:cubicBezTo>
                    <a:pt x="69" y="41"/>
                    <a:pt x="69" y="42"/>
                    <a:pt x="69" y="43"/>
                  </a:cubicBezTo>
                  <a:cubicBezTo>
                    <a:pt x="70" y="45"/>
                    <a:pt x="71" y="46"/>
                    <a:pt x="71" y="47"/>
                  </a:cubicBezTo>
                  <a:cubicBezTo>
                    <a:pt x="72" y="49"/>
                    <a:pt x="72" y="50"/>
                    <a:pt x="73" y="51"/>
                  </a:cubicBezTo>
                  <a:cubicBezTo>
                    <a:pt x="74" y="54"/>
                    <a:pt x="76" y="57"/>
                    <a:pt x="77" y="60"/>
                  </a:cubicBezTo>
                  <a:cubicBezTo>
                    <a:pt x="77" y="61"/>
                    <a:pt x="78" y="62"/>
                    <a:pt x="78" y="62"/>
                  </a:cubicBezTo>
                  <a:cubicBezTo>
                    <a:pt x="79" y="63"/>
                    <a:pt x="79" y="64"/>
                    <a:pt x="80" y="65"/>
                  </a:cubicBezTo>
                  <a:cubicBezTo>
                    <a:pt x="80" y="66"/>
                    <a:pt x="81" y="67"/>
                    <a:pt x="81" y="67"/>
                  </a:cubicBezTo>
                  <a:cubicBezTo>
                    <a:pt x="81" y="68"/>
                    <a:pt x="82" y="69"/>
                    <a:pt x="82" y="70"/>
                  </a:cubicBezTo>
                  <a:cubicBezTo>
                    <a:pt x="83" y="71"/>
                    <a:pt x="84" y="72"/>
                    <a:pt x="86" y="74"/>
                  </a:cubicBezTo>
                  <a:cubicBezTo>
                    <a:pt x="87" y="75"/>
                    <a:pt x="87" y="76"/>
                    <a:pt x="87" y="77"/>
                  </a:cubicBezTo>
                  <a:cubicBezTo>
                    <a:pt x="86" y="78"/>
                    <a:pt x="86" y="79"/>
                    <a:pt x="86" y="80"/>
                  </a:cubicBezTo>
                  <a:cubicBezTo>
                    <a:pt x="86" y="80"/>
                    <a:pt x="87" y="81"/>
                    <a:pt x="87" y="82"/>
                  </a:cubicBezTo>
                  <a:cubicBezTo>
                    <a:pt x="88" y="83"/>
                    <a:pt x="87" y="84"/>
                    <a:pt x="88" y="86"/>
                  </a:cubicBezTo>
                  <a:cubicBezTo>
                    <a:pt x="87" y="87"/>
                    <a:pt x="87" y="87"/>
                    <a:pt x="87" y="87"/>
                  </a:cubicBezTo>
                  <a:cubicBezTo>
                    <a:pt x="84" y="88"/>
                    <a:pt x="84" y="88"/>
                    <a:pt x="84" y="88"/>
                  </a:cubicBezTo>
                  <a:cubicBezTo>
                    <a:pt x="80" y="88"/>
                    <a:pt x="80" y="88"/>
                    <a:pt x="80" y="88"/>
                  </a:cubicBezTo>
                  <a:cubicBezTo>
                    <a:pt x="79" y="92"/>
                    <a:pt x="79" y="92"/>
                    <a:pt x="79" y="92"/>
                  </a:cubicBezTo>
                  <a:cubicBezTo>
                    <a:pt x="76" y="93"/>
                    <a:pt x="76" y="93"/>
                    <a:pt x="76" y="93"/>
                  </a:cubicBezTo>
                  <a:cubicBezTo>
                    <a:pt x="74" y="97"/>
                    <a:pt x="74" y="97"/>
                    <a:pt x="74" y="97"/>
                  </a:cubicBezTo>
                  <a:cubicBezTo>
                    <a:pt x="70" y="97"/>
                    <a:pt x="70" y="97"/>
                    <a:pt x="70" y="97"/>
                  </a:cubicBezTo>
                  <a:cubicBezTo>
                    <a:pt x="69" y="94"/>
                    <a:pt x="69" y="94"/>
                    <a:pt x="69" y="94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4"/>
                    <a:pt x="1" y="12"/>
                    <a:pt x="1" y="11"/>
                  </a:cubicBezTo>
                  <a:cubicBezTo>
                    <a:pt x="1" y="10"/>
                    <a:pt x="1" y="9"/>
                    <a:pt x="2" y="7"/>
                  </a:cubicBezTo>
                  <a:cubicBezTo>
                    <a:pt x="2" y="5"/>
                    <a:pt x="3" y="3"/>
                    <a:pt x="3" y="1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5" name="Freeform 347"/>
            <p:cNvSpPr>
              <a:spLocks/>
            </p:cNvSpPr>
            <p:nvPr/>
          </p:nvSpPr>
          <p:spPr bwMode="auto">
            <a:xfrm>
              <a:off x="6961376" y="4992138"/>
              <a:ext cx="165291" cy="139603"/>
            </a:xfrm>
            <a:custGeom>
              <a:avLst/>
              <a:gdLst>
                <a:gd name="T0" fmla="*/ 617585 w 123"/>
                <a:gd name="T1" fmla="*/ 40037 h 129"/>
                <a:gd name="T2" fmla="*/ 1108281 w 123"/>
                <a:gd name="T3" fmla="*/ 189595 h 129"/>
                <a:gd name="T4" fmla="*/ 1514055 w 123"/>
                <a:gd name="T5" fmla="*/ 331044 h 129"/>
                <a:gd name="T6" fmla="*/ 1547847 w 123"/>
                <a:gd name="T7" fmla="*/ 555778 h 129"/>
                <a:gd name="T8" fmla="*/ 1758185 w 123"/>
                <a:gd name="T9" fmla="*/ 706392 h 129"/>
                <a:gd name="T10" fmla="*/ 2197701 w 123"/>
                <a:gd name="T11" fmla="*/ 784832 h 129"/>
                <a:gd name="T12" fmla="*/ 2282214 w 123"/>
                <a:gd name="T13" fmla="*/ 888088 h 129"/>
                <a:gd name="T14" fmla="*/ 2465519 w 123"/>
                <a:gd name="T15" fmla="*/ 1038077 h 129"/>
                <a:gd name="T16" fmla="*/ 2793415 w 123"/>
                <a:gd name="T17" fmla="*/ 784832 h 129"/>
                <a:gd name="T18" fmla="*/ 2760830 w 123"/>
                <a:gd name="T19" fmla="*/ 517059 h 129"/>
                <a:gd name="T20" fmla="*/ 2931840 w 123"/>
                <a:gd name="T21" fmla="*/ 227617 h 129"/>
                <a:gd name="T22" fmla="*/ 3161997 w 123"/>
                <a:gd name="T23" fmla="*/ 117922 h 129"/>
                <a:gd name="T24" fmla="*/ 3443231 w 123"/>
                <a:gd name="T25" fmla="*/ 189595 h 129"/>
                <a:gd name="T26" fmla="*/ 3601347 w 123"/>
                <a:gd name="T27" fmla="*/ 365962 h 129"/>
                <a:gd name="T28" fmla="*/ 3940070 w 123"/>
                <a:gd name="T29" fmla="*/ 439354 h 129"/>
                <a:gd name="T30" fmla="*/ 4149123 w 123"/>
                <a:gd name="T31" fmla="*/ 481000 h 129"/>
                <a:gd name="T32" fmla="*/ 4112748 w 123"/>
                <a:gd name="T33" fmla="*/ 748017 h 129"/>
                <a:gd name="T34" fmla="*/ 4080034 w 123"/>
                <a:gd name="T35" fmla="*/ 1038077 h 129"/>
                <a:gd name="T36" fmla="*/ 4149123 w 123"/>
                <a:gd name="T37" fmla="*/ 4713330 h 129"/>
                <a:gd name="T38" fmla="*/ 3888273 w 123"/>
                <a:gd name="T39" fmla="*/ 4790717 h 129"/>
                <a:gd name="T40" fmla="*/ 1856967 w 123"/>
                <a:gd name="T41" fmla="*/ 3479923 h 129"/>
                <a:gd name="T42" fmla="*/ 1585498 w 123"/>
                <a:gd name="T43" fmla="*/ 3514256 h 129"/>
                <a:gd name="T44" fmla="*/ 1455890 w 123"/>
                <a:gd name="T45" fmla="*/ 3675309 h 129"/>
                <a:gd name="T46" fmla="*/ 1419316 w 123"/>
                <a:gd name="T47" fmla="*/ 3675309 h 129"/>
                <a:gd name="T48" fmla="*/ 1207608 w 123"/>
                <a:gd name="T49" fmla="*/ 3718509 h 129"/>
                <a:gd name="T50" fmla="*/ 956053 w 123"/>
                <a:gd name="T51" fmla="*/ 3479923 h 129"/>
                <a:gd name="T52" fmla="*/ 629389 w 123"/>
                <a:gd name="T53" fmla="*/ 3459186 h 129"/>
                <a:gd name="T54" fmla="*/ 368653 w 123"/>
                <a:gd name="T55" fmla="*/ 3119647 h 129"/>
                <a:gd name="T56" fmla="*/ 208994 w 123"/>
                <a:gd name="T57" fmla="*/ 3041751 h 129"/>
                <a:gd name="T58" fmla="*/ 37620 w 123"/>
                <a:gd name="T59" fmla="*/ 2631874 h 129"/>
                <a:gd name="T60" fmla="*/ 108925 w 123"/>
                <a:gd name="T61" fmla="*/ 2481939 h 129"/>
                <a:gd name="T62" fmla="*/ 108925 w 123"/>
                <a:gd name="T63" fmla="*/ 1960481 h 129"/>
                <a:gd name="T64" fmla="*/ 37620 w 123"/>
                <a:gd name="T65" fmla="*/ 1593799 h 129"/>
                <a:gd name="T66" fmla="*/ 72181 w 123"/>
                <a:gd name="T67" fmla="*/ 1325940 h 129"/>
                <a:gd name="T68" fmla="*/ 37620 w 123"/>
                <a:gd name="T69" fmla="*/ 1072781 h 129"/>
                <a:gd name="T70" fmla="*/ 229776 w 123"/>
                <a:gd name="T71" fmla="*/ 965574 h 129"/>
                <a:gd name="T72" fmla="*/ 229776 w 123"/>
                <a:gd name="T73" fmla="*/ 517059 h 129"/>
                <a:gd name="T74" fmla="*/ 265728 w 123"/>
                <a:gd name="T75" fmla="*/ 439354 h 129"/>
                <a:gd name="T76" fmla="*/ 509852 w 123"/>
                <a:gd name="T77" fmla="*/ 331044 h 129"/>
                <a:gd name="T78" fmla="*/ 539661 w 123"/>
                <a:gd name="T79" fmla="*/ 149170 h 129"/>
                <a:gd name="T80" fmla="*/ 539661 w 123"/>
                <a:gd name="T81" fmla="*/ 0 h 12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23"/>
                <a:gd name="T124" fmla="*/ 0 h 129"/>
                <a:gd name="T125" fmla="*/ 123 w 123"/>
                <a:gd name="T126" fmla="*/ 129 h 129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23" h="129">
                  <a:moveTo>
                    <a:pt x="16" y="0"/>
                  </a:moveTo>
                  <a:cubicBezTo>
                    <a:pt x="17" y="0"/>
                    <a:pt x="17" y="0"/>
                    <a:pt x="18" y="1"/>
                  </a:cubicBezTo>
                  <a:cubicBezTo>
                    <a:pt x="20" y="2"/>
                    <a:pt x="22" y="3"/>
                    <a:pt x="25" y="4"/>
                  </a:cubicBezTo>
                  <a:cubicBezTo>
                    <a:pt x="27" y="5"/>
                    <a:pt x="31" y="4"/>
                    <a:pt x="33" y="5"/>
                  </a:cubicBezTo>
                  <a:cubicBezTo>
                    <a:pt x="36" y="5"/>
                    <a:pt x="37" y="7"/>
                    <a:pt x="39" y="8"/>
                  </a:cubicBezTo>
                  <a:cubicBezTo>
                    <a:pt x="41" y="8"/>
                    <a:pt x="43" y="8"/>
                    <a:pt x="45" y="9"/>
                  </a:cubicBezTo>
                  <a:cubicBezTo>
                    <a:pt x="45" y="10"/>
                    <a:pt x="46" y="11"/>
                    <a:pt x="46" y="11"/>
                  </a:cubicBezTo>
                  <a:cubicBezTo>
                    <a:pt x="46" y="12"/>
                    <a:pt x="46" y="14"/>
                    <a:pt x="46" y="15"/>
                  </a:cubicBezTo>
                  <a:cubicBezTo>
                    <a:pt x="47" y="15"/>
                    <a:pt x="47" y="16"/>
                    <a:pt x="48" y="17"/>
                  </a:cubicBezTo>
                  <a:cubicBezTo>
                    <a:pt x="49" y="18"/>
                    <a:pt x="50" y="19"/>
                    <a:pt x="52" y="19"/>
                  </a:cubicBezTo>
                  <a:cubicBezTo>
                    <a:pt x="54" y="20"/>
                    <a:pt x="57" y="18"/>
                    <a:pt x="60" y="20"/>
                  </a:cubicBezTo>
                  <a:cubicBezTo>
                    <a:pt x="62" y="21"/>
                    <a:pt x="63" y="21"/>
                    <a:pt x="65" y="21"/>
                  </a:cubicBezTo>
                  <a:cubicBezTo>
                    <a:pt x="66" y="22"/>
                    <a:pt x="67" y="23"/>
                    <a:pt x="68" y="24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9" y="25"/>
                    <a:pt x="70" y="25"/>
                    <a:pt x="70" y="26"/>
                  </a:cubicBezTo>
                  <a:cubicBezTo>
                    <a:pt x="71" y="27"/>
                    <a:pt x="72" y="27"/>
                    <a:pt x="73" y="28"/>
                  </a:cubicBezTo>
                  <a:cubicBezTo>
                    <a:pt x="77" y="29"/>
                    <a:pt x="81" y="27"/>
                    <a:pt x="82" y="23"/>
                  </a:cubicBezTo>
                  <a:cubicBezTo>
                    <a:pt x="83" y="22"/>
                    <a:pt x="83" y="22"/>
                    <a:pt x="83" y="21"/>
                  </a:cubicBezTo>
                  <a:cubicBezTo>
                    <a:pt x="84" y="19"/>
                    <a:pt x="82" y="17"/>
                    <a:pt x="82" y="15"/>
                  </a:cubicBezTo>
                  <a:cubicBezTo>
                    <a:pt x="82" y="15"/>
                    <a:pt x="82" y="14"/>
                    <a:pt x="82" y="14"/>
                  </a:cubicBezTo>
                  <a:cubicBezTo>
                    <a:pt x="81" y="12"/>
                    <a:pt x="82" y="10"/>
                    <a:pt x="85" y="8"/>
                  </a:cubicBezTo>
                  <a:cubicBezTo>
                    <a:pt x="86" y="8"/>
                    <a:pt x="86" y="6"/>
                    <a:pt x="87" y="6"/>
                  </a:cubicBezTo>
                  <a:cubicBezTo>
                    <a:pt x="89" y="5"/>
                    <a:pt x="90" y="4"/>
                    <a:pt x="92" y="4"/>
                  </a:cubicBezTo>
                  <a:cubicBezTo>
                    <a:pt x="93" y="4"/>
                    <a:pt x="93" y="3"/>
                    <a:pt x="94" y="3"/>
                  </a:cubicBezTo>
                  <a:cubicBezTo>
                    <a:pt x="95" y="3"/>
                    <a:pt x="96" y="3"/>
                    <a:pt x="98" y="3"/>
                  </a:cubicBezTo>
                  <a:cubicBezTo>
                    <a:pt x="99" y="4"/>
                    <a:pt x="101" y="5"/>
                    <a:pt x="102" y="5"/>
                  </a:cubicBezTo>
                  <a:cubicBezTo>
                    <a:pt x="104" y="5"/>
                    <a:pt x="104" y="6"/>
                    <a:pt x="105" y="6"/>
                  </a:cubicBezTo>
                  <a:cubicBezTo>
                    <a:pt x="106" y="7"/>
                    <a:pt x="106" y="9"/>
                    <a:pt x="107" y="10"/>
                  </a:cubicBezTo>
                  <a:cubicBezTo>
                    <a:pt x="109" y="11"/>
                    <a:pt x="112" y="11"/>
                    <a:pt x="114" y="12"/>
                  </a:cubicBezTo>
                  <a:cubicBezTo>
                    <a:pt x="115" y="13"/>
                    <a:pt x="116" y="13"/>
                    <a:pt x="117" y="12"/>
                  </a:cubicBezTo>
                  <a:cubicBezTo>
                    <a:pt x="118" y="12"/>
                    <a:pt x="120" y="11"/>
                    <a:pt x="122" y="12"/>
                  </a:cubicBezTo>
                  <a:cubicBezTo>
                    <a:pt x="122" y="12"/>
                    <a:pt x="122" y="13"/>
                    <a:pt x="123" y="13"/>
                  </a:cubicBezTo>
                  <a:cubicBezTo>
                    <a:pt x="123" y="14"/>
                    <a:pt x="123" y="14"/>
                    <a:pt x="123" y="14"/>
                  </a:cubicBezTo>
                  <a:cubicBezTo>
                    <a:pt x="123" y="16"/>
                    <a:pt x="122" y="18"/>
                    <a:pt x="122" y="20"/>
                  </a:cubicBezTo>
                  <a:cubicBezTo>
                    <a:pt x="121" y="22"/>
                    <a:pt x="121" y="23"/>
                    <a:pt x="121" y="24"/>
                  </a:cubicBezTo>
                  <a:cubicBezTo>
                    <a:pt x="121" y="25"/>
                    <a:pt x="120" y="27"/>
                    <a:pt x="121" y="28"/>
                  </a:cubicBezTo>
                  <a:cubicBezTo>
                    <a:pt x="123" y="108"/>
                    <a:pt x="123" y="108"/>
                    <a:pt x="123" y="108"/>
                  </a:cubicBezTo>
                  <a:cubicBezTo>
                    <a:pt x="123" y="127"/>
                    <a:pt x="123" y="127"/>
                    <a:pt x="123" y="127"/>
                  </a:cubicBezTo>
                  <a:cubicBezTo>
                    <a:pt x="115" y="126"/>
                    <a:pt x="115" y="126"/>
                    <a:pt x="115" y="126"/>
                  </a:cubicBezTo>
                  <a:cubicBezTo>
                    <a:pt x="115" y="129"/>
                    <a:pt x="115" y="129"/>
                    <a:pt x="115" y="129"/>
                  </a:cubicBezTo>
                  <a:cubicBezTo>
                    <a:pt x="57" y="96"/>
                    <a:pt x="57" y="96"/>
                    <a:pt x="57" y="96"/>
                  </a:cubicBezTo>
                  <a:cubicBezTo>
                    <a:pt x="57" y="96"/>
                    <a:pt x="55" y="95"/>
                    <a:pt x="55" y="94"/>
                  </a:cubicBezTo>
                  <a:cubicBezTo>
                    <a:pt x="52" y="93"/>
                    <a:pt x="53" y="92"/>
                    <a:pt x="51" y="93"/>
                  </a:cubicBezTo>
                  <a:cubicBezTo>
                    <a:pt x="49" y="93"/>
                    <a:pt x="49" y="94"/>
                    <a:pt x="47" y="95"/>
                  </a:cubicBezTo>
                  <a:cubicBezTo>
                    <a:pt x="47" y="95"/>
                    <a:pt x="46" y="95"/>
                    <a:pt x="45" y="96"/>
                  </a:cubicBezTo>
                  <a:cubicBezTo>
                    <a:pt x="44" y="96"/>
                    <a:pt x="43" y="97"/>
                    <a:pt x="43" y="99"/>
                  </a:cubicBezTo>
                  <a:cubicBezTo>
                    <a:pt x="43" y="99"/>
                    <a:pt x="43" y="99"/>
                    <a:pt x="43" y="99"/>
                  </a:cubicBezTo>
                  <a:cubicBezTo>
                    <a:pt x="43" y="99"/>
                    <a:pt x="43" y="99"/>
                    <a:pt x="42" y="99"/>
                  </a:cubicBezTo>
                  <a:cubicBezTo>
                    <a:pt x="41" y="101"/>
                    <a:pt x="39" y="101"/>
                    <a:pt x="37" y="101"/>
                  </a:cubicBezTo>
                  <a:cubicBezTo>
                    <a:pt x="37" y="101"/>
                    <a:pt x="36" y="101"/>
                    <a:pt x="36" y="100"/>
                  </a:cubicBezTo>
                  <a:cubicBezTo>
                    <a:pt x="35" y="99"/>
                    <a:pt x="34" y="97"/>
                    <a:pt x="33" y="97"/>
                  </a:cubicBezTo>
                  <a:cubicBezTo>
                    <a:pt x="31" y="96"/>
                    <a:pt x="30" y="95"/>
                    <a:pt x="28" y="94"/>
                  </a:cubicBezTo>
                  <a:cubicBezTo>
                    <a:pt x="25" y="93"/>
                    <a:pt x="22" y="93"/>
                    <a:pt x="19" y="93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0" y="90"/>
                    <a:pt x="17" y="86"/>
                    <a:pt x="14" y="85"/>
                  </a:cubicBezTo>
                  <a:cubicBezTo>
                    <a:pt x="13" y="84"/>
                    <a:pt x="12" y="84"/>
                    <a:pt x="11" y="84"/>
                  </a:cubicBezTo>
                  <a:cubicBezTo>
                    <a:pt x="10" y="83"/>
                    <a:pt x="9" y="84"/>
                    <a:pt x="8" y="83"/>
                  </a:cubicBezTo>
                  <a:cubicBezTo>
                    <a:pt x="7" y="83"/>
                    <a:pt x="6" y="82"/>
                    <a:pt x="6" y="82"/>
                  </a:cubicBezTo>
                  <a:cubicBezTo>
                    <a:pt x="5" y="80"/>
                    <a:pt x="6" y="78"/>
                    <a:pt x="5" y="76"/>
                  </a:cubicBezTo>
                  <a:cubicBezTo>
                    <a:pt x="4" y="75"/>
                    <a:pt x="3" y="72"/>
                    <a:pt x="1" y="71"/>
                  </a:cubicBezTo>
                  <a:cubicBezTo>
                    <a:pt x="0" y="71"/>
                    <a:pt x="0" y="68"/>
                    <a:pt x="1" y="67"/>
                  </a:cubicBezTo>
                  <a:cubicBezTo>
                    <a:pt x="2" y="67"/>
                    <a:pt x="3" y="67"/>
                    <a:pt x="3" y="67"/>
                  </a:cubicBezTo>
                  <a:cubicBezTo>
                    <a:pt x="4" y="64"/>
                    <a:pt x="4" y="60"/>
                    <a:pt x="3" y="57"/>
                  </a:cubicBezTo>
                  <a:cubicBezTo>
                    <a:pt x="3" y="56"/>
                    <a:pt x="3" y="55"/>
                    <a:pt x="3" y="53"/>
                  </a:cubicBezTo>
                  <a:cubicBezTo>
                    <a:pt x="4" y="51"/>
                    <a:pt x="4" y="49"/>
                    <a:pt x="3" y="47"/>
                  </a:cubicBezTo>
                  <a:cubicBezTo>
                    <a:pt x="3" y="45"/>
                    <a:pt x="1" y="44"/>
                    <a:pt x="1" y="43"/>
                  </a:cubicBezTo>
                  <a:cubicBezTo>
                    <a:pt x="1" y="41"/>
                    <a:pt x="1" y="39"/>
                    <a:pt x="1" y="37"/>
                  </a:cubicBezTo>
                  <a:cubicBezTo>
                    <a:pt x="1" y="37"/>
                    <a:pt x="1" y="36"/>
                    <a:pt x="2" y="36"/>
                  </a:cubicBezTo>
                  <a:cubicBezTo>
                    <a:pt x="2" y="35"/>
                    <a:pt x="2" y="33"/>
                    <a:pt x="1" y="33"/>
                  </a:cubicBezTo>
                  <a:cubicBezTo>
                    <a:pt x="1" y="31"/>
                    <a:pt x="1" y="30"/>
                    <a:pt x="1" y="29"/>
                  </a:cubicBezTo>
                  <a:cubicBezTo>
                    <a:pt x="1" y="30"/>
                    <a:pt x="2" y="30"/>
                    <a:pt x="3" y="29"/>
                  </a:cubicBezTo>
                  <a:cubicBezTo>
                    <a:pt x="4" y="28"/>
                    <a:pt x="6" y="27"/>
                    <a:pt x="7" y="26"/>
                  </a:cubicBezTo>
                  <a:cubicBezTo>
                    <a:pt x="9" y="25"/>
                    <a:pt x="9" y="22"/>
                    <a:pt x="7" y="19"/>
                  </a:cubicBezTo>
                  <a:cubicBezTo>
                    <a:pt x="6" y="18"/>
                    <a:pt x="7" y="16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10" y="11"/>
                    <a:pt x="11" y="11"/>
                    <a:pt x="12" y="10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5" y="8"/>
                    <a:pt x="16" y="8"/>
                    <a:pt x="16" y="7"/>
                  </a:cubicBezTo>
                  <a:cubicBezTo>
                    <a:pt x="17" y="6"/>
                    <a:pt x="17" y="5"/>
                    <a:pt x="16" y="4"/>
                  </a:cubicBezTo>
                  <a:cubicBezTo>
                    <a:pt x="16" y="3"/>
                    <a:pt x="16" y="2"/>
                    <a:pt x="16" y="1"/>
                  </a:cubicBezTo>
                  <a:lnTo>
                    <a:pt x="16" y="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6" name="Freeform 348"/>
            <p:cNvSpPr>
              <a:spLocks/>
            </p:cNvSpPr>
            <p:nvPr/>
          </p:nvSpPr>
          <p:spPr bwMode="auto">
            <a:xfrm>
              <a:off x="6938177" y="4948627"/>
              <a:ext cx="44947" cy="76148"/>
            </a:xfrm>
            <a:custGeom>
              <a:avLst/>
              <a:gdLst>
                <a:gd name="T0" fmla="*/ 1043502 w 34"/>
                <a:gd name="T1" fmla="*/ 1456326 h 70"/>
                <a:gd name="T2" fmla="*/ 1043502 w 34"/>
                <a:gd name="T3" fmla="*/ 1456326 h 70"/>
                <a:gd name="T4" fmla="*/ 984754 w 34"/>
                <a:gd name="T5" fmla="*/ 1429328 h 70"/>
                <a:gd name="T6" fmla="*/ 949141 w 34"/>
                <a:gd name="T7" fmla="*/ 1348222 h 70"/>
                <a:gd name="T8" fmla="*/ 765419 w 34"/>
                <a:gd name="T9" fmla="*/ 1291792 h 70"/>
                <a:gd name="T10" fmla="*/ 695890 w 34"/>
                <a:gd name="T11" fmla="*/ 1209523 h 70"/>
                <a:gd name="T12" fmla="*/ 695890 w 34"/>
                <a:gd name="T13" fmla="*/ 1061183 h 70"/>
                <a:gd name="T14" fmla="*/ 839184 w 34"/>
                <a:gd name="T15" fmla="*/ 984266 h 70"/>
                <a:gd name="T16" fmla="*/ 914869 w 34"/>
                <a:gd name="T17" fmla="*/ 796537 h 70"/>
                <a:gd name="T18" fmla="*/ 914869 w 34"/>
                <a:gd name="T19" fmla="*/ 699078 h 70"/>
                <a:gd name="T20" fmla="*/ 914869 w 34"/>
                <a:gd name="T21" fmla="*/ 592685 h 70"/>
                <a:gd name="T22" fmla="*/ 914869 w 34"/>
                <a:gd name="T23" fmla="*/ 550243 h 70"/>
                <a:gd name="T24" fmla="*/ 860269 w 34"/>
                <a:gd name="T25" fmla="*/ 510360 h 70"/>
                <a:gd name="T26" fmla="*/ 800232 w 34"/>
                <a:gd name="T27" fmla="*/ 433250 h 70"/>
                <a:gd name="T28" fmla="*/ 765419 w 34"/>
                <a:gd name="T29" fmla="*/ 362485 h 70"/>
                <a:gd name="T30" fmla="*/ 898594 w 34"/>
                <a:gd name="T31" fmla="*/ 187955 h 70"/>
                <a:gd name="T32" fmla="*/ 949141 w 34"/>
                <a:gd name="T33" fmla="*/ 116484 h 70"/>
                <a:gd name="T34" fmla="*/ 860269 w 34"/>
                <a:gd name="T35" fmla="*/ 116484 h 70"/>
                <a:gd name="T36" fmla="*/ 765419 w 34"/>
                <a:gd name="T37" fmla="*/ 147939 h 70"/>
                <a:gd name="T38" fmla="*/ 734465 w 34"/>
                <a:gd name="T39" fmla="*/ 76709 h 70"/>
                <a:gd name="T40" fmla="*/ 695890 w 34"/>
                <a:gd name="T41" fmla="*/ 76709 h 70"/>
                <a:gd name="T42" fmla="*/ 660696 w 34"/>
                <a:gd name="T43" fmla="*/ 39775 h 70"/>
                <a:gd name="T44" fmla="*/ 600787 w 34"/>
                <a:gd name="T45" fmla="*/ 0 h 70"/>
                <a:gd name="T46" fmla="*/ 515102 w 34"/>
                <a:gd name="T47" fmla="*/ 0 h 70"/>
                <a:gd name="T48" fmla="*/ 314258 w 34"/>
                <a:gd name="T49" fmla="*/ 116484 h 70"/>
                <a:gd name="T50" fmla="*/ 250317 w 34"/>
                <a:gd name="T51" fmla="*/ 147939 h 70"/>
                <a:gd name="T52" fmla="*/ 218951 w 34"/>
                <a:gd name="T53" fmla="*/ 147939 h 70"/>
                <a:gd name="T54" fmla="*/ 218951 w 34"/>
                <a:gd name="T55" fmla="*/ 285311 h 70"/>
                <a:gd name="T56" fmla="*/ 218951 w 34"/>
                <a:gd name="T57" fmla="*/ 391550 h 70"/>
                <a:gd name="T58" fmla="*/ 250317 w 34"/>
                <a:gd name="T59" fmla="*/ 473009 h 70"/>
                <a:gd name="T60" fmla="*/ 250317 w 34"/>
                <a:gd name="T61" fmla="*/ 627160 h 70"/>
                <a:gd name="T62" fmla="*/ 218951 w 34"/>
                <a:gd name="T63" fmla="*/ 755132 h 70"/>
                <a:gd name="T64" fmla="*/ 250317 w 34"/>
                <a:gd name="T65" fmla="*/ 912231 h 70"/>
                <a:gd name="T66" fmla="*/ 180773 w 34"/>
                <a:gd name="T67" fmla="*/ 944383 h 70"/>
                <a:gd name="T68" fmla="*/ 180773 w 34"/>
                <a:gd name="T69" fmla="*/ 984266 h 70"/>
                <a:gd name="T70" fmla="*/ 94558 w 34"/>
                <a:gd name="T71" fmla="*/ 1027161 h 70"/>
                <a:gd name="T72" fmla="*/ 94558 w 34"/>
                <a:gd name="T73" fmla="*/ 1429328 h 70"/>
                <a:gd name="T74" fmla="*/ 180773 w 34"/>
                <a:gd name="T75" fmla="*/ 1496216 h 70"/>
                <a:gd name="T76" fmla="*/ 218951 w 34"/>
                <a:gd name="T77" fmla="*/ 1496216 h 70"/>
                <a:gd name="T78" fmla="*/ 250317 w 34"/>
                <a:gd name="T79" fmla="*/ 1611423 h 70"/>
                <a:gd name="T80" fmla="*/ 285512 w 34"/>
                <a:gd name="T81" fmla="*/ 1721072 h 70"/>
                <a:gd name="T82" fmla="*/ 418583 w 34"/>
                <a:gd name="T83" fmla="*/ 1781519 h 70"/>
                <a:gd name="T84" fmla="*/ 515102 w 34"/>
                <a:gd name="T85" fmla="*/ 2046567 h 70"/>
                <a:gd name="T86" fmla="*/ 545832 w 34"/>
                <a:gd name="T87" fmla="*/ 2204425 h 70"/>
                <a:gd name="T88" fmla="*/ 545832 w 34"/>
                <a:gd name="T89" fmla="*/ 2272029 h 70"/>
                <a:gd name="T90" fmla="*/ 564959 w 34"/>
                <a:gd name="T91" fmla="*/ 2534179 h 70"/>
                <a:gd name="T92" fmla="*/ 638589 w 34"/>
                <a:gd name="T93" fmla="*/ 2534179 h 70"/>
                <a:gd name="T94" fmla="*/ 765419 w 34"/>
                <a:gd name="T95" fmla="*/ 2409453 h 70"/>
                <a:gd name="T96" fmla="*/ 765419 w 34"/>
                <a:gd name="T97" fmla="*/ 2166143 h 70"/>
                <a:gd name="T98" fmla="*/ 765419 w 34"/>
                <a:gd name="T99" fmla="*/ 1980953 h 70"/>
                <a:gd name="T100" fmla="*/ 765419 w 34"/>
                <a:gd name="T101" fmla="*/ 1980953 h 70"/>
                <a:gd name="T102" fmla="*/ 800232 w 34"/>
                <a:gd name="T103" fmla="*/ 1898227 h 70"/>
                <a:gd name="T104" fmla="*/ 914869 w 34"/>
                <a:gd name="T105" fmla="*/ 1821310 h 70"/>
                <a:gd name="T106" fmla="*/ 1019984 w 34"/>
                <a:gd name="T107" fmla="*/ 1781519 h 70"/>
                <a:gd name="T108" fmla="*/ 1043502 w 34"/>
                <a:gd name="T109" fmla="*/ 1721072 h 70"/>
                <a:gd name="T110" fmla="*/ 1043502 w 34"/>
                <a:gd name="T111" fmla="*/ 1611423 h 70"/>
                <a:gd name="T112" fmla="*/ 1043502 w 34"/>
                <a:gd name="T113" fmla="*/ 1496216 h 70"/>
                <a:gd name="T114" fmla="*/ 1043502 w 34"/>
                <a:gd name="T115" fmla="*/ 1456326 h 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4"/>
                <a:gd name="T175" fmla="*/ 0 h 70"/>
                <a:gd name="T176" fmla="*/ 34 w 34"/>
                <a:gd name="T177" fmla="*/ 70 h 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4" h="70">
                  <a:moveTo>
                    <a:pt x="33" y="40"/>
                  </a:moveTo>
                  <a:cubicBezTo>
                    <a:pt x="33" y="40"/>
                    <a:pt x="33" y="40"/>
                    <a:pt x="33" y="40"/>
                  </a:cubicBezTo>
                  <a:cubicBezTo>
                    <a:pt x="32" y="39"/>
                    <a:pt x="31" y="39"/>
                    <a:pt x="31" y="39"/>
                  </a:cubicBezTo>
                  <a:cubicBezTo>
                    <a:pt x="30" y="38"/>
                    <a:pt x="30" y="38"/>
                    <a:pt x="30" y="37"/>
                  </a:cubicBezTo>
                  <a:cubicBezTo>
                    <a:pt x="29" y="35"/>
                    <a:pt x="26" y="36"/>
                    <a:pt x="24" y="35"/>
                  </a:cubicBezTo>
                  <a:cubicBezTo>
                    <a:pt x="23" y="35"/>
                    <a:pt x="22" y="34"/>
                    <a:pt x="22" y="33"/>
                  </a:cubicBezTo>
                  <a:cubicBezTo>
                    <a:pt x="22" y="32"/>
                    <a:pt x="22" y="30"/>
                    <a:pt x="22" y="29"/>
                  </a:cubicBezTo>
                  <a:cubicBezTo>
                    <a:pt x="23" y="28"/>
                    <a:pt x="25" y="28"/>
                    <a:pt x="26" y="27"/>
                  </a:cubicBezTo>
                  <a:cubicBezTo>
                    <a:pt x="27" y="25"/>
                    <a:pt x="28" y="24"/>
                    <a:pt x="29" y="22"/>
                  </a:cubicBezTo>
                  <a:cubicBezTo>
                    <a:pt x="29" y="21"/>
                    <a:pt x="28" y="20"/>
                    <a:pt x="29" y="19"/>
                  </a:cubicBezTo>
                  <a:cubicBezTo>
                    <a:pt x="30" y="18"/>
                    <a:pt x="30" y="17"/>
                    <a:pt x="29" y="16"/>
                  </a:cubicBezTo>
                  <a:cubicBezTo>
                    <a:pt x="29" y="16"/>
                    <a:pt x="29" y="15"/>
                    <a:pt x="29" y="15"/>
                  </a:cubicBezTo>
                  <a:cubicBezTo>
                    <a:pt x="28" y="15"/>
                    <a:pt x="27" y="14"/>
                    <a:pt x="27" y="14"/>
                  </a:cubicBezTo>
                  <a:cubicBezTo>
                    <a:pt x="26" y="13"/>
                    <a:pt x="25" y="12"/>
                    <a:pt x="25" y="12"/>
                  </a:cubicBezTo>
                  <a:cubicBezTo>
                    <a:pt x="24" y="11"/>
                    <a:pt x="24" y="10"/>
                    <a:pt x="24" y="10"/>
                  </a:cubicBezTo>
                  <a:cubicBezTo>
                    <a:pt x="26" y="8"/>
                    <a:pt x="28" y="7"/>
                    <a:pt x="28" y="5"/>
                  </a:cubicBezTo>
                  <a:cubicBezTo>
                    <a:pt x="29" y="5"/>
                    <a:pt x="30" y="4"/>
                    <a:pt x="30" y="3"/>
                  </a:cubicBezTo>
                  <a:cubicBezTo>
                    <a:pt x="29" y="3"/>
                    <a:pt x="28" y="3"/>
                    <a:pt x="27" y="3"/>
                  </a:cubicBezTo>
                  <a:cubicBezTo>
                    <a:pt x="26" y="4"/>
                    <a:pt x="24" y="4"/>
                    <a:pt x="24" y="4"/>
                  </a:cubicBezTo>
                  <a:cubicBezTo>
                    <a:pt x="23" y="3"/>
                    <a:pt x="23" y="3"/>
                    <a:pt x="23" y="2"/>
                  </a:cubicBezTo>
                  <a:cubicBezTo>
                    <a:pt x="23" y="2"/>
                    <a:pt x="22" y="2"/>
                    <a:pt x="22" y="2"/>
                  </a:cubicBezTo>
                  <a:cubicBezTo>
                    <a:pt x="22" y="2"/>
                    <a:pt x="21" y="1"/>
                    <a:pt x="21" y="1"/>
                  </a:cubicBezTo>
                  <a:cubicBezTo>
                    <a:pt x="20" y="1"/>
                    <a:pt x="20" y="1"/>
                    <a:pt x="19" y="0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3" y="1"/>
                    <a:pt x="12" y="3"/>
                    <a:pt x="10" y="3"/>
                  </a:cubicBezTo>
                  <a:cubicBezTo>
                    <a:pt x="9" y="4"/>
                    <a:pt x="8" y="4"/>
                    <a:pt x="8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6"/>
                    <a:pt x="7" y="7"/>
                    <a:pt x="7" y="8"/>
                  </a:cubicBezTo>
                  <a:cubicBezTo>
                    <a:pt x="6" y="9"/>
                    <a:pt x="6" y="10"/>
                    <a:pt x="7" y="11"/>
                  </a:cubicBezTo>
                  <a:cubicBezTo>
                    <a:pt x="7" y="12"/>
                    <a:pt x="8" y="12"/>
                    <a:pt x="8" y="13"/>
                  </a:cubicBezTo>
                  <a:cubicBezTo>
                    <a:pt x="8" y="14"/>
                    <a:pt x="8" y="16"/>
                    <a:pt x="8" y="17"/>
                  </a:cubicBezTo>
                  <a:cubicBezTo>
                    <a:pt x="7" y="18"/>
                    <a:pt x="8" y="19"/>
                    <a:pt x="7" y="21"/>
                  </a:cubicBezTo>
                  <a:cubicBezTo>
                    <a:pt x="7" y="22"/>
                    <a:pt x="8" y="23"/>
                    <a:pt x="8" y="25"/>
                  </a:cubicBezTo>
                  <a:cubicBezTo>
                    <a:pt x="8" y="25"/>
                    <a:pt x="7" y="25"/>
                    <a:pt x="6" y="26"/>
                  </a:cubicBezTo>
                  <a:cubicBezTo>
                    <a:pt x="6" y="26"/>
                    <a:pt x="6" y="27"/>
                    <a:pt x="6" y="27"/>
                  </a:cubicBezTo>
                  <a:cubicBezTo>
                    <a:pt x="5" y="28"/>
                    <a:pt x="4" y="28"/>
                    <a:pt x="3" y="28"/>
                  </a:cubicBezTo>
                  <a:cubicBezTo>
                    <a:pt x="0" y="31"/>
                    <a:pt x="2" y="36"/>
                    <a:pt x="3" y="39"/>
                  </a:cubicBezTo>
                  <a:cubicBezTo>
                    <a:pt x="3" y="40"/>
                    <a:pt x="5" y="40"/>
                    <a:pt x="6" y="41"/>
                  </a:cubicBezTo>
                  <a:cubicBezTo>
                    <a:pt x="6" y="41"/>
                    <a:pt x="7" y="41"/>
                    <a:pt x="7" y="41"/>
                  </a:cubicBezTo>
                  <a:cubicBezTo>
                    <a:pt x="7" y="43"/>
                    <a:pt x="8" y="44"/>
                    <a:pt x="8" y="44"/>
                  </a:cubicBezTo>
                  <a:cubicBezTo>
                    <a:pt x="9" y="45"/>
                    <a:pt x="8" y="47"/>
                    <a:pt x="9" y="47"/>
                  </a:cubicBezTo>
                  <a:cubicBezTo>
                    <a:pt x="10" y="48"/>
                    <a:pt x="12" y="48"/>
                    <a:pt x="13" y="49"/>
                  </a:cubicBezTo>
                  <a:cubicBezTo>
                    <a:pt x="15" y="50"/>
                    <a:pt x="16" y="53"/>
                    <a:pt x="16" y="56"/>
                  </a:cubicBezTo>
                  <a:cubicBezTo>
                    <a:pt x="16" y="56"/>
                    <a:pt x="16" y="60"/>
                    <a:pt x="17" y="60"/>
                  </a:cubicBezTo>
                  <a:cubicBezTo>
                    <a:pt x="16" y="60"/>
                    <a:pt x="16" y="61"/>
                    <a:pt x="17" y="62"/>
                  </a:cubicBezTo>
                  <a:cubicBezTo>
                    <a:pt x="17" y="65"/>
                    <a:pt x="17" y="67"/>
                    <a:pt x="18" y="69"/>
                  </a:cubicBezTo>
                  <a:cubicBezTo>
                    <a:pt x="18" y="70"/>
                    <a:pt x="19" y="70"/>
                    <a:pt x="20" y="69"/>
                  </a:cubicBezTo>
                  <a:cubicBezTo>
                    <a:pt x="21" y="68"/>
                    <a:pt x="23" y="67"/>
                    <a:pt x="24" y="66"/>
                  </a:cubicBezTo>
                  <a:cubicBezTo>
                    <a:pt x="26" y="65"/>
                    <a:pt x="26" y="62"/>
                    <a:pt x="24" y="59"/>
                  </a:cubicBezTo>
                  <a:cubicBezTo>
                    <a:pt x="23" y="58"/>
                    <a:pt x="24" y="56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5" y="53"/>
                    <a:pt x="25" y="52"/>
                    <a:pt x="25" y="52"/>
                  </a:cubicBezTo>
                  <a:cubicBezTo>
                    <a:pt x="27" y="51"/>
                    <a:pt x="28" y="51"/>
                    <a:pt x="29" y="50"/>
                  </a:cubicBezTo>
                  <a:cubicBezTo>
                    <a:pt x="30" y="49"/>
                    <a:pt x="31" y="49"/>
                    <a:pt x="32" y="49"/>
                  </a:cubicBezTo>
                  <a:cubicBezTo>
                    <a:pt x="32" y="48"/>
                    <a:pt x="33" y="48"/>
                    <a:pt x="33" y="47"/>
                  </a:cubicBezTo>
                  <a:cubicBezTo>
                    <a:pt x="34" y="46"/>
                    <a:pt x="34" y="45"/>
                    <a:pt x="33" y="44"/>
                  </a:cubicBezTo>
                  <a:cubicBezTo>
                    <a:pt x="33" y="43"/>
                    <a:pt x="33" y="42"/>
                    <a:pt x="33" y="41"/>
                  </a:cubicBezTo>
                  <a:lnTo>
                    <a:pt x="33" y="4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7" name="Freeform 349"/>
            <p:cNvSpPr>
              <a:spLocks/>
            </p:cNvSpPr>
            <p:nvPr/>
          </p:nvSpPr>
          <p:spPr bwMode="auto">
            <a:xfrm>
              <a:off x="6770712" y="4951045"/>
              <a:ext cx="216764" cy="187344"/>
            </a:xfrm>
            <a:custGeom>
              <a:avLst/>
              <a:gdLst>
                <a:gd name="T0" fmla="*/ 1885452 w 161"/>
                <a:gd name="T1" fmla="*/ 640858 h 173"/>
                <a:gd name="T2" fmla="*/ 2118954 w 161"/>
                <a:gd name="T3" fmla="*/ 458050 h 173"/>
                <a:gd name="T4" fmla="*/ 2280481 w 161"/>
                <a:gd name="T5" fmla="*/ 424386 h 173"/>
                <a:gd name="T6" fmla="*/ 2464144 w 161"/>
                <a:gd name="T7" fmla="*/ 354924 h 173"/>
                <a:gd name="T8" fmla="*/ 2665018 w 161"/>
                <a:gd name="T9" fmla="*/ 237966 h 173"/>
                <a:gd name="T10" fmla="*/ 2889795 w 161"/>
                <a:gd name="T11" fmla="*/ 145117 h 173"/>
                <a:gd name="T12" fmla="*/ 3246641 w 161"/>
                <a:gd name="T13" fmla="*/ 114542 h 173"/>
                <a:gd name="T14" fmla="*/ 3745075 w 161"/>
                <a:gd name="T15" fmla="*/ 75391 h 173"/>
                <a:gd name="T16" fmla="*/ 4079974 w 161"/>
                <a:gd name="T17" fmla="*/ 75391 h 173"/>
                <a:gd name="T18" fmla="*/ 4349593 w 161"/>
                <a:gd name="T19" fmla="*/ 39167 h 173"/>
                <a:gd name="T20" fmla="*/ 4599183 w 161"/>
                <a:gd name="T21" fmla="*/ 75391 h 173"/>
                <a:gd name="T22" fmla="*/ 4668839 w 161"/>
                <a:gd name="T23" fmla="*/ 75391 h 173"/>
                <a:gd name="T24" fmla="*/ 4668839 w 161"/>
                <a:gd name="T25" fmla="*/ 318481 h 173"/>
                <a:gd name="T26" fmla="*/ 4711134 w 161"/>
                <a:gd name="T27" fmla="*/ 537668 h 173"/>
                <a:gd name="T28" fmla="*/ 4711134 w 161"/>
                <a:gd name="T29" fmla="*/ 816882 h 173"/>
                <a:gd name="T30" fmla="*/ 4629602 w 161"/>
                <a:gd name="T31" fmla="*/ 881680 h 173"/>
                <a:gd name="T32" fmla="*/ 4544908 w 161"/>
                <a:gd name="T33" fmla="*/ 1315017 h 173"/>
                <a:gd name="T34" fmla="*/ 4668839 w 161"/>
                <a:gd name="T35" fmla="*/ 1379067 h 173"/>
                <a:gd name="T36" fmla="*/ 4744625 w 161"/>
                <a:gd name="T37" fmla="*/ 1599707 h 173"/>
                <a:gd name="T38" fmla="*/ 5003231 w 161"/>
                <a:gd name="T39" fmla="*/ 1916705 h 173"/>
                <a:gd name="T40" fmla="*/ 5024646 w 161"/>
                <a:gd name="T41" fmla="*/ 2116818 h 173"/>
                <a:gd name="T42" fmla="*/ 5063871 w 161"/>
                <a:gd name="T43" fmla="*/ 2531218 h 173"/>
                <a:gd name="T44" fmla="*/ 5063871 w 161"/>
                <a:gd name="T45" fmla="*/ 2654505 h 173"/>
                <a:gd name="T46" fmla="*/ 5131401 w 161"/>
                <a:gd name="T47" fmla="*/ 3026604 h 173"/>
                <a:gd name="T48" fmla="*/ 5131401 w 161"/>
                <a:gd name="T49" fmla="*/ 3376029 h 173"/>
                <a:gd name="T50" fmla="*/ 5063871 w 161"/>
                <a:gd name="T51" fmla="*/ 3730637 h 173"/>
                <a:gd name="T52" fmla="*/ 5208404 w 161"/>
                <a:gd name="T53" fmla="*/ 4043995 h 173"/>
                <a:gd name="T54" fmla="*/ 5325962 w 161"/>
                <a:gd name="T55" fmla="*/ 4291077 h 173"/>
                <a:gd name="T56" fmla="*/ 5525663 w 161"/>
                <a:gd name="T57" fmla="*/ 4371959 h 173"/>
                <a:gd name="T58" fmla="*/ 5668702 w 161"/>
                <a:gd name="T59" fmla="*/ 4726779 h 173"/>
                <a:gd name="T60" fmla="*/ 4045427 w 161"/>
                <a:gd name="T61" fmla="*/ 5960299 h 173"/>
                <a:gd name="T62" fmla="*/ 3360336 w 161"/>
                <a:gd name="T63" fmla="*/ 6144262 h 173"/>
                <a:gd name="T64" fmla="*/ 3284814 w 161"/>
                <a:gd name="T65" fmla="*/ 5927023 h 173"/>
                <a:gd name="T66" fmla="*/ 3111362 w 161"/>
                <a:gd name="T67" fmla="*/ 5792394 h 173"/>
                <a:gd name="T68" fmla="*/ 2780590 w 161"/>
                <a:gd name="T69" fmla="*/ 5533151 h 173"/>
                <a:gd name="T70" fmla="*/ 0 w 161"/>
                <a:gd name="T71" fmla="*/ 3412141 h 173"/>
                <a:gd name="T72" fmla="*/ 1745207 w 161"/>
                <a:gd name="T73" fmla="*/ 2195950 h 173"/>
                <a:gd name="T74" fmla="*/ 1664201 w 161"/>
                <a:gd name="T75" fmla="*/ 1841345 h 173"/>
                <a:gd name="T76" fmla="*/ 1924799 w 161"/>
                <a:gd name="T77" fmla="*/ 1772674 h 173"/>
                <a:gd name="T78" fmla="*/ 2079707 w 161"/>
                <a:gd name="T79" fmla="*/ 1533228 h 173"/>
                <a:gd name="T80" fmla="*/ 1966066 w 161"/>
                <a:gd name="T81" fmla="*/ 881680 h 173"/>
                <a:gd name="T82" fmla="*/ 1779115 w 161"/>
                <a:gd name="T83" fmla="*/ 683177 h 17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61"/>
                <a:gd name="T127" fmla="*/ 0 h 173"/>
                <a:gd name="T128" fmla="*/ 161 w 161"/>
                <a:gd name="T129" fmla="*/ 173 h 17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61" h="173">
                  <a:moveTo>
                    <a:pt x="50" y="18"/>
                  </a:moveTo>
                  <a:cubicBezTo>
                    <a:pt x="51" y="18"/>
                    <a:pt x="52" y="18"/>
                    <a:pt x="53" y="18"/>
                  </a:cubicBezTo>
                  <a:cubicBezTo>
                    <a:pt x="55" y="18"/>
                    <a:pt x="56" y="16"/>
                    <a:pt x="57" y="15"/>
                  </a:cubicBezTo>
                  <a:cubicBezTo>
                    <a:pt x="58" y="15"/>
                    <a:pt x="58" y="13"/>
                    <a:pt x="59" y="13"/>
                  </a:cubicBezTo>
                  <a:cubicBezTo>
                    <a:pt x="61" y="13"/>
                    <a:pt x="62" y="13"/>
                    <a:pt x="63" y="13"/>
                  </a:cubicBezTo>
                  <a:cubicBezTo>
                    <a:pt x="63" y="12"/>
                    <a:pt x="63" y="12"/>
                    <a:pt x="64" y="12"/>
                  </a:cubicBezTo>
                  <a:cubicBezTo>
                    <a:pt x="65" y="11"/>
                    <a:pt x="67" y="12"/>
                    <a:pt x="68" y="11"/>
                  </a:cubicBezTo>
                  <a:cubicBezTo>
                    <a:pt x="68" y="10"/>
                    <a:pt x="69" y="10"/>
                    <a:pt x="69" y="10"/>
                  </a:cubicBezTo>
                  <a:cubicBezTo>
                    <a:pt x="70" y="9"/>
                    <a:pt x="70" y="9"/>
                    <a:pt x="70" y="8"/>
                  </a:cubicBezTo>
                  <a:cubicBezTo>
                    <a:pt x="72" y="7"/>
                    <a:pt x="73" y="8"/>
                    <a:pt x="75" y="7"/>
                  </a:cubicBezTo>
                  <a:cubicBezTo>
                    <a:pt x="75" y="6"/>
                    <a:pt x="76" y="6"/>
                    <a:pt x="77" y="6"/>
                  </a:cubicBezTo>
                  <a:cubicBezTo>
                    <a:pt x="78" y="5"/>
                    <a:pt x="80" y="4"/>
                    <a:pt x="81" y="4"/>
                  </a:cubicBezTo>
                  <a:cubicBezTo>
                    <a:pt x="84" y="4"/>
                    <a:pt x="85" y="4"/>
                    <a:pt x="88" y="4"/>
                  </a:cubicBezTo>
                  <a:cubicBezTo>
                    <a:pt x="89" y="4"/>
                    <a:pt x="90" y="3"/>
                    <a:pt x="91" y="3"/>
                  </a:cubicBezTo>
                  <a:cubicBezTo>
                    <a:pt x="94" y="2"/>
                    <a:pt x="96" y="3"/>
                    <a:pt x="99" y="2"/>
                  </a:cubicBezTo>
                  <a:cubicBezTo>
                    <a:pt x="101" y="2"/>
                    <a:pt x="103" y="1"/>
                    <a:pt x="105" y="2"/>
                  </a:cubicBezTo>
                  <a:cubicBezTo>
                    <a:pt x="106" y="2"/>
                    <a:pt x="108" y="4"/>
                    <a:pt x="109" y="3"/>
                  </a:cubicBezTo>
                  <a:cubicBezTo>
                    <a:pt x="111" y="2"/>
                    <a:pt x="113" y="2"/>
                    <a:pt x="114" y="2"/>
                  </a:cubicBezTo>
                  <a:cubicBezTo>
                    <a:pt x="115" y="1"/>
                    <a:pt x="115" y="1"/>
                    <a:pt x="116" y="0"/>
                  </a:cubicBezTo>
                  <a:cubicBezTo>
                    <a:pt x="118" y="0"/>
                    <a:pt x="120" y="1"/>
                    <a:pt x="122" y="1"/>
                  </a:cubicBezTo>
                  <a:cubicBezTo>
                    <a:pt x="123" y="2"/>
                    <a:pt x="124" y="1"/>
                    <a:pt x="125" y="1"/>
                  </a:cubicBezTo>
                  <a:cubicBezTo>
                    <a:pt x="127" y="0"/>
                    <a:pt x="128" y="1"/>
                    <a:pt x="129" y="2"/>
                  </a:cubicBezTo>
                  <a:cubicBezTo>
                    <a:pt x="130" y="2"/>
                    <a:pt x="131" y="2"/>
                    <a:pt x="132" y="2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1" y="4"/>
                    <a:pt x="131" y="5"/>
                    <a:pt x="131" y="6"/>
                  </a:cubicBezTo>
                  <a:cubicBezTo>
                    <a:pt x="130" y="7"/>
                    <a:pt x="130" y="8"/>
                    <a:pt x="131" y="9"/>
                  </a:cubicBezTo>
                  <a:cubicBezTo>
                    <a:pt x="131" y="10"/>
                    <a:pt x="132" y="10"/>
                    <a:pt x="132" y="11"/>
                  </a:cubicBezTo>
                  <a:cubicBezTo>
                    <a:pt x="132" y="12"/>
                    <a:pt x="132" y="14"/>
                    <a:pt x="132" y="15"/>
                  </a:cubicBezTo>
                  <a:cubicBezTo>
                    <a:pt x="131" y="16"/>
                    <a:pt x="132" y="17"/>
                    <a:pt x="131" y="19"/>
                  </a:cubicBezTo>
                  <a:cubicBezTo>
                    <a:pt x="131" y="20"/>
                    <a:pt x="132" y="21"/>
                    <a:pt x="132" y="23"/>
                  </a:cubicBezTo>
                  <a:cubicBezTo>
                    <a:pt x="132" y="23"/>
                    <a:pt x="131" y="23"/>
                    <a:pt x="130" y="24"/>
                  </a:cubicBezTo>
                  <a:cubicBezTo>
                    <a:pt x="130" y="24"/>
                    <a:pt x="130" y="25"/>
                    <a:pt x="130" y="25"/>
                  </a:cubicBezTo>
                  <a:cubicBezTo>
                    <a:pt x="129" y="26"/>
                    <a:pt x="128" y="26"/>
                    <a:pt x="127" y="26"/>
                  </a:cubicBezTo>
                  <a:cubicBezTo>
                    <a:pt x="124" y="29"/>
                    <a:pt x="126" y="34"/>
                    <a:pt x="127" y="37"/>
                  </a:cubicBezTo>
                  <a:cubicBezTo>
                    <a:pt x="127" y="38"/>
                    <a:pt x="129" y="38"/>
                    <a:pt x="130" y="39"/>
                  </a:cubicBezTo>
                  <a:cubicBezTo>
                    <a:pt x="130" y="39"/>
                    <a:pt x="131" y="39"/>
                    <a:pt x="131" y="39"/>
                  </a:cubicBezTo>
                  <a:cubicBezTo>
                    <a:pt x="131" y="41"/>
                    <a:pt x="132" y="42"/>
                    <a:pt x="132" y="42"/>
                  </a:cubicBezTo>
                  <a:cubicBezTo>
                    <a:pt x="133" y="43"/>
                    <a:pt x="132" y="45"/>
                    <a:pt x="133" y="45"/>
                  </a:cubicBezTo>
                  <a:cubicBezTo>
                    <a:pt x="134" y="46"/>
                    <a:pt x="136" y="46"/>
                    <a:pt x="137" y="47"/>
                  </a:cubicBezTo>
                  <a:cubicBezTo>
                    <a:pt x="139" y="48"/>
                    <a:pt x="140" y="51"/>
                    <a:pt x="140" y="54"/>
                  </a:cubicBezTo>
                  <a:cubicBezTo>
                    <a:pt x="140" y="54"/>
                    <a:pt x="140" y="58"/>
                    <a:pt x="141" y="58"/>
                  </a:cubicBezTo>
                  <a:cubicBezTo>
                    <a:pt x="140" y="58"/>
                    <a:pt x="140" y="59"/>
                    <a:pt x="141" y="60"/>
                  </a:cubicBezTo>
                  <a:cubicBezTo>
                    <a:pt x="141" y="63"/>
                    <a:pt x="141" y="65"/>
                    <a:pt x="142" y="67"/>
                  </a:cubicBezTo>
                  <a:cubicBezTo>
                    <a:pt x="142" y="68"/>
                    <a:pt x="142" y="69"/>
                    <a:pt x="142" y="71"/>
                  </a:cubicBezTo>
                  <a:cubicBezTo>
                    <a:pt x="143" y="71"/>
                    <a:pt x="143" y="73"/>
                    <a:pt x="143" y="74"/>
                  </a:cubicBezTo>
                  <a:cubicBezTo>
                    <a:pt x="142" y="74"/>
                    <a:pt x="142" y="75"/>
                    <a:pt x="142" y="75"/>
                  </a:cubicBezTo>
                  <a:cubicBezTo>
                    <a:pt x="142" y="77"/>
                    <a:pt x="142" y="79"/>
                    <a:pt x="142" y="81"/>
                  </a:cubicBezTo>
                  <a:cubicBezTo>
                    <a:pt x="142" y="82"/>
                    <a:pt x="144" y="83"/>
                    <a:pt x="144" y="85"/>
                  </a:cubicBezTo>
                  <a:cubicBezTo>
                    <a:pt x="145" y="87"/>
                    <a:pt x="145" y="89"/>
                    <a:pt x="144" y="91"/>
                  </a:cubicBezTo>
                  <a:cubicBezTo>
                    <a:pt x="144" y="93"/>
                    <a:pt x="144" y="94"/>
                    <a:pt x="144" y="95"/>
                  </a:cubicBezTo>
                  <a:cubicBezTo>
                    <a:pt x="145" y="98"/>
                    <a:pt x="145" y="102"/>
                    <a:pt x="144" y="105"/>
                  </a:cubicBezTo>
                  <a:cubicBezTo>
                    <a:pt x="144" y="105"/>
                    <a:pt x="143" y="105"/>
                    <a:pt x="142" y="105"/>
                  </a:cubicBezTo>
                  <a:cubicBezTo>
                    <a:pt x="141" y="106"/>
                    <a:pt x="141" y="109"/>
                    <a:pt x="142" y="109"/>
                  </a:cubicBezTo>
                  <a:cubicBezTo>
                    <a:pt x="144" y="110"/>
                    <a:pt x="145" y="113"/>
                    <a:pt x="146" y="114"/>
                  </a:cubicBezTo>
                  <a:cubicBezTo>
                    <a:pt x="147" y="116"/>
                    <a:pt x="146" y="118"/>
                    <a:pt x="147" y="120"/>
                  </a:cubicBezTo>
                  <a:cubicBezTo>
                    <a:pt x="147" y="120"/>
                    <a:pt x="148" y="121"/>
                    <a:pt x="149" y="121"/>
                  </a:cubicBezTo>
                  <a:cubicBezTo>
                    <a:pt x="150" y="122"/>
                    <a:pt x="151" y="121"/>
                    <a:pt x="152" y="122"/>
                  </a:cubicBezTo>
                  <a:cubicBezTo>
                    <a:pt x="153" y="122"/>
                    <a:pt x="154" y="122"/>
                    <a:pt x="155" y="123"/>
                  </a:cubicBezTo>
                  <a:cubicBezTo>
                    <a:pt x="158" y="124"/>
                    <a:pt x="161" y="128"/>
                    <a:pt x="160" y="131"/>
                  </a:cubicBezTo>
                  <a:cubicBezTo>
                    <a:pt x="160" y="132"/>
                    <a:pt x="159" y="132"/>
                    <a:pt x="159" y="133"/>
                  </a:cubicBezTo>
                  <a:cubicBezTo>
                    <a:pt x="158" y="133"/>
                    <a:pt x="157" y="134"/>
                    <a:pt x="156" y="134"/>
                  </a:cubicBezTo>
                  <a:cubicBezTo>
                    <a:pt x="113" y="168"/>
                    <a:pt x="113" y="168"/>
                    <a:pt x="113" y="168"/>
                  </a:cubicBezTo>
                  <a:cubicBezTo>
                    <a:pt x="100" y="172"/>
                    <a:pt x="100" y="172"/>
                    <a:pt x="100" y="172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3" y="173"/>
                    <a:pt x="92" y="173"/>
                    <a:pt x="92" y="172"/>
                  </a:cubicBezTo>
                  <a:cubicBezTo>
                    <a:pt x="91" y="171"/>
                    <a:pt x="93" y="169"/>
                    <a:pt x="92" y="167"/>
                  </a:cubicBezTo>
                  <a:cubicBezTo>
                    <a:pt x="92" y="166"/>
                    <a:pt x="90" y="166"/>
                    <a:pt x="90" y="166"/>
                  </a:cubicBezTo>
                  <a:cubicBezTo>
                    <a:pt x="89" y="165"/>
                    <a:pt x="88" y="164"/>
                    <a:pt x="87" y="163"/>
                  </a:cubicBezTo>
                  <a:cubicBezTo>
                    <a:pt x="86" y="163"/>
                    <a:pt x="85" y="163"/>
                    <a:pt x="84" y="163"/>
                  </a:cubicBezTo>
                  <a:cubicBezTo>
                    <a:pt x="80" y="160"/>
                    <a:pt x="79" y="157"/>
                    <a:pt x="78" y="156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48" y="60"/>
                    <a:pt x="47" y="58"/>
                    <a:pt x="46" y="56"/>
                  </a:cubicBezTo>
                  <a:cubicBezTo>
                    <a:pt x="46" y="55"/>
                    <a:pt x="45" y="53"/>
                    <a:pt x="47" y="52"/>
                  </a:cubicBezTo>
                  <a:cubicBezTo>
                    <a:pt x="48" y="52"/>
                    <a:pt x="49" y="52"/>
                    <a:pt x="50" y="52"/>
                  </a:cubicBezTo>
                  <a:cubicBezTo>
                    <a:pt x="51" y="51"/>
                    <a:pt x="52" y="50"/>
                    <a:pt x="54" y="50"/>
                  </a:cubicBezTo>
                  <a:cubicBezTo>
                    <a:pt x="55" y="49"/>
                    <a:pt x="56" y="49"/>
                    <a:pt x="56" y="48"/>
                  </a:cubicBezTo>
                  <a:cubicBezTo>
                    <a:pt x="58" y="47"/>
                    <a:pt x="59" y="45"/>
                    <a:pt x="58" y="43"/>
                  </a:cubicBezTo>
                  <a:cubicBezTo>
                    <a:pt x="56" y="41"/>
                    <a:pt x="55" y="39"/>
                    <a:pt x="55" y="37"/>
                  </a:cubicBezTo>
                  <a:cubicBezTo>
                    <a:pt x="55" y="33"/>
                    <a:pt x="55" y="29"/>
                    <a:pt x="55" y="25"/>
                  </a:cubicBezTo>
                  <a:cubicBezTo>
                    <a:pt x="54" y="23"/>
                    <a:pt x="51" y="22"/>
                    <a:pt x="50" y="21"/>
                  </a:cubicBezTo>
                  <a:cubicBezTo>
                    <a:pt x="50" y="20"/>
                    <a:pt x="50" y="19"/>
                    <a:pt x="50" y="19"/>
                  </a:cubicBezTo>
                  <a:lnTo>
                    <a:pt x="50" y="1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8" name="Freeform 350"/>
            <p:cNvSpPr>
              <a:spLocks/>
            </p:cNvSpPr>
            <p:nvPr/>
          </p:nvSpPr>
          <p:spPr bwMode="auto">
            <a:xfrm>
              <a:off x="6724311" y="4963130"/>
              <a:ext cx="126868" cy="85817"/>
            </a:xfrm>
            <a:custGeom>
              <a:avLst/>
              <a:gdLst>
                <a:gd name="T0" fmla="*/ 0 w 93"/>
                <a:gd name="T1" fmla="*/ 4904094 h 80"/>
                <a:gd name="T2" fmla="*/ 298744 w 93"/>
                <a:gd name="T3" fmla="*/ 4702245 h 80"/>
                <a:gd name="T4" fmla="*/ 578214 w 93"/>
                <a:gd name="T5" fmla="*/ 4642579 h 80"/>
                <a:gd name="T6" fmla="*/ 897621 w 93"/>
                <a:gd name="T7" fmla="*/ 4492509 h 80"/>
                <a:gd name="T8" fmla="*/ 1042527 w 93"/>
                <a:gd name="T9" fmla="*/ 4356036 h 80"/>
                <a:gd name="T10" fmla="*/ 1583303 w 93"/>
                <a:gd name="T11" fmla="*/ 4039101 h 80"/>
                <a:gd name="T12" fmla="*/ 1583303 w 93"/>
                <a:gd name="T13" fmla="*/ 3965268 h 80"/>
                <a:gd name="T14" fmla="*/ 1781392 w 93"/>
                <a:gd name="T15" fmla="*/ 3749898 h 80"/>
                <a:gd name="T16" fmla="*/ 2017794 w 93"/>
                <a:gd name="T17" fmla="*/ 3548284 h 80"/>
                <a:gd name="T18" fmla="*/ 2103221 w 93"/>
                <a:gd name="T19" fmla="*/ 3361798 h 80"/>
                <a:gd name="T20" fmla="*/ 2017794 w 93"/>
                <a:gd name="T21" fmla="*/ 3232794 h 80"/>
                <a:gd name="T22" fmla="*/ 1863503 w 93"/>
                <a:gd name="T23" fmla="*/ 3160083 h 80"/>
                <a:gd name="T24" fmla="*/ 1863503 w 93"/>
                <a:gd name="T25" fmla="*/ 2810956 h 80"/>
                <a:gd name="T26" fmla="*/ 2103221 w 93"/>
                <a:gd name="T27" fmla="*/ 2349024 h 80"/>
                <a:gd name="T28" fmla="*/ 2166047 w 93"/>
                <a:gd name="T29" fmla="*/ 2073343 h 80"/>
                <a:gd name="T30" fmla="*/ 2327387 w 93"/>
                <a:gd name="T31" fmla="*/ 1960731 h 80"/>
                <a:gd name="T32" fmla="*/ 2401343 w 93"/>
                <a:gd name="T33" fmla="*/ 1821666 h 80"/>
                <a:gd name="T34" fmla="*/ 2641912 w 93"/>
                <a:gd name="T35" fmla="*/ 1652331 h 80"/>
                <a:gd name="T36" fmla="*/ 3606780 w 93"/>
                <a:gd name="T37" fmla="*/ 1084101 h 80"/>
                <a:gd name="T38" fmla="*/ 3686524 w 93"/>
                <a:gd name="T39" fmla="*/ 863964 h 80"/>
                <a:gd name="T40" fmla="*/ 3984954 w 93"/>
                <a:gd name="T41" fmla="*/ 480582 h 80"/>
                <a:gd name="T42" fmla="*/ 4192348 w 93"/>
                <a:gd name="T43" fmla="*/ 315585 h 80"/>
                <a:gd name="T44" fmla="*/ 4192348 w 93"/>
                <a:gd name="T45" fmla="*/ 183780 h 80"/>
                <a:gd name="T46" fmla="*/ 4430904 w 93"/>
                <a:gd name="T47" fmla="*/ 68701 h 80"/>
                <a:gd name="T48" fmla="*/ 4814412 w 93"/>
                <a:gd name="T49" fmla="*/ 315585 h 80"/>
                <a:gd name="T50" fmla="*/ 4888789 w 93"/>
                <a:gd name="T51" fmla="*/ 351479 h 80"/>
                <a:gd name="T52" fmla="*/ 5187639 w 93"/>
                <a:gd name="T53" fmla="*/ 422452 h 80"/>
                <a:gd name="T54" fmla="*/ 5311471 w 93"/>
                <a:gd name="T55" fmla="*/ 422452 h 80"/>
                <a:gd name="T56" fmla="*/ 5931205 w 93"/>
                <a:gd name="T57" fmla="*/ 351479 h 80"/>
                <a:gd name="T58" fmla="*/ 6253552 w 93"/>
                <a:gd name="T59" fmla="*/ 422452 h 80"/>
                <a:gd name="T60" fmla="*/ 6318596 w 93"/>
                <a:gd name="T61" fmla="*/ 422452 h 80"/>
                <a:gd name="T62" fmla="*/ 6318596 w 93"/>
                <a:gd name="T63" fmla="*/ 480582 h 80"/>
                <a:gd name="T64" fmla="*/ 6318596 w 93"/>
                <a:gd name="T65" fmla="*/ 603556 h 80"/>
                <a:gd name="T66" fmla="*/ 6673266 w 93"/>
                <a:gd name="T67" fmla="*/ 863964 h 80"/>
                <a:gd name="T68" fmla="*/ 6673266 w 93"/>
                <a:gd name="T69" fmla="*/ 1611189 h 80"/>
                <a:gd name="T70" fmla="*/ 6917659 w 93"/>
                <a:gd name="T71" fmla="*/ 1960731 h 80"/>
                <a:gd name="T72" fmla="*/ 6750971 w 93"/>
                <a:gd name="T73" fmla="*/ 2277667 h 80"/>
                <a:gd name="T74" fmla="*/ 6593686 w 93"/>
                <a:gd name="T75" fmla="*/ 2390275 h 80"/>
                <a:gd name="T76" fmla="*/ 6318596 w 93"/>
                <a:gd name="T77" fmla="*/ 2495375 h 80"/>
                <a:gd name="T78" fmla="*/ 6088494 w 93"/>
                <a:gd name="T79" fmla="*/ 2495375 h 80"/>
                <a:gd name="T80" fmla="*/ 6017106 w 93"/>
                <a:gd name="T81" fmla="*/ 2750754 h 80"/>
                <a:gd name="T82" fmla="*/ 6253552 w 93"/>
                <a:gd name="T83" fmla="*/ 3136494 h 80"/>
                <a:gd name="T84" fmla="*/ 2567007 w 93"/>
                <a:gd name="T85" fmla="*/ 4904094 h 80"/>
                <a:gd name="T86" fmla="*/ 154351 w 93"/>
                <a:gd name="T87" fmla="*/ 4904094 h 80"/>
                <a:gd name="T88" fmla="*/ 0 w 93"/>
                <a:gd name="T89" fmla="*/ 4904094 h 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3"/>
                <a:gd name="T136" fmla="*/ 0 h 80"/>
                <a:gd name="T137" fmla="*/ 93 w 93"/>
                <a:gd name="T138" fmla="*/ 80 h 8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3" h="80">
                  <a:moveTo>
                    <a:pt x="0" y="80"/>
                  </a:moveTo>
                  <a:cubicBezTo>
                    <a:pt x="1" y="79"/>
                    <a:pt x="2" y="78"/>
                    <a:pt x="4" y="77"/>
                  </a:cubicBezTo>
                  <a:cubicBezTo>
                    <a:pt x="5" y="76"/>
                    <a:pt x="7" y="76"/>
                    <a:pt x="8" y="76"/>
                  </a:cubicBezTo>
                  <a:cubicBezTo>
                    <a:pt x="9" y="75"/>
                    <a:pt x="11" y="74"/>
                    <a:pt x="12" y="73"/>
                  </a:cubicBezTo>
                  <a:cubicBezTo>
                    <a:pt x="13" y="73"/>
                    <a:pt x="13" y="72"/>
                    <a:pt x="14" y="71"/>
                  </a:cubicBezTo>
                  <a:cubicBezTo>
                    <a:pt x="17" y="69"/>
                    <a:pt x="18" y="67"/>
                    <a:pt x="21" y="66"/>
                  </a:cubicBezTo>
                  <a:cubicBezTo>
                    <a:pt x="21" y="66"/>
                    <a:pt x="21" y="65"/>
                    <a:pt x="21" y="65"/>
                  </a:cubicBezTo>
                  <a:cubicBezTo>
                    <a:pt x="22" y="63"/>
                    <a:pt x="22" y="62"/>
                    <a:pt x="24" y="61"/>
                  </a:cubicBezTo>
                  <a:cubicBezTo>
                    <a:pt x="25" y="61"/>
                    <a:pt x="26" y="59"/>
                    <a:pt x="27" y="58"/>
                  </a:cubicBezTo>
                  <a:cubicBezTo>
                    <a:pt x="28" y="57"/>
                    <a:pt x="28" y="56"/>
                    <a:pt x="28" y="55"/>
                  </a:cubicBezTo>
                  <a:cubicBezTo>
                    <a:pt x="28" y="54"/>
                    <a:pt x="28" y="54"/>
                    <a:pt x="27" y="53"/>
                  </a:cubicBezTo>
                  <a:cubicBezTo>
                    <a:pt x="26" y="53"/>
                    <a:pt x="26" y="52"/>
                    <a:pt x="25" y="52"/>
                  </a:cubicBezTo>
                  <a:cubicBezTo>
                    <a:pt x="25" y="50"/>
                    <a:pt x="25" y="48"/>
                    <a:pt x="25" y="46"/>
                  </a:cubicBezTo>
                  <a:cubicBezTo>
                    <a:pt x="26" y="43"/>
                    <a:pt x="27" y="41"/>
                    <a:pt x="28" y="38"/>
                  </a:cubicBezTo>
                  <a:cubicBezTo>
                    <a:pt x="29" y="37"/>
                    <a:pt x="28" y="35"/>
                    <a:pt x="29" y="34"/>
                  </a:cubicBezTo>
                  <a:cubicBezTo>
                    <a:pt x="29" y="33"/>
                    <a:pt x="30" y="33"/>
                    <a:pt x="31" y="32"/>
                  </a:cubicBezTo>
                  <a:cubicBezTo>
                    <a:pt x="31" y="32"/>
                    <a:pt x="32" y="31"/>
                    <a:pt x="32" y="30"/>
                  </a:cubicBezTo>
                  <a:cubicBezTo>
                    <a:pt x="33" y="30"/>
                    <a:pt x="35" y="27"/>
                    <a:pt x="35" y="27"/>
                  </a:cubicBezTo>
                  <a:cubicBezTo>
                    <a:pt x="40" y="24"/>
                    <a:pt x="44" y="23"/>
                    <a:pt x="48" y="18"/>
                  </a:cubicBezTo>
                  <a:cubicBezTo>
                    <a:pt x="49" y="17"/>
                    <a:pt x="48" y="15"/>
                    <a:pt x="49" y="14"/>
                  </a:cubicBezTo>
                  <a:cubicBezTo>
                    <a:pt x="51" y="12"/>
                    <a:pt x="52" y="10"/>
                    <a:pt x="53" y="8"/>
                  </a:cubicBezTo>
                  <a:cubicBezTo>
                    <a:pt x="54" y="7"/>
                    <a:pt x="55" y="6"/>
                    <a:pt x="56" y="5"/>
                  </a:cubicBezTo>
                  <a:cubicBezTo>
                    <a:pt x="56" y="4"/>
                    <a:pt x="56" y="4"/>
                    <a:pt x="56" y="3"/>
                  </a:cubicBezTo>
                  <a:cubicBezTo>
                    <a:pt x="57" y="2"/>
                    <a:pt x="58" y="1"/>
                    <a:pt x="59" y="1"/>
                  </a:cubicBezTo>
                  <a:cubicBezTo>
                    <a:pt x="62" y="0"/>
                    <a:pt x="63" y="3"/>
                    <a:pt x="64" y="5"/>
                  </a:cubicBezTo>
                  <a:cubicBezTo>
                    <a:pt x="64" y="5"/>
                    <a:pt x="64" y="6"/>
                    <a:pt x="65" y="6"/>
                  </a:cubicBezTo>
                  <a:cubicBezTo>
                    <a:pt x="66" y="7"/>
                    <a:pt x="68" y="6"/>
                    <a:pt x="69" y="7"/>
                  </a:cubicBezTo>
                  <a:cubicBezTo>
                    <a:pt x="70" y="7"/>
                    <a:pt x="71" y="7"/>
                    <a:pt x="71" y="7"/>
                  </a:cubicBezTo>
                  <a:cubicBezTo>
                    <a:pt x="74" y="6"/>
                    <a:pt x="76" y="6"/>
                    <a:pt x="79" y="6"/>
                  </a:cubicBezTo>
                  <a:cubicBezTo>
                    <a:pt x="80" y="6"/>
                    <a:pt x="82" y="6"/>
                    <a:pt x="83" y="7"/>
                  </a:cubicBezTo>
                  <a:cubicBezTo>
                    <a:pt x="83" y="7"/>
                    <a:pt x="84" y="7"/>
                    <a:pt x="84" y="7"/>
                  </a:cubicBezTo>
                  <a:cubicBezTo>
                    <a:pt x="84" y="8"/>
                    <a:pt x="84" y="8"/>
                    <a:pt x="84" y="8"/>
                  </a:cubicBezTo>
                  <a:cubicBezTo>
                    <a:pt x="84" y="8"/>
                    <a:pt x="84" y="9"/>
                    <a:pt x="84" y="10"/>
                  </a:cubicBezTo>
                  <a:cubicBezTo>
                    <a:pt x="85" y="11"/>
                    <a:pt x="88" y="12"/>
                    <a:pt x="89" y="14"/>
                  </a:cubicBezTo>
                  <a:cubicBezTo>
                    <a:pt x="89" y="18"/>
                    <a:pt x="89" y="22"/>
                    <a:pt x="89" y="26"/>
                  </a:cubicBezTo>
                  <a:cubicBezTo>
                    <a:pt x="89" y="28"/>
                    <a:pt x="90" y="30"/>
                    <a:pt x="92" y="32"/>
                  </a:cubicBezTo>
                  <a:cubicBezTo>
                    <a:pt x="93" y="34"/>
                    <a:pt x="92" y="36"/>
                    <a:pt x="90" y="37"/>
                  </a:cubicBezTo>
                  <a:cubicBezTo>
                    <a:pt x="90" y="38"/>
                    <a:pt x="89" y="38"/>
                    <a:pt x="88" y="39"/>
                  </a:cubicBezTo>
                  <a:cubicBezTo>
                    <a:pt x="86" y="39"/>
                    <a:pt x="85" y="40"/>
                    <a:pt x="84" y="41"/>
                  </a:cubicBezTo>
                  <a:cubicBezTo>
                    <a:pt x="83" y="41"/>
                    <a:pt x="82" y="41"/>
                    <a:pt x="81" y="41"/>
                  </a:cubicBezTo>
                  <a:cubicBezTo>
                    <a:pt x="79" y="42"/>
                    <a:pt x="80" y="44"/>
                    <a:pt x="80" y="45"/>
                  </a:cubicBezTo>
                  <a:cubicBezTo>
                    <a:pt x="81" y="47"/>
                    <a:pt x="82" y="49"/>
                    <a:pt x="83" y="51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2" y="80"/>
                    <a:pt x="2" y="80"/>
                    <a:pt x="2" y="80"/>
                  </a:cubicBezTo>
                  <a:lnTo>
                    <a:pt x="0" y="8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9" name="Freeform 351"/>
            <p:cNvSpPr>
              <a:spLocks/>
            </p:cNvSpPr>
            <p:nvPr/>
          </p:nvSpPr>
          <p:spPr bwMode="auto">
            <a:xfrm>
              <a:off x="6682265" y="5048947"/>
              <a:ext cx="88445" cy="70104"/>
            </a:xfrm>
            <a:custGeom>
              <a:avLst/>
              <a:gdLst>
                <a:gd name="T0" fmla="*/ 2188287 w 66"/>
                <a:gd name="T1" fmla="*/ 0 h 64"/>
                <a:gd name="T2" fmla="*/ 2060839 w 66"/>
                <a:gd name="T3" fmla="*/ 167807 h 64"/>
                <a:gd name="T4" fmla="*/ 2060839 w 66"/>
                <a:gd name="T5" fmla="*/ 472403 h 64"/>
                <a:gd name="T6" fmla="*/ 1909704 w 66"/>
                <a:gd name="T7" fmla="*/ 752163 h 64"/>
                <a:gd name="T8" fmla="*/ 1631220 w 66"/>
                <a:gd name="T9" fmla="*/ 976461 h 64"/>
                <a:gd name="T10" fmla="*/ 1334960 w 66"/>
                <a:gd name="T11" fmla="*/ 1220493 h 64"/>
                <a:gd name="T12" fmla="*/ 1309707 w 66"/>
                <a:gd name="T13" fmla="*/ 1457316 h 64"/>
                <a:gd name="T14" fmla="*/ 1229162 w 66"/>
                <a:gd name="T15" fmla="*/ 1689722 h 64"/>
                <a:gd name="T16" fmla="*/ 1174840 w 66"/>
                <a:gd name="T17" fmla="*/ 1891893 h 64"/>
                <a:gd name="T18" fmla="*/ 1174840 w 66"/>
                <a:gd name="T19" fmla="*/ 2196898 h 64"/>
                <a:gd name="T20" fmla="*/ 878161 w 66"/>
                <a:gd name="T21" fmla="*/ 2602376 h 64"/>
                <a:gd name="T22" fmla="*/ 610547 w 66"/>
                <a:gd name="T23" fmla="*/ 3193375 h 64"/>
                <a:gd name="T24" fmla="*/ 353716 w 66"/>
                <a:gd name="T25" fmla="*/ 3740469 h 64"/>
                <a:gd name="T26" fmla="*/ 144780 w 66"/>
                <a:gd name="T27" fmla="*/ 4124503 h 64"/>
                <a:gd name="T28" fmla="*/ 144780 w 66"/>
                <a:gd name="T29" fmla="*/ 4336741 h 64"/>
                <a:gd name="T30" fmla="*/ 75240 w 66"/>
                <a:gd name="T31" fmla="*/ 4412172 h 64"/>
                <a:gd name="T32" fmla="*/ 0 w 66"/>
                <a:gd name="T33" fmla="*/ 4886212 h 64"/>
                <a:gd name="T34" fmla="*/ 219866 w 66"/>
                <a:gd name="T35" fmla="*/ 4799191 h 64"/>
                <a:gd name="T36" fmla="*/ 278592 w 66"/>
                <a:gd name="T37" fmla="*/ 4799191 h 64"/>
                <a:gd name="T38" fmla="*/ 2060839 w 66"/>
                <a:gd name="T39" fmla="*/ 4662078 h 64"/>
                <a:gd name="T40" fmla="*/ 2108196 w 66"/>
                <a:gd name="T41" fmla="*/ 3106705 h 64"/>
                <a:gd name="T42" fmla="*/ 2643185 w 66"/>
                <a:gd name="T43" fmla="*/ 3106705 h 64"/>
                <a:gd name="T44" fmla="*/ 2715573 w 66"/>
                <a:gd name="T45" fmla="*/ 1301634 h 64"/>
                <a:gd name="T46" fmla="*/ 4483554 w 66"/>
                <a:gd name="T47" fmla="*/ 1301634 h 64"/>
                <a:gd name="T48" fmla="*/ 4483554 w 66"/>
                <a:gd name="T49" fmla="*/ 388213 h 64"/>
                <a:gd name="T50" fmla="*/ 4483554 w 66"/>
                <a:gd name="T51" fmla="*/ 0 h 64"/>
                <a:gd name="T52" fmla="*/ 2301096 w 66"/>
                <a:gd name="T53" fmla="*/ 0 h 64"/>
                <a:gd name="T54" fmla="*/ 2188287 w 66"/>
                <a:gd name="T55" fmla="*/ 0 h 6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66"/>
                <a:gd name="T85" fmla="*/ 0 h 64"/>
                <a:gd name="T86" fmla="*/ 66 w 66"/>
                <a:gd name="T87" fmla="*/ 64 h 6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66" h="64">
                  <a:moveTo>
                    <a:pt x="32" y="0"/>
                  </a:moveTo>
                  <a:cubicBezTo>
                    <a:pt x="32" y="1"/>
                    <a:pt x="31" y="1"/>
                    <a:pt x="30" y="2"/>
                  </a:cubicBezTo>
                  <a:cubicBezTo>
                    <a:pt x="30" y="3"/>
                    <a:pt x="30" y="5"/>
                    <a:pt x="30" y="6"/>
                  </a:cubicBezTo>
                  <a:cubicBezTo>
                    <a:pt x="29" y="7"/>
                    <a:pt x="29" y="9"/>
                    <a:pt x="28" y="10"/>
                  </a:cubicBezTo>
                  <a:cubicBezTo>
                    <a:pt x="27" y="11"/>
                    <a:pt x="26" y="12"/>
                    <a:pt x="24" y="13"/>
                  </a:cubicBezTo>
                  <a:cubicBezTo>
                    <a:pt x="22" y="14"/>
                    <a:pt x="21" y="14"/>
                    <a:pt x="20" y="16"/>
                  </a:cubicBezTo>
                  <a:cubicBezTo>
                    <a:pt x="19" y="17"/>
                    <a:pt x="19" y="18"/>
                    <a:pt x="19" y="19"/>
                  </a:cubicBezTo>
                  <a:cubicBezTo>
                    <a:pt x="19" y="20"/>
                    <a:pt x="18" y="21"/>
                    <a:pt x="18" y="22"/>
                  </a:cubicBezTo>
                  <a:cubicBezTo>
                    <a:pt x="17" y="23"/>
                    <a:pt x="17" y="24"/>
                    <a:pt x="17" y="25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32"/>
                    <a:pt x="15" y="33"/>
                    <a:pt x="13" y="34"/>
                  </a:cubicBezTo>
                  <a:cubicBezTo>
                    <a:pt x="11" y="36"/>
                    <a:pt x="9" y="38"/>
                    <a:pt x="9" y="42"/>
                  </a:cubicBezTo>
                  <a:cubicBezTo>
                    <a:pt x="8" y="44"/>
                    <a:pt x="6" y="47"/>
                    <a:pt x="5" y="49"/>
                  </a:cubicBezTo>
                  <a:cubicBezTo>
                    <a:pt x="5" y="51"/>
                    <a:pt x="2" y="52"/>
                    <a:pt x="2" y="54"/>
                  </a:cubicBezTo>
                  <a:cubicBezTo>
                    <a:pt x="2" y="55"/>
                    <a:pt x="2" y="56"/>
                    <a:pt x="2" y="57"/>
                  </a:cubicBezTo>
                  <a:cubicBezTo>
                    <a:pt x="1" y="57"/>
                    <a:pt x="1" y="58"/>
                    <a:pt x="1" y="58"/>
                  </a:cubicBezTo>
                  <a:cubicBezTo>
                    <a:pt x="1" y="60"/>
                    <a:pt x="1" y="63"/>
                    <a:pt x="0" y="64"/>
                  </a:cubicBezTo>
                  <a:cubicBezTo>
                    <a:pt x="1" y="64"/>
                    <a:pt x="2" y="63"/>
                    <a:pt x="3" y="63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32" y="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0" name="Freeform 352"/>
            <p:cNvSpPr>
              <a:spLocks/>
            </p:cNvSpPr>
            <p:nvPr/>
          </p:nvSpPr>
          <p:spPr bwMode="auto">
            <a:xfrm>
              <a:off x="6686615" y="5054991"/>
              <a:ext cx="121792" cy="126911"/>
            </a:xfrm>
            <a:custGeom>
              <a:avLst/>
              <a:gdLst>
                <a:gd name="T0" fmla="*/ 0 w 91"/>
                <a:gd name="T1" fmla="*/ 2031758 h 117"/>
                <a:gd name="T2" fmla="*/ 38894 w 91"/>
                <a:gd name="T3" fmla="*/ 2164423 h 117"/>
                <a:gd name="T4" fmla="*/ 112656 w 91"/>
                <a:gd name="T5" fmla="*/ 2205397 h 117"/>
                <a:gd name="T6" fmla="*/ 112656 w 91"/>
                <a:gd name="T7" fmla="*/ 2308310 h 117"/>
                <a:gd name="T8" fmla="*/ 112656 w 91"/>
                <a:gd name="T9" fmla="*/ 2510556 h 117"/>
                <a:gd name="T10" fmla="*/ 74796 w 91"/>
                <a:gd name="T11" fmla="*/ 2696421 h 117"/>
                <a:gd name="T12" fmla="*/ 112656 w 91"/>
                <a:gd name="T13" fmla="*/ 2724150 h 117"/>
                <a:gd name="T14" fmla="*/ 143838 w 91"/>
                <a:gd name="T15" fmla="*/ 2877904 h 117"/>
                <a:gd name="T16" fmla="*/ 143838 w 91"/>
                <a:gd name="T17" fmla="*/ 3113017 h 117"/>
                <a:gd name="T18" fmla="*/ 74796 w 91"/>
                <a:gd name="T19" fmla="*/ 3405625 h 117"/>
                <a:gd name="T20" fmla="*/ 38894 w 91"/>
                <a:gd name="T21" fmla="*/ 3528262 h 117"/>
                <a:gd name="T22" fmla="*/ 74796 w 91"/>
                <a:gd name="T23" fmla="*/ 3528262 h 117"/>
                <a:gd name="T24" fmla="*/ 416627 w 91"/>
                <a:gd name="T25" fmla="*/ 3492156 h 117"/>
                <a:gd name="T26" fmla="*/ 634123 w 91"/>
                <a:gd name="T27" fmla="*/ 3528262 h 117"/>
                <a:gd name="T28" fmla="*/ 687785 w 91"/>
                <a:gd name="T29" fmla="*/ 3607725 h 117"/>
                <a:gd name="T30" fmla="*/ 944279 w 91"/>
                <a:gd name="T31" fmla="*/ 3875208 h 117"/>
                <a:gd name="T32" fmla="*/ 1125500 w 91"/>
                <a:gd name="T33" fmla="*/ 4060212 h 117"/>
                <a:gd name="T34" fmla="*/ 1181654 w 91"/>
                <a:gd name="T35" fmla="*/ 4098782 h 117"/>
                <a:gd name="T36" fmla="*/ 1258377 w 91"/>
                <a:gd name="T37" fmla="*/ 4019238 h 117"/>
                <a:gd name="T38" fmla="*/ 1363244 w 91"/>
                <a:gd name="T39" fmla="*/ 3822083 h 117"/>
                <a:gd name="T40" fmla="*/ 1402138 w 91"/>
                <a:gd name="T41" fmla="*/ 3822083 h 117"/>
                <a:gd name="T42" fmla="*/ 1438148 w 91"/>
                <a:gd name="T43" fmla="*/ 3863458 h 117"/>
                <a:gd name="T44" fmla="*/ 1599304 w 91"/>
                <a:gd name="T45" fmla="*/ 3986233 h 117"/>
                <a:gd name="T46" fmla="*/ 1637544 w 91"/>
                <a:gd name="T47" fmla="*/ 3986233 h 117"/>
                <a:gd name="T48" fmla="*/ 1673446 w 91"/>
                <a:gd name="T49" fmla="*/ 3863458 h 117"/>
                <a:gd name="T50" fmla="*/ 1815921 w 91"/>
                <a:gd name="T51" fmla="*/ 3863458 h 117"/>
                <a:gd name="T52" fmla="*/ 1854608 w 91"/>
                <a:gd name="T53" fmla="*/ 3875208 h 117"/>
                <a:gd name="T54" fmla="*/ 1893165 w 91"/>
                <a:gd name="T55" fmla="*/ 3875208 h 117"/>
                <a:gd name="T56" fmla="*/ 1928958 w 91"/>
                <a:gd name="T57" fmla="*/ 3822083 h 117"/>
                <a:gd name="T58" fmla="*/ 2051137 w 91"/>
                <a:gd name="T59" fmla="*/ 3863458 h 117"/>
                <a:gd name="T60" fmla="*/ 2419956 w 91"/>
                <a:gd name="T61" fmla="*/ 3875208 h 117"/>
                <a:gd name="T62" fmla="*/ 2583794 w 91"/>
                <a:gd name="T63" fmla="*/ 3875208 h 117"/>
                <a:gd name="T64" fmla="*/ 2765669 w 91"/>
                <a:gd name="T65" fmla="*/ 3875208 h 117"/>
                <a:gd name="T66" fmla="*/ 2877904 w 91"/>
                <a:gd name="T67" fmla="*/ 3875208 h 117"/>
                <a:gd name="T68" fmla="*/ 3000761 w 91"/>
                <a:gd name="T69" fmla="*/ 3863458 h 117"/>
                <a:gd name="T70" fmla="*/ 3075585 w 91"/>
                <a:gd name="T71" fmla="*/ 3566562 h 117"/>
                <a:gd name="T72" fmla="*/ 2963040 w 91"/>
                <a:gd name="T73" fmla="*/ 3492156 h 117"/>
                <a:gd name="T74" fmla="*/ 2840477 w 91"/>
                <a:gd name="T75" fmla="*/ 768065 h 117"/>
                <a:gd name="T76" fmla="*/ 3187817 w 91"/>
                <a:gd name="T77" fmla="*/ 687785 h 117"/>
                <a:gd name="T78" fmla="*/ 2205396 w 91"/>
                <a:gd name="T79" fmla="*/ 0 h 117"/>
                <a:gd name="T80" fmla="*/ 2205396 w 91"/>
                <a:gd name="T81" fmla="*/ 416627 h 117"/>
                <a:gd name="T82" fmla="*/ 1294256 w 91"/>
                <a:gd name="T83" fmla="*/ 416627 h 117"/>
                <a:gd name="T84" fmla="*/ 1258377 w 91"/>
                <a:gd name="T85" fmla="*/ 1258377 h 117"/>
                <a:gd name="T86" fmla="*/ 984446 w 91"/>
                <a:gd name="T87" fmla="*/ 1258377 h 117"/>
                <a:gd name="T88" fmla="*/ 944279 w 91"/>
                <a:gd name="T89" fmla="*/ 1967256 h 117"/>
                <a:gd name="T90" fmla="*/ 38894 w 91"/>
                <a:gd name="T91" fmla="*/ 2031758 h 117"/>
                <a:gd name="T92" fmla="*/ 0 w 91"/>
                <a:gd name="T93" fmla="*/ 2031758 h 1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91"/>
                <a:gd name="T142" fmla="*/ 0 h 117"/>
                <a:gd name="T143" fmla="*/ 91 w 91"/>
                <a:gd name="T144" fmla="*/ 117 h 1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91" h="117">
                  <a:moveTo>
                    <a:pt x="0" y="58"/>
                  </a:moveTo>
                  <a:cubicBezTo>
                    <a:pt x="1" y="59"/>
                    <a:pt x="1" y="61"/>
                    <a:pt x="1" y="62"/>
                  </a:cubicBezTo>
                  <a:cubicBezTo>
                    <a:pt x="1" y="62"/>
                    <a:pt x="2" y="63"/>
                    <a:pt x="3" y="63"/>
                  </a:cubicBezTo>
                  <a:cubicBezTo>
                    <a:pt x="4" y="64"/>
                    <a:pt x="3" y="65"/>
                    <a:pt x="3" y="66"/>
                  </a:cubicBezTo>
                  <a:cubicBezTo>
                    <a:pt x="3" y="68"/>
                    <a:pt x="4" y="70"/>
                    <a:pt x="3" y="72"/>
                  </a:cubicBezTo>
                  <a:cubicBezTo>
                    <a:pt x="3" y="74"/>
                    <a:pt x="2" y="75"/>
                    <a:pt x="2" y="77"/>
                  </a:cubicBezTo>
                  <a:cubicBezTo>
                    <a:pt x="3" y="77"/>
                    <a:pt x="3" y="77"/>
                    <a:pt x="3" y="78"/>
                  </a:cubicBezTo>
                  <a:cubicBezTo>
                    <a:pt x="3" y="79"/>
                    <a:pt x="3" y="80"/>
                    <a:pt x="4" y="82"/>
                  </a:cubicBezTo>
                  <a:cubicBezTo>
                    <a:pt x="5" y="84"/>
                    <a:pt x="4" y="87"/>
                    <a:pt x="4" y="89"/>
                  </a:cubicBezTo>
                  <a:cubicBezTo>
                    <a:pt x="4" y="92"/>
                    <a:pt x="3" y="95"/>
                    <a:pt x="2" y="97"/>
                  </a:cubicBezTo>
                  <a:cubicBezTo>
                    <a:pt x="1" y="98"/>
                    <a:pt x="1" y="100"/>
                    <a:pt x="1" y="101"/>
                  </a:cubicBezTo>
                  <a:cubicBezTo>
                    <a:pt x="2" y="101"/>
                    <a:pt x="2" y="101"/>
                    <a:pt x="2" y="101"/>
                  </a:cubicBezTo>
                  <a:cubicBezTo>
                    <a:pt x="6" y="100"/>
                    <a:pt x="9" y="100"/>
                    <a:pt x="12" y="100"/>
                  </a:cubicBezTo>
                  <a:cubicBezTo>
                    <a:pt x="14" y="99"/>
                    <a:pt x="17" y="99"/>
                    <a:pt x="18" y="101"/>
                  </a:cubicBezTo>
                  <a:cubicBezTo>
                    <a:pt x="19" y="102"/>
                    <a:pt x="19" y="103"/>
                    <a:pt x="20" y="103"/>
                  </a:cubicBezTo>
                  <a:cubicBezTo>
                    <a:pt x="23" y="105"/>
                    <a:pt x="26" y="107"/>
                    <a:pt x="27" y="111"/>
                  </a:cubicBezTo>
                  <a:cubicBezTo>
                    <a:pt x="28" y="113"/>
                    <a:pt x="30" y="114"/>
                    <a:pt x="32" y="116"/>
                  </a:cubicBezTo>
                  <a:cubicBezTo>
                    <a:pt x="33" y="116"/>
                    <a:pt x="33" y="117"/>
                    <a:pt x="34" y="117"/>
                  </a:cubicBezTo>
                  <a:cubicBezTo>
                    <a:pt x="35" y="117"/>
                    <a:pt x="36" y="116"/>
                    <a:pt x="36" y="115"/>
                  </a:cubicBezTo>
                  <a:cubicBezTo>
                    <a:pt x="36" y="113"/>
                    <a:pt x="37" y="110"/>
                    <a:pt x="39" y="109"/>
                  </a:cubicBezTo>
                  <a:cubicBezTo>
                    <a:pt x="39" y="109"/>
                    <a:pt x="40" y="109"/>
                    <a:pt x="40" y="109"/>
                  </a:cubicBezTo>
                  <a:cubicBezTo>
                    <a:pt x="40" y="109"/>
                    <a:pt x="40" y="110"/>
                    <a:pt x="41" y="110"/>
                  </a:cubicBezTo>
                  <a:cubicBezTo>
                    <a:pt x="42" y="112"/>
                    <a:pt x="44" y="113"/>
                    <a:pt x="46" y="114"/>
                  </a:cubicBezTo>
                  <a:cubicBezTo>
                    <a:pt x="46" y="114"/>
                    <a:pt x="47" y="114"/>
                    <a:pt x="47" y="114"/>
                  </a:cubicBezTo>
                  <a:cubicBezTo>
                    <a:pt x="48" y="113"/>
                    <a:pt x="48" y="112"/>
                    <a:pt x="48" y="110"/>
                  </a:cubicBezTo>
                  <a:cubicBezTo>
                    <a:pt x="49" y="109"/>
                    <a:pt x="51" y="110"/>
                    <a:pt x="52" y="110"/>
                  </a:cubicBezTo>
                  <a:cubicBezTo>
                    <a:pt x="52" y="110"/>
                    <a:pt x="53" y="111"/>
                    <a:pt x="53" y="111"/>
                  </a:cubicBezTo>
                  <a:cubicBezTo>
                    <a:pt x="53" y="112"/>
                    <a:pt x="54" y="112"/>
                    <a:pt x="54" y="111"/>
                  </a:cubicBezTo>
                  <a:cubicBezTo>
                    <a:pt x="54" y="111"/>
                    <a:pt x="54" y="110"/>
                    <a:pt x="55" y="109"/>
                  </a:cubicBezTo>
                  <a:cubicBezTo>
                    <a:pt x="56" y="109"/>
                    <a:pt x="58" y="110"/>
                    <a:pt x="59" y="110"/>
                  </a:cubicBezTo>
                  <a:cubicBezTo>
                    <a:pt x="62" y="110"/>
                    <a:pt x="65" y="110"/>
                    <a:pt x="69" y="111"/>
                  </a:cubicBezTo>
                  <a:cubicBezTo>
                    <a:pt x="71" y="111"/>
                    <a:pt x="72" y="111"/>
                    <a:pt x="74" y="111"/>
                  </a:cubicBezTo>
                  <a:cubicBezTo>
                    <a:pt x="76" y="111"/>
                    <a:pt x="77" y="110"/>
                    <a:pt x="79" y="111"/>
                  </a:cubicBezTo>
                  <a:cubicBezTo>
                    <a:pt x="80" y="111"/>
                    <a:pt x="81" y="111"/>
                    <a:pt x="82" y="111"/>
                  </a:cubicBezTo>
                  <a:cubicBezTo>
                    <a:pt x="84" y="111"/>
                    <a:pt x="85" y="110"/>
                    <a:pt x="86" y="110"/>
                  </a:cubicBezTo>
                  <a:cubicBezTo>
                    <a:pt x="88" y="108"/>
                    <a:pt x="89" y="105"/>
                    <a:pt x="88" y="102"/>
                  </a:cubicBezTo>
                  <a:cubicBezTo>
                    <a:pt x="87" y="102"/>
                    <a:pt x="85" y="101"/>
                    <a:pt x="85" y="100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1" y="58"/>
                    <a:pt x="1" y="58"/>
                    <a:pt x="1" y="58"/>
                  </a:cubicBezTo>
                  <a:lnTo>
                    <a:pt x="0" y="5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1" name="Freeform 353"/>
            <p:cNvSpPr>
              <a:spLocks/>
            </p:cNvSpPr>
            <p:nvPr/>
          </p:nvSpPr>
          <p:spPr bwMode="auto">
            <a:xfrm>
              <a:off x="6679366" y="5161959"/>
              <a:ext cx="60172" cy="44721"/>
            </a:xfrm>
            <a:custGeom>
              <a:avLst/>
              <a:gdLst>
                <a:gd name="T0" fmla="*/ 163906 w 45"/>
                <a:gd name="T1" fmla="*/ 1716533 h 41"/>
                <a:gd name="T2" fmla="*/ 448635 w 45"/>
                <a:gd name="T3" fmla="*/ 1716533 h 41"/>
                <a:gd name="T4" fmla="*/ 531490 w 45"/>
                <a:gd name="T5" fmla="*/ 1623102 h 41"/>
                <a:gd name="T6" fmla="*/ 893116 w 45"/>
                <a:gd name="T7" fmla="*/ 1623102 h 41"/>
                <a:gd name="T8" fmla="*/ 911860 w 45"/>
                <a:gd name="T9" fmla="*/ 1623102 h 41"/>
                <a:gd name="T10" fmla="*/ 1075692 w 45"/>
                <a:gd name="T11" fmla="*/ 1716533 h 41"/>
                <a:gd name="T12" fmla="*/ 1110747 w 45"/>
                <a:gd name="T13" fmla="*/ 1767081 h 41"/>
                <a:gd name="T14" fmla="*/ 1398618 w 45"/>
                <a:gd name="T15" fmla="*/ 1767081 h 41"/>
                <a:gd name="T16" fmla="*/ 1398618 w 45"/>
                <a:gd name="T17" fmla="*/ 1668515 h 41"/>
                <a:gd name="T18" fmla="*/ 1398618 w 45"/>
                <a:gd name="T19" fmla="*/ 1668515 h 41"/>
                <a:gd name="T20" fmla="*/ 1398618 w 45"/>
                <a:gd name="T21" fmla="*/ 1401688 h 41"/>
                <a:gd name="T22" fmla="*/ 1360228 w 45"/>
                <a:gd name="T23" fmla="*/ 1354939 h 41"/>
                <a:gd name="T24" fmla="*/ 1294076 w 45"/>
                <a:gd name="T25" fmla="*/ 1331268 h 41"/>
                <a:gd name="T26" fmla="*/ 1294076 w 45"/>
                <a:gd name="T27" fmla="*/ 1024061 h 41"/>
                <a:gd name="T28" fmla="*/ 1239208 w 45"/>
                <a:gd name="T29" fmla="*/ 791278 h 41"/>
                <a:gd name="T30" fmla="*/ 1239208 w 45"/>
                <a:gd name="T31" fmla="*/ 791278 h 41"/>
                <a:gd name="T32" fmla="*/ 1180277 w 45"/>
                <a:gd name="T33" fmla="*/ 743317 h 41"/>
                <a:gd name="T34" fmla="*/ 1015737 w 45"/>
                <a:gd name="T35" fmla="*/ 524831 h 41"/>
                <a:gd name="T36" fmla="*/ 797617 w 45"/>
                <a:gd name="T37" fmla="*/ 182390 h 41"/>
                <a:gd name="T38" fmla="*/ 731835 w 45"/>
                <a:gd name="T39" fmla="*/ 93475 h 41"/>
                <a:gd name="T40" fmla="*/ 531490 w 45"/>
                <a:gd name="T41" fmla="*/ 47906 h 41"/>
                <a:gd name="T42" fmla="*/ 218385 w 45"/>
                <a:gd name="T43" fmla="*/ 93475 h 41"/>
                <a:gd name="T44" fmla="*/ 179881 w 45"/>
                <a:gd name="T45" fmla="*/ 93475 h 41"/>
                <a:gd name="T46" fmla="*/ 179881 w 45"/>
                <a:gd name="T47" fmla="*/ 405530 h 41"/>
                <a:gd name="T48" fmla="*/ 94124 w 45"/>
                <a:gd name="T49" fmla="*/ 659996 h 41"/>
                <a:gd name="T50" fmla="*/ 35768 w 45"/>
                <a:gd name="T51" fmla="*/ 831840 h 41"/>
                <a:gd name="T52" fmla="*/ 130638 w 45"/>
                <a:gd name="T53" fmla="*/ 1069672 h 41"/>
                <a:gd name="T54" fmla="*/ 179881 w 45"/>
                <a:gd name="T55" fmla="*/ 1156500 h 41"/>
                <a:gd name="T56" fmla="*/ 179881 w 45"/>
                <a:gd name="T57" fmla="*/ 1242213 h 41"/>
                <a:gd name="T58" fmla="*/ 163906 w 45"/>
                <a:gd name="T59" fmla="*/ 1287797 h 41"/>
                <a:gd name="T60" fmla="*/ 163906 w 45"/>
                <a:gd name="T61" fmla="*/ 1331268 h 41"/>
                <a:gd name="T62" fmla="*/ 249664 w 45"/>
                <a:gd name="T63" fmla="*/ 1331268 h 41"/>
                <a:gd name="T64" fmla="*/ 417358 w 45"/>
                <a:gd name="T65" fmla="*/ 1194291 h 41"/>
                <a:gd name="T66" fmla="*/ 531490 w 45"/>
                <a:gd name="T67" fmla="*/ 1194291 h 41"/>
                <a:gd name="T68" fmla="*/ 831190 w 45"/>
                <a:gd name="T69" fmla="*/ 1287797 h 41"/>
                <a:gd name="T70" fmla="*/ 831190 w 45"/>
                <a:gd name="T71" fmla="*/ 1354939 h 41"/>
                <a:gd name="T72" fmla="*/ 797617 w 45"/>
                <a:gd name="T73" fmla="*/ 1401688 h 41"/>
                <a:gd name="T74" fmla="*/ 635551 w 45"/>
                <a:gd name="T75" fmla="*/ 1354939 h 41"/>
                <a:gd name="T76" fmla="*/ 448635 w 45"/>
                <a:gd name="T77" fmla="*/ 1354939 h 41"/>
                <a:gd name="T78" fmla="*/ 417358 w 45"/>
                <a:gd name="T79" fmla="*/ 1401688 h 41"/>
                <a:gd name="T80" fmla="*/ 278105 w 45"/>
                <a:gd name="T81" fmla="*/ 1401688 h 41"/>
                <a:gd name="T82" fmla="*/ 130638 w 45"/>
                <a:gd name="T83" fmla="*/ 1450375 h 41"/>
                <a:gd name="T84" fmla="*/ 94124 w 45"/>
                <a:gd name="T85" fmla="*/ 1450375 h 41"/>
                <a:gd name="T86" fmla="*/ 130638 w 45"/>
                <a:gd name="T87" fmla="*/ 1543957 h 41"/>
                <a:gd name="T88" fmla="*/ 130638 w 45"/>
                <a:gd name="T89" fmla="*/ 1668515 h 41"/>
                <a:gd name="T90" fmla="*/ 163906 w 45"/>
                <a:gd name="T91" fmla="*/ 1716533 h 4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"/>
                <a:gd name="T139" fmla="*/ 0 h 41"/>
                <a:gd name="T140" fmla="*/ 45 w 45"/>
                <a:gd name="T141" fmla="*/ 41 h 4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" h="41">
                  <a:moveTo>
                    <a:pt x="5" y="39"/>
                  </a:moveTo>
                  <a:cubicBezTo>
                    <a:pt x="8" y="39"/>
                    <a:pt x="11" y="39"/>
                    <a:pt x="14" y="39"/>
                  </a:cubicBezTo>
                  <a:cubicBezTo>
                    <a:pt x="15" y="39"/>
                    <a:pt x="16" y="37"/>
                    <a:pt x="17" y="37"/>
                  </a:cubicBezTo>
                  <a:cubicBezTo>
                    <a:pt x="21" y="37"/>
                    <a:pt x="24" y="37"/>
                    <a:pt x="28" y="37"/>
                  </a:cubicBezTo>
                  <a:cubicBezTo>
                    <a:pt x="29" y="37"/>
                    <a:pt x="28" y="37"/>
                    <a:pt x="29" y="37"/>
                  </a:cubicBezTo>
                  <a:cubicBezTo>
                    <a:pt x="30" y="38"/>
                    <a:pt x="33" y="38"/>
                    <a:pt x="34" y="39"/>
                  </a:cubicBezTo>
                  <a:cubicBezTo>
                    <a:pt x="34" y="39"/>
                    <a:pt x="34" y="40"/>
                    <a:pt x="35" y="40"/>
                  </a:cubicBezTo>
                  <a:cubicBezTo>
                    <a:pt x="38" y="41"/>
                    <a:pt x="41" y="41"/>
                    <a:pt x="44" y="40"/>
                  </a:cubicBezTo>
                  <a:cubicBezTo>
                    <a:pt x="44" y="40"/>
                    <a:pt x="44" y="39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3" y="36"/>
                    <a:pt x="45" y="34"/>
                    <a:pt x="44" y="32"/>
                  </a:cubicBezTo>
                  <a:cubicBezTo>
                    <a:pt x="44" y="31"/>
                    <a:pt x="43" y="31"/>
                    <a:pt x="43" y="31"/>
                  </a:cubicBezTo>
                  <a:cubicBezTo>
                    <a:pt x="42" y="30"/>
                    <a:pt x="41" y="31"/>
                    <a:pt x="41" y="30"/>
                  </a:cubicBezTo>
                  <a:cubicBezTo>
                    <a:pt x="40" y="28"/>
                    <a:pt x="41" y="25"/>
                    <a:pt x="41" y="23"/>
                  </a:cubicBezTo>
                  <a:cubicBezTo>
                    <a:pt x="40" y="21"/>
                    <a:pt x="39" y="19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8" y="18"/>
                    <a:pt x="38" y="17"/>
                    <a:pt x="37" y="17"/>
                  </a:cubicBezTo>
                  <a:cubicBezTo>
                    <a:pt x="35" y="15"/>
                    <a:pt x="33" y="14"/>
                    <a:pt x="32" y="12"/>
                  </a:cubicBezTo>
                  <a:cubicBezTo>
                    <a:pt x="31" y="8"/>
                    <a:pt x="28" y="6"/>
                    <a:pt x="25" y="4"/>
                  </a:cubicBezTo>
                  <a:cubicBezTo>
                    <a:pt x="24" y="4"/>
                    <a:pt x="24" y="3"/>
                    <a:pt x="23" y="2"/>
                  </a:cubicBezTo>
                  <a:cubicBezTo>
                    <a:pt x="22" y="0"/>
                    <a:pt x="19" y="0"/>
                    <a:pt x="17" y="1"/>
                  </a:cubicBezTo>
                  <a:cubicBezTo>
                    <a:pt x="14" y="1"/>
                    <a:pt x="11" y="1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4"/>
                    <a:pt x="6" y="7"/>
                    <a:pt x="6" y="9"/>
                  </a:cubicBezTo>
                  <a:cubicBezTo>
                    <a:pt x="5" y="11"/>
                    <a:pt x="4" y="13"/>
                    <a:pt x="3" y="15"/>
                  </a:cubicBezTo>
                  <a:cubicBezTo>
                    <a:pt x="2" y="16"/>
                    <a:pt x="0" y="17"/>
                    <a:pt x="1" y="19"/>
                  </a:cubicBezTo>
                  <a:cubicBezTo>
                    <a:pt x="3" y="20"/>
                    <a:pt x="3" y="22"/>
                    <a:pt x="4" y="24"/>
                  </a:cubicBezTo>
                  <a:cubicBezTo>
                    <a:pt x="4" y="24"/>
                    <a:pt x="6" y="25"/>
                    <a:pt x="6" y="26"/>
                  </a:cubicBezTo>
                  <a:cubicBezTo>
                    <a:pt x="6" y="26"/>
                    <a:pt x="6" y="27"/>
                    <a:pt x="6" y="28"/>
                  </a:cubicBezTo>
                  <a:cubicBezTo>
                    <a:pt x="6" y="29"/>
                    <a:pt x="5" y="29"/>
                    <a:pt x="5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7" y="30"/>
                    <a:pt x="8" y="30"/>
                  </a:cubicBezTo>
                  <a:cubicBezTo>
                    <a:pt x="10" y="29"/>
                    <a:pt x="11" y="28"/>
                    <a:pt x="13" y="27"/>
                  </a:cubicBezTo>
                  <a:cubicBezTo>
                    <a:pt x="14" y="26"/>
                    <a:pt x="16" y="26"/>
                    <a:pt x="17" y="27"/>
                  </a:cubicBezTo>
                  <a:cubicBezTo>
                    <a:pt x="20" y="28"/>
                    <a:pt x="23" y="28"/>
                    <a:pt x="26" y="29"/>
                  </a:cubicBezTo>
                  <a:cubicBezTo>
                    <a:pt x="26" y="29"/>
                    <a:pt x="27" y="30"/>
                    <a:pt x="26" y="31"/>
                  </a:cubicBezTo>
                  <a:cubicBezTo>
                    <a:pt x="26" y="32"/>
                    <a:pt x="25" y="32"/>
                    <a:pt x="25" y="32"/>
                  </a:cubicBezTo>
                  <a:cubicBezTo>
                    <a:pt x="23" y="32"/>
                    <a:pt x="21" y="32"/>
                    <a:pt x="20" y="31"/>
                  </a:cubicBezTo>
                  <a:cubicBezTo>
                    <a:pt x="18" y="31"/>
                    <a:pt x="16" y="31"/>
                    <a:pt x="14" y="31"/>
                  </a:cubicBezTo>
                  <a:cubicBezTo>
                    <a:pt x="14" y="31"/>
                    <a:pt x="13" y="32"/>
                    <a:pt x="13" y="32"/>
                  </a:cubicBezTo>
                  <a:cubicBezTo>
                    <a:pt x="12" y="32"/>
                    <a:pt x="10" y="32"/>
                    <a:pt x="9" y="32"/>
                  </a:cubicBezTo>
                  <a:cubicBezTo>
                    <a:pt x="8" y="33"/>
                    <a:pt x="6" y="33"/>
                    <a:pt x="4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4"/>
                    <a:pt x="3" y="34"/>
                    <a:pt x="4" y="35"/>
                  </a:cubicBezTo>
                  <a:cubicBezTo>
                    <a:pt x="4" y="36"/>
                    <a:pt x="3" y="37"/>
                    <a:pt x="4" y="38"/>
                  </a:cubicBezTo>
                  <a:cubicBezTo>
                    <a:pt x="4" y="39"/>
                    <a:pt x="4" y="39"/>
                    <a:pt x="5" y="39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2" name="Freeform 354"/>
            <p:cNvSpPr>
              <a:spLocks/>
            </p:cNvSpPr>
            <p:nvPr/>
          </p:nvSpPr>
          <p:spPr bwMode="auto">
            <a:xfrm>
              <a:off x="6683716" y="5190363"/>
              <a:ext cx="31900" cy="7253"/>
            </a:xfrm>
            <a:custGeom>
              <a:avLst/>
              <a:gdLst>
                <a:gd name="T0" fmla="*/ 0 w 24"/>
                <a:gd name="T1" fmla="*/ 141626 h 7"/>
                <a:gd name="T2" fmla="*/ 37331 w 24"/>
                <a:gd name="T3" fmla="*/ 76260 h 7"/>
                <a:gd name="T4" fmla="*/ 71551 w 24"/>
                <a:gd name="T5" fmla="*/ 62562 h 7"/>
                <a:gd name="T6" fmla="*/ 71551 w 24"/>
                <a:gd name="T7" fmla="*/ 76260 h 7"/>
                <a:gd name="T8" fmla="*/ 169303 w 24"/>
                <a:gd name="T9" fmla="*/ 76260 h 7"/>
                <a:gd name="T10" fmla="*/ 324497 w 24"/>
                <a:gd name="T11" fmla="*/ 22111 h 7"/>
                <a:gd name="T12" fmla="*/ 471515 w 24"/>
                <a:gd name="T13" fmla="*/ 22111 h 7"/>
                <a:gd name="T14" fmla="*/ 759332 w 24"/>
                <a:gd name="T15" fmla="*/ 62562 h 7"/>
                <a:gd name="T16" fmla="*/ 759332 w 24"/>
                <a:gd name="T17" fmla="*/ 99561 h 7"/>
                <a:gd name="T18" fmla="*/ 729964 w 24"/>
                <a:gd name="T19" fmla="*/ 116187 h 7"/>
                <a:gd name="T20" fmla="*/ 570787 w 24"/>
                <a:gd name="T21" fmla="*/ 99561 h 7"/>
                <a:gd name="T22" fmla="*/ 364036 w 24"/>
                <a:gd name="T23" fmla="*/ 99561 h 7"/>
                <a:gd name="T24" fmla="*/ 324497 w 24"/>
                <a:gd name="T25" fmla="*/ 116187 h 7"/>
                <a:gd name="T26" fmla="*/ 206699 w 24"/>
                <a:gd name="T27" fmla="*/ 116187 h 7"/>
                <a:gd name="T28" fmla="*/ 37331 w 24"/>
                <a:gd name="T29" fmla="*/ 141626 h 7"/>
                <a:gd name="T30" fmla="*/ 0 w 24"/>
                <a:gd name="T31" fmla="*/ 141626 h 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4"/>
                <a:gd name="T49" fmla="*/ 0 h 7"/>
                <a:gd name="T50" fmla="*/ 24 w 24"/>
                <a:gd name="T51" fmla="*/ 7 h 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4" h="7">
                  <a:moveTo>
                    <a:pt x="0" y="7"/>
                  </a:moveTo>
                  <a:cubicBezTo>
                    <a:pt x="0" y="6"/>
                    <a:pt x="1" y="5"/>
                    <a:pt x="1" y="4"/>
                  </a:cubicBezTo>
                  <a:cubicBezTo>
                    <a:pt x="1" y="4"/>
                    <a:pt x="2" y="4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4" y="4"/>
                    <a:pt x="5" y="4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1" y="0"/>
                    <a:pt x="13" y="0"/>
                    <a:pt x="14" y="1"/>
                  </a:cubicBezTo>
                  <a:cubicBezTo>
                    <a:pt x="17" y="2"/>
                    <a:pt x="20" y="2"/>
                    <a:pt x="23" y="3"/>
                  </a:cubicBezTo>
                  <a:cubicBezTo>
                    <a:pt x="23" y="3"/>
                    <a:pt x="24" y="4"/>
                    <a:pt x="23" y="5"/>
                  </a:cubicBezTo>
                  <a:cubicBezTo>
                    <a:pt x="23" y="6"/>
                    <a:pt x="22" y="6"/>
                    <a:pt x="22" y="6"/>
                  </a:cubicBezTo>
                  <a:cubicBezTo>
                    <a:pt x="20" y="6"/>
                    <a:pt x="18" y="6"/>
                    <a:pt x="17" y="5"/>
                  </a:cubicBezTo>
                  <a:cubicBezTo>
                    <a:pt x="15" y="5"/>
                    <a:pt x="13" y="5"/>
                    <a:pt x="11" y="5"/>
                  </a:cubicBezTo>
                  <a:cubicBezTo>
                    <a:pt x="11" y="5"/>
                    <a:pt x="10" y="6"/>
                    <a:pt x="10" y="6"/>
                  </a:cubicBezTo>
                  <a:cubicBezTo>
                    <a:pt x="9" y="6"/>
                    <a:pt x="7" y="6"/>
                    <a:pt x="6" y="6"/>
                  </a:cubicBezTo>
                  <a:cubicBezTo>
                    <a:pt x="5" y="7"/>
                    <a:pt x="3" y="7"/>
                    <a:pt x="1" y="7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3" name="Freeform 355"/>
            <p:cNvSpPr>
              <a:spLocks/>
            </p:cNvSpPr>
            <p:nvPr/>
          </p:nvSpPr>
          <p:spPr bwMode="auto">
            <a:xfrm>
              <a:off x="6684441" y="5201846"/>
              <a:ext cx="33347" cy="15713"/>
            </a:xfrm>
            <a:custGeom>
              <a:avLst/>
              <a:gdLst>
                <a:gd name="T0" fmla="*/ 444660 w 25"/>
                <a:gd name="T1" fmla="*/ 917504 h 14"/>
                <a:gd name="T2" fmla="*/ 370819 w 25"/>
                <a:gd name="T3" fmla="*/ 786432 h 14"/>
                <a:gd name="T4" fmla="*/ 330799 w 25"/>
                <a:gd name="T5" fmla="*/ 720896 h 14"/>
                <a:gd name="T6" fmla="*/ 330799 w 25"/>
                <a:gd name="T7" fmla="*/ 655360 h 14"/>
                <a:gd name="T8" fmla="*/ 330799 w 25"/>
                <a:gd name="T9" fmla="*/ 589824 h 14"/>
                <a:gd name="T10" fmla="*/ 302870 w 25"/>
                <a:gd name="T11" fmla="*/ 393216 h 14"/>
                <a:gd name="T12" fmla="*/ 109559 w 25"/>
                <a:gd name="T13" fmla="*/ 393216 h 14"/>
                <a:gd name="T14" fmla="*/ 38173 w 25"/>
                <a:gd name="T15" fmla="*/ 327680 h 14"/>
                <a:gd name="T16" fmla="*/ 38173 w 25"/>
                <a:gd name="T17" fmla="*/ 131072 h 14"/>
                <a:gd name="T18" fmla="*/ 38173 w 25"/>
                <a:gd name="T19" fmla="*/ 131072 h 14"/>
                <a:gd name="T20" fmla="*/ 330799 w 25"/>
                <a:gd name="T21" fmla="*/ 131072 h 14"/>
                <a:gd name="T22" fmla="*/ 444660 w 25"/>
                <a:gd name="T23" fmla="*/ 0 h 14"/>
                <a:gd name="T24" fmla="*/ 812763 w 25"/>
                <a:gd name="T25" fmla="*/ 0 h 14"/>
                <a:gd name="T26" fmla="*/ 853747 w 25"/>
                <a:gd name="T27" fmla="*/ 0 h 14"/>
                <a:gd name="T28" fmla="*/ 853747 w 25"/>
                <a:gd name="T29" fmla="*/ 65536 h 14"/>
                <a:gd name="T30" fmla="*/ 775446 w 25"/>
                <a:gd name="T31" fmla="*/ 262144 h 14"/>
                <a:gd name="T32" fmla="*/ 775446 w 25"/>
                <a:gd name="T33" fmla="*/ 524288 h 14"/>
                <a:gd name="T34" fmla="*/ 753143 w 25"/>
                <a:gd name="T35" fmla="*/ 655360 h 14"/>
                <a:gd name="T36" fmla="*/ 581510 w 25"/>
                <a:gd name="T37" fmla="*/ 655360 h 14"/>
                <a:gd name="T38" fmla="*/ 518753 w 25"/>
                <a:gd name="T39" fmla="*/ 786432 h 14"/>
                <a:gd name="T40" fmla="*/ 444660 w 25"/>
                <a:gd name="T41" fmla="*/ 851968 h 14"/>
                <a:gd name="T42" fmla="*/ 444660 w 25"/>
                <a:gd name="T43" fmla="*/ 917504 h 1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5"/>
                <a:gd name="T67" fmla="*/ 0 h 14"/>
                <a:gd name="T68" fmla="*/ 25 w 25"/>
                <a:gd name="T69" fmla="*/ 14 h 1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5" h="14">
                  <a:moveTo>
                    <a:pt x="13" y="14"/>
                  </a:moveTo>
                  <a:cubicBezTo>
                    <a:pt x="12" y="14"/>
                    <a:pt x="12" y="13"/>
                    <a:pt x="11" y="12"/>
                  </a:cubicBezTo>
                  <a:cubicBezTo>
                    <a:pt x="11" y="12"/>
                    <a:pt x="10" y="12"/>
                    <a:pt x="10" y="11"/>
                  </a:cubicBezTo>
                  <a:cubicBezTo>
                    <a:pt x="10" y="11"/>
                    <a:pt x="10" y="10"/>
                    <a:pt x="10" y="10"/>
                  </a:cubicBezTo>
                  <a:cubicBezTo>
                    <a:pt x="10" y="10"/>
                    <a:pt x="10" y="10"/>
                    <a:pt x="10" y="9"/>
                  </a:cubicBezTo>
                  <a:cubicBezTo>
                    <a:pt x="9" y="9"/>
                    <a:pt x="9" y="7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1" y="5"/>
                    <a:pt x="1" y="5"/>
                  </a:cubicBezTo>
                  <a:cubicBezTo>
                    <a:pt x="0" y="4"/>
                    <a:pt x="1" y="3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4" y="2"/>
                    <a:pt x="7" y="2"/>
                    <a:pt x="10" y="2"/>
                  </a:cubicBezTo>
                  <a:cubicBezTo>
                    <a:pt x="11" y="2"/>
                    <a:pt x="12" y="0"/>
                    <a:pt x="13" y="0"/>
                  </a:cubicBezTo>
                  <a:cubicBezTo>
                    <a:pt x="17" y="0"/>
                    <a:pt x="20" y="0"/>
                    <a:pt x="24" y="0"/>
                  </a:cubicBezTo>
                  <a:cubicBezTo>
                    <a:pt x="25" y="0"/>
                    <a:pt x="24" y="0"/>
                    <a:pt x="25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5" y="2"/>
                    <a:pt x="23" y="3"/>
                    <a:pt x="23" y="4"/>
                  </a:cubicBezTo>
                  <a:cubicBezTo>
                    <a:pt x="23" y="5"/>
                    <a:pt x="23" y="7"/>
                    <a:pt x="23" y="8"/>
                  </a:cubicBezTo>
                  <a:cubicBezTo>
                    <a:pt x="23" y="9"/>
                    <a:pt x="22" y="10"/>
                    <a:pt x="22" y="10"/>
                  </a:cubicBezTo>
                  <a:cubicBezTo>
                    <a:pt x="20" y="10"/>
                    <a:pt x="19" y="9"/>
                    <a:pt x="17" y="10"/>
                  </a:cubicBezTo>
                  <a:cubicBezTo>
                    <a:pt x="16" y="11"/>
                    <a:pt x="16" y="12"/>
                    <a:pt x="15" y="12"/>
                  </a:cubicBezTo>
                  <a:cubicBezTo>
                    <a:pt x="14" y="13"/>
                    <a:pt x="14" y="14"/>
                    <a:pt x="13" y="13"/>
                  </a:cubicBezTo>
                  <a:lnTo>
                    <a:pt x="13" y="1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4" name="Freeform 356"/>
            <p:cNvSpPr>
              <a:spLocks/>
            </p:cNvSpPr>
            <p:nvPr/>
          </p:nvSpPr>
          <p:spPr bwMode="auto">
            <a:xfrm>
              <a:off x="6732290" y="5076746"/>
              <a:ext cx="176889" cy="150480"/>
            </a:xfrm>
            <a:custGeom>
              <a:avLst/>
              <a:gdLst>
                <a:gd name="T0" fmla="*/ 228785 w 131"/>
                <a:gd name="T1" fmla="*/ 4153610 h 139"/>
                <a:gd name="T2" fmla="*/ 411496 w 131"/>
                <a:gd name="T3" fmla="*/ 4153610 h 139"/>
                <a:gd name="T4" fmla="*/ 485246 w 131"/>
                <a:gd name="T5" fmla="*/ 4153610 h 139"/>
                <a:gd name="T6" fmla="*/ 794721 w 131"/>
                <a:gd name="T7" fmla="*/ 4095661 h 139"/>
                <a:gd name="T8" fmla="*/ 937154 w 131"/>
                <a:gd name="T9" fmla="*/ 4153610 h 139"/>
                <a:gd name="T10" fmla="*/ 1044797 w 131"/>
                <a:gd name="T11" fmla="*/ 4294002 h 139"/>
                <a:gd name="T12" fmla="*/ 1122617 w 131"/>
                <a:gd name="T13" fmla="*/ 4600364 h 139"/>
                <a:gd name="T14" fmla="*/ 1165940 w 131"/>
                <a:gd name="T15" fmla="*/ 4638497 h 139"/>
                <a:gd name="T16" fmla="*/ 1564320 w 131"/>
                <a:gd name="T17" fmla="*/ 4773487 h 139"/>
                <a:gd name="T18" fmla="*/ 1769648 w 131"/>
                <a:gd name="T19" fmla="*/ 4740268 h 139"/>
                <a:gd name="T20" fmla="*/ 1977486 w 131"/>
                <a:gd name="T21" fmla="*/ 4663026 h 139"/>
                <a:gd name="T22" fmla="*/ 2017814 w 131"/>
                <a:gd name="T23" fmla="*/ 4216756 h 139"/>
                <a:gd name="T24" fmla="*/ 2168108 w 131"/>
                <a:gd name="T25" fmla="*/ 4216756 h 139"/>
                <a:gd name="T26" fmla="*/ 2329560 w 131"/>
                <a:gd name="T27" fmla="*/ 3953898 h 139"/>
                <a:gd name="T28" fmla="*/ 2501417 w 131"/>
                <a:gd name="T29" fmla="*/ 3770191 h 139"/>
                <a:gd name="T30" fmla="*/ 2891952 w 131"/>
                <a:gd name="T31" fmla="*/ 3577949 h 139"/>
                <a:gd name="T32" fmla="*/ 3105125 w 131"/>
                <a:gd name="T33" fmla="*/ 3398212 h 139"/>
                <a:gd name="T34" fmla="*/ 3374330 w 131"/>
                <a:gd name="T35" fmla="*/ 3203798 h 139"/>
                <a:gd name="T36" fmla="*/ 3524581 w 131"/>
                <a:gd name="T37" fmla="*/ 3203798 h 139"/>
                <a:gd name="T38" fmla="*/ 3666636 w 131"/>
                <a:gd name="T39" fmla="*/ 3257926 h 139"/>
                <a:gd name="T40" fmla="*/ 3977628 w 131"/>
                <a:gd name="T41" fmla="*/ 3164355 h 139"/>
                <a:gd name="T42" fmla="*/ 4617567 w 131"/>
                <a:gd name="T43" fmla="*/ 3126523 h 139"/>
                <a:gd name="T44" fmla="*/ 4830979 w 131"/>
                <a:gd name="T45" fmla="*/ 2912576 h 139"/>
                <a:gd name="T46" fmla="*/ 4830979 w 131"/>
                <a:gd name="T47" fmla="*/ 2374951 h 139"/>
                <a:gd name="T48" fmla="*/ 4830979 w 131"/>
                <a:gd name="T49" fmla="*/ 1929945 h 139"/>
                <a:gd name="T50" fmla="*/ 4539558 w 131"/>
                <a:gd name="T51" fmla="*/ 1929945 h 139"/>
                <a:gd name="T52" fmla="*/ 4455658 w 131"/>
                <a:gd name="T53" fmla="*/ 1710327 h 139"/>
                <a:gd name="T54" fmla="*/ 4227699 w 131"/>
                <a:gd name="T55" fmla="*/ 1610590 h 139"/>
                <a:gd name="T56" fmla="*/ 2127709 w 131"/>
                <a:gd name="T57" fmla="*/ 0 h 139"/>
                <a:gd name="T58" fmla="*/ 1898535 w 131"/>
                <a:gd name="T59" fmla="*/ 2758778 h 139"/>
                <a:gd name="T60" fmla="*/ 1939034 w 131"/>
                <a:gd name="T61" fmla="*/ 3093723 h 139"/>
                <a:gd name="T62" fmla="*/ 1685845 w 131"/>
                <a:gd name="T63" fmla="*/ 3126523 h 139"/>
                <a:gd name="T64" fmla="*/ 1316162 w 131"/>
                <a:gd name="T65" fmla="*/ 3126523 h 139"/>
                <a:gd name="T66" fmla="*/ 794721 w 131"/>
                <a:gd name="T67" fmla="*/ 3052801 h 139"/>
                <a:gd name="T68" fmla="*/ 714032 w 131"/>
                <a:gd name="T69" fmla="*/ 3126523 h 139"/>
                <a:gd name="T70" fmla="*/ 519861 w 131"/>
                <a:gd name="T71" fmla="*/ 3093723 h 139"/>
                <a:gd name="T72" fmla="*/ 441852 w 131"/>
                <a:gd name="T73" fmla="*/ 3236577 h 139"/>
                <a:gd name="T74" fmla="*/ 228785 w 131"/>
                <a:gd name="T75" fmla="*/ 3052801 h 139"/>
                <a:gd name="T76" fmla="*/ 78160 w 131"/>
                <a:gd name="T77" fmla="*/ 3257926 h 139"/>
                <a:gd name="T78" fmla="*/ 0 w 131"/>
                <a:gd name="T79" fmla="*/ 3326358 h 139"/>
                <a:gd name="T80" fmla="*/ 78160 w 131"/>
                <a:gd name="T81" fmla="*/ 3731662 h 139"/>
                <a:gd name="T82" fmla="*/ 191434 w 131"/>
                <a:gd name="T83" fmla="*/ 3810435 h 139"/>
                <a:gd name="T84" fmla="*/ 191434 w 131"/>
                <a:gd name="T85" fmla="*/ 4022623 h 139"/>
                <a:gd name="T86" fmla="*/ 150950 w 131"/>
                <a:gd name="T87" fmla="*/ 4095661 h 13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31"/>
                <a:gd name="T133" fmla="*/ 0 h 139"/>
                <a:gd name="T134" fmla="*/ 131 w 131"/>
                <a:gd name="T135" fmla="*/ 139 h 13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31" h="139">
                  <a:moveTo>
                    <a:pt x="4" y="119"/>
                  </a:moveTo>
                  <a:cubicBezTo>
                    <a:pt x="5" y="120"/>
                    <a:pt x="6" y="120"/>
                    <a:pt x="6" y="121"/>
                  </a:cubicBezTo>
                  <a:cubicBezTo>
                    <a:pt x="7" y="121"/>
                    <a:pt x="8" y="121"/>
                    <a:pt x="8" y="121"/>
                  </a:cubicBezTo>
                  <a:cubicBezTo>
                    <a:pt x="9" y="120"/>
                    <a:pt x="10" y="121"/>
                    <a:pt x="11" y="121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2" y="122"/>
                    <a:pt x="13" y="122"/>
                    <a:pt x="13" y="121"/>
                  </a:cubicBezTo>
                  <a:cubicBezTo>
                    <a:pt x="15" y="121"/>
                    <a:pt x="17" y="122"/>
                    <a:pt x="18" y="121"/>
                  </a:cubicBezTo>
                  <a:cubicBezTo>
                    <a:pt x="19" y="121"/>
                    <a:pt x="20" y="120"/>
                    <a:pt x="21" y="119"/>
                  </a:cubicBezTo>
                  <a:cubicBezTo>
                    <a:pt x="22" y="119"/>
                    <a:pt x="24" y="118"/>
                    <a:pt x="25" y="120"/>
                  </a:cubicBezTo>
                  <a:cubicBezTo>
                    <a:pt x="25" y="120"/>
                    <a:pt x="25" y="121"/>
                    <a:pt x="25" y="121"/>
                  </a:cubicBezTo>
                  <a:cubicBezTo>
                    <a:pt x="25" y="122"/>
                    <a:pt x="26" y="122"/>
                    <a:pt x="26" y="123"/>
                  </a:cubicBezTo>
                  <a:cubicBezTo>
                    <a:pt x="26" y="124"/>
                    <a:pt x="28" y="124"/>
                    <a:pt x="28" y="125"/>
                  </a:cubicBezTo>
                  <a:cubicBezTo>
                    <a:pt x="29" y="127"/>
                    <a:pt x="28" y="129"/>
                    <a:pt x="28" y="131"/>
                  </a:cubicBezTo>
                  <a:cubicBezTo>
                    <a:pt x="29" y="132"/>
                    <a:pt x="30" y="133"/>
                    <a:pt x="30" y="134"/>
                  </a:cubicBezTo>
                  <a:cubicBezTo>
                    <a:pt x="30" y="134"/>
                    <a:pt x="30" y="134"/>
                    <a:pt x="30" y="134"/>
                  </a:cubicBezTo>
                  <a:cubicBezTo>
                    <a:pt x="30" y="135"/>
                    <a:pt x="31" y="135"/>
                    <a:pt x="31" y="135"/>
                  </a:cubicBezTo>
                  <a:cubicBezTo>
                    <a:pt x="32" y="136"/>
                    <a:pt x="34" y="136"/>
                    <a:pt x="35" y="137"/>
                  </a:cubicBezTo>
                  <a:cubicBezTo>
                    <a:pt x="37" y="138"/>
                    <a:pt x="39" y="139"/>
                    <a:pt x="42" y="139"/>
                  </a:cubicBezTo>
                  <a:cubicBezTo>
                    <a:pt x="43" y="138"/>
                    <a:pt x="43" y="136"/>
                    <a:pt x="45" y="135"/>
                  </a:cubicBezTo>
                  <a:cubicBezTo>
                    <a:pt x="46" y="133"/>
                    <a:pt x="47" y="136"/>
                    <a:pt x="47" y="138"/>
                  </a:cubicBezTo>
                  <a:cubicBezTo>
                    <a:pt x="47" y="139"/>
                    <a:pt x="49" y="139"/>
                    <a:pt x="50" y="138"/>
                  </a:cubicBezTo>
                  <a:cubicBezTo>
                    <a:pt x="51" y="138"/>
                    <a:pt x="52" y="137"/>
                    <a:pt x="53" y="136"/>
                  </a:cubicBezTo>
                  <a:cubicBezTo>
                    <a:pt x="54" y="135"/>
                    <a:pt x="53" y="133"/>
                    <a:pt x="53" y="131"/>
                  </a:cubicBezTo>
                  <a:cubicBezTo>
                    <a:pt x="55" y="129"/>
                    <a:pt x="53" y="126"/>
                    <a:pt x="54" y="123"/>
                  </a:cubicBezTo>
                  <a:cubicBezTo>
                    <a:pt x="55" y="123"/>
                    <a:pt x="55" y="123"/>
                    <a:pt x="55" y="123"/>
                  </a:cubicBezTo>
                  <a:cubicBezTo>
                    <a:pt x="56" y="123"/>
                    <a:pt x="57" y="123"/>
                    <a:pt x="58" y="123"/>
                  </a:cubicBezTo>
                  <a:cubicBezTo>
                    <a:pt x="59" y="122"/>
                    <a:pt x="60" y="121"/>
                    <a:pt x="61" y="120"/>
                  </a:cubicBezTo>
                  <a:cubicBezTo>
                    <a:pt x="61" y="119"/>
                    <a:pt x="61" y="117"/>
                    <a:pt x="62" y="115"/>
                  </a:cubicBezTo>
                  <a:cubicBezTo>
                    <a:pt x="62" y="114"/>
                    <a:pt x="62" y="112"/>
                    <a:pt x="62" y="111"/>
                  </a:cubicBezTo>
                  <a:cubicBezTo>
                    <a:pt x="62" y="109"/>
                    <a:pt x="66" y="110"/>
                    <a:pt x="67" y="110"/>
                  </a:cubicBezTo>
                  <a:cubicBezTo>
                    <a:pt x="68" y="109"/>
                    <a:pt x="70" y="110"/>
                    <a:pt x="70" y="109"/>
                  </a:cubicBezTo>
                  <a:cubicBezTo>
                    <a:pt x="72" y="107"/>
                    <a:pt x="75" y="106"/>
                    <a:pt x="77" y="104"/>
                  </a:cubicBezTo>
                  <a:cubicBezTo>
                    <a:pt x="78" y="103"/>
                    <a:pt x="79" y="101"/>
                    <a:pt x="80" y="100"/>
                  </a:cubicBezTo>
                  <a:cubicBezTo>
                    <a:pt x="81" y="100"/>
                    <a:pt x="82" y="99"/>
                    <a:pt x="83" y="99"/>
                  </a:cubicBezTo>
                  <a:cubicBezTo>
                    <a:pt x="85" y="98"/>
                    <a:pt x="86" y="98"/>
                    <a:pt x="87" y="97"/>
                  </a:cubicBezTo>
                  <a:cubicBezTo>
                    <a:pt x="88" y="95"/>
                    <a:pt x="89" y="94"/>
                    <a:pt x="90" y="93"/>
                  </a:cubicBezTo>
                  <a:cubicBezTo>
                    <a:pt x="91" y="92"/>
                    <a:pt x="92" y="93"/>
                    <a:pt x="93" y="93"/>
                  </a:cubicBezTo>
                  <a:cubicBezTo>
                    <a:pt x="93" y="93"/>
                    <a:pt x="93" y="93"/>
                    <a:pt x="94" y="93"/>
                  </a:cubicBezTo>
                  <a:cubicBezTo>
                    <a:pt x="95" y="94"/>
                    <a:pt x="96" y="94"/>
                    <a:pt x="97" y="94"/>
                  </a:cubicBezTo>
                  <a:cubicBezTo>
                    <a:pt x="97" y="94"/>
                    <a:pt x="98" y="95"/>
                    <a:pt x="98" y="95"/>
                  </a:cubicBezTo>
                  <a:cubicBezTo>
                    <a:pt x="99" y="95"/>
                    <a:pt x="100" y="95"/>
                    <a:pt x="102" y="95"/>
                  </a:cubicBezTo>
                  <a:cubicBezTo>
                    <a:pt x="103" y="94"/>
                    <a:pt x="105" y="92"/>
                    <a:pt x="106" y="92"/>
                  </a:cubicBezTo>
                  <a:cubicBezTo>
                    <a:pt x="109" y="91"/>
                    <a:pt x="111" y="92"/>
                    <a:pt x="114" y="91"/>
                  </a:cubicBezTo>
                  <a:cubicBezTo>
                    <a:pt x="117" y="90"/>
                    <a:pt x="120" y="91"/>
                    <a:pt x="123" y="91"/>
                  </a:cubicBezTo>
                  <a:cubicBezTo>
                    <a:pt x="124" y="90"/>
                    <a:pt x="127" y="89"/>
                    <a:pt x="127" y="87"/>
                  </a:cubicBezTo>
                  <a:cubicBezTo>
                    <a:pt x="128" y="86"/>
                    <a:pt x="129" y="86"/>
                    <a:pt x="129" y="85"/>
                  </a:cubicBezTo>
                  <a:cubicBezTo>
                    <a:pt x="131" y="81"/>
                    <a:pt x="130" y="76"/>
                    <a:pt x="130" y="72"/>
                  </a:cubicBezTo>
                  <a:cubicBezTo>
                    <a:pt x="130" y="71"/>
                    <a:pt x="129" y="70"/>
                    <a:pt x="129" y="69"/>
                  </a:cubicBezTo>
                  <a:cubicBezTo>
                    <a:pt x="129" y="65"/>
                    <a:pt x="129" y="60"/>
                    <a:pt x="129" y="56"/>
                  </a:cubicBezTo>
                  <a:cubicBezTo>
                    <a:pt x="129" y="56"/>
                    <a:pt x="129" y="56"/>
                    <a:pt x="129" y="56"/>
                  </a:cubicBezTo>
                  <a:cubicBezTo>
                    <a:pt x="123" y="57"/>
                    <a:pt x="123" y="57"/>
                    <a:pt x="123" y="57"/>
                  </a:cubicBezTo>
                  <a:cubicBezTo>
                    <a:pt x="122" y="57"/>
                    <a:pt x="121" y="57"/>
                    <a:pt x="121" y="56"/>
                  </a:cubicBezTo>
                  <a:cubicBezTo>
                    <a:pt x="120" y="55"/>
                    <a:pt x="122" y="53"/>
                    <a:pt x="121" y="51"/>
                  </a:cubicBezTo>
                  <a:cubicBezTo>
                    <a:pt x="121" y="50"/>
                    <a:pt x="119" y="50"/>
                    <a:pt x="119" y="50"/>
                  </a:cubicBezTo>
                  <a:cubicBezTo>
                    <a:pt x="118" y="49"/>
                    <a:pt x="117" y="48"/>
                    <a:pt x="116" y="47"/>
                  </a:cubicBezTo>
                  <a:cubicBezTo>
                    <a:pt x="115" y="47"/>
                    <a:pt x="114" y="47"/>
                    <a:pt x="113" y="47"/>
                  </a:cubicBezTo>
                  <a:cubicBezTo>
                    <a:pt x="109" y="44"/>
                    <a:pt x="108" y="41"/>
                    <a:pt x="107" y="4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1" y="81"/>
                    <a:pt x="53" y="82"/>
                    <a:pt x="54" y="82"/>
                  </a:cubicBezTo>
                  <a:cubicBezTo>
                    <a:pt x="55" y="85"/>
                    <a:pt x="54" y="88"/>
                    <a:pt x="52" y="90"/>
                  </a:cubicBezTo>
                  <a:cubicBezTo>
                    <a:pt x="51" y="90"/>
                    <a:pt x="50" y="91"/>
                    <a:pt x="48" y="91"/>
                  </a:cubicBezTo>
                  <a:cubicBezTo>
                    <a:pt x="47" y="91"/>
                    <a:pt x="46" y="91"/>
                    <a:pt x="45" y="91"/>
                  </a:cubicBezTo>
                  <a:cubicBezTo>
                    <a:pt x="43" y="90"/>
                    <a:pt x="42" y="91"/>
                    <a:pt x="40" y="91"/>
                  </a:cubicBezTo>
                  <a:cubicBezTo>
                    <a:pt x="38" y="91"/>
                    <a:pt x="37" y="91"/>
                    <a:pt x="35" y="91"/>
                  </a:cubicBezTo>
                  <a:cubicBezTo>
                    <a:pt x="31" y="90"/>
                    <a:pt x="28" y="90"/>
                    <a:pt x="25" y="90"/>
                  </a:cubicBezTo>
                  <a:cubicBezTo>
                    <a:pt x="24" y="90"/>
                    <a:pt x="22" y="89"/>
                    <a:pt x="21" y="89"/>
                  </a:cubicBezTo>
                  <a:cubicBezTo>
                    <a:pt x="20" y="90"/>
                    <a:pt x="20" y="91"/>
                    <a:pt x="20" y="91"/>
                  </a:cubicBezTo>
                  <a:cubicBezTo>
                    <a:pt x="20" y="92"/>
                    <a:pt x="19" y="92"/>
                    <a:pt x="19" y="91"/>
                  </a:cubicBezTo>
                  <a:cubicBezTo>
                    <a:pt x="19" y="91"/>
                    <a:pt x="18" y="90"/>
                    <a:pt x="18" y="90"/>
                  </a:cubicBezTo>
                  <a:cubicBezTo>
                    <a:pt x="17" y="90"/>
                    <a:pt x="15" y="89"/>
                    <a:pt x="14" y="90"/>
                  </a:cubicBezTo>
                  <a:cubicBezTo>
                    <a:pt x="14" y="92"/>
                    <a:pt x="14" y="93"/>
                    <a:pt x="13" y="94"/>
                  </a:cubicBezTo>
                  <a:cubicBezTo>
                    <a:pt x="13" y="94"/>
                    <a:pt x="12" y="94"/>
                    <a:pt x="12" y="94"/>
                  </a:cubicBezTo>
                  <a:cubicBezTo>
                    <a:pt x="10" y="93"/>
                    <a:pt x="8" y="92"/>
                    <a:pt x="7" y="90"/>
                  </a:cubicBezTo>
                  <a:cubicBezTo>
                    <a:pt x="6" y="90"/>
                    <a:pt x="6" y="89"/>
                    <a:pt x="6" y="89"/>
                  </a:cubicBezTo>
                  <a:cubicBezTo>
                    <a:pt x="6" y="89"/>
                    <a:pt x="5" y="89"/>
                    <a:pt x="5" y="89"/>
                  </a:cubicBezTo>
                  <a:cubicBezTo>
                    <a:pt x="3" y="90"/>
                    <a:pt x="2" y="93"/>
                    <a:pt x="2" y="95"/>
                  </a:cubicBezTo>
                  <a:cubicBezTo>
                    <a:pt x="2" y="96"/>
                    <a:pt x="1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8"/>
                    <a:pt x="1" y="100"/>
                    <a:pt x="2" y="102"/>
                  </a:cubicBezTo>
                  <a:cubicBezTo>
                    <a:pt x="2" y="104"/>
                    <a:pt x="1" y="107"/>
                    <a:pt x="2" y="109"/>
                  </a:cubicBezTo>
                  <a:cubicBezTo>
                    <a:pt x="2" y="110"/>
                    <a:pt x="3" y="109"/>
                    <a:pt x="4" y="110"/>
                  </a:cubicBezTo>
                  <a:cubicBezTo>
                    <a:pt x="4" y="110"/>
                    <a:pt x="5" y="110"/>
                    <a:pt x="5" y="111"/>
                  </a:cubicBezTo>
                  <a:cubicBezTo>
                    <a:pt x="6" y="113"/>
                    <a:pt x="4" y="115"/>
                    <a:pt x="5" y="117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5" y="118"/>
                    <a:pt x="5" y="119"/>
                    <a:pt x="5" y="119"/>
                  </a:cubicBezTo>
                  <a:lnTo>
                    <a:pt x="4" y="119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5" name="Freeform 357"/>
            <p:cNvSpPr>
              <a:spLocks/>
            </p:cNvSpPr>
            <p:nvPr/>
          </p:nvSpPr>
          <p:spPr bwMode="auto">
            <a:xfrm>
              <a:off x="6702565" y="5201846"/>
              <a:ext cx="79022" cy="55599"/>
            </a:xfrm>
            <a:custGeom>
              <a:avLst/>
              <a:gdLst>
                <a:gd name="T0" fmla="*/ 428239 w 59"/>
                <a:gd name="T1" fmla="*/ 1180100 h 51"/>
                <a:gd name="T2" fmla="*/ 261110 w 59"/>
                <a:gd name="T3" fmla="*/ 985454 h 51"/>
                <a:gd name="T4" fmla="*/ 168157 w 59"/>
                <a:gd name="T5" fmla="*/ 778872 h 51"/>
                <a:gd name="T6" fmla="*/ 0 w 59"/>
                <a:gd name="T7" fmla="*/ 560823 h 51"/>
                <a:gd name="T8" fmla="*/ 71182 w 59"/>
                <a:gd name="T9" fmla="*/ 484116 h 51"/>
                <a:gd name="T10" fmla="*/ 294769 w 59"/>
                <a:gd name="T11" fmla="*/ 401237 h 51"/>
                <a:gd name="T12" fmla="*/ 322063 w 59"/>
                <a:gd name="T13" fmla="*/ 170942 h 51"/>
                <a:gd name="T14" fmla="*/ 391840 w 59"/>
                <a:gd name="T15" fmla="*/ 0 h 51"/>
                <a:gd name="T16" fmla="*/ 577786 w 59"/>
                <a:gd name="T17" fmla="*/ 128475 h 51"/>
                <a:gd name="T18" fmla="*/ 857500 w 59"/>
                <a:gd name="T19" fmla="*/ 128475 h 51"/>
                <a:gd name="T20" fmla="*/ 974435 w 59"/>
                <a:gd name="T21" fmla="*/ 206698 h 51"/>
                <a:gd name="T22" fmla="*/ 1081272 w 59"/>
                <a:gd name="T23" fmla="*/ 206698 h 51"/>
                <a:gd name="T24" fmla="*/ 1314943 w 59"/>
                <a:gd name="T25" fmla="*/ 206698 h 51"/>
                <a:gd name="T26" fmla="*/ 1535494 w 59"/>
                <a:gd name="T27" fmla="*/ 170942 h 51"/>
                <a:gd name="T28" fmla="*/ 1570867 w 59"/>
                <a:gd name="T29" fmla="*/ 288909 h 51"/>
                <a:gd name="T30" fmla="*/ 1642331 w 59"/>
                <a:gd name="T31" fmla="*/ 607930 h 51"/>
                <a:gd name="T32" fmla="*/ 1717454 w 59"/>
                <a:gd name="T33" fmla="*/ 733070 h 51"/>
                <a:gd name="T34" fmla="*/ 1834436 w 59"/>
                <a:gd name="T35" fmla="*/ 821133 h 51"/>
                <a:gd name="T36" fmla="*/ 1759466 w 59"/>
                <a:gd name="T37" fmla="*/ 939755 h 51"/>
                <a:gd name="T38" fmla="*/ 1795859 w 59"/>
                <a:gd name="T39" fmla="*/ 1180100 h 51"/>
                <a:gd name="T40" fmla="*/ 1866291 w 59"/>
                <a:gd name="T41" fmla="*/ 1180100 h 51"/>
                <a:gd name="T42" fmla="*/ 1866291 w 59"/>
                <a:gd name="T43" fmla="*/ 1423018 h 51"/>
                <a:gd name="T44" fmla="*/ 1931875 w 59"/>
                <a:gd name="T45" fmla="*/ 1629688 h 51"/>
                <a:gd name="T46" fmla="*/ 1795859 w 59"/>
                <a:gd name="T47" fmla="*/ 1867138 h 51"/>
                <a:gd name="T48" fmla="*/ 1679111 w 59"/>
                <a:gd name="T49" fmla="*/ 1949389 h 51"/>
                <a:gd name="T50" fmla="*/ 1535494 w 59"/>
                <a:gd name="T51" fmla="*/ 2029259 h 51"/>
                <a:gd name="T52" fmla="*/ 1437347 w 59"/>
                <a:gd name="T53" fmla="*/ 1867138 h 51"/>
                <a:gd name="T54" fmla="*/ 1403359 w 59"/>
                <a:gd name="T55" fmla="*/ 1629688 h 51"/>
                <a:gd name="T56" fmla="*/ 1288610 w 59"/>
                <a:gd name="T57" fmla="*/ 1593964 h 51"/>
                <a:gd name="T58" fmla="*/ 1142256 w 59"/>
                <a:gd name="T59" fmla="*/ 1629688 h 51"/>
                <a:gd name="T60" fmla="*/ 1142256 w 59"/>
                <a:gd name="T61" fmla="*/ 1466126 h 51"/>
                <a:gd name="T62" fmla="*/ 1106607 w 59"/>
                <a:gd name="T63" fmla="*/ 1216322 h 51"/>
                <a:gd name="T64" fmla="*/ 957803 w 59"/>
                <a:gd name="T65" fmla="*/ 1021779 h 51"/>
                <a:gd name="T66" fmla="*/ 750473 w 59"/>
                <a:gd name="T67" fmla="*/ 1045376 h 51"/>
                <a:gd name="T68" fmla="*/ 686563 w 59"/>
                <a:gd name="T69" fmla="*/ 1021779 h 51"/>
                <a:gd name="T70" fmla="*/ 526655 w 59"/>
                <a:gd name="T71" fmla="*/ 1250388 h 51"/>
                <a:gd name="T72" fmla="*/ 468201 w 59"/>
                <a:gd name="T73" fmla="*/ 1293196 h 5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9"/>
                <a:gd name="T112" fmla="*/ 0 h 51"/>
                <a:gd name="T113" fmla="*/ 59 w 59"/>
                <a:gd name="T114" fmla="*/ 51 h 5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9" h="51">
                  <a:moveTo>
                    <a:pt x="14" y="32"/>
                  </a:moveTo>
                  <a:cubicBezTo>
                    <a:pt x="14" y="31"/>
                    <a:pt x="13" y="30"/>
                    <a:pt x="13" y="29"/>
                  </a:cubicBezTo>
                  <a:cubicBezTo>
                    <a:pt x="13" y="29"/>
                    <a:pt x="12" y="28"/>
                    <a:pt x="11" y="28"/>
                  </a:cubicBezTo>
                  <a:cubicBezTo>
                    <a:pt x="10" y="27"/>
                    <a:pt x="9" y="25"/>
                    <a:pt x="8" y="24"/>
                  </a:cubicBezTo>
                  <a:cubicBezTo>
                    <a:pt x="8" y="24"/>
                    <a:pt x="9" y="23"/>
                    <a:pt x="9" y="23"/>
                  </a:cubicBezTo>
                  <a:cubicBezTo>
                    <a:pt x="7" y="22"/>
                    <a:pt x="6" y="21"/>
                    <a:pt x="5" y="19"/>
                  </a:cubicBezTo>
                  <a:cubicBezTo>
                    <a:pt x="5" y="19"/>
                    <a:pt x="4" y="18"/>
                    <a:pt x="4" y="17"/>
                  </a:cubicBezTo>
                  <a:cubicBezTo>
                    <a:pt x="3" y="16"/>
                    <a:pt x="1" y="15"/>
                    <a:pt x="0" y="1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4"/>
                    <a:pt x="1" y="13"/>
                    <a:pt x="2" y="12"/>
                  </a:cubicBezTo>
                  <a:cubicBezTo>
                    <a:pt x="3" y="12"/>
                    <a:pt x="3" y="11"/>
                    <a:pt x="4" y="10"/>
                  </a:cubicBezTo>
                  <a:cubicBezTo>
                    <a:pt x="6" y="9"/>
                    <a:pt x="7" y="10"/>
                    <a:pt x="9" y="10"/>
                  </a:cubicBezTo>
                  <a:cubicBezTo>
                    <a:pt x="9" y="10"/>
                    <a:pt x="10" y="9"/>
                    <a:pt x="10" y="8"/>
                  </a:cubicBezTo>
                  <a:cubicBezTo>
                    <a:pt x="10" y="7"/>
                    <a:pt x="10" y="5"/>
                    <a:pt x="10" y="4"/>
                  </a:cubicBezTo>
                  <a:cubicBezTo>
                    <a:pt x="10" y="3"/>
                    <a:pt x="12" y="2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1"/>
                    <a:pt x="16" y="1"/>
                    <a:pt x="17" y="2"/>
                  </a:cubicBezTo>
                  <a:cubicBezTo>
                    <a:pt x="17" y="2"/>
                    <a:pt x="17" y="3"/>
                    <a:pt x="18" y="3"/>
                  </a:cubicBezTo>
                  <a:cubicBezTo>
                    <a:pt x="21" y="4"/>
                    <a:pt x="24" y="4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7" y="4"/>
                    <a:pt x="28" y="4"/>
                    <a:pt x="28" y="5"/>
                  </a:cubicBezTo>
                  <a:cubicBezTo>
                    <a:pt x="29" y="5"/>
                    <a:pt x="30" y="5"/>
                    <a:pt x="30" y="5"/>
                  </a:cubicBezTo>
                  <a:cubicBezTo>
                    <a:pt x="31" y="4"/>
                    <a:pt x="32" y="5"/>
                    <a:pt x="33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4" y="6"/>
                    <a:pt x="35" y="6"/>
                    <a:pt x="35" y="5"/>
                  </a:cubicBezTo>
                  <a:cubicBezTo>
                    <a:pt x="37" y="5"/>
                    <a:pt x="39" y="6"/>
                    <a:pt x="40" y="5"/>
                  </a:cubicBezTo>
                  <a:cubicBezTo>
                    <a:pt x="41" y="5"/>
                    <a:pt x="42" y="4"/>
                    <a:pt x="43" y="3"/>
                  </a:cubicBezTo>
                  <a:cubicBezTo>
                    <a:pt x="44" y="3"/>
                    <a:pt x="46" y="2"/>
                    <a:pt x="47" y="4"/>
                  </a:cubicBezTo>
                  <a:cubicBezTo>
                    <a:pt x="47" y="4"/>
                    <a:pt x="47" y="5"/>
                    <a:pt x="47" y="5"/>
                  </a:cubicBezTo>
                  <a:cubicBezTo>
                    <a:pt x="47" y="6"/>
                    <a:pt x="48" y="6"/>
                    <a:pt x="48" y="7"/>
                  </a:cubicBezTo>
                  <a:cubicBezTo>
                    <a:pt x="48" y="8"/>
                    <a:pt x="50" y="8"/>
                    <a:pt x="50" y="9"/>
                  </a:cubicBezTo>
                  <a:cubicBezTo>
                    <a:pt x="51" y="11"/>
                    <a:pt x="50" y="13"/>
                    <a:pt x="50" y="15"/>
                  </a:cubicBezTo>
                  <a:cubicBezTo>
                    <a:pt x="51" y="16"/>
                    <a:pt x="52" y="17"/>
                    <a:pt x="52" y="18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9"/>
                    <a:pt x="53" y="19"/>
                    <a:pt x="53" y="19"/>
                  </a:cubicBezTo>
                  <a:cubicBezTo>
                    <a:pt x="54" y="19"/>
                    <a:pt x="55" y="20"/>
                    <a:pt x="56" y="20"/>
                  </a:cubicBezTo>
                  <a:cubicBezTo>
                    <a:pt x="55" y="21"/>
                    <a:pt x="56" y="21"/>
                    <a:pt x="55" y="22"/>
                  </a:cubicBezTo>
                  <a:cubicBezTo>
                    <a:pt x="55" y="22"/>
                    <a:pt x="54" y="22"/>
                    <a:pt x="54" y="23"/>
                  </a:cubicBezTo>
                  <a:cubicBezTo>
                    <a:pt x="54" y="24"/>
                    <a:pt x="54" y="25"/>
                    <a:pt x="54" y="26"/>
                  </a:cubicBezTo>
                  <a:cubicBezTo>
                    <a:pt x="55" y="27"/>
                    <a:pt x="54" y="28"/>
                    <a:pt x="55" y="29"/>
                  </a:cubicBezTo>
                  <a:cubicBezTo>
                    <a:pt x="55" y="29"/>
                    <a:pt x="55" y="29"/>
                    <a:pt x="56" y="29"/>
                  </a:cubicBezTo>
                  <a:cubicBezTo>
                    <a:pt x="56" y="29"/>
                    <a:pt x="57" y="29"/>
                    <a:pt x="57" y="29"/>
                  </a:cubicBezTo>
                  <a:cubicBezTo>
                    <a:pt x="57" y="29"/>
                    <a:pt x="58" y="30"/>
                    <a:pt x="58" y="30"/>
                  </a:cubicBezTo>
                  <a:cubicBezTo>
                    <a:pt x="58" y="32"/>
                    <a:pt x="58" y="33"/>
                    <a:pt x="57" y="35"/>
                  </a:cubicBezTo>
                  <a:cubicBezTo>
                    <a:pt x="56" y="36"/>
                    <a:pt x="58" y="37"/>
                    <a:pt x="59" y="39"/>
                  </a:cubicBezTo>
                  <a:cubicBezTo>
                    <a:pt x="59" y="39"/>
                    <a:pt x="59" y="40"/>
                    <a:pt x="59" y="40"/>
                  </a:cubicBezTo>
                  <a:cubicBezTo>
                    <a:pt x="57" y="41"/>
                    <a:pt x="56" y="40"/>
                    <a:pt x="55" y="40"/>
                  </a:cubicBezTo>
                  <a:cubicBezTo>
                    <a:pt x="55" y="42"/>
                    <a:pt x="55" y="44"/>
                    <a:pt x="55" y="46"/>
                  </a:cubicBezTo>
                  <a:cubicBezTo>
                    <a:pt x="55" y="47"/>
                    <a:pt x="54" y="48"/>
                    <a:pt x="53" y="48"/>
                  </a:cubicBezTo>
                  <a:cubicBezTo>
                    <a:pt x="52" y="48"/>
                    <a:pt x="51" y="48"/>
                    <a:pt x="51" y="48"/>
                  </a:cubicBezTo>
                  <a:cubicBezTo>
                    <a:pt x="50" y="49"/>
                    <a:pt x="50" y="50"/>
                    <a:pt x="49" y="50"/>
                  </a:cubicBezTo>
                  <a:cubicBezTo>
                    <a:pt x="48" y="51"/>
                    <a:pt x="47" y="51"/>
                    <a:pt x="47" y="50"/>
                  </a:cubicBezTo>
                  <a:cubicBezTo>
                    <a:pt x="46" y="50"/>
                    <a:pt x="45" y="49"/>
                    <a:pt x="44" y="49"/>
                  </a:cubicBezTo>
                  <a:cubicBezTo>
                    <a:pt x="44" y="48"/>
                    <a:pt x="44" y="47"/>
                    <a:pt x="44" y="46"/>
                  </a:cubicBezTo>
                  <a:cubicBezTo>
                    <a:pt x="44" y="46"/>
                    <a:pt x="43" y="46"/>
                    <a:pt x="43" y="45"/>
                  </a:cubicBezTo>
                  <a:cubicBezTo>
                    <a:pt x="43" y="43"/>
                    <a:pt x="43" y="41"/>
                    <a:pt x="43" y="40"/>
                  </a:cubicBezTo>
                  <a:cubicBezTo>
                    <a:pt x="43" y="39"/>
                    <a:pt x="42" y="39"/>
                    <a:pt x="42" y="38"/>
                  </a:cubicBezTo>
                  <a:cubicBezTo>
                    <a:pt x="41" y="38"/>
                    <a:pt x="40" y="38"/>
                    <a:pt x="39" y="39"/>
                  </a:cubicBezTo>
                  <a:cubicBezTo>
                    <a:pt x="38" y="39"/>
                    <a:pt x="38" y="40"/>
                    <a:pt x="37" y="40"/>
                  </a:cubicBezTo>
                  <a:cubicBezTo>
                    <a:pt x="37" y="41"/>
                    <a:pt x="35" y="41"/>
                    <a:pt x="35" y="40"/>
                  </a:cubicBezTo>
                  <a:cubicBezTo>
                    <a:pt x="34" y="40"/>
                    <a:pt x="35" y="39"/>
                    <a:pt x="35" y="39"/>
                  </a:cubicBezTo>
                  <a:cubicBezTo>
                    <a:pt x="35" y="38"/>
                    <a:pt x="35" y="37"/>
                    <a:pt x="35" y="36"/>
                  </a:cubicBezTo>
                  <a:cubicBezTo>
                    <a:pt x="35" y="34"/>
                    <a:pt x="35" y="33"/>
                    <a:pt x="35" y="32"/>
                  </a:cubicBezTo>
                  <a:cubicBezTo>
                    <a:pt x="35" y="31"/>
                    <a:pt x="34" y="31"/>
                    <a:pt x="34" y="30"/>
                  </a:cubicBezTo>
                  <a:cubicBezTo>
                    <a:pt x="33" y="29"/>
                    <a:pt x="33" y="28"/>
                    <a:pt x="32" y="27"/>
                  </a:cubicBezTo>
                  <a:cubicBezTo>
                    <a:pt x="32" y="25"/>
                    <a:pt x="30" y="26"/>
                    <a:pt x="29" y="25"/>
                  </a:cubicBezTo>
                  <a:cubicBezTo>
                    <a:pt x="29" y="25"/>
                    <a:pt x="28" y="25"/>
                    <a:pt x="28" y="24"/>
                  </a:cubicBezTo>
                  <a:cubicBezTo>
                    <a:pt x="26" y="24"/>
                    <a:pt x="25" y="25"/>
                    <a:pt x="23" y="26"/>
                  </a:cubicBezTo>
                  <a:cubicBezTo>
                    <a:pt x="23" y="26"/>
                    <a:pt x="22" y="26"/>
                    <a:pt x="22" y="26"/>
                  </a:cubicBezTo>
                  <a:cubicBezTo>
                    <a:pt x="22" y="26"/>
                    <a:pt x="21" y="25"/>
                    <a:pt x="21" y="25"/>
                  </a:cubicBezTo>
                  <a:cubicBezTo>
                    <a:pt x="20" y="25"/>
                    <a:pt x="19" y="25"/>
                    <a:pt x="19" y="26"/>
                  </a:cubicBezTo>
                  <a:cubicBezTo>
                    <a:pt x="18" y="28"/>
                    <a:pt x="17" y="29"/>
                    <a:pt x="16" y="31"/>
                  </a:cubicBezTo>
                  <a:cubicBezTo>
                    <a:pt x="16" y="31"/>
                    <a:pt x="15" y="31"/>
                    <a:pt x="15" y="31"/>
                  </a:cubicBezTo>
                  <a:lnTo>
                    <a:pt x="14" y="32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6" name="Freeform 358"/>
            <p:cNvSpPr>
              <a:spLocks/>
            </p:cNvSpPr>
            <p:nvPr/>
          </p:nvSpPr>
          <p:spPr bwMode="auto">
            <a:xfrm>
              <a:off x="6721414" y="5228436"/>
              <a:ext cx="31175" cy="30217"/>
            </a:xfrm>
            <a:custGeom>
              <a:avLst/>
              <a:gdLst>
                <a:gd name="T0" fmla="*/ 0 w 23"/>
                <a:gd name="T1" fmla="*/ 285419 h 28"/>
                <a:gd name="T2" fmla="*/ 36118 w 23"/>
                <a:gd name="T3" fmla="*/ 325194 h 28"/>
                <a:gd name="T4" fmla="*/ 36118 w 23"/>
                <a:gd name="T5" fmla="*/ 550451 h 28"/>
                <a:gd name="T6" fmla="*/ 132182 w 23"/>
                <a:gd name="T7" fmla="*/ 669824 h 28"/>
                <a:gd name="T8" fmla="*/ 132182 w 23"/>
                <a:gd name="T9" fmla="*/ 836327 h 28"/>
                <a:gd name="T10" fmla="*/ 166056 w 23"/>
                <a:gd name="T11" fmla="*/ 878418 h 28"/>
                <a:gd name="T12" fmla="*/ 290228 w 23"/>
                <a:gd name="T13" fmla="*/ 913065 h 28"/>
                <a:gd name="T14" fmla="*/ 386798 w 23"/>
                <a:gd name="T15" fmla="*/ 945974 h 28"/>
                <a:gd name="T16" fmla="*/ 455088 w 23"/>
                <a:gd name="T17" fmla="*/ 1027161 h 28"/>
                <a:gd name="T18" fmla="*/ 455088 w 23"/>
                <a:gd name="T19" fmla="*/ 984443 h 28"/>
                <a:gd name="T20" fmla="*/ 518659 w 23"/>
                <a:gd name="T21" fmla="*/ 878418 h 28"/>
                <a:gd name="T22" fmla="*/ 607720 w 23"/>
                <a:gd name="T23" fmla="*/ 836327 h 28"/>
                <a:gd name="T24" fmla="*/ 644235 w 23"/>
                <a:gd name="T25" fmla="*/ 798027 h 28"/>
                <a:gd name="T26" fmla="*/ 675697 w 23"/>
                <a:gd name="T27" fmla="*/ 699103 h 28"/>
                <a:gd name="T28" fmla="*/ 704520 w 23"/>
                <a:gd name="T29" fmla="*/ 669824 h 28"/>
                <a:gd name="T30" fmla="*/ 739961 w 23"/>
                <a:gd name="T31" fmla="*/ 593117 h 28"/>
                <a:gd name="T32" fmla="*/ 739961 w 23"/>
                <a:gd name="T33" fmla="*/ 593117 h 28"/>
                <a:gd name="T34" fmla="*/ 675697 w 23"/>
                <a:gd name="T35" fmla="*/ 593117 h 28"/>
                <a:gd name="T36" fmla="*/ 675697 w 23"/>
                <a:gd name="T37" fmla="*/ 550451 h 28"/>
                <a:gd name="T38" fmla="*/ 675697 w 23"/>
                <a:gd name="T39" fmla="*/ 433651 h 28"/>
                <a:gd name="T40" fmla="*/ 675697 w 23"/>
                <a:gd name="T41" fmla="*/ 285419 h 28"/>
                <a:gd name="T42" fmla="*/ 644235 w 23"/>
                <a:gd name="T43" fmla="*/ 224856 h 28"/>
                <a:gd name="T44" fmla="*/ 569389 w 23"/>
                <a:gd name="T45" fmla="*/ 116592 h 28"/>
                <a:gd name="T46" fmla="*/ 483751 w 23"/>
                <a:gd name="T47" fmla="*/ 39790 h 28"/>
                <a:gd name="T48" fmla="*/ 455088 w 23"/>
                <a:gd name="T49" fmla="*/ 0 h 28"/>
                <a:gd name="T50" fmla="*/ 290228 w 23"/>
                <a:gd name="T51" fmla="*/ 76738 h 28"/>
                <a:gd name="T52" fmla="*/ 252870 w 23"/>
                <a:gd name="T53" fmla="*/ 76738 h 28"/>
                <a:gd name="T54" fmla="*/ 221414 w 23"/>
                <a:gd name="T55" fmla="*/ 39790 h 28"/>
                <a:gd name="T56" fmla="*/ 166056 w 23"/>
                <a:gd name="T57" fmla="*/ 76738 h 28"/>
                <a:gd name="T58" fmla="*/ 69095 w 23"/>
                <a:gd name="T59" fmla="*/ 264679 h 28"/>
                <a:gd name="T60" fmla="*/ 36118 w 23"/>
                <a:gd name="T61" fmla="*/ 264679 h 28"/>
                <a:gd name="T62" fmla="*/ 0 w 23"/>
                <a:gd name="T63" fmla="*/ 285419 h 2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3"/>
                <a:gd name="T97" fmla="*/ 0 h 28"/>
                <a:gd name="T98" fmla="*/ 23 w 23"/>
                <a:gd name="T99" fmla="*/ 28 h 2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3" h="28">
                  <a:moveTo>
                    <a:pt x="0" y="8"/>
                  </a:moveTo>
                  <a:cubicBezTo>
                    <a:pt x="0" y="8"/>
                    <a:pt x="1" y="9"/>
                    <a:pt x="1" y="9"/>
                  </a:cubicBezTo>
                  <a:cubicBezTo>
                    <a:pt x="2" y="11"/>
                    <a:pt x="1" y="13"/>
                    <a:pt x="1" y="15"/>
                  </a:cubicBezTo>
                  <a:cubicBezTo>
                    <a:pt x="2" y="16"/>
                    <a:pt x="3" y="17"/>
                    <a:pt x="4" y="18"/>
                  </a:cubicBezTo>
                  <a:cubicBezTo>
                    <a:pt x="4" y="20"/>
                    <a:pt x="3" y="22"/>
                    <a:pt x="4" y="23"/>
                  </a:cubicBezTo>
                  <a:cubicBezTo>
                    <a:pt x="4" y="23"/>
                    <a:pt x="4" y="23"/>
                    <a:pt x="5" y="24"/>
                  </a:cubicBezTo>
                  <a:cubicBezTo>
                    <a:pt x="6" y="24"/>
                    <a:pt x="8" y="24"/>
                    <a:pt x="9" y="25"/>
                  </a:cubicBezTo>
                  <a:cubicBezTo>
                    <a:pt x="10" y="26"/>
                    <a:pt x="11" y="26"/>
                    <a:pt x="12" y="26"/>
                  </a:cubicBezTo>
                  <a:cubicBezTo>
                    <a:pt x="12" y="27"/>
                    <a:pt x="13" y="27"/>
                    <a:pt x="14" y="28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5" y="26"/>
                    <a:pt x="15" y="24"/>
                    <a:pt x="16" y="24"/>
                  </a:cubicBezTo>
                  <a:cubicBezTo>
                    <a:pt x="17" y="24"/>
                    <a:pt x="18" y="23"/>
                    <a:pt x="19" y="23"/>
                  </a:cubicBezTo>
                  <a:cubicBezTo>
                    <a:pt x="19" y="23"/>
                    <a:pt x="20" y="22"/>
                    <a:pt x="20" y="22"/>
                  </a:cubicBezTo>
                  <a:cubicBezTo>
                    <a:pt x="20" y="21"/>
                    <a:pt x="20" y="20"/>
                    <a:pt x="21" y="19"/>
                  </a:cubicBezTo>
                  <a:cubicBezTo>
                    <a:pt x="21" y="18"/>
                    <a:pt x="22" y="18"/>
                    <a:pt x="22" y="18"/>
                  </a:cubicBezTo>
                  <a:cubicBezTo>
                    <a:pt x="23" y="17"/>
                    <a:pt x="22" y="17"/>
                    <a:pt x="23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7"/>
                    <a:pt x="21" y="17"/>
                    <a:pt x="21" y="16"/>
                  </a:cubicBezTo>
                  <a:cubicBezTo>
                    <a:pt x="20" y="16"/>
                    <a:pt x="21" y="15"/>
                    <a:pt x="21" y="15"/>
                  </a:cubicBezTo>
                  <a:cubicBezTo>
                    <a:pt x="21" y="14"/>
                    <a:pt x="21" y="13"/>
                    <a:pt x="21" y="12"/>
                  </a:cubicBezTo>
                  <a:cubicBezTo>
                    <a:pt x="21" y="10"/>
                    <a:pt x="21" y="9"/>
                    <a:pt x="21" y="8"/>
                  </a:cubicBezTo>
                  <a:cubicBezTo>
                    <a:pt x="21" y="7"/>
                    <a:pt x="20" y="7"/>
                    <a:pt x="20" y="6"/>
                  </a:cubicBezTo>
                  <a:cubicBezTo>
                    <a:pt x="19" y="5"/>
                    <a:pt x="19" y="4"/>
                    <a:pt x="18" y="3"/>
                  </a:cubicBezTo>
                  <a:cubicBezTo>
                    <a:pt x="18" y="1"/>
                    <a:pt x="16" y="2"/>
                    <a:pt x="15" y="1"/>
                  </a:cubicBezTo>
                  <a:cubicBezTo>
                    <a:pt x="15" y="1"/>
                    <a:pt x="14" y="1"/>
                    <a:pt x="14" y="0"/>
                  </a:cubicBezTo>
                  <a:cubicBezTo>
                    <a:pt x="12" y="0"/>
                    <a:pt x="11" y="1"/>
                    <a:pt x="9" y="2"/>
                  </a:cubicBezTo>
                  <a:cubicBezTo>
                    <a:pt x="9" y="2"/>
                    <a:pt x="8" y="2"/>
                    <a:pt x="8" y="2"/>
                  </a:cubicBezTo>
                  <a:cubicBezTo>
                    <a:pt x="8" y="2"/>
                    <a:pt x="7" y="1"/>
                    <a:pt x="7" y="1"/>
                  </a:cubicBezTo>
                  <a:cubicBezTo>
                    <a:pt x="6" y="1"/>
                    <a:pt x="5" y="1"/>
                    <a:pt x="5" y="2"/>
                  </a:cubicBezTo>
                  <a:cubicBezTo>
                    <a:pt x="4" y="4"/>
                    <a:pt x="3" y="5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lnTo>
                    <a:pt x="0" y="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7" name="Freeform 359"/>
            <p:cNvSpPr>
              <a:spLocks/>
            </p:cNvSpPr>
            <p:nvPr/>
          </p:nvSpPr>
          <p:spPr bwMode="auto">
            <a:xfrm>
              <a:off x="6739538" y="5243544"/>
              <a:ext cx="43498" cy="41096"/>
            </a:xfrm>
            <a:custGeom>
              <a:avLst/>
              <a:gdLst>
                <a:gd name="T0" fmla="*/ 1220493 w 32"/>
                <a:gd name="T1" fmla="*/ 1306001 h 38"/>
                <a:gd name="T2" fmla="*/ 1018488 w 32"/>
                <a:gd name="T3" fmla="*/ 1242562 h 38"/>
                <a:gd name="T4" fmla="*/ 915281 w 32"/>
                <a:gd name="T5" fmla="*/ 1242562 h 38"/>
                <a:gd name="T6" fmla="*/ 629932 w 32"/>
                <a:gd name="T7" fmla="*/ 970642 h 38"/>
                <a:gd name="T8" fmla="*/ 346741 w 32"/>
                <a:gd name="T9" fmla="*/ 717988 h 38"/>
                <a:gd name="T10" fmla="*/ 243821 w 32"/>
                <a:gd name="T11" fmla="*/ 625645 h 38"/>
                <a:gd name="T12" fmla="*/ 86610 w 32"/>
                <a:gd name="T13" fmla="*/ 558640 h 38"/>
                <a:gd name="T14" fmla="*/ 0 w 32"/>
                <a:gd name="T15" fmla="*/ 485179 h 38"/>
                <a:gd name="T16" fmla="*/ 0 w 32"/>
                <a:gd name="T17" fmla="*/ 446883 h 38"/>
                <a:gd name="T18" fmla="*/ 86610 w 32"/>
                <a:gd name="T19" fmla="*/ 342802 h 38"/>
                <a:gd name="T20" fmla="*/ 200368 w 32"/>
                <a:gd name="T21" fmla="*/ 305276 h 38"/>
                <a:gd name="T22" fmla="*/ 243821 w 32"/>
                <a:gd name="T23" fmla="*/ 272672 h 38"/>
                <a:gd name="T24" fmla="*/ 283162 w 32"/>
                <a:gd name="T25" fmla="*/ 178445 h 38"/>
                <a:gd name="T26" fmla="*/ 325126 w 32"/>
                <a:gd name="T27" fmla="*/ 141939 h 38"/>
                <a:gd name="T28" fmla="*/ 346741 w 32"/>
                <a:gd name="T29" fmla="*/ 73886 h 38"/>
                <a:gd name="T30" fmla="*/ 346741 w 32"/>
                <a:gd name="T31" fmla="*/ 73886 h 38"/>
                <a:gd name="T32" fmla="*/ 427145 w 32"/>
                <a:gd name="T33" fmla="*/ 38461 h 38"/>
                <a:gd name="T34" fmla="*/ 548626 w 32"/>
                <a:gd name="T35" fmla="*/ 0 h 38"/>
                <a:gd name="T36" fmla="*/ 585230 w 32"/>
                <a:gd name="T37" fmla="*/ 73886 h 38"/>
                <a:gd name="T38" fmla="*/ 585230 w 32"/>
                <a:gd name="T39" fmla="*/ 232624 h 38"/>
                <a:gd name="T40" fmla="*/ 629932 w 32"/>
                <a:gd name="T41" fmla="*/ 272672 h 38"/>
                <a:gd name="T42" fmla="*/ 629932 w 32"/>
                <a:gd name="T43" fmla="*/ 373747 h 38"/>
                <a:gd name="T44" fmla="*/ 752163 w 32"/>
                <a:gd name="T45" fmla="*/ 411576 h 38"/>
                <a:gd name="T46" fmla="*/ 827593 w 32"/>
                <a:gd name="T47" fmla="*/ 411576 h 38"/>
                <a:gd name="T48" fmla="*/ 915281 w 32"/>
                <a:gd name="T49" fmla="*/ 342802 h 38"/>
                <a:gd name="T50" fmla="*/ 976461 w 32"/>
                <a:gd name="T51" fmla="*/ 342802 h 38"/>
                <a:gd name="T52" fmla="*/ 976461 w 32"/>
                <a:gd name="T53" fmla="*/ 342802 h 38"/>
                <a:gd name="T54" fmla="*/ 931986 w 32"/>
                <a:gd name="T55" fmla="*/ 373747 h 38"/>
                <a:gd name="T56" fmla="*/ 931986 w 32"/>
                <a:gd name="T57" fmla="*/ 446883 h 38"/>
                <a:gd name="T58" fmla="*/ 915281 w 32"/>
                <a:gd name="T59" fmla="*/ 625645 h 38"/>
                <a:gd name="T60" fmla="*/ 1175355 w 32"/>
                <a:gd name="T61" fmla="*/ 891290 h 38"/>
                <a:gd name="T62" fmla="*/ 1220493 w 32"/>
                <a:gd name="T63" fmla="*/ 1242562 h 38"/>
                <a:gd name="T64" fmla="*/ 1220493 w 32"/>
                <a:gd name="T65" fmla="*/ 1306001 h 3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2"/>
                <a:gd name="T100" fmla="*/ 0 h 38"/>
                <a:gd name="T101" fmla="*/ 32 w 32"/>
                <a:gd name="T102" fmla="*/ 38 h 3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2" h="38">
                  <a:moveTo>
                    <a:pt x="31" y="38"/>
                  </a:moveTo>
                  <a:cubicBezTo>
                    <a:pt x="29" y="38"/>
                    <a:pt x="27" y="37"/>
                    <a:pt x="26" y="36"/>
                  </a:cubicBezTo>
                  <a:cubicBezTo>
                    <a:pt x="25" y="36"/>
                    <a:pt x="24" y="37"/>
                    <a:pt x="23" y="36"/>
                  </a:cubicBezTo>
                  <a:cubicBezTo>
                    <a:pt x="20" y="34"/>
                    <a:pt x="18" y="31"/>
                    <a:pt x="16" y="28"/>
                  </a:cubicBezTo>
                  <a:cubicBezTo>
                    <a:pt x="14" y="26"/>
                    <a:pt x="11" y="24"/>
                    <a:pt x="9" y="21"/>
                  </a:cubicBezTo>
                  <a:cubicBezTo>
                    <a:pt x="8" y="20"/>
                    <a:pt x="7" y="19"/>
                    <a:pt x="6" y="18"/>
                  </a:cubicBezTo>
                  <a:cubicBezTo>
                    <a:pt x="5" y="17"/>
                    <a:pt x="4" y="16"/>
                    <a:pt x="2" y="16"/>
                  </a:cubicBezTo>
                  <a:cubicBezTo>
                    <a:pt x="1" y="15"/>
                    <a:pt x="1" y="14"/>
                    <a:pt x="0" y="1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2"/>
                    <a:pt x="1" y="10"/>
                    <a:pt x="2" y="10"/>
                  </a:cubicBezTo>
                  <a:cubicBezTo>
                    <a:pt x="3" y="10"/>
                    <a:pt x="4" y="9"/>
                    <a:pt x="5" y="9"/>
                  </a:cubicBezTo>
                  <a:cubicBezTo>
                    <a:pt x="5" y="9"/>
                    <a:pt x="6" y="8"/>
                    <a:pt x="6" y="8"/>
                  </a:cubicBezTo>
                  <a:cubicBezTo>
                    <a:pt x="6" y="7"/>
                    <a:pt x="6" y="6"/>
                    <a:pt x="7" y="5"/>
                  </a:cubicBezTo>
                  <a:cubicBezTo>
                    <a:pt x="7" y="4"/>
                    <a:pt x="8" y="4"/>
                    <a:pt x="8" y="4"/>
                  </a:cubicBezTo>
                  <a:cubicBezTo>
                    <a:pt x="9" y="3"/>
                    <a:pt x="8" y="3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1"/>
                    <a:pt x="15" y="1"/>
                    <a:pt x="15" y="2"/>
                  </a:cubicBezTo>
                  <a:cubicBezTo>
                    <a:pt x="15" y="3"/>
                    <a:pt x="15" y="5"/>
                    <a:pt x="15" y="7"/>
                  </a:cubicBezTo>
                  <a:cubicBezTo>
                    <a:pt x="15" y="8"/>
                    <a:pt x="16" y="8"/>
                    <a:pt x="16" y="8"/>
                  </a:cubicBezTo>
                  <a:cubicBezTo>
                    <a:pt x="16" y="9"/>
                    <a:pt x="16" y="10"/>
                    <a:pt x="16" y="11"/>
                  </a:cubicBezTo>
                  <a:cubicBezTo>
                    <a:pt x="17" y="11"/>
                    <a:pt x="18" y="12"/>
                    <a:pt x="19" y="12"/>
                  </a:cubicBezTo>
                  <a:cubicBezTo>
                    <a:pt x="19" y="13"/>
                    <a:pt x="20" y="13"/>
                    <a:pt x="21" y="12"/>
                  </a:cubicBezTo>
                  <a:cubicBezTo>
                    <a:pt x="22" y="12"/>
                    <a:pt x="22" y="11"/>
                    <a:pt x="23" y="10"/>
                  </a:cubicBezTo>
                  <a:cubicBezTo>
                    <a:pt x="23" y="10"/>
                    <a:pt x="24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1"/>
                    <a:pt x="25" y="11"/>
                    <a:pt x="24" y="11"/>
                  </a:cubicBezTo>
                  <a:cubicBezTo>
                    <a:pt x="24" y="12"/>
                    <a:pt x="24" y="13"/>
                    <a:pt x="24" y="13"/>
                  </a:cubicBezTo>
                  <a:cubicBezTo>
                    <a:pt x="24" y="15"/>
                    <a:pt x="23" y="17"/>
                    <a:pt x="23" y="18"/>
                  </a:cubicBezTo>
                  <a:cubicBezTo>
                    <a:pt x="25" y="21"/>
                    <a:pt x="29" y="23"/>
                    <a:pt x="30" y="26"/>
                  </a:cubicBezTo>
                  <a:cubicBezTo>
                    <a:pt x="32" y="30"/>
                    <a:pt x="31" y="33"/>
                    <a:pt x="31" y="36"/>
                  </a:cubicBezTo>
                  <a:lnTo>
                    <a:pt x="31" y="3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8" name="Freeform 360"/>
            <p:cNvSpPr>
              <a:spLocks/>
            </p:cNvSpPr>
            <p:nvPr/>
          </p:nvSpPr>
          <p:spPr bwMode="auto">
            <a:xfrm>
              <a:off x="6770712" y="5220580"/>
              <a:ext cx="64522" cy="65269"/>
            </a:xfrm>
            <a:custGeom>
              <a:avLst/>
              <a:gdLst>
                <a:gd name="T0" fmla="*/ 1745668 w 47"/>
                <a:gd name="T1" fmla="*/ 1793950 h 60"/>
                <a:gd name="T2" fmla="*/ 1548375 w 47"/>
                <a:gd name="T3" fmla="*/ 1732163 h 60"/>
                <a:gd name="T4" fmla="*/ 1446581 w 47"/>
                <a:gd name="T5" fmla="*/ 1696929 h 60"/>
                <a:gd name="T6" fmla="*/ 1246135 w 47"/>
                <a:gd name="T7" fmla="*/ 1732163 h 60"/>
                <a:gd name="T8" fmla="*/ 1209839 w 47"/>
                <a:gd name="T9" fmla="*/ 1732163 h 60"/>
                <a:gd name="T10" fmla="*/ 1010549 w 47"/>
                <a:gd name="T11" fmla="*/ 1772271 h 60"/>
                <a:gd name="T12" fmla="*/ 791545 w 47"/>
                <a:gd name="T13" fmla="*/ 1793950 h 60"/>
                <a:gd name="T14" fmla="*/ 624862 w 47"/>
                <a:gd name="T15" fmla="*/ 1890278 h 60"/>
                <a:gd name="T16" fmla="*/ 299766 w 47"/>
                <a:gd name="T17" fmla="*/ 1959625 h 60"/>
                <a:gd name="T18" fmla="*/ 299766 w 47"/>
                <a:gd name="T19" fmla="*/ 1890278 h 60"/>
                <a:gd name="T20" fmla="*/ 280586 w 47"/>
                <a:gd name="T21" fmla="*/ 1562814 h 60"/>
                <a:gd name="T22" fmla="*/ 0 w 47"/>
                <a:gd name="T23" fmla="*/ 1300018 h 60"/>
                <a:gd name="T24" fmla="*/ 41300 w 47"/>
                <a:gd name="T25" fmla="*/ 1131334 h 60"/>
                <a:gd name="T26" fmla="*/ 41300 w 47"/>
                <a:gd name="T27" fmla="*/ 1054544 h 60"/>
                <a:gd name="T28" fmla="*/ 79964 w 47"/>
                <a:gd name="T29" fmla="*/ 1022413 h 60"/>
                <a:gd name="T30" fmla="*/ 79964 w 47"/>
                <a:gd name="T31" fmla="*/ 1022413 h 60"/>
                <a:gd name="T32" fmla="*/ 154824 w 47"/>
                <a:gd name="T33" fmla="*/ 965609 h 60"/>
                <a:gd name="T34" fmla="*/ 154824 w 47"/>
                <a:gd name="T35" fmla="*/ 759332 h 60"/>
                <a:gd name="T36" fmla="*/ 299766 w 47"/>
                <a:gd name="T37" fmla="*/ 759332 h 60"/>
                <a:gd name="T38" fmla="*/ 299766 w 47"/>
                <a:gd name="T39" fmla="*/ 729972 h 60"/>
                <a:gd name="T40" fmla="*/ 240509 w 47"/>
                <a:gd name="T41" fmla="*/ 602819 h 60"/>
                <a:gd name="T42" fmla="*/ 280586 w 47"/>
                <a:gd name="T43" fmla="*/ 432174 h 60"/>
                <a:gd name="T44" fmla="*/ 240509 w 47"/>
                <a:gd name="T45" fmla="*/ 396173 h 60"/>
                <a:gd name="T46" fmla="*/ 199302 w 47"/>
                <a:gd name="T47" fmla="*/ 396173 h 60"/>
                <a:gd name="T48" fmla="*/ 154824 w 47"/>
                <a:gd name="T49" fmla="*/ 396173 h 60"/>
                <a:gd name="T50" fmla="*/ 124219 w 47"/>
                <a:gd name="T51" fmla="*/ 297802 h 60"/>
                <a:gd name="T52" fmla="*/ 124219 w 47"/>
                <a:gd name="T53" fmla="*/ 206699 h 60"/>
                <a:gd name="T54" fmla="*/ 154824 w 47"/>
                <a:gd name="T55" fmla="*/ 169393 h 60"/>
                <a:gd name="T56" fmla="*/ 199302 w 47"/>
                <a:gd name="T57" fmla="*/ 107843 h 60"/>
                <a:gd name="T58" fmla="*/ 240509 w 47"/>
                <a:gd name="T59" fmla="*/ 137139 h 60"/>
                <a:gd name="T60" fmla="*/ 500432 w 47"/>
                <a:gd name="T61" fmla="*/ 206699 h 60"/>
                <a:gd name="T62" fmla="*/ 624862 w 47"/>
                <a:gd name="T63" fmla="*/ 71551 h 60"/>
                <a:gd name="T64" fmla="*/ 710741 w 47"/>
                <a:gd name="T65" fmla="*/ 169393 h 60"/>
                <a:gd name="T66" fmla="*/ 820985 w 47"/>
                <a:gd name="T67" fmla="*/ 169393 h 60"/>
                <a:gd name="T68" fmla="*/ 924626 w 47"/>
                <a:gd name="T69" fmla="*/ 107843 h 60"/>
                <a:gd name="T70" fmla="*/ 924626 w 47"/>
                <a:gd name="T71" fmla="*/ 107843 h 60"/>
                <a:gd name="T72" fmla="*/ 1010549 w 47"/>
                <a:gd name="T73" fmla="*/ 137139 h 60"/>
                <a:gd name="T74" fmla="*/ 1051848 w 47"/>
                <a:gd name="T75" fmla="*/ 225482 h 60"/>
                <a:gd name="T76" fmla="*/ 1209839 w 47"/>
                <a:gd name="T77" fmla="*/ 297802 h 60"/>
                <a:gd name="T78" fmla="*/ 1246135 w 47"/>
                <a:gd name="T79" fmla="*/ 324670 h 60"/>
                <a:gd name="T80" fmla="*/ 1446581 w 47"/>
                <a:gd name="T81" fmla="*/ 297802 h 60"/>
                <a:gd name="T82" fmla="*/ 1633864 w 47"/>
                <a:gd name="T83" fmla="*/ 297802 h 60"/>
                <a:gd name="T84" fmla="*/ 1716173 w 47"/>
                <a:gd name="T85" fmla="*/ 324670 h 60"/>
                <a:gd name="T86" fmla="*/ 1716173 w 47"/>
                <a:gd name="T87" fmla="*/ 324670 h 60"/>
                <a:gd name="T88" fmla="*/ 1745668 w 47"/>
                <a:gd name="T89" fmla="*/ 432174 h 60"/>
                <a:gd name="T90" fmla="*/ 1745668 w 47"/>
                <a:gd name="T91" fmla="*/ 503796 h 60"/>
                <a:gd name="T92" fmla="*/ 1790233 w 47"/>
                <a:gd name="T93" fmla="*/ 622284 h 60"/>
                <a:gd name="T94" fmla="*/ 1790233 w 47"/>
                <a:gd name="T95" fmla="*/ 759332 h 60"/>
                <a:gd name="T96" fmla="*/ 1745668 w 47"/>
                <a:gd name="T97" fmla="*/ 828334 h 60"/>
                <a:gd name="T98" fmla="*/ 1716173 w 47"/>
                <a:gd name="T99" fmla="*/ 1094009 h 60"/>
                <a:gd name="T100" fmla="*/ 1675490 w 47"/>
                <a:gd name="T101" fmla="*/ 1094009 h 60"/>
                <a:gd name="T102" fmla="*/ 1589567 w 47"/>
                <a:gd name="T103" fmla="*/ 1192711 h 60"/>
                <a:gd name="T104" fmla="*/ 1589567 w 47"/>
                <a:gd name="T105" fmla="*/ 1263227 h 60"/>
                <a:gd name="T106" fmla="*/ 1633864 w 47"/>
                <a:gd name="T107" fmla="*/ 1489745 h 60"/>
                <a:gd name="T108" fmla="*/ 1716173 w 47"/>
                <a:gd name="T109" fmla="*/ 1562814 h 60"/>
                <a:gd name="T110" fmla="*/ 1745668 w 47"/>
                <a:gd name="T111" fmla="*/ 1732163 h 60"/>
                <a:gd name="T112" fmla="*/ 1745668 w 47"/>
                <a:gd name="T113" fmla="*/ 1793950 h 6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7"/>
                <a:gd name="T172" fmla="*/ 0 h 60"/>
                <a:gd name="T173" fmla="*/ 47 w 47"/>
                <a:gd name="T174" fmla="*/ 60 h 6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7" h="60">
                  <a:moveTo>
                    <a:pt x="45" y="54"/>
                  </a:moveTo>
                  <a:cubicBezTo>
                    <a:pt x="43" y="53"/>
                    <a:pt x="41" y="53"/>
                    <a:pt x="40" y="52"/>
                  </a:cubicBezTo>
                  <a:cubicBezTo>
                    <a:pt x="40" y="52"/>
                    <a:pt x="38" y="52"/>
                    <a:pt x="37" y="51"/>
                  </a:cubicBezTo>
                  <a:cubicBezTo>
                    <a:pt x="35" y="51"/>
                    <a:pt x="34" y="52"/>
                    <a:pt x="32" y="52"/>
                  </a:cubicBezTo>
                  <a:cubicBezTo>
                    <a:pt x="32" y="52"/>
                    <a:pt x="32" y="52"/>
                    <a:pt x="31" y="52"/>
                  </a:cubicBezTo>
                  <a:cubicBezTo>
                    <a:pt x="29" y="53"/>
                    <a:pt x="28" y="52"/>
                    <a:pt x="26" y="53"/>
                  </a:cubicBezTo>
                  <a:cubicBezTo>
                    <a:pt x="24" y="54"/>
                    <a:pt x="22" y="53"/>
                    <a:pt x="20" y="54"/>
                  </a:cubicBezTo>
                  <a:cubicBezTo>
                    <a:pt x="19" y="55"/>
                    <a:pt x="17" y="56"/>
                    <a:pt x="16" y="57"/>
                  </a:cubicBezTo>
                  <a:cubicBezTo>
                    <a:pt x="13" y="58"/>
                    <a:pt x="11" y="60"/>
                    <a:pt x="8" y="59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4"/>
                    <a:pt x="9" y="51"/>
                    <a:pt x="7" y="47"/>
                  </a:cubicBezTo>
                  <a:cubicBezTo>
                    <a:pt x="6" y="44"/>
                    <a:pt x="2" y="42"/>
                    <a:pt x="0" y="39"/>
                  </a:cubicBezTo>
                  <a:cubicBezTo>
                    <a:pt x="0" y="38"/>
                    <a:pt x="1" y="36"/>
                    <a:pt x="1" y="34"/>
                  </a:cubicBezTo>
                  <a:cubicBezTo>
                    <a:pt x="1" y="34"/>
                    <a:pt x="1" y="33"/>
                    <a:pt x="1" y="32"/>
                  </a:cubicBezTo>
                  <a:cubicBezTo>
                    <a:pt x="2" y="32"/>
                    <a:pt x="2" y="32"/>
                    <a:pt x="2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3" y="31"/>
                    <a:pt x="4" y="30"/>
                    <a:pt x="4" y="29"/>
                  </a:cubicBezTo>
                  <a:cubicBezTo>
                    <a:pt x="4" y="27"/>
                    <a:pt x="4" y="25"/>
                    <a:pt x="4" y="23"/>
                  </a:cubicBezTo>
                  <a:cubicBezTo>
                    <a:pt x="5" y="23"/>
                    <a:pt x="6" y="24"/>
                    <a:pt x="8" y="23"/>
                  </a:cubicBezTo>
                  <a:cubicBezTo>
                    <a:pt x="8" y="23"/>
                    <a:pt x="8" y="22"/>
                    <a:pt x="8" y="22"/>
                  </a:cubicBezTo>
                  <a:cubicBezTo>
                    <a:pt x="7" y="20"/>
                    <a:pt x="5" y="19"/>
                    <a:pt x="6" y="18"/>
                  </a:cubicBezTo>
                  <a:cubicBezTo>
                    <a:pt x="7" y="16"/>
                    <a:pt x="7" y="15"/>
                    <a:pt x="7" y="13"/>
                  </a:cubicBezTo>
                  <a:cubicBezTo>
                    <a:pt x="7" y="13"/>
                    <a:pt x="6" y="12"/>
                    <a:pt x="6" y="12"/>
                  </a:cubicBezTo>
                  <a:cubicBezTo>
                    <a:pt x="6" y="12"/>
                    <a:pt x="5" y="12"/>
                    <a:pt x="5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1"/>
                    <a:pt x="4" y="10"/>
                    <a:pt x="3" y="9"/>
                  </a:cubicBezTo>
                  <a:cubicBezTo>
                    <a:pt x="3" y="8"/>
                    <a:pt x="3" y="7"/>
                    <a:pt x="3" y="6"/>
                  </a:cubicBezTo>
                  <a:cubicBezTo>
                    <a:pt x="3" y="5"/>
                    <a:pt x="4" y="5"/>
                    <a:pt x="4" y="5"/>
                  </a:cubicBezTo>
                  <a:cubicBezTo>
                    <a:pt x="5" y="4"/>
                    <a:pt x="4" y="4"/>
                    <a:pt x="5" y="3"/>
                  </a:cubicBezTo>
                  <a:cubicBezTo>
                    <a:pt x="5" y="4"/>
                    <a:pt x="5" y="3"/>
                    <a:pt x="6" y="4"/>
                  </a:cubicBezTo>
                  <a:cubicBezTo>
                    <a:pt x="8" y="5"/>
                    <a:pt x="10" y="6"/>
                    <a:pt x="13" y="6"/>
                  </a:cubicBezTo>
                  <a:cubicBezTo>
                    <a:pt x="14" y="5"/>
                    <a:pt x="14" y="3"/>
                    <a:pt x="16" y="2"/>
                  </a:cubicBezTo>
                  <a:cubicBezTo>
                    <a:pt x="17" y="0"/>
                    <a:pt x="18" y="3"/>
                    <a:pt x="18" y="5"/>
                  </a:cubicBezTo>
                  <a:cubicBezTo>
                    <a:pt x="18" y="6"/>
                    <a:pt x="20" y="6"/>
                    <a:pt x="21" y="5"/>
                  </a:cubicBezTo>
                  <a:cubicBezTo>
                    <a:pt x="22" y="5"/>
                    <a:pt x="23" y="4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5" y="3"/>
                    <a:pt x="25" y="4"/>
                    <a:pt x="26" y="4"/>
                  </a:cubicBezTo>
                  <a:cubicBezTo>
                    <a:pt x="26" y="5"/>
                    <a:pt x="27" y="6"/>
                    <a:pt x="27" y="7"/>
                  </a:cubicBezTo>
                  <a:cubicBezTo>
                    <a:pt x="28" y="9"/>
                    <a:pt x="30" y="8"/>
                    <a:pt x="31" y="9"/>
                  </a:cubicBezTo>
                  <a:cubicBezTo>
                    <a:pt x="32" y="9"/>
                    <a:pt x="31" y="10"/>
                    <a:pt x="32" y="10"/>
                  </a:cubicBezTo>
                  <a:cubicBezTo>
                    <a:pt x="34" y="12"/>
                    <a:pt x="37" y="11"/>
                    <a:pt x="37" y="9"/>
                  </a:cubicBezTo>
                  <a:cubicBezTo>
                    <a:pt x="39" y="8"/>
                    <a:pt x="41" y="8"/>
                    <a:pt x="42" y="9"/>
                  </a:cubicBezTo>
                  <a:cubicBezTo>
                    <a:pt x="43" y="9"/>
                    <a:pt x="44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11"/>
                    <a:pt x="44" y="12"/>
                    <a:pt x="45" y="13"/>
                  </a:cubicBezTo>
                  <a:cubicBezTo>
                    <a:pt x="45" y="14"/>
                    <a:pt x="45" y="14"/>
                    <a:pt x="45" y="15"/>
                  </a:cubicBezTo>
                  <a:cubicBezTo>
                    <a:pt x="46" y="16"/>
                    <a:pt x="46" y="18"/>
                    <a:pt x="46" y="19"/>
                  </a:cubicBezTo>
                  <a:cubicBezTo>
                    <a:pt x="47" y="20"/>
                    <a:pt x="47" y="22"/>
                    <a:pt x="46" y="23"/>
                  </a:cubicBezTo>
                  <a:cubicBezTo>
                    <a:pt x="46" y="24"/>
                    <a:pt x="45" y="25"/>
                    <a:pt x="45" y="25"/>
                  </a:cubicBezTo>
                  <a:cubicBezTo>
                    <a:pt x="43" y="27"/>
                    <a:pt x="44" y="30"/>
                    <a:pt x="44" y="33"/>
                  </a:cubicBezTo>
                  <a:cubicBezTo>
                    <a:pt x="44" y="33"/>
                    <a:pt x="43" y="33"/>
                    <a:pt x="43" y="33"/>
                  </a:cubicBezTo>
                  <a:cubicBezTo>
                    <a:pt x="42" y="34"/>
                    <a:pt x="42" y="35"/>
                    <a:pt x="41" y="36"/>
                  </a:cubicBezTo>
                  <a:cubicBezTo>
                    <a:pt x="41" y="37"/>
                    <a:pt x="41" y="38"/>
                    <a:pt x="41" y="38"/>
                  </a:cubicBezTo>
                  <a:cubicBezTo>
                    <a:pt x="43" y="40"/>
                    <a:pt x="42" y="43"/>
                    <a:pt x="42" y="45"/>
                  </a:cubicBezTo>
                  <a:cubicBezTo>
                    <a:pt x="43" y="46"/>
                    <a:pt x="44" y="46"/>
                    <a:pt x="44" y="47"/>
                  </a:cubicBezTo>
                  <a:cubicBezTo>
                    <a:pt x="46" y="48"/>
                    <a:pt x="45" y="50"/>
                    <a:pt x="45" y="52"/>
                  </a:cubicBezTo>
                  <a:lnTo>
                    <a:pt x="45" y="5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9" name="Freeform 361"/>
            <p:cNvSpPr>
              <a:spLocks/>
            </p:cNvSpPr>
            <p:nvPr/>
          </p:nvSpPr>
          <p:spPr bwMode="auto">
            <a:xfrm>
              <a:off x="6826535" y="5218767"/>
              <a:ext cx="47848" cy="62247"/>
            </a:xfrm>
            <a:custGeom>
              <a:avLst/>
              <a:gdLst>
                <a:gd name="T0" fmla="*/ 137111 w 36"/>
                <a:gd name="T1" fmla="*/ 1809817 h 58"/>
                <a:gd name="T2" fmla="*/ 169301 w 36"/>
                <a:gd name="T3" fmla="*/ 1809817 h 58"/>
                <a:gd name="T4" fmla="*/ 225482 w 36"/>
                <a:gd name="T5" fmla="*/ 1849352 h 58"/>
                <a:gd name="T6" fmla="*/ 297802 w 36"/>
                <a:gd name="T7" fmla="*/ 1875787 h 58"/>
                <a:gd name="T8" fmla="*/ 432174 w 36"/>
                <a:gd name="T9" fmla="*/ 1849352 h 58"/>
                <a:gd name="T10" fmla="*/ 503692 w 36"/>
                <a:gd name="T11" fmla="*/ 1778099 h 58"/>
                <a:gd name="T12" fmla="*/ 697736 w 36"/>
                <a:gd name="T13" fmla="*/ 1704374 h 58"/>
                <a:gd name="T14" fmla="*/ 796298 w 36"/>
                <a:gd name="T15" fmla="*/ 1627285 h 58"/>
                <a:gd name="T16" fmla="*/ 965409 w 36"/>
                <a:gd name="T17" fmla="*/ 1587666 h 58"/>
                <a:gd name="T18" fmla="*/ 1130630 w 36"/>
                <a:gd name="T19" fmla="*/ 1587666 h 58"/>
                <a:gd name="T20" fmla="*/ 1130630 w 36"/>
                <a:gd name="T21" fmla="*/ 1556570 h 58"/>
                <a:gd name="T22" fmla="*/ 1192065 w 36"/>
                <a:gd name="T23" fmla="*/ 1521090 h 58"/>
                <a:gd name="T24" fmla="*/ 1155395 w 36"/>
                <a:gd name="T25" fmla="*/ 1487205 h 58"/>
                <a:gd name="T26" fmla="*/ 1094008 w 36"/>
                <a:gd name="T27" fmla="*/ 1273909 h 58"/>
                <a:gd name="T28" fmla="*/ 1022413 w 36"/>
                <a:gd name="T29" fmla="*/ 1202291 h 58"/>
                <a:gd name="T30" fmla="*/ 986232 w 36"/>
                <a:gd name="T31" fmla="*/ 910977 h 58"/>
                <a:gd name="T32" fmla="*/ 1022413 w 36"/>
                <a:gd name="T33" fmla="*/ 742850 h 58"/>
                <a:gd name="T34" fmla="*/ 986232 w 36"/>
                <a:gd name="T35" fmla="*/ 560416 h 58"/>
                <a:gd name="T36" fmla="*/ 986232 w 36"/>
                <a:gd name="T37" fmla="*/ 494134 h 58"/>
                <a:gd name="T38" fmla="*/ 903639 w 36"/>
                <a:gd name="T39" fmla="*/ 461396 h 58"/>
                <a:gd name="T40" fmla="*/ 903639 w 36"/>
                <a:gd name="T41" fmla="*/ 388156 h 58"/>
                <a:gd name="T42" fmla="*/ 928472 w 36"/>
                <a:gd name="T43" fmla="*/ 258196 h 58"/>
                <a:gd name="T44" fmla="*/ 868589 w 36"/>
                <a:gd name="T45" fmla="*/ 185339 h 58"/>
                <a:gd name="T46" fmla="*/ 828333 w 36"/>
                <a:gd name="T47" fmla="*/ 36835 h 58"/>
                <a:gd name="T48" fmla="*/ 759332 w 36"/>
                <a:gd name="T49" fmla="*/ 36835 h 58"/>
                <a:gd name="T50" fmla="*/ 169301 w 36"/>
                <a:gd name="T51" fmla="*/ 36835 h 58"/>
                <a:gd name="T52" fmla="*/ 99095 w 36"/>
                <a:gd name="T53" fmla="*/ 70495 h 58"/>
                <a:gd name="T54" fmla="*/ 99095 w 36"/>
                <a:gd name="T55" fmla="*/ 166622 h 58"/>
                <a:gd name="T56" fmla="*/ 137111 w 36"/>
                <a:gd name="T57" fmla="*/ 292830 h 58"/>
                <a:gd name="T58" fmla="*/ 99095 w 36"/>
                <a:gd name="T59" fmla="*/ 388156 h 58"/>
                <a:gd name="T60" fmla="*/ 99095 w 36"/>
                <a:gd name="T61" fmla="*/ 388156 h 58"/>
                <a:gd name="T62" fmla="*/ 137111 w 36"/>
                <a:gd name="T63" fmla="*/ 494134 h 58"/>
                <a:gd name="T64" fmla="*/ 137111 w 36"/>
                <a:gd name="T65" fmla="*/ 560416 h 58"/>
                <a:gd name="T66" fmla="*/ 169301 w 36"/>
                <a:gd name="T67" fmla="*/ 678824 h 58"/>
                <a:gd name="T68" fmla="*/ 169301 w 36"/>
                <a:gd name="T69" fmla="*/ 813343 h 58"/>
                <a:gd name="T70" fmla="*/ 137111 w 36"/>
                <a:gd name="T71" fmla="*/ 883016 h 58"/>
                <a:gd name="T72" fmla="*/ 99095 w 36"/>
                <a:gd name="T73" fmla="*/ 1132947 h 58"/>
                <a:gd name="T74" fmla="*/ 71536 w 36"/>
                <a:gd name="T75" fmla="*/ 1132947 h 58"/>
                <a:gd name="T76" fmla="*/ 0 w 36"/>
                <a:gd name="T77" fmla="*/ 1238481 h 58"/>
                <a:gd name="T78" fmla="*/ 0 w 36"/>
                <a:gd name="T79" fmla="*/ 1299129 h 58"/>
                <a:gd name="T80" fmla="*/ 37323 w 36"/>
                <a:gd name="T81" fmla="*/ 1521090 h 58"/>
                <a:gd name="T82" fmla="*/ 99095 w 36"/>
                <a:gd name="T83" fmla="*/ 1587666 h 58"/>
                <a:gd name="T84" fmla="*/ 137111 w 36"/>
                <a:gd name="T85" fmla="*/ 1743422 h 58"/>
                <a:gd name="T86" fmla="*/ 137111 w 36"/>
                <a:gd name="T87" fmla="*/ 1809817 h 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6"/>
                <a:gd name="T133" fmla="*/ 0 h 58"/>
                <a:gd name="T134" fmla="*/ 36 w 36"/>
                <a:gd name="T135" fmla="*/ 58 h 5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6" h="58">
                  <a:moveTo>
                    <a:pt x="4" y="56"/>
                  </a:moveTo>
                  <a:cubicBezTo>
                    <a:pt x="4" y="56"/>
                    <a:pt x="5" y="56"/>
                    <a:pt x="5" y="56"/>
                  </a:cubicBezTo>
                  <a:cubicBezTo>
                    <a:pt x="6" y="57"/>
                    <a:pt x="7" y="57"/>
                    <a:pt x="7" y="57"/>
                  </a:cubicBezTo>
                  <a:cubicBezTo>
                    <a:pt x="8" y="58"/>
                    <a:pt x="9" y="58"/>
                    <a:pt x="9" y="58"/>
                  </a:cubicBezTo>
                  <a:cubicBezTo>
                    <a:pt x="11" y="57"/>
                    <a:pt x="12" y="57"/>
                    <a:pt x="13" y="57"/>
                  </a:cubicBezTo>
                  <a:cubicBezTo>
                    <a:pt x="14" y="56"/>
                    <a:pt x="14" y="55"/>
                    <a:pt x="15" y="55"/>
                  </a:cubicBezTo>
                  <a:cubicBezTo>
                    <a:pt x="17" y="54"/>
                    <a:pt x="19" y="54"/>
                    <a:pt x="21" y="53"/>
                  </a:cubicBezTo>
                  <a:cubicBezTo>
                    <a:pt x="22" y="52"/>
                    <a:pt x="22" y="50"/>
                    <a:pt x="24" y="50"/>
                  </a:cubicBezTo>
                  <a:cubicBezTo>
                    <a:pt x="26" y="50"/>
                    <a:pt x="28" y="49"/>
                    <a:pt x="29" y="49"/>
                  </a:cubicBezTo>
                  <a:cubicBezTo>
                    <a:pt x="31" y="49"/>
                    <a:pt x="32" y="49"/>
                    <a:pt x="34" y="49"/>
                  </a:cubicBezTo>
                  <a:cubicBezTo>
                    <a:pt x="34" y="49"/>
                    <a:pt x="34" y="48"/>
                    <a:pt x="34" y="48"/>
                  </a:cubicBezTo>
                  <a:cubicBezTo>
                    <a:pt x="35" y="48"/>
                    <a:pt x="35" y="48"/>
                    <a:pt x="36" y="47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4" y="44"/>
                    <a:pt x="33" y="41"/>
                    <a:pt x="33" y="39"/>
                  </a:cubicBezTo>
                  <a:cubicBezTo>
                    <a:pt x="33" y="38"/>
                    <a:pt x="31" y="37"/>
                    <a:pt x="31" y="37"/>
                  </a:cubicBezTo>
                  <a:cubicBezTo>
                    <a:pt x="30" y="34"/>
                    <a:pt x="31" y="31"/>
                    <a:pt x="30" y="28"/>
                  </a:cubicBezTo>
                  <a:cubicBezTo>
                    <a:pt x="30" y="26"/>
                    <a:pt x="31" y="24"/>
                    <a:pt x="31" y="23"/>
                  </a:cubicBezTo>
                  <a:cubicBezTo>
                    <a:pt x="29" y="21"/>
                    <a:pt x="29" y="19"/>
                    <a:pt x="30" y="17"/>
                  </a:cubicBezTo>
                  <a:cubicBezTo>
                    <a:pt x="31" y="17"/>
                    <a:pt x="31" y="16"/>
                    <a:pt x="30" y="15"/>
                  </a:cubicBezTo>
                  <a:cubicBezTo>
                    <a:pt x="29" y="14"/>
                    <a:pt x="28" y="15"/>
                    <a:pt x="27" y="14"/>
                  </a:cubicBezTo>
                  <a:cubicBezTo>
                    <a:pt x="27" y="13"/>
                    <a:pt x="27" y="12"/>
                    <a:pt x="27" y="12"/>
                  </a:cubicBezTo>
                  <a:cubicBezTo>
                    <a:pt x="28" y="11"/>
                    <a:pt x="29" y="9"/>
                    <a:pt x="28" y="8"/>
                  </a:cubicBezTo>
                  <a:cubicBezTo>
                    <a:pt x="28" y="7"/>
                    <a:pt x="27" y="6"/>
                    <a:pt x="26" y="6"/>
                  </a:cubicBezTo>
                  <a:cubicBezTo>
                    <a:pt x="25" y="4"/>
                    <a:pt x="26" y="2"/>
                    <a:pt x="25" y="1"/>
                  </a:cubicBezTo>
                  <a:cubicBezTo>
                    <a:pt x="25" y="1"/>
                    <a:pt x="24" y="1"/>
                    <a:pt x="23" y="1"/>
                  </a:cubicBezTo>
                  <a:cubicBezTo>
                    <a:pt x="17" y="1"/>
                    <a:pt x="11" y="0"/>
                    <a:pt x="5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3"/>
                    <a:pt x="3" y="4"/>
                    <a:pt x="3" y="5"/>
                  </a:cubicBezTo>
                  <a:cubicBezTo>
                    <a:pt x="4" y="6"/>
                    <a:pt x="5" y="8"/>
                    <a:pt x="4" y="9"/>
                  </a:cubicBezTo>
                  <a:cubicBezTo>
                    <a:pt x="4" y="10"/>
                    <a:pt x="4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3"/>
                    <a:pt x="3" y="14"/>
                    <a:pt x="4" y="15"/>
                  </a:cubicBezTo>
                  <a:cubicBezTo>
                    <a:pt x="4" y="16"/>
                    <a:pt x="4" y="16"/>
                    <a:pt x="4" y="17"/>
                  </a:cubicBezTo>
                  <a:cubicBezTo>
                    <a:pt x="5" y="18"/>
                    <a:pt x="5" y="20"/>
                    <a:pt x="5" y="21"/>
                  </a:cubicBezTo>
                  <a:cubicBezTo>
                    <a:pt x="6" y="22"/>
                    <a:pt x="6" y="24"/>
                    <a:pt x="5" y="25"/>
                  </a:cubicBezTo>
                  <a:cubicBezTo>
                    <a:pt x="5" y="26"/>
                    <a:pt x="4" y="27"/>
                    <a:pt x="4" y="27"/>
                  </a:cubicBezTo>
                  <a:cubicBezTo>
                    <a:pt x="2" y="29"/>
                    <a:pt x="3" y="32"/>
                    <a:pt x="3" y="35"/>
                  </a:cubicBezTo>
                  <a:cubicBezTo>
                    <a:pt x="3" y="35"/>
                    <a:pt x="2" y="35"/>
                    <a:pt x="2" y="35"/>
                  </a:cubicBezTo>
                  <a:cubicBezTo>
                    <a:pt x="1" y="36"/>
                    <a:pt x="1" y="37"/>
                    <a:pt x="0" y="38"/>
                  </a:cubicBezTo>
                  <a:cubicBezTo>
                    <a:pt x="0" y="39"/>
                    <a:pt x="0" y="40"/>
                    <a:pt x="0" y="40"/>
                  </a:cubicBezTo>
                  <a:cubicBezTo>
                    <a:pt x="2" y="42"/>
                    <a:pt x="1" y="45"/>
                    <a:pt x="1" y="47"/>
                  </a:cubicBezTo>
                  <a:cubicBezTo>
                    <a:pt x="2" y="48"/>
                    <a:pt x="3" y="48"/>
                    <a:pt x="3" y="49"/>
                  </a:cubicBezTo>
                  <a:cubicBezTo>
                    <a:pt x="5" y="50"/>
                    <a:pt x="4" y="52"/>
                    <a:pt x="4" y="54"/>
                  </a:cubicBezTo>
                  <a:lnTo>
                    <a:pt x="4" y="5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0" name="Freeform 362"/>
            <p:cNvSpPr>
              <a:spLocks/>
            </p:cNvSpPr>
            <p:nvPr/>
          </p:nvSpPr>
          <p:spPr bwMode="auto">
            <a:xfrm>
              <a:off x="6859883" y="5219371"/>
              <a:ext cx="20299" cy="50161"/>
            </a:xfrm>
            <a:custGeom>
              <a:avLst/>
              <a:gdLst>
                <a:gd name="T0" fmla="*/ 417229 w 15"/>
                <a:gd name="T1" fmla="*/ 1772338 h 46"/>
                <a:gd name="T2" fmla="*/ 447155 w 15"/>
                <a:gd name="T3" fmla="*/ 1730934 h 46"/>
                <a:gd name="T4" fmla="*/ 531651 w 15"/>
                <a:gd name="T5" fmla="*/ 1686765 h 46"/>
                <a:gd name="T6" fmla="*/ 531651 w 15"/>
                <a:gd name="T7" fmla="*/ 1662646 h 46"/>
                <a:gd name="T8" fmla="*/ 531651 w 15"/>
                <a:gd name="T9" fmla="*/ 1357037 h 46"/>
                <a:gd name="T10" fmla="*/ 531651 w 15"/>
                <a:gd name="T11" fmla="*/ 916040 h 46"/>
                <a:gd name="T12" fmla="*/ 531651 w 15"/>
                <a:gd name="T13" fmla="*/ 739263 h 46"/>
                <a:gd name="T14" fmla="*/ 569734 w 15"/>
                <a:gd name="T15" fmla="*/ 659978 h 46"/>
                <a:gd name="T16" fmla="*/ 490860 w 15"/>
                <a:gd name="T17" fmla="*/ 535672 h 46"/>
                <a:gd name="T18" fmla="*/ 447155 w 15"/>
                <a:gd name="T19" fmla="*/ 297057 h 46"/>
                <a:gd name="T20" fmla="*/ 338447 w 15"/>
                <a:gd name="T21" fmla="*/ 276864 h 46"/>
                <a:gd name="T22" fmla="*/ 274992 w 15"/>
                <a:gd name="T23" fmla="*/ 238992 h 46"/>
                <a:gd name="T24" fmla="*/ 294690 w 15"/>
                <a:gd name="T25" fmla="*/ 0 h 46"/>
                <a:gd name="T26" fmla="*/ 294690 w 15"/>
                <a:gd name="T27" fmla="*/ 0 h 46"/>
                <a:gd name="T28" fmla="*/ 0 w 15"/>
                <a:gd name="T29" fmla="*/ 0 h 46"/>
                <a:gd name="T30" fmla="*/ 40780 w 15"/>
                <a:gd name="T31" fmla="*/ 197485 h 46"/>
                <a:gd name="T32" fmla="*/ 119631 w 15"/>
                <a:gd name="T33" fmla="*/ 276864 h 46"/>
                <a:gd name="T34" fmla="*/ 78841 w 15"/>
                <a:gd name="T35" fmla="*/ 421370 h 46"/>
                <a:gd name="T36" fmla="*/ 78841 w 15"/>
                <a:gd name="T37" fmla="*/ 494658 h 46"/>
                <a:gd name="T38" fmla="*/ 196150 w 15"/>
                <a:gd name="T39" fmla="*/ 535672 h 46"/>
                <a:gd name="T40" fmla="*/ 196150 w 15"/>
                <a:gd name="T41" fmla="*/ 615712 h 46"/>
                <a:gd name="T42" fmla="*/ 231287 w 15"/>
                <a:gd name="T43" fmla="*/ 859345 h 46"/>
                <a:gd name="T44" fmla="*/ 196150 w 15"/>
                <a:gd name="T45" fmla="*/ 1036409 h 46"/>
                <a:gd name="T46" fmla="*/ 231287 w 15"/>
                <a:gd name="T47" fmla="*/ 1389298 h 46"/>
                <a:gd name="T48" fmla="*/ 294690 w 15"/>
                <a:gd name="T49" fmla="*/ 1474484 h 46"/>
                <a:gd name="T50" fmla="*/ 379223 w 15"/>
                <a:gd name="T51" fmla="*/ 1730934 h 46"/>
                <a:gd name="T52" fmla="*/ 417229 w 15"/>
                <a:gd name="T53" fmla="*/ 1772338 h 4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5"/>
                <a:gd name="T82" fmla="*/ 0 h 46"/>
                <a:gd name="T83" fmla="*/ 15 w 15"/>
                <a:gd name="T84" fmla="*/ 46 h 4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5" h="46">
                  <a:moveTo>
                    <a:pt x="11" y="46"/>
                  </a:moveTo>
                  <a:cubicBezTo>
                    <a:pt x="11" y="46"/>
                    <a:pt x="12" y="46"/>
                    <a:pt x="12" y="45"/>
                  </a:cubicBezTo>
                  <a:cubicBezTo>
                    <a:pt x="13" y="45"/>
                    <a:pt x="13" y="44"/>
                    <a:pt x="14" y="44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40"/>
                    <a:pt x="13" y="37"/>
                    <a:pt x="14" y="35"/>
                  </a:cubicBezTo>
                  <a:cubicBezTo>
                    <a:pt x="14" y="31"/>
                    <a:pt x="15" y="28"/>
                    <a:pt x="14" y="24"/>
                  </a:cubicBezTo>
                  <a:cubicBezTo>
                    <a:pt x="13" y="23"/>
                    <a:pt x="13" y="20"/>
                    <a:pt x="14" y="19"/>
                  </a:cubicBezTo>
                  <a:cubicBezTo>
                    <a:pt x="15" y="18"/>
                    <a:pt x="15" y="18"/>
                    <a:pt x="15" y="17"/>
                  </a:cubicBezTo>
                  <a:cubicBezTo>
                    <a:pt x="14" y="16"/>
                    <a:pt x="13" y="15"/>
                    <a:pt x="13" y="14"/>
                  </a:cubicBezTo>
                  <a:cubicBezTo>
                    <a:pt x="12" y="12"/>
                    <a:pt x="13" y="10"/>
                    <a:pt x="12" y="8"/>
                  </a:cubicBezTo>
                  <a:cubicBezTo>
                    <a:pt x="11" y="7"/>
                    <a:pt x="10" y="8"/>
                    <a:pt x="9" y="7"/>
                  </a:cubicBezTo>
                  <a:cubicBezTo>
                    <a:pt x="8" y="7"/>
                    <a:pt x="8" y="6"/>
                    <a:pt x="7" y="6"/>
                  </a:cubicBezTo>
                  <a:cubicBezTo>
                    <a:pt x="7" y="4"/>
                    <a:pt x="8" y="2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3" y="0"/>
                    <a:pt x="0" y="0"/>
                  </a:cubicBezTo>
                  <a:cubicBezTo>
                    <a:pt x="1" y="1"/>
                    <a:pt x="0" y="3"/>
                    <a:pt x="1" y="5"/>
                  </a:cubicBezTo>
                  <a:cubicBezTo>
                    <a:pt x="2" y="5"/>
                    <a:pt x="3" y="6"/>
                    <a:pt x="3" y="7"/>
                  </a:cubicBezTo>
                  <a:cubicBezTo>
                    <a:pt x="4" y="8"/>
                    <a:pt x="3" y="10"/>
                    <a:pt x="2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3" y="14"/>
                    <a:pt x="4" y="13"/>
                    <a:pt x="5" y="14"/>
                  </a:cubicBezTo>
                  <a:cubicBezTo>
                    <a:pt x="6" y="15"/>
                    <a:pt x="6" y="16"/>
                    <a:pt x="5" y="16"/>
                  </a:cubicBezTo>
                  <a:cubicBezTo>
                    <a:pt x="4" y="18"/>
                    <a:pt x="4" y="20"/>
                    <a:pt x="6" y="22"/>
                  </a:cubicBezTo>
                  <a:cubicBezTo>
                    <a:pt x="6" y="23"/>
                    <a:pt x="5" y="25"/>
                    <a:pt x="5" y="27"/>
                  </a:cubicBezTo>
                  <a:cubicBezTo>
                    <a:pt x="6" y="30"/>
                    <a:pt x="5" y="33"/>
                    <a:pt x="6" y="36"/>
                  </a:cubicBezTo>
                  <a:cubicBezTo>
                    <a:pt x="6" y="36"/>
                    <a:pt x="8" y="37"/>
                    <a:pt x="8" y="38"/>
                  </a:cubicBezTo>
                  <a:cubicBezTo>
                    <a:pt x="8" y="40"/>
                    <a:pt x="9" y="43"/>
                    <a:pt x="10" y="45"/>
                  </a:cubicBezTo>
                  <a:lnTo>
                    <a:pt x="11" y="4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1" name="Freeform 363"/>
            <p:cNvSpPr>
              <a:spLocks/>
            </p:cNvSpPr>
            <p:nvPr/>
          </p:nvSpPr>
          <p:spPr bwMode="auto">
            <a:xfrm>
              <a:off x="6868582" y="5206680"/>
              <a:ext cx="32622" cy="60435"/>
            </a:xfrm>
            <a:custGeom>
              <a:avLst/>
              <a:gdLst>
                <a:gd name="T0" fmla="*/ 696763 w 24"/>
                <a:gd name="T1" fmla="*/ 1700645 h 56"/>
                <a:gd name="T2" fmla="*/ 330717 w 24"/>
                <a:gd name="T3" fmla="*/ 1763391 h 56"/>
                <a:gd name="T4" fmla="*/ 330717 w 24"/>
                <a:gd name="T5" fmla="*/ 1737615 h 56"/>
                <a:gd name="T6" fmla="*/ 330717 w 24"/>
                <a:gd name="T7" fmla="*/ 1489742 h 56"/>
                <a:gd name="T8" fmla="*/ 330717 w 24"/>
                <a:gd name="T9" fmla="*/ 1138767 h 56"/>
                <a:gd name="T10" fmla="*/ 330717 w 24"/>
                <a:gd name="T11" fmla="*/ 977930 h 56"/>
                <a:gd name="T12" fmla="*/ 378327 w 24"/>
                <a:gd name="T13" fmla="*/ 909406 h 56"/>
                <a:gd name="T14" fmla="*/ 292761 w 24"/>
                <a:gd name="T15" fmla="*/ 828874 h 56"/>
                <a:gd name="T16" fmla="*/ 242269 w 24"/>
                <a:gd name="T17" fmla="*/ 629626 h 56"/>
                <a:gd name="T18" fmla="*/ 98649 w 24"/>
                <a:gd name="T19" fmla="*/ 595990 h 56"/>
                <a:gd name="T20" fmla="*/ 0 w 24"/>
                <a:gd name="T21" fmla="*/ 561775 h 56"/>
                <a:gd name="T22" fmla="*/ 50374 w 24"/>
                <a:gd name="T23" fmla="*/ 381931 h 56"/>
                <a:gd name="T24" fmla="*/ 50374 w 24"/>
                <a:gd name="T25" fmla="*/ 381931 h 56"/>
                <a:gd name="T26" fmla="*/ 193188 w 24"/>
                <a:gd name="T27" fmla="*/ 277619 h 56"/>
                <a:gd name="T28" fmla="*/ 193188 w 24"/>
                <a:gd name="T29" fmla="*/ 249096 h 56"/>
                <a:gd name="T30" fmla="*/ 474443 w 24"/>
                <a:gd name="T31" fmla="*/ 217948 h 56"/>
                <a:gd name="T32" fmla="*/ 598126 w 24"/>
                <a:gd name="T33" fmla="*/ 130368 h 56"/>
                <a:gd name="T34" fmla="*/ 598126 w 24"/>
                <a:gd name="T35" fmla="*/ 68230 h 56"/>
                <a:gd name="T36" fmla="*/ 598126 w 24"/>
                <a:gd name="T37" fmla="*/ 68230 h 56"/>
                <a:gd name="T38" fmla="*/ 740890 w 24"/>
                <a:gd name="T39" fmla="*/ 35709 h 56"/>
                <a:gd name="T40" fmla="*/ 839492 w 24"/>
                <a:gd name="T41" fmla="*/ 0 h 56"/>
                <a:gd name="T42" fmla="*/ 878749 w 24"/>
                <a:gd name="T43" fmla="*/ 0 h 56"/>
                <a:gd name="T44" fmla="*/ 1072665 w 24"/>
                <a:gd name="T45" fmla="*/ 130368 h 56"/>
                <a:gd name="T46" fmla="*/ 1072665 w 24"/>
                <a:gd name="T47" fmla="*/ 179588 h 56"/>
                <a:gd name="T48" fmla="*/ 1072665 w 24"/>
                <a:gd name="T49" fmla="*/ 277619 h 56"/>
                <a:gd name="T50" fmla="*/ 1072665 w 24"/>
                <a:gd name="T51" fmla="*/ 511814 h 56"/>
                <a:gd name="T52" fmla="*/ 976493 w 24"/>
                <a:gd name="T53" fmla="*/ 729761 h 56"/>
                <a:gd name="T54" fmla="*/ 929117 w 24"/>
                <a:gd name="T55" fmla="*/ 854626 h 56"/>
                <a:gd name="T56" fmla="*/ 929117 w 24"/>
                <a:gd name="T57" fmla="*/ 890057 h 56"/>
                <a:gd name="T58" fmla="*/ 792996 w 24"/>
                <a:gd name="T59" fmla="*/ 909406 h 56"/>
                <a:gd name="T60" fmla="*/ 696763 w 24"/>
                <a:gd name="T61" fmla="*/ 1235529 h 56"/>
                <a:gd name="T62" fmla="*/ 696763 w 24"/>
                <a:gd name="T63" fmla="*/ 1669389 h 56"/>
                <a:gd name="T64" fmla="*/ 696763 w 24"/>
                <a:gd name="T65" fmla="*/ 1700645 h 5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4"/>
                <a:gd name="T100" fmla="*/ 0 h 56"/>
                <a:gd name="T101" fmla="*/ 24 w 24"/>
                <a:gd name="T102" fmla="*/ 56 h 5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4" h="56">
                  <a:moveTo>
                    <a:pt x="15" y="54"/>
                  </a:moveTo>
                  <a:cubicBezTo>
                    <a:pt x="12" y="54"/>
                    <a:pt x="10" y="55"/>
                    <a:pt x="7" y="56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2"/>
                    <a:pt x="6" y="49"/>
                    <a:pt x="7" y="47"/>
                  </a:cubicBezTo>
                  <a:cubicBezTo>
                    <a:pt x="7" y="43"/>
                    <a:pt x="8" y="40"/>
                    <a:pt x="7" y="36"/>
                  </a:cubicBezTo>
                  <a:cubicBezTo>
                    <a:pt x="6" y="35"/>
                    <a:pt x="6" y="32"/>
                    <a:pt x="7" y="31"/>
                  </a:cubicBezTo>
                  <a:cubicBezTo>
                    <a:pt x="8" y="30"/>
                    <a:pt x="8" y="30"/>
                    <a:pt x="8" y="29"/>
                  </a:cubicBezTo>
                  <a:cubicBezTo>
                    <a:pt x="7" y="28"/>
                    <a:pt x="6" y="27"/>
                    <a:pt x="6" y="26"/>
                  </a:cubicBezTo>
                  <a:cubicBezTo>
                    <a:pt x="5" y="24"/>
                    <a:pt x="6" y="22"/>
                    <a:pt x="5" y="20"/>
                  </a:cubicBezTo>
                  <a:cubicBezTo>
                    <a:pt x="4" y="19"/>
                    <a:pt x="3" y="20"/>
                    <a:pt x="2" y="19"/>
                  </a:cubicBezTo>
                  <a:cubicBezTo>
                    <a:pt x="1" y="19"/>
                    <a:pt x="1" y="18"/>
                    <a:pt x="0" y="18"/>
                  </a:cubicBezTo>
                  <a:cubicBezTo>
                    <a:pt x="0" y="16"/>
                    <a:pt x="1" y="14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3" y="10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6" y="7"/>
                    <a:pt x="9" y="9"/>
                    <a:pt x="10" y="7"/>
                  </a:cubicBezTo>
                  <a:cubicBezTo>
                    <a:pt x="11" y="5"/>
                    <a:pt x="12" y="5"/>
                    <a:pt x="13" y="4"/>
                  </a:cubicBezTo>
                  <a:cubicBezTo>
                    <a:pt x="13" y="3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2"/>
                    <a:pt x="15" y="2"/>
                    <a:pt x="16" y="1"/>
                  </a:cubicBezTo>
                  <a:cubicBezTo>
                    <a:pt x="17" y="1"/>
                    <a:pt x="18" y="1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2"/>
                    <a:pt x="21" y="3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7"/>
                    <a:pt x="23" y="8"/>
                    <a:pt x="23" y="9"/>
                  </a:cubicBezTo>
                  <a:cubicBezTo>
                    <a:pt x="24" y="12"/>
                    <a:pt x="24" y="14"/>
                    <a:pt x="23" y="16"/>
                  </a:cubicBezTo>
                  <a:cubicBezTo>
                    <a:pt x="23" y="19"/>
                    <a:pt x="22" y="21"/>
                    <a:pt x="21" y="23"/>
                  </a:cubicBezTo>
                  <a:cubicBezTo>
                    <a:pt x="21" y="24"/>
                    <a:pt x="21" y="25"/>
                    <a:pt x="20" y="27"/>
                  </a:cubicBezTo>
                  <a:cubicBezTo>
                    <a:pt x="20" y="27"/>
                    <a:pt x="20" y="28"/>
                    <a:pt x="20" y="28"/>
                  </a:cubicBezTo>
                  <a:cubicBezTo>
                    <a:pt x="19" y="29"/>
                    <a:pt x="17" y="28"/>
                    <a:pt x="17" y="29"/>
                  </a:cubicBezTo>
                  <a:cubicBezTo>
                    <a:pt x="16" y="32"/>
                    <a:pt x="17" y="36"/>
                    <a:pt x="15" y="39"/>
                  </a:cubicBezTo>
                  <a:cubicBezTo>
                    <a:pt x="15" y="44"/>
                    <a:pt x="16" y="48"/>
                    <a:pt x="15" y="53"/>
                  </a:cubicBezTo>
                  <a:lnTo>
                    <a:pt x="15" y="5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2" name="Freeform 364"/>
            <p:cNvSpPr>
              <a:spLocks/>
            </p:cNvSpPr>
            <p:nvPr/>
          </p:nvSpPr>
          <p:spPr bwMode="auto">
            <a:xfrm>
              <a:off x="6803335" y="5176463"/>
              <a:ext cx="83370" cy="57412"/>
            </a:xfrm>
            <a:custGeom>
              <a:avLst/>
              <a:gdLst>
                <a:gd name="T0" fmla="*/ 0 w 62"/>
                <a:gd name="T1" fmla="*/ 1569649 h 53"/>
                <a:gd name="T2" fmla="*/ 0 w 62"/>
                <a:gd name="T3" fmla="*/ 1376632 h 53"/>
                <a:gd name="T4" fmla="*/ 41203 w 62"/>
                <a:gd name="T5" fmla="*/ 1096935 h 53"/>
                <a:gd name="T6" fmla="*/ 79748 w 62"/>
                <a:gd name="T7" fmla="*/ 1096935 h 53"/>
                <a:gd name="T8" fmla="*/ 198497 w 62"/>
                <a:gd name="T9" fmla="*/ 1096935 h 53"/>
                <a:gd name="T10" fmla="*/ 298744 w 62"/>
                <a:gd name="T11" fmla="*/ 993792 h 53"/>
                <a:gd name="T12" fmla="*/ 343072 w 62"/>
                <a:gd name="T13" fmla="*/ 815602 h 53"/>
                <a:gd name="T14" fmla="*/ 343072 w 62"/>
                <a:gd name="T15" fmla="*/ 681645 h 53"/>
                <a:gd name="T16" fmla="*/ 538639 w 62"/>
                <a:gd name="T17" fmla="*/ 639981 h 53"/>
                <a:gd name="T18" fmla="*/ 664010 w 62"/>
                <a:gd name="T19" fmla="*/ 612054 h 53"/>
                <a:gd name="T20" fmla="*/ 920386 w 62"/>
                <a:gd name="T21" fmla="*/ 423793 h 53"/>
                <a:gd name="T22" fmla="*/ 1042527 w 62"/>
                <a:gd name="T23" fmla="*/ 278908 h 53"/>
                <a:gd name="T24" fmla="*/ 1160946 w 62"/>
                <a:gd name="T25" fmla="*/ 237529 h 53"/>
                <a:gd name="T26" fmla="*/ 1326287 w 62"/>
                <a:gd name="T27" fmla="*/ 184039 h 53"/>
                <a:gd name="T28" fmla="*/ 1439207 w 62"/>
                <a:gd name="T29" fmla="*/ 39128 h 53"/>
                <a:gd name="T30" fmla="*/ 1538810 w 62"/>
                <a:gd name="T31" fmla="*/ 39128 h 53"/>
                <a:gd name="T32" fmla="*/ 1583303 w 62"/>
                <a:gd name="T33" fmla="*/ 39128 h 53"/>
                <a:gd name="T34" fmla="*/ 1704797 w 62"/>
                <a:gd name="T35" fmla="*/ 75303 h 53"/>
                <a:gd name="T36" fmla="*/ 1737331 w 62"/>
                <a:gd name="T37" fmla="*/ 114421 h 53"/>
                <a:gd name="T38" fmla="*/ 1781392 w 62"/>
                <a:gd name="T39" fmla="*/ 114421 h 53"/>
                <a:gd name="T40" fmla="*/ 1823874 w 62"/>
                <a:gd name="T41" fmla="*/ 457131 h 53"/>
                <a:gd name="T42" fmla="*/ 1990388 w 62"/>
                <a:gd name="T43" fmla="*/ 612054 h 53"/>
                <a:gd name="T44" fmla="*/ 1990388 w 62"/>
                <a:gd name="T45" fmla="*/ 681645 h 53"/>
                <a:gd name="T46" fmla="*/ 1990388 w 62"/>
                <a:gd name="T47" fmla="*/ 735270 h 53"/>
                <a:gd name="T48" fmla="*/ 2121558 w 62"/>
                <a:gd name="T49" fmla="*/ 848977 h 53"/>
                <a:gd name="T50" fmla="*/ 2327387 w 62"/>
                <a:gd name="T51" fmla="*/ 848977 h 53"/>
                <a:gd name="T52" fmla="*/ 2401344 w 62"/>
                <a:gd name="T53" fmla="*/ 1074917 h 53"/>
                <a:gd name="T54" fmla="*/ 2401344 w 62"/>
                <a:gd name="T55" fmla="*/ 1139103 h 53"/>
                <a:gd name="T56" fmla="*/ 2289300 w 62"/>
                <a:gd name="T57" fmla="*/ 1231662 h 53"/>
                <a:gd name="T58" fmla="*/ 2058908 w 62"/>
                <a:gd name="T59" fmla="*/ 1272777 h 53"/>
                <a:gd name="T60" fmla="*/ 2058908 w 62"/>
                <a:gd name="T61" fmla="*/ 1311845 h 53"/>
                <a:gd name="T62" fmla="*/ 1949193 w 62"/>
                <a:gd name="T63" fmla="*/ 1415048 h 53"/>
                <a:gd name="T64" fmla="*/ 1625290 w 62"/>
                <a:gd name="T65" fmla="*/ 1415048 h 53"/>
                <a:gd name="T66" fmla="*/ 1538810 w 62"/>
                <a:gd name="T67" fmla="*/ 1415048 h 53"/>
                <a:gd name="T68" fmla="*/ 862498 w 62"/>
                <a:gd name="T69" fmla="*/ 1415048 h 53"/>
                <a:gd name="T70" fmla="*/ 776843 w 62"/>
                <a:gd name="T71" fmla="*/ 1455226 h 53"/>
                <a:gd name="T72" fmla="*/ 776843 w 62"/>
                <a:gd name="T73" fmla="*/ 1569649 h 53"/>
                <a:gd name="T74" fmla="*/ 818040 w 62"/>
                <a:gd name="T75" fmla="*/ 1693127 h 53"/>
                <a:gd name="T76" fmla="*/ 776843 w 62"/>
                <a:gd name="T77" fmla="*/ 1809378 h 53"/>
                <a:gd name="T78" fmla="*/ 705244 w 62"/>
                <a:gd name="T79" fmla="*/ 1768428 h 53"/>
                <a:gd name="T80" fmla="*/ 497452 w 62"/>
                <a:gd name="T81" fmla="*/ 1768428 h 53"/>
                <a:gd name="T82" fmla="*/ 298744 w 62"/>
                <a:gd name="T83" fmla="*/ 1809378 h 53"/>
                <a:gd name="T84" fmla="*/ 278297 w 62"/>
                <a:gd name="T85" fmla="*/ 1768428 h 53"/>
                <a:gd name="T86" fmla="*/ 123801 w 62"/>
                <a:gd name="T87" fmla="*/ 1693127 h 53"/>
                <a:gd name="T88" fmla="*/ 79748 w 62"/>
                <a:gd name="T89" fmla="*/ 1594645 h 53"/>
                <a:gd name="T90" fmla="*/ 0 w 62"/>
                <a:gd name="T91" fmla="*/ 1569649 h 5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62"/>
                <a:gd name="T139" fmla="*/ 0 h 53"/>
                <a:gd name="T140" fmla="*/ 62 w 62"/>
                <a:gd name="T141" fmla="*/ 53 h 5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62" h="53">
                  <a:moveTo>
                    <a:pt x="0" y="44"/>
                  </a:moveTo>
                  <a:cubicBezTo>
                    <a:pt x="1" y="43"/>
                    <a:pt x="0" y="41"/>
                    <a:pt x="0" y="39"/>
                  </a:cubicBezTo>
                  <a:cubicBezTo>
                    <a:pt x="2" y="37"/>
                    <a:pt x="0" y="34"/>
                    <a:pt x="1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3" y="31"/>
                    <a:pt x="4" y="31"/>
                    <a:pt x="5" y="31"/>
                  </a:cubicBezTo>
                  <a:cubicBezTo>
                    <a:pt x="6" y="30"/>
                    <a:pt x="7" y="29"/>
                    <a:pt x="8" y="28"/>
                  </a:cubicBezTo>
                  <a:cubicBezTo>
                    <a:pt x="8" y="27"/>
                    <a:pt x="8" y="25"/>
                    <a:pt x="9" y="23"/>
                  </a:cubicBezTo>
                  <a:cubicBezTo>
                    <a:pt x="9" y="22"/>
                    <a:pt x="9" y="20"/>
                    <a:pt x="9" y="19"/>
                  </a:cubicBezTo>
                  <a:cubicBezTo>
                    <a:pt x="9" y="17"/>
                    <a:pt x="13" y="18"/>
                    <a:pt x="14" y="18"/>
                  </a:cubicBezTo>
                  <a:cubicBezTo>
                    <a:pt x="15" y="17"/>
                    <a:pt x="17" y="18"/>
                    <a:pt x="17" y="17"/>
                  </a:cubicBezTo>
                  <a:cubicBezTo>
                    <a:pt x="19" y="15"/>
                    <a:pt x="22" y="14"/>
                    <a:pt x="24" y="12"/>
                  </a:cubicBezTo>
                  <a:cubicBezTo>
                    <a:pt x="25" y="11"/>
                    <a:pt x="26" y="9"/>
                    <a:pt x="27" y="8"/>
                  </a:cubicBezTo>
                  <a:cubicBezTo>
                    <a:pt x="28" y="8"/>
                    <a:pt x="29" y="7"/>
                    <a:pt x="30" y="7"/>
                  </a:cubicBezTo>
                  <a:cubicBezTo>
                    <a:pt x="32" y="6"/>
                    <a:pt x="33" y="6"/>
                    <a:pt x="34" y="5"/>
                  </a:cubicBezTo>
                  <a:cubicBezTo>
                    <a:pt x="35" y="3"/>
                    <a:pt x="36" y="2"/>
                    <a:pt x="37" y="1"/>
                  </a:cubicBezTo>
                  <a:cubicBezTo>
                    <a:pt x="38" y="0"/>
                    <a:pt x="39" y="1"/>
                    <a:pt x="40" y="1"/>
                  </a:cubicBezTo>
                  <a:cubicBezTo>
                    <a:pt x="40" y="1"/>
                    <a:pt x="40" y="1"/>
                    <a:pt x="41" y="1"/>
                  </a:cubicBezTo>
                  <a:cubicBezTo>
                    <a:pt x="42" y="2"/>
                    <a:pt x="43" y="2"/>
                    <a:pt x="44" y="2"/>
                  </a:cubicBezTo>
                  <a:cubicBezTo>
                    <a:pt x="44" y="2"/>
                    <a:pt x="44" y="3"/>
                    <a:pt x="45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6"/>
                    <a:pt x="46" y="9"/>
                    <a:pt x="47" y="13"/>
                  </a:cubicBezTo>
                  <a:cubicBezTo>
                    <a:pt x="47" y="15"/>
                    <a:pt x="50" y="15"/>
                    <a:pt x="51" y="17"/>
                  </a:cubicBezTo>
                  <a:cubicBezTo>
                    <a:pt x="52" y="17"/>
                    <a:pt x="51" y="18"/>
                    <a:pt x="51" y="19"/>
                  </a:cubicBezTo>
                  <a:cubicBezTo>
                    <a:pt x="50" y="20"/>
                    <a:pt x="50" y="21"/>
                    <a:pt x="51" y="21"/>
                  </a:cubicBezTo>
                  <a:cubicBezTo>
                    <a:pt x="53" y="21"/>
                    <a:pt x="54" y="23"/>
                    <a:pt x="55" y="24"/>
                  </a:cubicBezTo>
                  <a:cubicBezTo>
                    <a:pt x="57" y="25"/>
                    <a:pt x="59" y="23"/>
                    <a:pt x="60" y="24"/>
                  </a:cubicBezTo>
                  <a:cubicBezTo>
                    <a:pt x="62" y="26"/>
                    <a:pt x="59" y="29"/>
                    <a:pt x="62" y="30"/>
                  </a:cubicBezTo>
                  <a:cubicBezTo>
                    <a:pt x="62" y="30"/>
                    <a:pt x="62" y="31"/>
                    <a:pt x="62" y="32"/>
                  </a:cubicBezTo>
                  <a:cubicBezTo>
                    <a:pt x="61" y="33"/>
                    <a:pt x="60" y="33"/>
                    <a:pt x="59" y="35"/>
                  </a:cubicBezTo>
                  <a:cubicBezTo>
                    <a:pt x="58" y="37"/>
                    <a:pt x="55" y="35"/>
                    <a:pt x="53" y="36"/>
                  </a:cubicBezTo>
                  <a:cubicBezTo>
                    <a:pt x="53" y="36"/>
                    <a:pt x="53" y="36"/>
                    <a:pt x="53" y="37"/>
                  </a:cubicBezTo>
                  <a:cubicBezTo>
                    <a:pt x="52" y="38"/>
                    <a:pt x="51" y="40"/>
                    <a:pt x="50" y="40"/>
                  </a:cubicBezTo>
                  <a:cubicBezTo>
                    <a:pt x="47" y="40"/>
                    <a:pt x="45" y="40"/>
                    <a:pt x="42" y="40"/>
                  </a:cubicBezTo>
                  <a:cubicBezTo>
                    <a:pt x="42" y="40"/>
                    <a:pt x="41" y="40"/>
                    <a:pt x="40" y="40"/>
                  </a:cubicBezTo>
                  <a:cubicBezTo>
                    <a:pt x="34" y="40"/>
                    <a:pt x="28" y="39"/>
                    <a:pt x="22" y="40"/>
                  </a:cubicBezTo>
                  <a:cubicBezTo>
                    <a:pt x="21" y="40"/>
                    <a:pt x="20" y="40"/>
                    <a:pt x="20" y="41"/>
                  </a:cubicBezTo>
                  <a:cubicBezTo>
                    <a:pt x="20" y="42"/>
                    <a:pt x="20" y="43"/>
                    <a:pt x="20" y="44"/>
                  </a:cubicBezTo>
                  <a:cubicBezTo>
                    <a:pt x="21" y="45"/>
                    <a:pt x="22" y="47"/>
                    <a:pt x="21" y="48"/>
                  </a:cubicBezTo>
                  <a:cubicBezTo>
                    <a:pt x="21" y="49"/>
                    <a:pt x="21" y="50"/>
                    <a:pt x="20" y="51"/>
                  </a:cubicBezTo>
                  <a:cubicBezTo>
                    <a:pt x="20" y="51"/>
                    <a:pt x="19" y="50"/>
                    <a:pt x="18" y="50"/>
                  </a:cubicBezTo>
                  <a:cubicBezTo>
                    <a:pt x="17" y="49"/>
                    <a:pt x="15" y="49"/>
                    <a:pt x="13" y="50"/>
                  </a:cubicBezTo>
                  <a:cubicBezTo>
                    <a:pt x="13" y="52"/>
                    <a:pt x="10" y="53"/>
                    <a:pt x="8" y="51"/>
                  </a:cubicBezTo>
                  <a:cubicBezTo>
                    <a:pt x="7" y="51"/>
                    <a:pt x="8" y="50"/>
                    <a:pt x="7" y="50"/>
                  </a:cubicBezTo>
                  <a:cubicBezTo>
                    <a:pt x="6" y="49"/>
                    <a:pt x="4" y="50"/>
                    <a:pt x="3" y="48"/>
                  </a:cubicBezTo>
                  <a:cubicBezTo>
                    <a:pt x="3" y="47"/>
                    <a:pt x="2" y="46"/>
                    <a:pt x="2" y="45"/>
                  </a:cubicBezTo>
                  <a:cubicBezTo>
                    <a:pt x="1" y="45"/>
                    <a:pt x="1" y="44"/>
                    <a:pt x="0" y="4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3" name="Freeform 365"/>
            <p:cNvSpPr>
              <a:spLocks/>
            </p:cNvSpPr>
            <p:nvPr/>
          </p:nvSpPr>
          <p:spPr bwMode="auto">
            <a:xfrm>
              <a:off x="6865680" y="5092459"/>
              <a:ext cx="164566" cy="118449"/>
            </a:xfrm>
            <a:custGeom>
              <a:avLst/>
              <a:gdLst>
                <a:gd name="T0" fmla="*/ 39430 w 122"/>
                <a:gd name="T1" fmla="*/ 3234686 h 109"/>
                <a:gd name="T2" fmla="*/ 185777 w 122"/>
                <a:gd name="T3" fmla="*/ 3457386 h 109"/>
                <a:gd name="T4" fmla="*/ 321235 w 122"/>
                <a:gd name="T5" fmla="*/ 3649116 h 109"/>
                <a:gd name="T6" fmla="*/ 582197 w 122"/>
                <a:gd name="T7" fmla="*/ 3855199 h 109"/>
                <a:gd name="T8" fmla="*/ 689299 w 122"/>
                <a:gd name="T9" fmla="*/ 3813315 h 109"/>
                <a:gd name="T10" fmla="*/ 782712 w 122"/>
                <a:gd name="T11" fmla="*/ 3773841 h 109"/>
                <a:gd name="T12" fmla="*/ 928982 w 122"/>
                <a:gd name="T13" fmla="*/ 3930988 h 109"/>
                <a:gd name="T14" fmla="*/ 971105 w 122"/>
                <a:gd name="T15" fmla="*/ 3697695 h 109"/>
                <a:gd name="T16" fmla="*/ 1121445 w 122"/>
                <a:gd name="T17" fmla="*/ 3350361 h 109"/>
                <a:gd name="T18" fmla="*/ 1327748 w 122"/>
                <a:gd name="T19" fmla="*/ 3310866 h 109"/>
                <a:gd name="T20" fmla="*/ 1753160 w 122"/>
                <a:gd name="T21" fmla="*/ 3350361 h 109"/>
                <a:gd name="T22" fmla="*/ 2050635 w 122"/>
                <a:gd name="T23" fmla="*/ 3426252 h 109"/>
                <a:gd name="T24" fmla="*/ 2256497 w 122"/>
                <a:gd name="T25" fmla="*/ 3426252 h 109"/>
                <a:gd name="T26" fmla="*/ 2684602 w 122"/>
                <a:gd name="T27" fmla="*/ 3573021 h 109"/>
                <a:gd name="T28" fmla="*/ 2946546 w 122"/>
                <a:gd name="T29" fmla="*/ 3426252 h 109"/>
                <a:gd name="T30" fmla="*/ 3222915 w 122"/>
                <a:gd name="T31" fmla="*/ 3386803 h 109"/>
                <a:gd name="T32" fmla="*/ 3376989 w 122"/>
                <a:gd name="T33" fmla="*/ 3457386 h 109"/>
                <a:gd name="T34" fmla="*/ 3729009 w 122"/>
                <a:gd name="T35" fmla="*/ 3192241 h 109"/>
                <a:gd name="T36" fmla="*/ 3765659 w 122"/>
                <a:gd name="T37" fmla="*/ 2881874 h 109"/>
                <a:gd name="T38" fmla="*/ 4265867 w 122"/>
                <a:gd name="T39" fmla="*/ 2376364 h 109"/>
                <a:gd name="T40" fmla="*/ 4307100 w 122"/>
                <a:gd name="T41" fmla="*/ 1255519 h 109"/>
                <a:gd name="T42" fmla="*/ 4346530 w 122"/>
                <a:gd name="T43" fmla="*/ 1007497 h 109"/>
                <a:gd name="T44" fmla="*/ 4307100 w 122"/>
                <a:gd name="T45" fmla="*/ 860023 h 109"/>
                <a:gd name="T46" fmla="*/ 4190975 w 122"/>
                <a:gd name="T47" fmla="*/ 619909 h 109"/>
                <a:gd name="T48" fmla="*/ 4140524 w 122"/>
                <a:gd name="T49" fmla="*/ 358740 h 109"/>
                <a:gd name="T50" fmla="*/ 4065347 w 122"/>
                <a:gd name="T51" fmla="*/ 222646 h 109"/>
                <a:gd name="T52" fmla="*/ 3846010 w 122"/>
                <a:gd name="T53" fmla="*/ 240309 h 109"/>
                <a:gd name="T54" fmla="*/ 3563835 w 122"/>
                <a:gd name="T55" fmla="*/ 39522 h 109"/>
                <a:gd name="T56" fmla="*/ 3222915 w 122"/>
                <a:gd name="T57" fmla="*/ 0 h 109"/>
                <a:gd name="T58" fmla="*/ 3096102 w 122"/>
                <a:gd name="T59" fmla="*/ 115564 h 109"/>
                <a:gd name="T60" fmla="*/ 1085043 w 122"/>
                <a:gd name="T61" fmla="*/ 1475341 h 109"/>
                <a:gd name="T62" fmla="*/ 1085043 w 122"/>
                <a:gd name="T63" fmla="*/ 1941049 h 109"/>
                <a:gd name="T64" fmla="*/ 1085043 w 122"/>
                <a:gd name="T65" fmla="*/ 2523848 h 109"/>
                <a:gd name="T66" fmla="*/ 858547 w 122"/>
                <a:gd name="T67" fmla="*/ 2726004 h 109"/>
                <a:gd name="T68" fmla="*/ 239952 w 122"/>
                <a:gd name="T69" fmla="*/ 2766182 h 109"/>
                <a:gd name="T70" fmla="*/ 0 w 122"/>
                <a:gd name="T71" fmla="*/ 2881874 h 10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22"/>
                <a:gd name="T109" fmla="*/ 0 h 109"/>
                <a:gd name="T110" fmla="*/ 122 w 122"/>
                <a:gd name="T111" fmla="*/ 109 h 10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22" h="109">
                  <a:moveTo>
                    <a:pt x="0" y="80"/>
                  </a:moveTo>
                  <a:cubicBezTo>
                    <a:pt x="0" y="83"/>
                    <a:pt x="0" y="86"/>
                    <a:pt x="1" y="90"/>
                  </a:cubicBezTo>
                  <a:cubicBezTo>
                    <a:pt x="1" y="92"/>
                    <a:pt x="4" y="92"/>
                    <a:pt x="5" y="94"/>
                  </a:cubicBezTo>
                  <a:cubicBezTo>
                    <a:pt x="6" y="94"/>
                    <a:pt x="5" y="95"/>
                    <a:pt x="5" y="96"/>
                  </a:cubicBezTo>
                  <a:cubicBezTo>
                    <a:pt x="4" y="97"/>
                    <a:pt x="4" y="98"/>
                    <a:pt x="5" y="98"/>
                  </a:cubicBezTo>
                  <a:cubicBezTo>
                    <a:pt x="7" y="98"/>
                    <a:pt x="8" y="100"/>
                    <a:pt x="9" y="101"/>
                  </a:cubicBezTo>
                  <a:cubicBezTo>
                    <a:pt x="11" y="102"/>
                    <a:pt x="13" y="100"/>
                    <a:pt x="14" y="101"/>
                  </a:cubicBezTo>
                  <a:cubicBezTo>
                    <a:pt x="16" y="103"/>
                    <a:pt x="13" y="106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7" y="107"/>
                    <a:pt x="18" y="107"/>
                    <a:pt x="19" y="106"/>
                  </a:cubicBezTo>
                  <a:cubicBezTo>
                    <a:pt x="20" y="106"/>
                    <a:pt x="21" y="106"/>
                    <a:pt x="21" y="105"/>
                  </a:cubicBezTo>
                  <a:cubicBezTo>
                    <a:pt x="22" y="105"/>
                    <a:pt x="22" y="105"/>
                    <a:pt x="22" y="105"/>
                  </a:cubicBezTo>
                  <a:cubicBezTo>
                    <a:pt x="23" y="107"/>
                    <a:pt x="24" y="108"/>
                    <a:pt x="26" y="109"/>
                  </a:cubicBezTo>
                  <a:cubicBezTo>
                    <a:pt x="26" y="109"/>
                    <a:pt x="26" y="109"/>
                    <a:pt x="26" y="109"/>
                  </a:cubicBezTo>
                  <a:cubicBezTo>
                    <a:pt x="26" y="107"/>
                    <a:pt x="26" y="106"/>
                    <a:pt x="27" y="105"/>
                  </a:cubicBezTo>
                  <a:cubicBezTo>
                    <a:pt x="27" y="104"/>
                    <a:pt x="26" y="104"/>
                    <a:pt x="27" y="103"/>
                  </a:cubicBezTo>
                  <a:cubicBezTo>
                    <a:pt x="27" y="102"/>
                    <a:pt x="29" y="101"/>
                    <a:pt x="30" y="100"/>
                  </a:cubicBezTo>
                  <a:cubicBezTo>
                    <a:pt x="31" y="98"/>
                    <a:pt x="30" y="96"/>
                    <a:pt x="31" y="93"/>
                  </a:cubicBezTo>
                  <a:cubicBezTo>
                    <a:pt x="32" y="93"/>
                    <a:pt x="32" y="92"/>
                    <a:pt x="33" y="92"/>
                  </a:cubicBezTo>
                  <a:cubicBezTo>
                    <a:pt x="34" y="91"/>
                    <a:pt x="36" y="92"/>
                    <a:pt x="37" y="92"/>
                  </a:cubicBezTo>
                  <a:cubicBezTo>
                    <a:pt x="39" y="89"/>
                    <a:pt x="42" y="89"/>
                    <a:pt x="45" y="90"/>
                  </a:cubicBezTo>
                  <a:cubicBezTo>
                    <a:pt x="46" y="91"/>
                    <a:pt x="48" y="92"/>
                    <a:pt x="49" y="93"/>
                  </a:cubicBezTo>
                  <a:cubicBezTo>
                    <a:pt x="50" y="95"/>
                    <a:pt x="51" y="98"/>
                    <a:pt x="54" y="97"/>
                  </a:cubicBezTo>
                  <a:cubicBezTo>
                    <a:pt x="55" y="97"/>
                    <a:pt x="56" y="96"/>
                    <a:pt x="57" y="95"/>
                  </a:cubicBezTo>
                  <a:cubicBezTo>
                    <a:pt x="59" y="95"/>
                    <a:pt x="60" y="95"/>
                    <a:pt x="61" y="95"/>
                  </a:cubicBezTo>
                  <a:cubicBezTo>
                    <a:pt x="62" y="95"/>
                    <a:pt x="63" y="95"/>
                    <a:pt x="63" y="95"/>
                  </a:cubicBezTo>
                  <a:cubicBezTo>
                    <a:pt x="65" y="97"/>
                    <a:pt x="67" y="99"/>
                    <a:pt x="69" y="99"/>
                  </a:cubicBezTo>
                  <a:cubicBezTo>
                    <a:pt x="71" y="100"/>
                    <a:pt x="73" y="100"/>
                    <a:pt x="75" y="99"/>
                  </a:cubicBezTo>
                  <a:cubicBezTo>
                    <a:pt x="76" y="98"/>
                    <a:pt x="77" y="97"/>
                    <a:pt x="78" y="96"/>
                  </a:cubicBezTo>
                  <a:cubicBezTo>
                    <a:pt x="79" y="95"/>
                    <a:pt x="81" y="95"/>
                    <a:pt x="82" y="95"/>
                  </a:cubicBezTo>
                  <a:cubicBezTo>
                    <a:pt x="83" y="95"/>
                    <a:pt x="83" y="94"/>
                    <a:pt x="84" y="94"/>
                  </a:cubicBezTo>
                  <a:cubicBezTo>
                    <a:pt x="86" y="94"/>
                    <a:pt x="88" y="94"/>
                    <a:pt x="90" y="94"/>
                  </a:cubicBezTo>
                  <a:cubicBezTo>
                    <a:pt x="92" y="94"/>
                    <a:pt x="92" y="95"/>
                    <a:pt x="93" y="95"/>
                  </a:cubicBezTo>
                  <a:cubicBezTo>
                    <a:pt x="93" y="96"/>
                    <a:pt x="94" y="96"/>
                    <a:pt x="94" y="96"/>
                  </a:cubicBezTo>
                  <a:cubicBezTo>
                    <a:pt x="96" y="95"/>
                    <a:pt x="97" y="93"/>
                    <a:pt x="99" y="92"/>
                  </a:cubicBezTo>
                  <a:cubicBezTo>
                    <a:pt x="100" y="91"/>
                    <a:pt x="102" y="90"/>
                    <a:pt x="104" y="89"/>
                  </a:cubicBezTo>
                  <a:cubicBezTo>
                    <a:pt x="104" y="89"/>
                    <a:pt x="104" y="89"/>
                    <a:pt x="104" y="88"/>
                  </a:cubicBezTo>
                  <a:cubicBezTo>
                    <a:pt x="105" y="85"/>
                    <a:pt x="105" y="83"/>
                    <a:pt x="105" y="80"/>
                  </a:cubicBezTo>
                  <a:cubicBezTo>
                    <a:pt x="105" y="79"/>
                    <a:pt x="106" y="78"/>
                    <a:pt x="107" y="77"/>
                  </a:cubicBezTo>
                  <a:cubicBezTo>
                    <a:pt x="111" y="72"/>
                    <a:pt x="116" y="70"/>
                    <a:pt x="119" y="66"/>
                  </a:cubicBezTo>
                  <a:cubicBezTo>
                    <a:pt x="120" y="65"/>
                    <a:pt x="120" y="65"/>
                    <a:pt x="120" y="64"/>
                  </a:cubicBezTo>
                  <a:cubicBezTo>
                    <a:pt x="120" y="54"/>
                    <a:pt x="119" y="44"/>
                    <a:pt x="120" y="35"/>
                  </a:cubicBezTo>
                  <a:cubicBezTo>
                    <a:pt x="120" y="34"/>
                    <a:pt x="121" y="33"/>
                    <a:pt x="121" y="32"/>
                  </a:cubicBezTo>
                  <a:cubicBezTo>
                    <a:pt x="121" y="30"/>
                    <a:pt x="121" y="29"/>
                    <a:pt x="121" y="28"/>
                  </a:cubicBezTo>
                  <a:cubicBezTo>
                    <a:pt x="121" y="27"/>
                    <a:pt x="122" y="26"/>
                    <a:pt x="121" y="25"/>
                  </a:cubicBezTo>
                  <a:cubicBezTo>
                    <a:pt x="121" y="25"/>
                    <a:pt x="121" y="24"/>
                    <a:pt x="120" y="24"/>
                  </a:cubicBezTo>
                  <a:cubicBezTo>
                    <a:pt x="120" y="22"/>
                    <a:pt x="120" y="21"/>
                    <a:pt x="119" y="20"/>
                  </a:cubicBezTo>
                  <a:cubicBezTo>
                    <a:pt x="119" y="19"/>
                    <a:pt x="118" y="18"/>
                    <a:pt x="117" y="17"/>
                  </a:cubicBezTo>
                  <a:cubicBezTo>
                    <a:pt x="117" y="16"/>
                    <a:pt x="117" y="14"/>
                    <a:pt x="116" y="13"/>
                  </a:cubicBezTo>
                  <a:cubicBezTo>
                    <a:pt x="115" y="12"/>
                    <a:pt x="115" y="11"/>
                    <a:pt x="115" y="10"/>
                  </a:cubicBezTo>
                  <a:cubicBezTo>
                    <a:pt x="114" y="8"/>
                    <a:pt x="115" y="7"/>
                    <a:pt x="114" y="6"/>
                  </a:cubicBezTo>
                  <a:cubicBezTo>
                    <a:pt x="114" y="6"/>
                    <a:pt x="114" y="6"/>
                    <a:pt x="113" y="6"/>
                  </a:cubicBezTo>
                  <a:cubicBezTo>
                    <a:pt x="112" y="8"/>
                    <a:pt x="110" y="8"/>
                    <a:pt x="108" y="8"/>
                  </a:cubicBezTo>
                  <a:cubicBezTo>
                    <a:pt x="108" y="8"/>
                    <a:pt x="107" y="8"/>
                    <a:pt x="107" y="7"/>
                  </a:cubicBezTo>
                  <a:cubicBezTo>
                    <a:pt x="106" y="6"/>
                    <a:pt x="105" y="4"/>
                    <a:pt x="104" y="4"/>
                  </a:cubicBezTo>
                  <a:cubicBezTo>
                    <a:pt x="102" y="3"/>
                    <a:pt x="101" y="2"/>
                    <a:pt x="99" y="1"/>
                  </a:cubicBezTo>
                  <a:cubicBezTo>
                    <a:pt x="96" y="0"/>
                    <a:pt x="93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"/>
                    <a:pt x="89" y="1"/>
                    <a:pt x="89" y="2"/>
                  </a:cubicBezTo>
                  <a:cubicBezTo>
                    <a:pt x="88" y="2"/>
                    <a:pt x="87" y="3"/>
                    <a:pt x="86" y="3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5"/>
                    <a:pt x="30" y="50"/>
                    <a:pt x="30" y="54"/>
                  </a:cubicBezTo>
                  <a:cubicBezTo>
                    <a:pt x="30" y="55"/>
                    <a:pt x="31" y="56"/>
                    <a:pt x="31" y="57"/>
                  </a:cubicBezTo>
                  <a:cubicBezTo>
                    <a:pt x="31" y="61"/>
                    <a:pt x="32" y="66"/>
                    <a:pt x="30" y="70"/>
                  </a:cubicBezTo>
                  <a:cubicBezTo>
                    <a:pt x="30" y="71"/>
                    <a:pt x="29" y="71"/>
                    <a:pt x="28" y="72"/>
                  </a:cubicBezTo>
                  <a:cubicBezTo>
                    <a:pt x="28" y="74"/>
                    <a:pt x="25" y="75"/>
                    <a:pt x="24" y="76"/>
                  </a:cubicBezTo>
                  <a:cubicBezTo>
                    <a:pt x="21" y="76"/>
                    <a:pt x="18" y="75"/>
                    <a:pt x="15" y="76"/>
                  </a:cubicBezTo>
                  <a:cubicBezTo>
                    <a:pt x="12" y="77"/>
                    <a:pt x="10" y="76"/>
                    <a:pt x="7" y="77"/>
                  </a:cubicBezTo>
                  <a:cubicBezTo>
                    <a:pt x="6" y="77"/>
                    <a:pt x="4" y="79"/>
                    <a:pt x="3" y="80"/>
                  </a:cubicBezTo>
                  <a:cubicBezTo>
                    <a:pt x="2" y="80"/>
                    <a:pt x="1" y="80"/>
                    <a:pt x="0" y="8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4" name="Freeform 366"/>
            <p:cNvSpPr>
              <a:spLocks/>
            </p:cNvSpPr>
            <p:nvPr/>
          </p:nvSpPr>
          <p:spPr bwMode="auto">
            <a:xfrm>
              <a:off x="6888881" y="5189154"/>
              <a:ext cx="127593" cy="95485"/>
            </a:xfrm>
            <a:custGeom>
              <a:avLst/>
              <a:gdLst>
                <a:gd name="T0" fmla="*/ 1745668 w 94"/>
                <a:gd name="T1" fmla="*/ 2904102 h 88"/>
                <a:gd name="T2" fmla="*/ 1745668 w 94"/>
                <a:gd name="T3" fmla="*/ 2944692 h 88"/>
                <a:gd name="T4" fmla="*/ 1331944 w 94"/>
                <a:gd name="T5" fmla="*/ 2977240 h 88"/>
                <a:gd name="T6" fmla="*/ 1090637 w 94"/>
                <a:gd name="T7" fmla="*/ 2977240 h 88"/>
                <a:gd name="T8" fmla="*/ 865363 w 94"/>
                <a:gd name="T9" fmla="*/ 2866094 h 88"/>
                <a:gd name="T10" fmla="*/ 820985 w 94"/>
                <a:gd name="T11" fmla="*/ 2710462 h 88"/>
                <a:gd name="T12" fmla="*/ 666565 w 94"/>
                <a:gd name="T13" fmla="*/ 2499199 h 88"/>
                <a:gd name="T14" fmla="*/ 465666 w 94"/>
                <a:gd name="T15" fmla="*/ 2367947 h 88"/>
                <a:gd name="T16" fmla="*/ 0 w 94"/>
                <a:gd name="T17" fmla="*/ 2389251 h 88"/>
                <a:gd name="T18" fmla="*/ 0 w 94"/>
                <a:gd name="T19" fmla="*/ 1894976 h 88"/>
                <a:gd name="T20" fmla="*/ 199302 w 94"/>
                <a:gd name="T21" fmla="*/ 1512195 h 88"/>
                <a:gd name="T22" fmla="*/ 240509 w 94"/>
                <a:gd name="T23" fmla="*/ 1339579 h 88"/>
                <a:gd name="T24" fmla="*/ 299766 w 94"/>
                <a:gd name="T25" fmla="*/ 855553 h 88"/>
                <a:gd name="T26" fmla="*/ 299766 w 94"/>
                <a:gd name="T27" fmla="*/ 677630 h 88"/>
                <a:gd name="T28" fmla="*/ 344270 w 94"/>
                <a:gd name="T29" fmla="*/ 555401 h 88"/>
                <a:gd name="T30" fmla="*/ 465666 w 94"/>
                <a:gd name="T31" fmla="*/ 372094 h 88"/>
                <a:gd name="T32" fmla="*/ 580398 w 94"/>
                <a:gd name="T33" fmla="*/ 111171 h 88"/>
                <a:gd name="T34" fmla="*/ 1051848 w 94"/>
                <a:gd name="T35" fmla="*/ 38321 h 88"/>
                <a:gd name="T36" fmla="*/ 1413259 w 94"/>
                <a:gd name="T37" fmla="*/ 271426 h 88"/>
                <a:gd name="T38" fmla="*/ 1675490 w 94"/>
                <a:gd name="T39" fmla="*/ 213499 h 88"/>
                <a:gd name="T40" fmla="*/ 1998218 w 94"/>
                <a:gd name="T41" fmla="*/ 334318 h 88"/>
                <a:gd name="T42" fmla="*/ 2342454 w 94"/>
                <a:gd name="T43" fmla="*/ 231974 h 88"/>
                <a:gd name="T44" fmla="*/ 2578870 w 94"/>
                <a:gd name="T45" fmla="*/ 174083 h 88"/>
                <a:gd name="T46" fmla="*/ 2922845 w 94"/>
                <a:gd name="T47" fmla="*/ 213499 h 88"/>
                <a:gd name="T48" fmla="*/ 3163439 w 94"/>
                <a:gd name="T49" fmla="*/ 111171 h 88"/>
                <a:gd name="T50" fmla="*/ 3501697 w 94"/>
                <a:gd name="T51" fmla="*/ 334318 h 88"/>
                <a:gd name="T52" fmla="*/ 3501697 w 94"/>
                <a:gd name="T53" fmla="*/ 372094 h 88"/>
                <a:gd name="T54" fmla="*/ 3632247 w 94"/>
                <a:gd name="T55" fmla="*/ 677630 h 88"/>
                <a:gd name="T56" fmla="*/ 3546161 w 94"/>
                <a:gd name="T57" fmla="*/ 817587 h 88"/>
                <a:gd name="T58" fmla="*/ 3421943 w 94"/>
                <a:gd name="T59" fmla="*/ 1087730 h 88"/>
                <a:gd name="T60" fmla="*/ 3288411 w 94"/>
                <a:gd name="T61" fmla="*/ 1301358 h 88"/>
                <a:gd name="T62" fmla="*/ 3201916 w 94"/>
                <a:gd name="T63" fmla="*/ 1474634 h 88"/>
                <a:gd name="T64" fmla="*/ 3036045 w 94"/>
                <a:gd name="T65" fmla="*/ 1785158 h 88"/>
                <a:gd name="T66" fmla="*/ 2967309 w 94"/>
                <a:gd name="T67" fmla="*/ 1894976 h 88"/>
                <a:gd name="T68" fmla="*/ 2881653 w 94"/>
                <a:gd name="T69" fmla="*/ 2048399 h 88"/>
                <a:gd name="T70" fmla="*/ 2736310 w 94"/>
                <a:gd name="T71" fmla="*/ 2299641 h 88"/>
                <a:gd name="T72" fmla="*/ 2342454 w 94"/>
                <a:gd name="T73" fmla="*/ 2189941 h 88"/>
                <a:gd name="T74" fmla="*/ 2036557 w 94"/>
                <a:gd name="T75" fmla="*/ 2420481 h 88"/>
                <a:gd name="T76" fmla="*/ 1912295 w 94"/>
                <a:gd name="T77" fmla="*/ 2572601 h 88"/>
                <a:gd name="T78" fmla="*/ 1875996 w 94"/>
                <a:gd name="T79" fmla="*/ 2904102 h 8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4"/>
                <a:gd name="T121" fmla="*/ 0 h 88"/>
                <a:gd name="T122" fmla="*/ 94 w 94"/>
                <a:gd name="T123" fmla="*/ 88 h 88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4" h="88">
                  <a:moveTo>
                    <a:pt x="48" y="85"/>
                  </a:moveTo>
                  <a:cubicBezTo>
                    <a:pt x="47" y="84"/>
                    <a:pt x="46" y="84"/>
                    <a:pt x="45" y="85"/>
                  </a:cubicBezTo>
                  <a:cubicBezTo>
                    <a:pt x="44" y="85"/>
                    <a:pt x="45" y="85"/>
                    <a:pt x="44" y="86"/>
                  </a:cubicBezTo>
                  <a:cubicBezTo>
                    <a:pt x="44" y="86"/>
                    <a:pt x="45" y="86"/>
                    <a:pt x="45" y="86"/>
                  </a:cubicBezTo>
                  <a:cubicBezTo>
                    <a:pt x="44" y="86"/>
                    <a:pt x="43" y="86"/>
                    <a:pt x="42" y="87"/>
                  </a:cubicBezTo>
                  <a:cubicBezTo>
                    <a:pt x="39" y="87"/>
                    <a:pt x="37" y="87"/>
                    <a:pt x="34" y="87"/>
                  </a:cubicBezTo>
                  <a:cubicBezTo>
                    <a:pt x="32" y="87"/>
                    <a:pt x="31" y="88"/>
                    <a:pt x="29" y="88"/>
                  </a:cubicBezTo>
                  <a:cubicBezTo>
                    <a:pt x="29" y="88"/>
                    <a:pt x="29" y="87"/>
                    <a:pt x="28" y="87"/>
                  </a:cubicBezTo>
                  <a:cubicBezTo>
                    <a:pt x="27" y="86"/>
                    <a:pt x="25" y="87"/>
                    <a:pt x="24" y="86"/>
                  </a:cubicBezTo>
                  <a:cubicBezTo>
                    <a:pt x="23" y="86"/>
                    <a:pt x="22" y="85"/>
                    <a:pt x="22" y="84"/>
                  </a:cubicBezTo>
                  <a:cubicBezTo>
                    <a:pt x="21" y="84"/>
                    <a:pt x="21" y="83"/>
                    <a:pt x="21" y="83"/>
                  </a:cubicBezTo>
                  <a:cubicBezTo>
                    <a:pt x="21" y="82"/>
                    <a:pt x="21" y="80"/>
                    <a:pt x="21" y="79"/>
                  </a:cubicBezTo>
                  <a:cubicBezTo>
                    <a:pt x="20" y="78"/>
                    <a:pt x="19" y="77"/>
                    <a:pt x="19" y="76"/>
                  </a:cubicBezTo>
                  <a:cubicBezTo>
                    <a:pt x="18" y="75"/>
                    <a:pt x="18" y="74"/>
                    <a:pt x="17" y="73"/>
                  </a:cubicBezTo>
                  <a:cubicBezTo>
                    <a:pt x="17" y="72"/>
                    <a:pt x="16" y="71"/>
                    <a:pt x="15" y="70"/>
                  </a:cubicBezTo>
                  <a:cubicBezTo>
                    <a:pt x="14" y="70"/>
                    <a:pt x="13" y="69"/>
                    <a:pt x="12" y="69"/>
                  </a:cubicBezTo>
                  <a:cubicBezTo>
                    <a:pt x="8" y="68"/>
                    <a:pt x="5" y="69"/>
                    <a:pt x="2" y="70"/>
                  </a:cubicBezTo>
                  <a:cubicBezTo>
                    <a:pt x="1" y="70"/>
                    <a:pt x="1" y="70"/>
                    <a:pt x="0" y="70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" y="64"/>
                    <a:pt x="0" y="60"/>
                    <a:pt x="0" y="55"/>
                  </a:cubicBezTo>
                  <a:cubicBezTo>
                    <a:pt x="2" y="52"/>
                    <a:pt x="1" y="48"/>
                    <a:pt x="2" y="45"/>
                  </a:cubicBezTo>
                  <a:cubicBezTo>
                    <a:pt x="2" y="44"/>
                    <a:pt x="4" y="45"/>
                    <a:pt x="5" y="44"/>
                  </a:cubicBezTo>
                  <a:cubicBezTo>
                    <a:pt x="5" y="44"/>
                    <a:pt x="5" y="43"/>
                    <a:pt x="5" y="43"/>
                  </a:cubicBezTo>
                  <a:cubicBezTo>
                    <a:pt x="6" y="41"/>
                    <a:pt x="6" y="40"/>
                    <a:pt x="6" y="39"/>
                  </a:cubicBezTo>
                  <a:cubicBezTo>
                    <a:pt x="7" y="37"/>
                    <a:pt x="8" y="35"/>
                    <a:pt x="8" y="32"/>
                  </a:cubicBezTo>
                  <a:cubicBezTo>
                    <a:pt x="9" y="30"/>
                    <a:pt x="9" y="28"/>
                    <a:pt x="8" y="25"/>
                  </a:cubicBezTo>
                  <a:cubicBezTo>
                    <a:pt x="8" y="24"/>
                    <a:pt x="8" y="23"/>
                    <a:pt x="8" y="2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18"/>
                    <a:pt x="8" y="17"/>
                    <a:pt x="9" y="16"/>
                  </a:cubicBezTo>
                  <a:cubicBezTo>
                    <a:pt x="9" y="15"/>
                    <a:pt x="8" y="15"/>
                    <a:pt x="9" y="14"/>
                  </a:cubicBezTo>
                  <a:cubicBezTo>
                    <a:pt x="9" y="13"/>
                    <a:pt x="11" y="12"/>
                    <a:pt x="12" y="11"/>
                  </a:cubicBezTo>
                  <a:cubicBezTo>
                    <a:pt x="13" y="9"/>
                    <a:pt x="12" y="7"/>
                    <a:pt x="13" y="4"/>
                  </a:cubicBezTo>
                  <a:cubicBezTo>
                    <a:pt x="14" y="4"/>
                    <a:pt x="14" y="3"/>
                    <a:pt x="15" y="3"/>
                  </a:cubicBezTo>
                  <a:cubicBezTo>
                    <a:pt x="16" y="2"/>
                    <a:pt x="18" y="3"/>
                    <a:pt x="19" y="3"/>
                  </a:cubicBezTo>
                  <a:cubicBezTo>
                    <a:pt x="21" y="0"/>
                    <a:pt x="24" y="0"/>
                    <a:pt x="27" y="1"/>
                  </a:cubicBezTo>
                  <a:cubicBezTo>
                    <a:pt x="28" y="2"/>
                    <a:pt x="30" y="3"/>
                    <a:pt x="31" y="4"/>
                  </a:cubicBezTo>
                  <a:cubicBezTo>
                    <a:pt x="32" y="6"/>
                    <a:pt x="33" y="9"/>
                    <a:pt x="36" y="8"/>
                  </a:cubicBezTo>
                  <a:cubicBezTo>
                    <a:pt x="37" y="8"/>
                    <a:pt x="38" y="7"/>
                    <a:pt x="39" y="6"/>
                  </a:cubicBezTo>
                  <a:cubicBezTo>
                    <a:pt x="41" y="6"/>
                    <a:pt x="42" y="6"/>
                    <a:pt x="43" y="6"/>
                  </a:cubicBezTo>
                  <a:cubicBezTo>
                    <a:pt x="44" y="6"/>
                    <a:pt x="45" y="6"/>
                    <a:pt x="45" y="6"/>
                  </a:cubicBezTo>
                  <a:cubicBezTo>
                    <a:pt x="47" y="8"/>
                    <a:pt x="49" y="10"/>
                    <a:pt x="51" y="10"/>
                  </a:cubicBezTo>
                  <a:cubicBezTo>
                    <a:pt x="53" y="11"/>
                    <a:pt x="55" y="11"/>
                    <a:pt x="57" y="10"/>
                  </a:cubicBezTo>
                  <a:cubicBezTo>
                    <a:pt x="58" y="9"/>
                    <a:pt x="59" y="8"/>
                    <a:pt x="60" y="7"/>
                  </a:cubicBezTo>
                  <a:cubicBezTo>
                    <a:pt x="61" y="6"/>
                    <a:pt x="63" y="6"/>
                    <a:pt x="64" y="6"/>
                  </a:cubicBezTo>
                  <a:cubicBezTo>
                    <a:pt x="65" y="6"/>
                    <a:pt x="65" y="5"/>
                    <a:pt x="66" y="5"/>
                  </a:cubicBezTo>
                  <a:cubicBezTo>
                    <a:pt x="68" y="5"/>
                    <a:pt x="70" y="5"/>
                    <a:pt x="72" y="5"/>
                  </a:cubicBezTo>
                  <a:cubicBezTo>
                    <a:pt x="74" y="5"/>
                    <a:pt x="74" y="6"/>
                    <a:pt x="75" y="6"/>
                  </a:cubicBezTo>
                  <a:cubicBezTo>
                    <a:pt x="75" y="7"/>
                    <a:pt x="76" y="7"/>
                    <a:pt x="76" y="7"/>
                  </a:cubicBezTo>
                  <a:cubicBezTo>
                    <a:pt x="78" y="6"/>
                    <a:pt x="79" y="4"/>
                    <a:pt x="81" y="3"/>
                  </a:cubicBezTo>
                  <a:cubicBezTo>
                    <a:pt x="82" y="2"/>
                    <a:pt x="84" y="1"/>
                    <a:pt x="86" y="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11"/>
                    <a:pt x="90" y="11"/>
                  </a:cubicBezTo>
                  <a:cubicBezTo>
                    <a:pt x="91" y="12"/>
                    <a:pt x="92" y="14"/>
                    <a:pt x="93" y="16"/>
                  </a:cubicBezTo>
                  <a:cubicBezTo>
                    <a:pt x="94" y="17"/>
                    <a:pt x="94" y="18"/>
                    <a:pt x="93" y="20"/>
                  </a:cubicBezTo>
                  <a:cubicBezTo>
                    <a:pt x="93" y="20"/>
                    <a:pt x="93" y="20"/>
                    <a:pt x="93" y="21"/>
                  </a:cubicBezTo>
                  <a:cubicBezTo>
                    <a:pt x="92" y="22"/>
                    <a:pt x="92" y="23"/>
                    <a:pt x="91" y="24"/>
                  </a:cubicBezTo>
                  <a:cubicBezTo>
                    <a:pt x="91" y="25"/>
                    <a:pt x="90" y="25"/>
                    <a:pt x="89" y="26"/>
                  </a:cubicBezTo>
                  <a:cubicBezTo>
                    <a:pt x="88" y="28"/>
                    <a:pt x="88" y="30"/>
                    <a:pt x="88" y="32"/>
                  </a:cubicBezTo>
                  <a:cubicBezTo>
                    <a:pt x="87" y="33"/>
                    <a:pt x="85" y="34"/>
                    <a:pt x="85" y="35"/>
                  </a:cubicBezTo>
                  <a:cubicBezTo>
                    <a:pt x="84" y="36"/>
                    <a:pt x="84" y="37"/>
                    <a:pt x="84" y="38"/>
                  </a:cubicBezTo>
                  <a:cubicBezTo>
                    <a:pt x="84" y="38"/>
                    <a:pt x="84" y="39"/>
                    <a:pt x="83" y="39"/>
                  </a:cubicBezTo>
                  <a:cubicBezTo>
                    <a:pt x="83" y="40"/>
                    <a:pt x="82" y="41"/>
                    <a:pt x="82" y="43"/>
                  </a:cubicBezTo>
                  <a:cubicBezTo>
                    <a:pt x="81" y="44"/>
                    <a:pt x="81" y="47"/>
                    <a:pt x="80" y="49"/>
                  </a:cubicBezTo>
                  <a:cubicBezTo>
                    <a:pt x="80" y="50"/>
                    <a:pt x="79" y="51"/>
                    <a:pt x="78" y="52"/>
                  </a:cubicBezTo>
                  <a:cubicBezTo>
                    <a:pt x="77" y="52"/>
                    <a:pt x="77" y="53"/>
                    <a:pt x="76" y="53"/>
                  </a:cubicBezTo>
                  <a:cubicBezTo>
                    <a:pt x="76" y="54"/>
                    <a:pt x="76" y="54"/>
                    <a:pt x="76" y="55"/>
                  </a:cubicBezTo>
                  <a:cubicBezTo>
                    <a:pt x="75" y="56"/>
                    <a:pt x="75" y="57"/>
                    <a:pt x="75" y="58"/>
                  </a:cubicBezTo>
                  <a:cubicBezTo>
                    <a:pt x="75" y="59"/>
                    <a:pt x="74" y="59"/>
                    <a:pt x="74" y="60"/>
                  </a:cubicBezTo>
                  <a:cubicBezTo>
                    <a:pt x="73" y="61"/>
                    <a:pt x="73" y="62"/>
                    <a:pt x="72" y="63"/>
                  </a:cubicBezTo>
                  <a:cubicBezTo>
                    <a:pt x="71" y="64"/>
                    <a:pt x="71" y="67"/>
                    <a:pt x="70" y="67"/>
                  </a:cubicBezTo>
                  <a:cubicBezTo>
                    <a:pt x="67" y="69"/>
                    <a:pt x="66" y="65"/>
                    <a:pt x="64" y="64"/>
                  </a:cubicBezTo>
                  <a:cubicBezTo>
                    <a:pt x="62" y="64"/>
                    <a:pt x="61" y="64"/>
                    <a:pt x="60" y="64"/>
                  </a:cubicBezTo>
                  <a:cubicBezTo>
                    <a:pt x="58" y="65"/>
                    <a:pt x="56" y="65"/>
                    <a:pt x="55" y="67"/>
                  </a:cubicBezTo>
                  <a:cubicBezTo>
                    <a:pt x="55" y="69"/>
                    <a:pt x="53" y="70"/>
                    <a:pt x="52" y="71"/>
                  </a:cubicBezTo>
                  <a:cubicBezTo>
                    <a:pt x="52" y="71"/>
                    <a:pt x="51" y="72"/>
                    <a:pt x="50" y="73"/>
                  </a:cubicBezTo>
                  <a:cubicBezTo>
                    <a:pt x="50" y="73"/>
                    <a:pt x="49" y="74"/>
                    <a:pt x="49" y="75"/>
                  </a:cubicBezTo>
                  <a:cubicBezTo>
                    <a:pt x="49" y="78"/>
                    <a:pt x="49" y="80"/>
                    <a:pt x="48" y="83"/>
                  </a:cubicBezTo>
                  <a:lnTo>
                    <a:pt x="48" y="85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5" name="Freeform 367"/>
            <p:cNvSpPr>
              <a:spLocks/>
            </p:cNvSpPr>
            <p:nvPr/>
          </p:nvSpPr>
          <p:spPr bwMode="auto">
            <a:xfrm>
              <a:off x="6954128" y="5197614"/>
              <a:ext cx="81196" cy="111802"/>
            </a:xfrm>
            <a:custGeom>
              <a:avLst/>
              <a:gdLst>
                <a:gd name="T0" fmla="*/ 40780 w 60"/>
                <a:gd name="T1" fmla="*/ 2681322 h 103"/>
                <a:gd name="T2" fmla="*/ 40780 w 60"/>
                <a:gd name="T3" fmla="*/ 2744745 h 103"/>
                <a:gd name="T4" fmla="*/ 294690 w 60"/>
                <a:gd name="T5" fmla="*/ 2907936 h 103"/>
                <a:gd name="T6" fmla="*/ 379223 w 60"/>
                <a:gd name="T7" fmla="*/ 3058777 h 103"/>
                <a:gd name="T8" fmla="*/ 338447 w 60"/>
                <a:gd name="T9" fmla="*/ 3396473 h 103"/>
                <a:gd name="T10" fmla="*/ 379223 w 60"/>
                <a:gd name="T11" fmla="*/ 3435237 h 103"/>
                <a:gd name="T12" fmla="*/ 1060874 w 60"/>
                <a:gd name="T13" fmla="*/ 3471046 h 103"/>
                <a:gd name="T14" fmla="*/ 1440100 w 60"/>
                <a:gd name="T15" fmla="*/ 3471046 h 103"/>
                <a:gd name="T16" fmla="*/ 2088760 w 60"/>
                <a:gd name="T17" fmla="*/ 3550288 h 103"/>
                <a:gd name="T18" fmla="*/ 2241202 w 60"/>
                <a:gd name="T19" fmla="*/ 3313309 h 103"/>
                <a:gd name="T20" fmla="*/ 2173276 w 60"/>
                <a:gd name="T21" fmla="*/ 3131335 h 103"/>
                <a:gd name="T22" fmla="*/ 1943491 w 60"/>
                <a:gd name="T23" fmla="*/ 2785983 h 103"/>
                <a:gd name="T24" fmla="*/ 1834726 w 60"/>
                <a:gd name="T25" fmla="*/ 2446978 h 103"/>
                <a:gd name="T26" fmla="*/ 1875915 w 60"/>
                <a:gd name="T27" fmla="*/ 2154004 h 103"/>
                <a:gd name="T28" fmla="*/ 1987194 w 60"/>
                <a:gd name="T29" fmla="*/ 1919233 h 103"/>
                <a:gd name="T30" fmla="*/ 2051024 w 60"/>
                <a:gd name="T31" fmla="*/ 1846867 h 103"/>
                <a:gd name="T32" fmla="*/ 1987194 w 60"/>
                <a:gd name="T33" fmla="*/ 1507653 h 103"/>
                <a:gd name="T34" fmla="*/ 1671367 w 60"/>
                <a:gd name="T35" fmla="*/ 1120517 h 103"/>
                <a:gd name="T36" fmla="*/ 1834726 w 60"/>
                <a:gd name="T37" fmla="*/ 1018399 h 103"/>
                <a:gd name="T38" fmla="*/ 1987194 w 60"/>
                <a:gd name="T39" fmla="*/ 1018399 h 103"/>
                <a:gd name="T40" fmla="*/ 2088760 w 60"/>
                <a:gd name="T41" fmla="*/ 939300 h 103"/>
                <a:gd name="T42" fmla="*/ 1914404 w 60"/>
                <a:gd name="T43" fmla="*/ 377455 h 103"/>
                <a:gd name="T44" fmla="*/ 1756277 w 60"/>
                <a:gd name="T45" fmla="*/ 74577 h 103"/>
                <a:gd name="T46" fmla="*/ 1603424 w 60"/>
                <a:gd name="T47" fmla="*/ 74577 h 103"/>
                <a:gd name="T48" fmla="*/ 1603424 w 60"/>
                <a:gd name="T49" fmla="*/ 112224 h 103"/>
                <a:gd name="T50" fmla="*/ 1712369 w 60"/>
                <a:gd name="T51" fmla="*/ 414708 h 103"/>
                <a:gd name="T52" fmla="*/ 1627436 w 60"/>
                <a:gd name="T53" fmla="*/ 563102 h 103"/>
                <a:gd name="T54" fmla="*/ 1518939 w 60"/>
                <a:gd name="T55" fmla="*/ 827736 h 103"/>
                <a:gd name="T56" fmla="*/ 1376677 w 60"/>
                <a:gd name="T57" fmla="*/ 1041228 h 103"/>
                <a:gd name="T58" fmla="*/ 1303102 w 60"/>
                <a:gd name="T59" fmla="*/ 1214874 h 103"/>
                <a:gd name="T60" fmla="*/ 1145409 w 60"/>
                <a:gd name="T61" fmla="*/ 1532493 h 103"/>
                <a:gd name="T62" fmla="*/ 1060874 w 60"/>
                <a:gd name="T63" fmla="*/ 1628927 h 103"/>
                <a:gd name="T64" fmla="*/ 990209 w 60"/>
                <a:gd name="T65" fmla="*/ 1805645 h 103"/>
                <a:gd name="T66" fmla="*/ 841777 w 60"/>
                <a:gd name="T67" fmla="*/ 2042459 h 103"/>
                <a:gd name="T68" fmla="*/ 447155 w 60"/>
                <a:gd name="T69" fmla="*/ 1957699 h 103"/>
                <a:gd name="T70" fmla="*/ 152426 w 60"/>
                <a:gd name="T71" fmla="*/ 2192029 h 103"/>
                <a:gd name="T72" fmla="*/ 40780 w 60"/>
                <a:gd name="T73" fmla="*/ 2335389 h 103"/>
                <a:gd name="T74" fmla="*/ 0 w 60"/>
                <a:gd name="T75" fmla="*/ 2681322 h 10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0"/>
                <a:gd name="T115" fmla="*/ 0 h 103"/>
                <a:gd name="T116" fmla="*/ 60 w 60"/>
                <a:gd name="T117" fmla="*/ 103 h 10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0" h="103">
                  <a:moveTo>
                    <a:pt x="0" y="77"/>
                  </a:moveTo>
                  <a:cubicBezTo>
                    <a:pt x="0" y="77"/>
                    <a:pt x="0" y="77"/>
                    <a:pt x="1" y="77"/>
                  </a:cubicBezTo>
                  <a:cubicBezTo>
                    <a:pt x="1" y="77"/>
                    <a:pt x="0" y="78"/>
                    <a:pt x="1" y="78"/>
                  </a:cubicBezTo>
                  <a:cubicBezTo>
                    <a:pt x="1" y="78"/>
                    <a:pt x="1" y="79"/>
                    <a:pt x="1" y="79"/>
                  </a:cubicBezTo>
                  <a:cubicBezTo>
                    <a:pt x="2" y="80"/>
                    <a:pt x="2" y="82"/>
                    <a:pt x="3" y="83"/>
                  </a:cubicBezTo>
                  <a:cubicBezTo>
                    <a:pt x="5" y="84"/>
                    <a:pt x="7" y="83"/>
                    <a:pt x="8" y="84"/>
                  </a:cubicBezTo>
                  <a:cubicBezTo>
                    <a:pt x="8" y="84"/>
                    <a:pt x="8" y="85"/>
                    <a:pt x="8" y="86"/>
                  </a:cubicBezTo>
                  <a:cubicBezTo>
                    <a:pt x="9" y="87"/>
                    <a:pt x="10" y="87"/>
                    <a:pt x="10" y="88"/>
                  </a:cubicBezTo>
                  <a:cubicBezTo>
                    <a:pt x="11" y="91"/>
                    <a:pt x="10" y="92"/>
                    <a:pt x="10" y="94"/>
                  </a:cubicBezTo>
                  <a:cubicBezTo>
                    <a:pt x="9" y="95"/>
                    <a:pt x="9" y="97"/>
                    <a:pt x="9" y="98"/>
                  </a:cubicBezTo>
                  <a:cubicBezTo>
                    <a:pt x="9" y="98"/>
                    <a:pt x="9" y="99"/>
                    <a:pt x="9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3" y="99"/>
                    <a:pt x="16" y="100"/>
                    <a:pt x="19" y="100"/>
                  </a:cubicBezTo>
                  <a:cubicBezTo>
                    <a:pt x="22" y="100"/>
                    <a:pt x="25" y="100"/>
                    <a:pt x="28" y="100"/>
                  </a:cubicBezTo>
                  <a:cubicBezTo>
                    <a:pt x="31" y="99"/>
                    <a:pt x="34" y="99"/>
                    <a:pt x="38" y="99"/>
                  </a:cubicBezTo>
                  <a:cubicBezTo>
                    <a:pt x="38" y="99"/>
                    <a:pt x="38" y="100"/>
                    <a:pt x="38" y="100"/>
                  </a:cubicBezTo>
                  <a:cubicBezTo>
                    <a:pt x="42" y="100"/>
                    <a:pt x="47" y="100"/>
                    <a:pt x="51" y="101"/>
                  </a:cubicBezTo>
                  <a:cubicBezTo>
                    <a:pt x="52" y="101"/>
                    <a:pt x="53" y="102"/>
                    <a:pt x="55" y="102"/>
                  </a:cubicBezTo>
                  <a:cubicBezTo>
                    <a:pt x="56" y="103"/>
                    <a:pt x="58" y="103"/>
                    <a:pt x="60" y="102"/>
                  </a:cubicBezTo>
                  <a:cubicBezTo>
                    <a:pt x="60" y="100"/>
                    <a:pt x="60" y="98"/>
                    <a:pt x="59" y="95"/>
                  </a:cubicBezTo>
                  <a:cubicBezTo>
                    <a:pt x="59" y="95"/>
                    <a:pt x="59" y="95"/>
                    <a:pt x="59" y="94"/>
                  </a:cubicBezTo>
                  <a:cubicBezTo>
                    <a:pt x="58" y="93"/>
                    <a:pt x="57" y="92"/>
                    <a:pt x="57" y="90"/>
                  </a:cubicBezTo>
                  <a:cubicBezTo>
                    <a:pt x="55" y="88"/>
                    <a:pt x="53" y="87"/>
                    <a:pt x="53" y="85"/>
                  </a:cubicBezTo>
                  <a:cubicBezTo>
                    <a:pt x="52" y="83"/>
                    <a:pt x="52" y="82"/>
                    <a:pt x="51" y="80"/>
                  </a:cubicBezTo>
                  <a:cubicBezTo>
                    <a:pt x="50" y="79"/>
                    <a:pt x="49" y="78"/>
                    <a:pt x="48" y="76"/>
                  </a:cubicBezTo>
                  <a:cubicBezTo>
                    <a:pt x="48" y="74"/>
                    <a:pt x="48" y="72"/>
                    <a:pt x="48" y="70"/>
                  </a:cubicBezTo>
                  <a:cubicBezTo>
                    <a:pt x="48" y="68"/>
                    <a:pt x="47" y="67"/>
                    <a:pt x="48" y="65"/>
                  </a:cubicBezTo>
                  <a:cubicBezTo>
                    <a:pt x="48" y="64"/>
                    <a:pt x="48" y="63"/>
                    <a:pt x="49" y="62"/>
                  </a:cubicBezTo>
                  <a:cubicBezTo>
                    <a:pt x="50" y="60"/>
                    <a:pt x="49" y="59"/>
                    <a:pt x="50" y="58"/>
                  </a:cubicBezTo>
                  <a:cubicBezTo>
                    <a:pt x="50" y="57"/>
                    <a:pt x="51" y="56"/>
                    <a:pt x="52" y="55"/>
                  </a:cubicBezTo>
                  <a:cubicBezTo>
                    <a:pt x="53" y="55"/>
                    <a:pt x="53" y="54"/>
                    <a:pt x="54" y="53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2"/>
                    <a:pt x="54" y="51"/>
                    <a:pt x="54" y="50"/>
                  </a:cubicBezTo>
                  <a:cubicBezTo>
                    <a:pt x="53" y="48"/>
                    <a:pt x="53" y="45"/>
                    <a:pt x="52" y="43"/>
                  </a:cubicBezTo>
                  <a:cubicBezTo>
                    <a:pt x="51" y="42"/>
                    <a:pt x="49" y="41"/>
                    <a:pt x="49" y="39"/>
                  </a:cubicBezTo>
                  <a:cubicBezTo>
                    <a:pt x="47" y="37"/>
                    <a:pt x="46" y="35"/>
                    <a:pt x="44" y="32"/>
                  </a:cubicBezTo>
                  <a:cubicBezTo>
                    <a:pt x="44" y="31"/>
                    <a:pt x="44" y="30"/>
                    <a:pt x="44" y="29"/>
                  </a:cubicBezTo>
                  <a:cubicBezTo>
                    <a:pt x="45" y="28"/>
                    <a:pt x="47" y="28"/>
                    <a:pt x="48" y="29"/>
                  </a:cubicBezTo>
                  <a:cubicBezTo>
                    <a:pt x="49" y="30"/>
                    <a:pt x="50" y="31"/>
                    <a:pt x="51" y="30"/>
                  </a:cubicBezTo>
                  <a:cubicBezTo>
                    <a:pt x="51" y="30"/>
                    <a:pt x="52" y="30"/>
                    <a:pt x="52" y="29"/>
                  </a:cubicBezTo>
                  <a:cubicBezTo>
                    <a:pt x="53" y="29"/>
                    <a:pt x="54" y="29"/>
                    <a:pt x="55" y="29"/>
                  </a:cubicBezTo>
                  <a:cubicBezTo>
                    <a:pt x="55" y="28"/>
                    <a:pt x="55" y="27"/>
                    <a:pt x="55" y="27"/>
                  </a:cubicBezTo>
                  <a:cubicBezTo>
                    <a:pt x="53" y="25"/>
                    <a:pt x="52" y="24"/>
                    <a:pt x="51" y="22"/>
                  </a:cubicBezTo>
                  <a:cubicBezTo>
                    <a:pt x="50" y="18"/>
                    <a:pt x="50" y="15"/>
                    <a:pt x="50" y="11"/>
                  </a:cubicBezTo>
                  <a:cubicBezTo>
                    <a:pt x="49" y="8"/>
                    <a:pt x="48" y="6"/>
                    <a:pt x="47" y="3"/>
                  </a:cubicBezTo>
                  <a:cubicBezTo>
                    <a:pt x="47" y="3"/>
                    <a:pt x="46" y="2"/>
                    <a:pt x="46" y="2"/>
                  </a:cubicBezTo>
                  <a:cubicBezTo>
                    <a:pt x="45" y="1"/>
                    <a:pt x="45" y="1"/>
                    <a:pt x="44" y="0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3"/>
                    <a:pt x="42" y="3"/>
                  </a:cubicBezTo>
                  <a:cubicBezTo>
                    <a:pt x="43" y="4"/>
                    <a:pt x="44" y="6"/>
                    <a:pt x="45" y="8"/>
                  </a:cubicBezTo>
                  <a:cubicBezTo>
                    <a:pt x="46" y="9"/>
                    <a:pt x="46" y="10"/>
                    <a:pt x="45" y="12"/>
                  </a:cubicBezTo>
                  <a:cubicBezTo>
                    <a:pt x="45" y="12"/>
                    <a:pt x="45" y="12"/>
                    <a:pt x="45" y="13"/>
                  </a:cubicBezTo>
                  <a:cubicBezTo>
                    <a:pt x="44" y="14"/>
                    <a:pt x="44" y="15"/>
                    <a:pt x="43" y="16"/>
                  </a:cubicBezTo>
                  <a:cubicBezTo>
                    <a:pt x="43" y="17"/>
                    <a:pt x="42" y="17"/>
                    <a:pt x="41" y="18"/>
                  </a:cubicBezTo>
                  <a:cubicBezTo>
                    <a:pt x="40" y="20"/>
                    <a:pt x="40" y="22"/>
                    <a:pt x="40" y="24"/>
                  </a:cubicBezTo>
                  <a:cubicBezTo>
                    <a:pt x="39" y="25"/>
                    <a:pt x="37" y="26"/>
                    <a:pt x="37" y="27"/>
                  </a:cubicBezTo>
                  <a:cubicBezTo>
                    <a:pt x="36" y="28"/>
                    <a:pt x="36" y="29"/>
                    <a:pt x="36" y="30"/>
                  </a:cubicBezTo>
                  <a:cubicBezTo>
                    <a:pt x="36" y="30"/>
                    <a:pt x="36" y="31"/>
                    <a:pt x="35" y="31"/>
                  </a:cubicBezTo>
                  <a:cubicBezTo>
                    <a:pt x="35" y="32"/>
                    <a:pt x="34" y="33"/>
                    <a:pt x="34" y="35"/>
                  </a:cubicBezTo>
                  <a:cubicBezTo>
                    <a:pt x="33" y="36"/>
                    <a:pt x="33" y="39"/>
                    <a:pt x="32" y="41"/>
                  </a:cubicBezTo>
                  <a:cubicBezTo>
                    <a:pt x="32" y="42"/>
                    <a:pt x="31" y="43"/>
                    <a:pt x="30" y="44"/>
                  </a:cubicBezTo>
                  <a:cubicBezTo>
                    <a:pt x="29" y="44"/>
                    <a:pt x="29" y="45"/>
                    <a:pt x="28" y="45"/>
                  </a:cubicBezTo>
                  <a:cubicBezTo>
                    <a:pt x="28" y="46"/>
                    <a:pt x="28" y="46"/>
                    <a:pt x="28" y="47"/>
                  </a:cubicBezTo>
                  <a:cubicBezTo>
                    <a:pt x="27" y="48"/>
                    <a:pt x="27" y="49"/>
                    <a:pt x="27" y="50"/>
                  </a:cubicBezTo>
                  <a:cubicBezTo>
                    <a:pt x="27" y="51"/>
                    <a:pt x="26" y="51"/>
                    <a:pt x="26" y="52"/>
                  </a:cubicBezTo>
                  <a:cubicBezTo>
                    <a:pt x="25" y="53"/>
                    <a:pt x="25" y="54"/>
                    <a:pt x="24" y="55"/>
                  </a:cubicBezTo>
                  <a:cubicBezTo>
                    <a:pt x="23" y="56"/>
                    <a:pt x="23" y="59"/>
                    <a:pt x="22" y="59"/>
                  </a:cubicBezTo>
                  <a:cubicBezTo>
                    <a:pt x="19" y="61"/>
                    <a:pt x="18" y="57"/>
                    <a:pt x="16" y="56"/>
                  </a:cubicBezTo>
                  <a:cubicBezTo>
                    <a:pt x="14" y="56"/>
                    <a:pt x="13" y="56"/>
                    <a:pt x="12" y="56"/>
                  </a:cubicBezTo>
                  <a:cubicBezTo>
                    <a:pt x="10" y="57"/>
                    <a:pt x="8" y="57"/>
                    <a:pt x="7" y="59"/>
                  </a:cubicBezTo>
                  <a:cubicBezTo>
                    <a:pt x="7" y="61"/>
                    <a:pt x="5" y="62"/>
                    <a:pt x="4" y="63"/>
                  </a:cubicBezTo>
                  <a:cubicBezTo>
                    <a:pt x="4" y="63"/>
                    <a:pt x="3" y="64"/>
                    <a:pt x="2" y="65"/>
                  </a:cubicBezTo>
                  <a:cubicBezTo>
                    <a:pt x="2" y="65"/>
                    <a:pt x="1" y="66"/>
                    <a:pt x="1" y="67"/>
                  </a:cubicBezTo>
                  <a:cubicBezTo>
                    <a:pt x="1" y="70"/>
                    <a:pt x="1" y="72"/>
                    <a:pt x="0" y="75"/>
                  </a:cubicBezTo>
                  <a:lnTo>
                    <a:pt x="0" y="77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6" name="Freeform 368"/>
            <p:cNvSpPr>
              <a:spLocks/>
            </p:cNvSpPr>
            <p:nvPr/>
          </p:nvSpPr>
          <p:spPr bwMode="auto">
            <a:xfrm>
              <a:off x="7005598" y="5091855"/>
              <a:ext cx="111646" cy="163777"/>
            </a:xfrm>
            <a:custGeom>
              <a:avLst/>
              <a:gdLst>
                <a:gd name="T0" fmla="*/ 39659 w 83"/>
                <a:gd name="T1" fmla="*/ 2784564 h 151"/>
                <a:gd name="T2" fmla="*/ 547655 w 83"/>
                <a:gd name="T3" fmla="*/ 2301317 h 151"/>
                <a:gd name="T4" fmla="*/ 590379 w 83"/>
                <a:gd name="T5" fmla="*/ 1233372 h 151"/>
                <a:gd name="T6" fmla="*/ 624106 w 83"/>
                <a:gd name="T7" fmla="*/ 1001281 h 151"/>
                <a:gd name="T8" fmla="*/ 590379 w 83"/>
                <a:gd name="T9" fmla="*/ 855957 h 151"/>
                <a:gd name="T10" fmla="*/ 471163 w 83"/>
                <a:gd name="T11" fmla="*/ 623928 h 151"/>
                <a:gd name="T12" fmla="*/ 389072 w 83"/>
                <a:gd name="T13" fmla="*/ 372193 h 151"/>
                <a:gd name="T14" fmla="*/ 360596 w 83"/>
                <a:gd name="T15" fmla="*/ 232065 h 151"/>
                <a:gd name="T16" fmla="*/ 507971 w 83"/>
                <a:gd name="T17" fmla="*/ 111199 h 151"/>
                <a:gd name="T18" fmla="*/ 792162 w 83"/>
                <a:gd name="T19" fmla="*/ 73599 h 151"/>
                <a:gd name="T20" fmla="*/ 2983387 w 83"/>
                <a:gd name="T21" fmla="*/ 1261511 h 151"/>
                <a:gd name="T22" fmla="*/ 2983387 w 83"/>
                <a:gd name="T23" fmla="*/ 2532716 h 151"/>
                <a:gd name="T24" fmla="*/ 2787119 w 83"/>
                <a:gd name="T25" fmla="*/ 2532716 h 151"/>
                <a:gd name="T26" fmla="*/ 2701947 w 83"/>
                <a:gd name="T27" fmla="*/ 2746991 h 151"/>
                <a:gd name="T28" fmla="*/ 2583133 w 83"/>
                <a:gd name="T29" fmla="*/ 2945584 h 151"/>
                <a:gd name="T30" fmla="*/ 2478094 w 83"/>
                <a:gd name="T31" fmla="*/ 3120519 h 151"/>
                <a:gd name="T32" fmla="*/ 2501546 w 83"/>
                <a:gd name="T33" fmla="*/ 3351299 h 151"/>
                <a:gd name="T34" fmla="*/ 2435757 w 83"/>
                <a:gd name="T35" fmla="*/ 3492287 h 151"/>
                <a:gd name="T36" fmla="*/ 2583133 w 83"/>
                <a:gd name="T37" fmla="*/ 3640621 h 151"/>
                <a:gd name="T38" fmla="*/ 2701947 w 83"/>
                <a:gd name="T39" fmla="*/ 3835472 h 151"/>
                <a:gd name="T40" fmla="*/ 2478094 w 83"/>
                <a:gd name="T41" fmla="*/ 4046115 h 151"/>
                <a:gd name="T42" fmla="*/ 2279563 w 83"/>
                <a:gd name="T43" fmla="*/ 4356830 h 151"/>
                <a:gd name="T44" fmla="*/ 2111902 w 83"/>
                <a:gd name="T45" fmla="*/ 4496982 h 151"/>
                <a:gd name="T46" fmla="*/ 1811155 w 83"/>
                <a:gd name="T47" fmla="*/ 4652998 h 151"/>
                <a:gd name="T48" fmla="*/ 1646051 w 83"/>
                <a:gd name="T49" fmla="*/ 4691328 h 151"/>
                <a:gd name="T50" fmla="*/ 1379661 w 83"/>
                <a:gd name="T51" fmla="*/ 4959634 h 151"/>
                <a:gd name="T52" fmla="*/ 1055721 w 83"/>
                <a:gd name="T53" fmla="*/ 5063519 h 151"/>
                <a:gd name="T54" fmla="*/ 939537 w 83"/>
                <a:gd name="T55" fmla="*/ 5033370 h 151"/>
                <a:gd name="T56" fmla="*/ 737785 w 83"/>
                <a:gd name="T57" fmla="*/ 5174764 h 151"/>
                <a:gd name="T58" fmla="*/ 590379 w 83"/>
                <a:gd name="T59" fmla="*/ 5063519 h 151"/>
                <a:gd name="T60" fmla="*/ 389072 w 83"/>
                <a:gd name="T61" fmla="*/ 4691328 h 151"/>
                <a:gd name="T62" fmla="*/ 223846 w 83"/>
                <a:gd name="T63" fmla="*/ 4356830 h 151"/>
                <a:gd name="T64" fmla="*/ 471163 w 83"/>
                <a:gd name="T65" fmla="*/ 4381316 h 151"/>
                <a:gd name="T66" fmla="*/ 624106 w 83"/>
                <a:gd name="T67" fmla="*/ 4356830 h 151"/>
                <a:gd name="T68" fmla="*/ 471163 w 83"/>
                <a:gd name="T69" fmla="*/ 4106285 h 151"/>
                <a:gd name="T70" fmla="*/ 323755 w 83"/>
                <a:gd name="T71" fmla="*/ 3462521 h 151"/>
                <a:gd name="T72" fmla="*/ 223846 w 83"/>
                <a:gd name="T73" fmla="*/ 3351299 h 151"/>
                <a:gd name="T74" fmla="*/ 0 w 83"/>
                <a:gd name="T75" fmla="*/ 3046697 h 15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83"/>
                <a:gd name="T115" fmla="*/ 0 h 151"/>
                <a:gd name="T116" fmla="*/ 83 w 83"/>
                <a:gd name="T117" fmla="*/ 151 h 15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83" h="151">
                  <a:moveTo>
                    <a:pt x="0" y="89"/>
                  </a:moveTo>
                  <a:cubicBezTo>
                    <a:pt x="1" y="86"/>
                    <a:pt x="1" y="84"/>
                    <a:pt x="1" y="81"/>
                  </a:cubicBezTo>
                  <a:cubicBezTo>
                    <a:pt x="1" y="80"/>
                    <a:pt x="2" y="79"/>
                    <a:pt x="3" y="78"/>
                  </a:cubicBezTo>
                  <a:cubicBezTo>
                    <a:pt x="7" y="73"/>
                    <a:pt x="12" y="71"/>
                    <a:pt x="15" y="67"/>
                  </a:cubicBezTo>
                  <a:cubicBezTo>
                    <a:pt x="16" y="66"/>
                    <a:pt x="16" y="66"/>
                    <a:pt x="16" y="65"/>
                  </a:cubicBezTo>
                  <a:cubicBezTo>
                    <a:pt x="16" y="55"/>
                    <a:pt x="15" y="45"/>
                    <a:pt x="16" y="36"/>
                  </a:cubicBezTo>
                  <a:cubicBezTo>
                    <a:pt x="16" y="35"/>
                    <a:pt x="17" y="34"/>
                    <a:pt x="17" y="33"/>
                  </a:cubicBezTo>
                  <a:cubicBezTo>
                    <a:pt x="17" y="31"/>
                    <a:pt x="17" y="30"/>
                    <a:pt x="17" y="29"/>
                  </a:cubicBezTo>
                  <a:cubicBezTo>
                    <a:pt x="17" y="28"/>
                    <a:pt x="18" y="27"/>
                    <a:pt x="17" y="26"/>
                  </a:cubicBezTo>
                  <a:cubicBezTo>
                    <a:pt x="17" y="26"/>
                    <a:pt x="17" y="25"/>
                    <a:pt x="16" y="25"/>
                  </a:cubicBezTo>
                  <a:cubicBezTo>
                    <a:pt x="16" y="23"/>
                    <a:pt x="16" y="22"/>
                    <a:pt x="15" y="21"/>
                  </a:cubicBezTo>
                  <a:cubicBezTo>
                    <a:pt x="15" y="20"/>
                    <a:pt x="14" y="19"/>
                    <a:pt x="13" y="18"/>
                  </a:cubicBezTo>
                  <a:cubicBezTo>
                    <a:pt x="13" y="17"/>
                    <a:pt x="13" y="15"/>
                    <a:pt x="12" y="14"/>
                  </a:cubicBezTo>
                  <a:cubicBezTo>
                    <a:pt x="11" y="13"/>
                    <a:pt x="11" y="12"/>
                    <a:pt x="11" y="11"/>
                  </a:cubicBezTo>
                  <a:cubicBezTo>
                    <a:pt x="10" y="9"/>
                    <a:pt x="11" y="8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5"/>
                    <a:pt x="11" y="4"/>
                    <a:pt x="12" y="4"/>
                  </a:cubicBezTo>
                  <a:cubicBezTo>
                    <a:pt x="13" y="3"/>
                    <a:pt x="14" y="3"/>
                    <a:pt x="14" y="3"/>
                  </a:cubicBezTo>
                  <a:cubicBezTo>
                    <a:pt x="16" y="2"/>
                    <a:pt x="16" y="1"/>
                    <a:pt x="18" y="1"/>
                  </a:cubicBezTo>
                  <a:cubicBezTo>
                    <a:pt x="20" y="0"/>
                    <a:pt x="19" y="1"/>
                    <a:pt x="22" y="2"/>
                  </a:cubicBezTo>
                  <a:cubicBezTo>
                    <a:pt x="22" y="3"/>
                    <a:pt x="24" y="4"/>
                    <a:pt x="24" y="4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3" y="73"/>
                    <a:pt x="83" y="73"/>
                    <a:pt x="83" y="73"/>
                  </a:cubicBezTo>
                  <a:cubicBezTo>
                    <a:pt x="82" y="73"/>
                    <a:pt x="82" y="74"/>
                    <a:pt x="82" y="74"/>
                  </a:cubicBezTo>
                  <a:cubicBezTo>
                    <a:pt x="81" y="75"/>
                    <a:pt x="80" y="74"/>
                    <a:pt x="80" y="74"/>
                  </a:cubicBezTo>
                  <a:cubicBezTo>
                    <a:pt x="79" y="73"/>
                    <a:pt x="78" y="73"/>
                    <a:pt x="77" y="74"/>
                  </a:cubicBezTo>
                  <a:cubicBezTo>
                    <a:pt x="76" y="74"/>
                    <a:pt x="75" y="75"/>
                    <a:pt x="75" y="76"/>
                  </a:cubicBezTo>
                  <a:cubicBezTo>
                    <a:pt x="74" y="77"/>
                    <a:pt x="75" y="79"/>
                    <a:pt x="74" y="80"/>
                  </a:cubicBezTo>
                  <a:cubicBezTo>
                    <a:pt x="74" y="81"/>
                    <a:pt x="73" y="83"/>
                    <a:pt x="72" y="85"/>
                  </a:cubicBezTo>
                  <a:cubicBezTo>
                    <a:pt x="72" y="85"/>
                    <a:pt x="71" y="86"/>
                    <a:pt x="71" y="86"/>
                  </a:cubicBezTo>
                  <a:cubicBezTo>
                    <a:pt x="70" y="88"/>
                    <a:pt x="71" y="89"/>
                    <a:pt x="70" y="90"/>
                  </a:cubicBezTo>
                  <a:cubicBezTo>
                    <a:pt x="70" y="91"/>
                    <a:pt x="69" y="90"/>
                    <a:pt x="68" y="91"/>
                  </a:cubicBezTo>
                  <a:cubicBezTo>
                    <a:pt x="68" y="92"/>
                    <a:pt x="68" y="93"/>
                    <a:pt x="69" y="94"/>
                  </a:cubicBezTo>
                  <a:cubicBezTo>
                    <a:pt x="70" y="95"/>
                    <a:pt x="70" y="97"/>
                    <a:pt x="69" y="98"/>
                  </a:cubicBezTo>
                  <a:cubicBezTo>
                    <a:pt x="69" y="99"/>
                    <a:pt x="68" y="99"/>
                    <a:pt x="67" y="100"/>
                  </a:cubicBezTo>
                  <a:cubicBezTo>
                    <a:pt x="67" y="101"/>
                    <a:pt x="67" y="101"/>
                    <a:pt x="67" y="102"/>
                  </a:cubicBezTo>
                  <a:cubicBezTo>
                    <a:pt x="68" y="102"/>
                    <a:pt x="69" y="102"/>
                    <a:pt x="70" y="103"/>
                  </a:cubicBezTo>
                  <a:cubicBezTo>
                    <a:pt x="71" y="104"/>
                    <a:pt x="70" y="105"/>
                    <a:pt x="71" y="106"/>
                  </a:cubicBezTo>
                  <a:cubicBezTo>
                    <a:pt x="72" y="107"/>
                    <a:pt x="71" y="109"/>
                    <a:pt x="72" y="110"/>
                  </a:cubicBezTo>
                  <a:cubicBezTo>
                    <a:pt x="72" y="111"/>
                    <a:pt x="73" y="111"/>
                    <a:pt x="74" y="112"/>
                  </a:cubicBezTo>
                  <a:cubicBezTo>
                    <a:pt x="75" y="113"/>
                    <a:pt x="74" y="116"/>
                    <a:pt x="74" y="118"/>
                  </a:cubicBezTo>
                  <a:cubicBezTo>
                    <a:pt x="72" y="119"/>
                    <a:pt x="70" y="118"/>
                    <a:pt x="68" y="118"/>
                  </a:cubicBezTo>
                  <a:cubicBezTo>
                    <a:pt x="68" y="119"/>
                    <a:pt x="68" y="119"/>
                    <a:pt x="68" y="119"/>
                  </a:cubicBezTo>
                  <a:cubicBezTo>
                    <a:pt x="68" y="122"/>
                    <a:pt x="65" y="125"/>
                    <a:pt x="63" y="127"/>
                  </a:cubicBezTo>
                  <a:cubicBezTo>
                    <a:pt x="63" y="127"/>
                    <a:pt x="62" y="127"/>
                    <a:pt x="62" y="127"/>
                  </a:cubicBezTo>
                  <a:cubicBezTo>
                    <a:pt x="60" y="128"/>
                    <a:pt x="60" y="130"/>
                    <a:pt x="58" y="131"/>
                  </a:cubicBezTo>
                  <a:cubicBezTo>
                    <a:pt x="58" y="132"/>
                    <a:pt x="57" y="132"/>
                    <a:pt x="57" y="132"/>
                  </a:cubicBezTo>
                  <a:cubicBezTo>
                    <a:pt x="55" y="134"/>
                    <a:pt x="53" y="136"/>
                    <a:pt x="50" y="136"/>
                  </a:cubicBezTo>
                  <a:cubicBezTo>
                    <a:pt x="49" y="136"/>
                    <a:pt x="47" y="135"/>
                    <a:pt x="45" y="136"/>
                  </a:cubicBezTo>
                  <a:cubicBezTo>
                    <a:pt x="45" y="137"/>
                    <a:pt x="45" y="137"/>
                    <a:pt x="45" y="137"/>
                  </a:cubicBezTo>
                  <a:cubicBezTo>
                    <a:pt x="44" y="139"/>
                    <a:pt x="45" y="141"/>
                    <a:pt x="43" y="142"/>
                  </a:cubicBezTo>
                  <a:cubicBezTo>
                    <a:pt x="41" y="143"/>
                    <a:pt x="39" y="143"/>
                    <a:pt x="38" y="145"/>
                  </a:cubicBezTo>
                  <a:cubicBezTo>
                    <a:pt x="36" y="146"/>
                    <a:pt x="34" y="145"/>
                    <a:pt x="32" y="145"/>
                  </a:cubicBezTo>
                  <a:cubicBezTo>
                    <a:pt x="31" y="146"/>
                    <a:pt x="30" y="147"/>
                    <a:pt x="29" y="148"/>
                  </a:cubicBezTo>
                  <a:cubicBezTo>
                    <a:pt x="28" y="149"/>
                    <a:pt x="28" y="149"/>
                    <a:pt x="27" y="148"/>
                  </a:cubicBezTo>
                  <a:cubicBezTo>
                    <a:pt x="26" y="148"/>
                    <a:pt x="26" y="147"/>
                    <a:pt x="26" y="147"/>
                  </a:cubicBezTo>
                  <a:cubicBezTo>
                    <a:pt x="25" y="147"/>
                    <a:pt x="25" y="147"/>
                    <a:pt x="24" y="147"/>
                  </a:cubicBezTo>
                  <a:cubicBezTo>
                    <a:pt x="23" y="148"/>
                    <a:pt x="22" y="150"/>
                    <a:pt x="20" y="151"/>
                  </a:cubicBezTo>
                  <a:cubicBezTo>
                    <a:pt x="19" y="151"/>
                    <a:pt x="17" y="151"/>
                    <a:pt x="16" y="151"/>
                  </a:cubicBezTo>
                  <a:cubicBezTo>
                    <a:pt x="15" y="150"/>
                    <a:pt x="16" y="149"/>
                    <a:pt x="16" y="148"/>
                  </a:cubicBezTo>
                  <a:cubicBezTo>
                    <a:pt x="15" y="146"/>
                    <a:pt x="15" y="143"/>
                    <a:pt x="14" y="141"/>
                  </a:cubicBezTo>
                  <a:cubicBezTo>
                    <a:pt x="13" y="140"/>
                    <a:pt x="11" y="139"/>
                    <a:pt x="11" y="137"/>
                  </a:cubicBezTo>
                  <a:cubicBezTo>
                    <a:pt x="9" y="135"/>
                    <a:pt x="8" y="133"/>
                    <a:pt x="6" y="130"/>
                  </a:cubicBezTo>
                  <a:cubicBezTo>
                    <a:pt x="6" y="129"/>
                    <a:pt x="6" y="128"/>
                    <a:pt x="6" y="127"/>
                  </a:cubicBezTo>
                  <a:cubicBezTo>
                    <a:pt x="7" y="126"/>
                    <a:pt x="9" y="126"/>
                    <a:pt x="10" y="127"/>
                  </a:cubicBezTo>
                  <a:cubicBezTo>
                    <a:pt x="11" y="128"/>
                    <a:pt x="12" y="129"/>
                    <a:pt x="13" y="128"/>
                  </a:cubicBezTo>
                  <a:cubicBezTo>
                    <a:pt x="13" y="128"/>
                    <a:pt x="14" y="128"/>
                    <a:pt x="14" y="127"/>
                  </a:cubicBezTo>
                  <a:cubicBezTo>
                    <a:pt x="15" y="127"/>
                    <a:pt x="16" y="127"/>
                    <a:pt x="17" y="127"/>
                  </a:cubicBezTo>
                  <a:cubicBezTo>
                    <a:pt x="17" y="126"/>
                    <a:pt x="17" y="125"/>
                    <a:pt x="17" y="125"/>
                  </a:cubicBezTo>
                  <a:cubicBezTo>
                    <a:pt x="15" y="123"/>
                    <a:pt x="14" y="122"/>
                    <a:pt x="13" y="120"/>
                  </a:cubicBezTo>
                  <a:cubicBezTo>
                    <a:pt x="12" y="116"/>
                    <a:pt x="12" y="113"/>
                    <a:pt x="12" y="109"/>
                  </a:cubicBezTo>
                  <a:cubicBezTo>
                    <a:pt x="11" y="106"/>
                    <a:pt x="10" y="104"/>
                    <a:pt x="9" y="101"/>
                  </a:cubicBezTo>
                  <a:cubicBezTo>
                    <a:pt x="9" y="101"/>
                    <a:pt x="8" y="100"/>
                    <a:pt x="8" y="100"/>
                  </a:cubicBezTo>
                  <a:cubicBezTo>
                    <a:pt x="7" y="99"/>
                    <a:pt x="7" y="99"/>
                    <a:pt x="6" y="98"/>
                  </a:cubicBezTo>
                  <a:cubicBezTo>
                    <a:pt x="6" y="98"/>
                    <a:pt x="3" y="96"/>
                    <a:pt x="3" y="96"/>
                  </a:cubicBezTo>
                  <a:lnTo>
                    <a:pt x="0" y="89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7" name="Freeform 369"/>
            <p:cNvSpPr>
              <a:spLocks/>
            </p:cNvSpPr>
            <p:nvPr/>
          </p:nvSpPr>
          <p:spPr bwMode="auto">
            <a:xfrm>
              <a:off x="7096218" y="5099712"/>
              <a:ext cx="173991" cy="193993"/>
            </a:xfrm>
            <a:custGeom>
              <a:avLst/>
              <a:gdLst>
                <a:gd name="T0" fmla="*/ 4241138 w 130"/>
                <a:gd name="T1" fmla="*/ 1377431 h 179"/>
                <a:gd name="T2" fmla="*/ 4201304 w 130"/>
                <a:gd name="T3" fmla="*/ 733715 h 179"/>
                <a:gd name="T4" fmla="*/ 4060212 w 130"/>
                <a:gd name="T5" fmla="*/ 223593 h 179"/>
                <a:gd name="T6" fmla="*/ 3783182 w 130"/>
                <a:gd name="T7" fmla="*/ 0 h 179"/>
                <a:gd name="T8" fmla="*/ 3492155 w 130"/>
                <a:gd name="T9" fmla="*/ 76380 h 179"/>
                <a:gd name="T10" fmla="*/ 3292961 w 130"/>
                <a:gd name="T11" fmla="*/ 388316 h 179"/>
                <a:gd name="T12" fmla="*/ 801206 w 130"/>
                <a:gd name="T13" fmla="*/ 323363 h 179"/>
                <a:gd name="T14" fmla="*/ 531946 w 130"/>
                <a:gd name="T15" fmla="*/ 1093818 h 179"/>
                <a:gd name="T16" fmla="*/ 452500 w 130"/>
                <a:gd name="T17" fmla="*/ 2431217 h 179"/>
                <a:gd name="T18" fmla="*/ 235300 w 130"/>
                <a:gd name="T19" fmla="*/ 2654825 h 179"/>
                <a:gd name="T20" fmla="*/ 112656 w 130"/>
                <a:gd name="T21" fmla="*/ 3009304 h 179"/>
                <a:gd name="T22" fmla="*/ 74796 w 130"/>
                <a:gd name="T23" fmla="*/ 3292871 h 179"/>
                <a:gd name="T24" fmla="*/ 112656 w 130"/>
                <a:gd name="T25" fmla="*/ 3484423 h 179"/>
                <a:gd name="T26" fmla="*/ 235300 w 130"/>
                <a:gd name="T27" fmla="*/ 3800211 h 179"/>
                <a:gd name="T28" fmla="*/ 349967 w 130"/>
                <a:gd name="T29" fmla="*/ 4096985 h 179"/>
                <a:gd name="T30" fmla="*/ 491025 w 130"/>
                <a:gd name="T31" fmla="*/ 4380768 h 179"/>
                <a:gd name="T32" fmla="*/ 531946 w 130"/>
                <a:gd name="T33" fmla="*/ 4746001 h 179"/>
                <a:gd name="T34" fmla="*/ 673013 w 130"/>
                <a:gd name="T35" fmla="*/ 4851352 h 179"/>
                <a:gd name="T36" fmla="*/ 831638 w 130"/>
                <a:gd name="T37" fmla="*/ 5009227 h 179"/>
                <a:gd name="T38" fmla="*/ 944279 w 130"/>
                <a:gd name="T39" fmla="*/ 5074942 h 179"/>
                <a:gd name="T40" fmla="*/ 1258377 w 130"/>
                <a:gd name="T41" fmla="*/ 5621804 h 179"/>
                <a:gd name="T42" fmla="*/ 1438146 w 130"/>
                <a:gd name="T43" fmla="*/ 5757545 h 179"/>
                <a:gd name="T44" fmla="*/ 1673446 w 130"/>
                <a:gd name="T45" fmla="*/ 6061843 h 179"/>
                <a:gd name="T46" fmla="*/ 1854607 w 130"/>
                <a:gd name="T47" fmla="*/ 6169247 h 179"/>
                <a:gd name="T48" fmla="*/ 2243867 w 130"/>
                <a:gd name="T49" fmla="*/ 6208874 h 179"/>
                <a:gd name="T50" fmla="*/ 2488954 w 130"/>
                <a:gd name="T51" fmla="*/ 6451538 h 179"/>
                <a:gd name="T52" fmla="*/ 2798946 w 130"/>
                <a:gd name="T53" fmla="*/ 6411923 h 179"/>
                <a:gd name="T54" fmla="*/ 3257059 w 130"/>
                <a:gd name="T55" fmla="*/ 6377824 h 179"/>
                <a:gd name="T56" fmla="*/ 3672099 w 130"/>
                <a:gd name="T57" fmla="*/ 5865721 h 179"/>
                <a:gd name="T58" fmla="*/ 3640701 w 130"/>
                <a:gd name="T59" fmla="*/ 5701728 h 179"/>
                <a:gd name="T60" fmla="*/ 3453465 w 130"/>
                <a:gd name="T61" fmla="*/ 5358575 h 179"/>
                <a:gd name="T62" fmla="*/ 3113001 w 130"/>
                <a:gd name="T63" fmla="*/ 5045974 h 179"/>
                <a:gd name="T64" fmla="*/ 3113001 w 130"/>
                <a:gd name="T65" fmla="*/ 4893226 h 179"/>
                <a:gd name="T66" fmla="*/ 3405624 w 130"/>
                <a:gd name="T67" fmla="*/ 4811713 h 179"/>
                <a:gd name="T68" fmla="*/ 3422713 w 130"/>
                <a:gd name="T69" fmla="*/ 4643939 h 179"/>
                <a:gd name="T70" fmla="*/ 3422713 w 130"/>
                <a:gd name="T71" fmla="*/ 4219701 h 179"/>
                <a:gd name="T72" fmla="*/ 3607724 w 130"/>
                <a:gd name="T73" fmla="*/ 3873723 h 179"/>
                <a:gd name="T74" fmla="*/ 3709528 w 130"/>
                <a:gd name="T75" fmla="*/ 3671434 h 179"/>
                <a:gd name="T76" fmla="*/ 3944489 w 130"/>
                <a:gd name="T77" fmla="*/ 3408251 h 179"/>
                <a:gd name="T78" fmla="*/ 4019238 w 130"/>
                <a:gd name="T79" fmla="*/ 2896163 h 179"/>
                <a:gd name="T80" fmla="*/ 4019238 w 130"/>
                <a:gd name="T81" fmla="*/ 2578426 h 179"/>
                <a:gd name="T82" fmla="*/ 4162350 w 130"/>
                <a:gd name="T83" fmla="*/ 1989175 h 179"/>
                <a:gd name="T84" fmla="*/ 4370019 w 130"/>
                <a:gd name="T85" fmla="*/ 1923861 h 179"/>
                <a:gd name="T86" fmla="*/ 4551234 w 130"/>
                <a:gd name="T87" fmla="*/ 1682012 h 17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30"/>
                <a:gd name="T133" fmla="*/ 0 h 179"/>
                <a:gd name="T134" fmla="*/ 130 w 130"/>
                <a:gd name="T135" fmla="*/ 179 h 17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30" h="179">
                  <a:moveTo>
                    <a:pt x="130" y="45"/>
                  </a:moveTo>
                  <a:cubicBezTo>
                    <a:pt x="128" y="43"/>
                    <a:pt x="125" y="42"/>
                    <a:pt x="123" y="40"/>
                  </a:cubicBezTo>
                  <a:cubicBezTo>
                    <a:pt x="122" y="40"/>
                    <a:pt x="121" y="39"/>
                    <a:pt x="121" y="38"/>
                  </a:cubicBezTo>
                  <a:cubicBezTo>
                    <a:pt x="120" y="35"/>
                    <a:pt x="121" y="32"/>
                    <a:pt x="120" y="29"/>
                  </a:cubicBezTo>
                  <a:cubicBezTo>
                    <a:pt x="120" y="27"/>
                    <a:pt x="120" y="24"/>
                    <a:pt x="120" y="22"/>
                  </a:cubicBezTo>
                  <a:cubicBezTo>
                    <a:pt x="120" y="21"/>
                    <a:pt x="120" y="21"/>
                    <a:pt x="120" y="20"/>
                  </a:cubicBezTo>
                  <a:cubicBezTo>
                    <a:pt x="119" y="18"/>
                    <a:pt x="118" y="15"/>
                    <a:pt x="118" y="13"/>
                  </a:cubicBezTo>
                  <a:cubicBezTo>
                    <a:pt x="117" y="12"/>
                    <a:pt x="117" y="10"/>
                    <a:pt x="117" y="9"/>
                  </a:cubicBezTo>
                  <a:cubicBezTo>
                    <a:pt x="116" y="8"/>
                    <a:pt x="116" y="7"/>
                    <a:pt x="116" y="6"/>
                  </a:cubicBezTo>
                  <a:cubicBezTo>
                    <a:pt x="115" y="5"/>
                    <a:pt x="113" y="4"/>
                    <a:pt x="112" y="3"/>
                  </a:cubicBezTo>
                  <a:cubicBezTo>
                    <a:pt x="112" y="3"/>
                    <a:pt x="112" y="2"/>
                    <a:pt x="111" y="2"/>
                  </a:cubicBezTo>
                  <a:cubicBezTo>
                    <a:pt x="110" y="2"/>
                    <a:pt x="108" y="1"/>
                    <a:pt x="108" y="0"/>
                  </a:cubicBezTo>
                  <a:cubicBezTo>
                    <a:pt x="107" y="1"/>
                    <a:pt x="107" y="1"/>
                    <a:pt x="107" y="1"/>
                  </a:cubicBezTo>
                  <a:cubicBezTo>
                    <a:pt x="104" y="2"/>
                    <a:pt x="104" y="2"/>
                    <a:pt x="104" y="2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4" y="11"/>
                    <a:pt x="94" y="11"/>
                    <a:pt x="94" y="11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5" y="66"/>
                    <a:pt x="15" y="67"/>
                    <a:pt x="15" y="67"/>
                  </a:cubicBezTo>
                  <a:cubicBezTo>
                    <a:pt x="14" y="68"/>
                    <a:pt x="13" y="67"/>
                    <a:pt x="13" y="67"/>
                  </a:cubicBezTo>
                  <a:cubicBezTo>
                    <a:pt x="12" y="66"/>
                    <a:pt x="11" y="66"/>
                    <a:pt x="10" y="67"/>
                  </a:cubicBezTo>
                  <a:cubicBezTo>
                    <a:pt x="9" y="67"/>
                    <a:pt x="8" y="68"/>
                    <a:pt x="8" y="69"/>
                  </a:cubicBezTo>
                  <a:cubicBezTo>
                    <a:pt x="7" y="70"/>
                    <a:pt x="8" y="72"/>
                    <a:pt x="7" y="73"/>
                  </a:cubicBezTo>
                  <a:cubicBezTo>
                    <a:pt x="7" y="74"/>
                    <a:pt x="6" y="76"/>
                    <a:pt x="5" y="78"/>
                  </a:cubicBezTo>
                  <a:cubicBezTo>
                    <a:pt x="5" y="78"/>
                    <a:pt x="4" y="79"/>
                    <a:pt x="4" y="79"/>
                  </a:cubicBezTo>
                  <a:cubicBezTo>
                    <a:pt x="3" y="81"/>
                    <a:pt x="4" y="82"/>
                    <a:pt x="3" y="83"/>
                  </a:cubicBezTo>
                  <a:cubicBezTo>
                    <a:pt x="3" y="84"/>
                    <a:pt x="2" y="83"/>
                    <a:pt x="1" y="84"/>
                  </a:cubicBezTo>
                  <a:cubicBezTo>
                    <a:pt x="1" y="85"/>
                    <a:pt x="1" y="86"/>
                    <a:pt x="2" y="87"/>
                  </a:cubicBezTo>
                  <a:cubicBezTo>
                    <a:pt x="3" y="88"/>
                    <a:pt x="3" y="90"/>
                    <a:pt x="2" y="91"/>
                  </a:cubicBezTo>
                  <a:cubicBezTo>
                    <a:pt x="2" y="92"/>
                    <a:pt x="1" y="92"/>
                    <a:pt x="0" y="93"/>
                  </a:cubicBezTo>
                  <a:cubicBezTo>
                    <a:pt x="0" y="94"/>
                    <a:pt x="0" y="94"/>
                    <a:pt x="0" y="95"/>
                  </a:cubicBezTo>
                  <a:cubicBezTo>
                    <a:pt x="1" y="95"/>
                    <a:pt x="2" y="95"/>
                    <a:pt x="3" y="96"/>
                  </a:cubicBezTo>
                  <a:cubicBezTo>
                    <a:pt x="4" y="97"/>
                    <a:pt x="3" y="98"/>
                    <a:pt x="4" y="99"/>
                  </a:cubicBezTo>
                  <a:cubicBezTo>
                    <a:pt x="5" y="100"/>
                    <a:pt x="4" y="102"/>
                    <a:pt x="5" y="103"/>
                  </a:cubicBezTo>
                  <a:cubicBezTo>
                    <a:pt x="5" y="104"/>
                    <a:pt x="6" y="104"/>
                    <a:pt x="7" y="105"/>
                  </a:cubicBezTo>
                  <a:cubicBezTo>
                    <a:pt x="8" y="106"/>
                    <a:pt x="7" y="109"/>
                    <a:pt x="7" y="111"/>
                  </a:cubicBezTo>
                  <a:cubicBezTo>
                    <a:pt x="7" y="111"/>
                    <a:pt x="7" y="111"/>
                    <a:pt x="7" y="111"/>
                  </a:cubicBezTo>
                  <a:cubicBezTo>
                    <a:pt x="8" y="112"/>
                    <a:pt x="9" y="112"/>
                    <a:pt x="10" y="113"/>
                  </a:cubicBezTo>
                  <a:cubicBezTo>
                    <a:pt x="11" y="114"/>
                    <a:pt x="12" y="115"/>
                    <a:pt x="13" y="116"/>
                  </a:cubicBezTo>
                  <a:cubicBezTo>
                    <a:pt x="13" y="117"/>
                    <a:pt x="13" y="119"/>
                    <a:pt x="13" y="120"/>
                  </a:cubicBezTo>
                  <a:cubicBezTo>
                    <a:pt x="13" y="120"/>
                    <a:pt x="14" y="121"/>
                    <a:pt x="14" y="121"/>
                  </a:cubicBezTo>
                  <a:cubicBezTo>
                    <a:pt x="14" y="123"/>
                    <a:pt x="15" y="124"/>
                    <a:pt x="13" y="126"/>
                  </a:cubicBezTo>
                  <a:cubicBezTo>
                    <a:pt x="12" y="126"/>
                    <a:pt x="12" y="127"/>
                    <a:pt x="13" y="127"/>
                  </a:cubicBezTo>
                  <a:cubicBezTo>
                    <a:pt x="13" y="129"/>
                    <a:pt x="14" y="130"/>
                    <a:pt x="15" y="131"/>
                  </a:cubicBezTo>
                  <a:cubicBezTo>
                    <a:pt x="15" y="131"/>
                    <a:pt x="16" y="131"/>
                    <a:pt x="17" y="131"/>
                  </a:cubicBezTo>
                  <a:cubicBezTo>
                    <a:pt x="18" y="131"/>
                    <a:pt x="18" y="132"/>
                    <a:pt x="19" y="133"/>
                  </a:cubicBezTo>
                  <a:cubicBezTo>
                    <a:pt x="19" y="133"/>
                    <a:pt x="19" y="133"/>
                    <a:pt x="19" y="134"/>
                  </a:cubicBezTo>
                  <a:cubicBezTo>
                    <a:pt x="20" y="134"/>
                    <a:pt x="20" y="134"/>
                    <a:pt x="21" y="134"/>
                  </a:cubicBezTo>
                  <a:cubicBezTo>
                    <a:pt x="22" y="135"/>
                    <a:pt x="23" y="135"/>
                    <a:pt x="24" y="136"/>
                  </a:cubicBezTo>
                  <a:cubicBezTo>
                    <a:pt x="24" y="136"/>
                    <a:pt x="24" y="137"/>
                    <a:pt x="24" y="138"/>
                  </a:cubicBezTo>
                  <a:cubicBezTo>
                    <a:pt x="25" y="138"/>
                    <a:pt x="26" y="138"/>
                    <a:pt x="26" y="139"/>
                  </a:cubicBezTo>
                  <a:cubicBezTo>
                    <a:pt x="26" y="139"/>
                    <a:pt x="26" y="139"/>
                    <a:pt x="26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28" y="141"/>
                    <a:pt x="27" y="143"/>
                    <a:pt x="28" y="144"/>
                  </a:cubicBezTo>
                  <a:cubicBezTo>
                    <a:pt x="29" y="146"/>
                    <a:pt x="31" y="145"/>
                    <a:pt x="32" y="146"/>
                  </a:cubicBezTo>
                  <a:cubicBezTo>
                    <a:pt x="34" y="149"/>
                    <a:pt x="36" y="151"/>
                    <a:pt x="36" y="155"/>
                  </a:cubicBezTo>
                  <a:cubicBezTo>
                    <a:pt x="36" y="155"/>
                    <a:pt x="37" y="156"/>
                    <a:pt x="37" y="156"/>
                  </a:cubicBezTo>
                  <a:cubicBezTo>
                    <a:pt x="38" y="157"/>
                    <a:pt x="38" y="157"/>
                    <a:pt x="39" y="157"/>
                  </a:cubicBezTo>
                  <a:cubicBezTo>
                    <a:pt x="40" y="158"/>
                    <a:pt x="40" y="158"/>
                    <a:pt x="41" y="159"/>
                  </a:cubicBezTo>
                  <a:cubicBezTo>
                    <a:pt x="43" y="160"/>
                    <a:pt x="44" y="162"/>
                    <a:pt x="44" y="164"/>
                  </a:cubicBezTo>
                  <a:cubicBezTo>
                    <a:pt x="44" y="164"/>
                    <a:pt x="44" y="164"/>
                    <a:pt x="44" y="164"/>
                  </a:cubicBezTo>
                  <a:cubicBezTo>
                    <a:pt x="45" y="165"/>
                    <a:pt x="47" y="165"/>
                    <a:pt x="48" y="167"/>
                  </a:cubicBezTo>
                  <a:cubicBezTo>
                    <a:pt x="48" y="168"/>
                    <a:pt x="48" y="169"/>
                    <a:pt x="49" y="170"/>
                  </a:cubicBezTo>
                  <a:cubicBezTo>
                    <a:pt x="50" y="171"/>
                    <a:pt x="51" y="172"/>
                    <a:pt x="52" y="171"/>
                  </a:cubicBezTo>
                  <a:cubicBezTo>
                    <a:pt x="52" y="171"/>
                    <a:pt x="53" y="170"/>
                    <a:pt x="53" y="170"/>
                  </a:cubicBezTo>
                  <a:cubicBezTo>
                    <a:pt x="55" y="170"/>
                    <a:pt x="57" y="171"/>
                    <a:pt x="59" y="170"/>
                  </a:cubicBezTo>
                  <a:cubicBezTo>
                    <a:pt x="60" y="170"/>
                    <a:pt x="61" y="168"/>
                    <a:pt x="62" y="169"/>
                  </a:cubicBezTo>
                  <a:cubicBezTo>
                    <a:pt x="62" y="170"/>
                    <a:pt x="64" y="170"/>
                    <a:pt x="64" y="171"/>
                  </a:cubicBezTo>
                  <a:cubicBezTo>
                    <a:pt x="66" y="172"/>
                    <a:pt x="67" y="174"/>
                    <a:pt x="68" y="176"/>
                  </a:cubicBezTo>
                  <a:cubicBezTo>
                    <a:pt x="68" y="176"/>
                    <a:pt x="68" y="176"/>
                    <a:pt x="68" y="177"/>
                  </a:cubicBezTo>
                  <a:cubicBezTo>
                    <a:pt x="69" y="177"/>
                    <a:pt x="70" y="177"/>
                    <a:pt x="71" y="178"/>
                  </a:cubicBezTo>
                  <a:cubicBezTo>
                    <a:pt x="72" y="178"/>
                    <a:pt x="72" y="177"/>
                    <a:pt x="74" y="177"/>
                  </a:cubicBezTo>
                  <a:cubicBezTo>
                    <a:pt x="75" y="176"/>
                    <a:pt x="77" y="177"/>
                    <a:pt x="79" y="177"/>
                  </a:cubicBezTo>
                  <a:cubicBezTo>
                    <a:pt x="79" y="177"/>
                    <a:pt x="79" y="177"/>
                    <a:pt x="80" y="177"/>
                  </a:cubicBezTo>
                  <a:cubicBezTo>
                    <a:pt x="81" y="178"/>
                    <a:pt x="82" y="179"/>
                    <a:pt x="83" y="178"/>
                  </a:cubicBezTo>
                  <a:cubicBezTo>
                    <a:pt x="86" y="176"/>
                    <a:pt x="89" y="177"/>
                    <a:pt x="91" y="177"/>
                  </a:cubicBezTo>
                  <a:cubicBezTo>
                    <a:pt x="92" y="177"/>
                    <a:pt x="93" y="176"/>
                    <a:pt x="93" y="176"/>
                  </a:cubicBezTo>
                  <a:cubicBezTo>
                    <a:pt x="94" y="175"/>
                    <a:pt x="95" y="174"/>
                    <a:pt x="96" y="173"/>
                  </a:cubicBezTo>
                  <a:cubicBezTo>
                    <a:pt x="98" y="170"/>
                    <a:pt x="100" y="169"/>
                    <a:pt x="102" y="167"/>
                  </a:cubicBezTo>
                  <a:cubicBezTo>
                    <a:pt x="103" y="165"/>
                    <a:pt x="105" y="164"/>
                    <a:pt x="105" y="162"/>
                  </a:cubicBezTo>
                  <a:cubicBezTo>
                    <a:pt x="106" y="162"/>
                    <a:pt x="106" y="160"/>
                    <a:pt x="106" y="160"/>
                  </a:cubicBezTo>
                  <a:cubicBezTo>
                    <a:pt x="106" y="159"/>
                    <a:pt x="106" y="159"/>
                    <a:pt x="106" y="159"/>
                  </a:cubicBezTo>
                  <a:cubicBezTo>
                    <a:pt x="106" y="158"/>
                    <a:pt x="105" y="158"/>
                    <a:pt x="104" y="157"/>
                  </a:cubicBezTo>
                  <a:cubicBezTo>
                    <a:pt x="102" y="156"/>
                    <a:pt x="104" y="153"/>
                    <a:pt x="103" y="151"/>
                  </a:cubicBezTo>
                  <a:cubicBezTo>
                    <a:pt x="103" y="150"/>
                    <a:pt x="102" y="149"/>
                    <a:pt x="102" y="149"/>
                  </a:cubicBezTo>
                  <a:cubicBezTo>
                    <a:pt x="101" y="149"/>
                    <a:pt x="100" y="149"/>
                    <a:pt x="99" y="148"/>
                  </a:cubicBezTo>
                  <a:cubicBezTo>
                    <a:pt x="99" y="148"/>
                    <a:pt x="99" y="147"/>
                    <a:pt x="99" y="147"/>
                  </a:cubicBezTo>
                  <a:cubicBezTo>
                    <a:pt x="96" y="145"/>
                    <a:pt x="95" y="143"/>
                    <a:pt x="94" y="141"/>
                  </a:cubicBezTo>
                  <a:cubicBezTo>
                    <a:pt x="92" y="139"/>
                    <a:pt x="90" y="140"/>
                    <a:pt x="89" y="139"/>
                  </a:cubicBezTo>
                  <a:cubicBezTo>
                    <a:pt x="88" y="139"/>
                    <a:pt x="87" y="138"/>
                    <a:pt x="88" y="137"/>
                  </a:cubicBezTo>
                  <a:cubicBezTo>
                    <a:pt x="88" y="137"/>
                    <a:pt x="89" y="136"/>
                    <a:pt x="89" y="136"/>
                  </a:cubicBezTo>
                  <a:cubicBezTo>
                    <a:pt x="89" y="136"/>
                    <a:pt x="89" y="135"/>
                    <a:pt x="89" y="135"/>
                  </a:cubicBezTo>
                  <a:cubicBezTo>
                    <a:pt x="90" y="135"/>
                    <a:pt x="90" y="135"/>
                    <a:pt x="90" y="135"/>
                  </a:cubicBezTo>
                  <a:cubicBezTo>
                    <a:pt x="92" y="134"/>
                    <a:pt x="93" y="135"/>
                    <a:pt x="95" y="134"/>
                  </a:cubicBezTo>
                  <a:cubicBezTo>
                    <a:pt x="96" y="134"/>
                    <a:pt x="97" y="134"/>
                    <a:pt x="97" y="133"/>
                  </a:cubicBezTo>
                  <a:cubicBezTo>
                    <a:pt x="98" y="133"/>
                    <a:pt x="98" y="133"/>
                    <a:pt x="98" y="132"/>
                  </a:cubicBezTo>
                  <a:cubicBezTo>
                    <a:pt x="99" y="131"/>
                    <a:pt x="99" y="130"/>
                    <a:pt x="98" y="129"/>
                  </a:cubicBezTo>
                  <a:cubicBezTo>
                    <a:pt x="98" y="128"/>
                    <a:pt x="98" y="128"/>
                    <a:pt x="98" y="128"/>
                  </a:cubicBezTo>
                  <a:cubicBezTo>
                    <a:pt x="97" y="126"/>
                    <a:pt x="97" y="125"/>
                    <a:pt x="98" y="124"/>
                  </a:cubicBezTo>
                  <a:cubicBezTo>
                    <a:pt x="98" y="122"/>
                    <a:pt x="98" y="120"/>
                    <a:pt x="98" y="118"/>
                  </a:cubicBezTo>
                  <a:cubicBezTo>
                    <a:pt x="98" y="118"/>
                    <a:pt x="98" y="117"/>
                    <a:pt x="98" y="116"/>
                  </a:cubicBezTo>
                  <a:cubicBezTo>
                    <a:pt x="97" y="115"/>
                    <a:pt x="97" y="114"/>
                    <a:pt x="98" y="113"/>
                  </a:cubicBezTo>
                  <a:cubicBezTo>
                    <a:pt x="99" y="112"/>
                    <a:pt x="101" y="113"/>
                    <a:pt x="103" y="113"/>
                  </a:cubicBezTo>
                  <a:cubicBezTo>
                    <a:pt x="103" y="111"/>
                    <a:pt x="103" y="109"/>
                    <a:pt x="103" y="107"/>
                  </a:cubicBezTo>
                  <a:cubicBezTo>
                    <a:pt x="104" y="106"/>
                    <a:pt x="104" y="106"/>
                    <a:pt x="104" y="105"/>
                  </a:cubicBezTo>
                  <a:cubicBezTo>
                    <a:pt x="104" y="105"/>
                    <a:pt x="105" y="104"/>
                    <a:pt x="105" y="103"/>
                  </a:cubicBezTo>
                  <a:cubicBezTo>
                    <a:pt x="106" y="102"/>
                    <a:pt x="106" y="102"/>
                    <a:pt x="106" y="101"/>
                  </a:cubicBezTo>
                  <a:cubicBezTo>
                    <a:pt x="107" y="99"/>
                    <a:pt x="107" y="98"/>
                    <a:pt x="108" y="96"/>
                  </a:cubicBezTo>
                  <a:cubicBezTo>
                    <a:pt x="108" y="95"/>
                    <a:pt x="108" y="95"/>
                    <a:pt x="109" y="95"/>
                  </a:cubicBezTo>
                  <a:cubicBezTo>
                    <a:pt x="110" y="94"/>
                    <a:pt x="112" y="95"/>
                    <a:pt x="113" y="94"/>
                  </a:cubicBezTo>
                  <a:cubicBezTo>
                    <a:pt x="115" y="92"/>
                    <a:pt x="113" y="90"/>
                    <a:pt x="114" y="88"/>
                  </a:cubicBezTo>
                  <a:cubicBezTo>
                    <a:pt x="115" y="87"/>
                    <a:pt x="115" y="87"/>
                    <a:pt x="115" y="86"/>
                  </a:cubicBezTo>
                  <a:cubicBezTo>
                    <a:pt x="116" y="84"/>
                    <a:pt x="115" y="82"/>
                    <a:pt x="115" y="80"/>
                  </a:cubicBezTo>
                  <a:cubicBezTo>
                    <a:pt x="115" y="80"/>
                    <a:pt x="115" y="80"/>
                    <a:pt x="115" y="80"/>
                  </a:cubicBezTo>
                  <a:cubicBezTo>
                    <a:pt x="115" y="79"/>
                    <a:pt x="116" y="79"/>
                    <a:pt x="115" y="78"/>
                  </a:cubicBezTo>
                  <a:cubicBezTo>
                    <a:pt x="115" y="76"/>
                    <a:pt x="115" y="73"/>
                    <a:pt x="115" y="71"/>
                  </a:cubicBezTo>
                  <a:cubicBezTo>
                    <a:pt x="116" y="70"/>
                    <a:pt x="118" y="69"/>
                    <a:pt x="118" y="67"/>
                  </a:cubicBezTo>
                  <a:cubicBezTo>
                    <a:pt x="119" y="63"/>
                    <a:pt x="118" y="60"/>
                    <a:pt x="119" y="56"/>
                  </a:cubicBezTo>
                  <a:cubicBezTo>
                    <a:pt x="119" y="56"/>
                    <a:pt x="119" y="55"/>
                    <a:pt x="119" y="55"/>
                  </a:cubicBezTo>
                  <a:cubicBezTo>
                    <a:pt x="120" y="55"/>
                    <a:pt x="120" y="55"/>
                    <a:pt x="121" y="55"/>
                  </a:cubicBezTo>
                  <a:cubicBezTo>
                    <a:pt x="122" y="55"/>
                    <a:pt x="122" y="54"/>
                    <a:pt x="122" y="53"/>
                  </a:cubicBezTo>
                  <a:cubicBezTo>
                    <a:pt x="123" y="53"/>
                    <a:pt x="124" y="53"/>
                    <a:pt x="125" y="53"/>
                  </a:cubicBezTo>
                  <a:cubicBezTo>
                    <a:pt x="125" y="52"/>
                    <a:pt x="126" y="52"/>
                    <a:pt x="126" y="51"/>
                  </a:cubicBezTo>
                  <a:cubicBezTo>
                    <a:pt x="127" y="51"/>
                    <a:pt x="127" y="52"/>
                    <a:pt x="127" y="51"/>
                  </a:cubicBezTo>
                  <a:cubicBezTo>
                    <a:pt x="129" y="50"/>
                    <a:pt x="130" y="48"/>
                    <a:pt x="130" y="46"/>
                  </a:cubicBezTo>
                  <a:lnTo>
                    <a:pt x="130" y="45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8" name="Freeform 370"/>
            <p:cNvSpPr>
              <a:spLocks/>
            </p:cNvSpPr>
            <p:nvPr/>
          </p:nvSpPr>
          <p:spPr bwMode="auto">
            <a:xfrm>
              <a:off x="7250637" y="5147455"/>
              <a:ext cx="70323" cy="58015"/>
            </a:xfrm>
            <a:custGeom>
              <a:avLst/>
              <a:gdLst>
                <a:gd name="T0" fmla="*/ 1815921 w 52"/>
                <a:gd name="T1" fmla="*/ 2070501 h 53"/>
                <a:gd name="T2" fmla="*/ 1779815 w 52"/>
                <a:gd name="T3" fmla="*/ 1941091 h 53"/>
                <a:gd name="T4" fmla="*/ 1752090 w 52"/>
                <a:gd name="T5" fmla="*/ 1894924 h 53"/>
                <a:gd name="T6" fmla="*/ 1752090 w 52"/>
                <a:gd name="T7" fmla="*/ 1848900 h 53"/>
                <a:gd name="T8" fmla="*/ 1513713 w 52"/>
                <a:gd name="T9" fmla="*/ 1578512 h 53"/>
                <a:gd name="T10" fmla="*/ 1402139 w 52"/>
                <a:gd name="T11" fmla="*/ 1448466 h 53"/>
                <a:gd name="T12" fmla="*/ 1402139 w 52"/>
                <a:gd name="T13" fmla="*/ 1405297 h 53"/>
                <a:gd name="T14" fmla="*/ 1322664 w 52"/>
                <a:gd name="T15" fmla="*/ 1313942 h 53"/>
                <a:gd name="T16" fmla="*/ 1086802 w 52"/>
                <a:gd name="T17" fmla="*/ 1242303 h 53"/>
                <a:gd name="T18" fmla="*/ 1056514 w 52"/>
                <a:gd name="T19" fmla="*/ 1196578 h 53"/>
                <a:gd name="T20" fmla="*/ 1056514 w 52"/>
                <a:gd name="T21" fmla="*/ 1149360 h 53"/>
                <a:gd name="T22" fmla="*/ 1022973 w 52"/>
                <a:gd name="T23" fmla="*/ 1044959 h 53"/>
                <a:gd name="T24" fmla="*/ 944279 w 52"/>
                <a:gd name="T25" fmla="*/ 998814 h 53"/>
                <a:gd name="T26" fmla="*/ 911087 w 52"/>
                <a:gd name="T27" fmla="*/ 1105254 h 53"/>
                <a:gd name="T28" fmla="*/ 870192 w 52"/>
                <a:gd name="T29" fmla="*/ 1105254 h 53"/>
                <a:gd name="T30" fmla="*/ 831638 w 52"/>
                <a:gd name="T31" fmla="*/ 1044959 h 53"/>
                <a:gd name="T32" fmla="*/ 801206 w 52"/>
                <a:gd name="T33" fmla="*/ 699145 h 53"/>
                <a:gd name="T34" fmla="*/ 768065 w 52"/>
                <a:gd name="T35" fmla="*/ 658430 h 53"/>
                <a:gd name="T36" fmla="*/ 687785 w 52"/>
                <a:gd name="T37" fmla="*/ 449694 h 53"/>
                <a:gd name="T38" fmla="*/ 673014 w 52"/>
                <a:gd name="T39" fmla="*/ 406529 h 53"/>
                <a:gd name="T40" fmla="*/ 596339 w 52"/>
                <a:gd name="T41" fmla="*/ 89707 h 53"/>
                <a:gd name="T42" fmla="*/ 531946 w 52"/>
                <a:gd name="T43" fmla="*/ 0 h 53"/>
                <a:gd name="T44" fmla="*/ 531946 w 52"/>
                <a:gd name="T45" fmla="*/ 46160 h 53"/>
                <a:gd name="T46" fmla="*/ 416627 w 52"/>
                <a:gd name="T47" fmla="*/ 251901 h 53"/>
                <a:gd name="T48" fmla="*/ 379138 w 52"/>
                <a:gd name="T49" fmla="*/ 251901 h 53"/>
                <a:gd name="T50" fmla="*/ 349967 w 52"/>
                <a:gd name="T51" fmla="*/ 338804 h 53"/>
                <a:gd name="T52" fmla="*/ 235300 w 52"/>
                <a:gd name="T53" fmla="*/ 338804 h 53"/>
                <a:gd name="T54" fmla="*/ 216646 w 52"/>
                <a:gd name="T55" fmla="*/ 406529 h 53"/>
                <a:gd name="T56" fmla="*/ 143838 w 52"/>
                <a:gd name="T57" fmla="*/ 406529 h 53"/>
                <a:gd name="T58" fmla="*/ 143838 w 52"/>
                <a:gd name="T59" fmla="*/ 449694 h 53"/>
                <a:gd name="T60" fmla="*/ 112656 w 52"/>
                <a:gd name="T61" fmla="*/ 919671 h 53"/>
                <a:gd name="T62" fmla="*/ 0 w 52"/>
                <a:gd name="T63" fmla="*/ 1082666 h 53"/>
                <a:gd name="T64" fmla="*/ 0 w 52"/>
                <a:gd name="T65" fmla="*/ 1358716 h 53"/>
                <a:gd name="T66" fmla="*/ 216646 w 52"/>
                <a:gd name="T67" fmla="*/ 1358716 h 53"/>
                <a:gd name="T68" fmla="*/ 349967 w 52"/>
                <a:gd name="T69" fmla="*/ 1313942 h 53"/>
                <a:gd name="T70" fmla="*/ 491025 w 52"/>
                <a:gd name="T71" fmla="*/ 1313942 h 53"/>
                <a:gd name="T72" fmla="*/ 634123 w 52"/>
                <a:gd name="T73" fmla="*/ 1358716 h 53"/>
                <a:gd name="T74" fmla="*/ 870192 w 52"/>
                <a:gd name="T75" fmla="*/ 1405297 h 53"/>
                <a:gd name="T76" fmla="*/ 984446 w 52"/>
                <a:gd name="T77" fmla="*/ 1448466 h 53"/>
                <a:gd name="T78" fmla="*/ 1086802 w 52"/>
                <a:gd name="T79" fmla="*/ 1578512 h 53"/>
                <a:gd name="T80" fmla="*/ 1146806 w 52"/>
                <a:gd name="T81" fmla="*/ 1624246 h 53"/>
                <a:gd name="T82" fmla="*/ 1673446 w 52"/>
                <a:gd name="T83" fmla="*/ 2193793 h 53"/>
                <a:gd name="T84" fmla="*/ 1712340 w 52"/>
                <a:gd name="T85" fmla="*/ 2193793 h 53"/>
                <a:gd name="T86" fmla="*/ 1779815 w 52"/>
                <a:gd name="T87" fmla="*/ 2104049 h 53"/>
                <a:gd name="T88" fmla="*/ 1815921 w 52"/>
                <a:gd name="T89" fmla="*/ 2070501 h 5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2"/>
                <a:gd name="T136" fmla="*/ 0 h 53"/>
                <a:gd name="T137" fmla="*/ 52 w 52"/>
                <a:gd name="T138" fmla="*/ 53 h 5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2" h="53">
                  <a:moveTo>
                    <a:pt x="52" y="50"/>
                  </a:moveTo>
                  <a:cubicBezTo>
                    <a:pt x="51" y="49"/>
                    <a:pt x="51" y="48"/>
                    <a:pt x="51" y="47"/>
                  </a:cubicBezTo>
                  <a:cubicBezTo>
                    <a:pt x="51" y="47"/>
                    <a:pt x="50" y="47"/>
                    <a:pt x="50" y="46"/>
                  </a:cubicBezTo>
                  <a:cubicBezTo>
                    <a:pt x="50" y="46"/>
                    <a:pt x="50" y="45"/>
                    <a:pt x="50" y="45"/>
                  </a:cubicBezTo>
                  <a:cubicBezTo>
                    <a:pt x="48" y="42"/>
                    <a:pt x="45" y="41"/>
                    <a:pt x="43" y="38"/>
                  </a:cubicBezTo>
                  <a:cubicBezTo>
                    <a:pt x="41" y="38"/>
                    <a:pt x="41" y="36"/>
                    <a:pt x="40" y="35"/>
                  </a:cubicBezTo>
                  <a:cubicBezTo>
                    <a:pt x="40" y="35"/>
                    <a:pt x="40" y="34"/>
                    <a:pt x="40" y="34"/>
                  </a:cubicBezTo>
                  <a:cubicBezTo>
                    <a:pt x="40" y="33"/>
                    <a:pt x="39" y="32"/>
                    <a:pt x="38" y="32"/>
                  </a:cubicBezTo>
                  <a:cubicBezTo>
                    <a:pt x="36" y="31"/>
                    <a:pt x="33" y="31"/>
                    <a:pt x="31" y="30"/>
                  </a:cubicBezTo>
                  <a:cubicBezTo>
                    <a:pt x="30" y="30"/>
                    <a:pt x="30" y="29"/>
                    <a:pt x="30" y="29"/>
                  </a:cubicBezTo>
                  <a:cubicBezTo>
                    <a:pt x="30" y="29"/>
                    <a:pt x="30" y="28"/>
                    <a:pt x="30" y="28"/>
                  </a:cubicBezTo>
                  <a:cubicBezTo>
                    <a:pt x="29" y="27"/>
                    <a:pt x="30" y="26"/>
                    <a:pt x="29" y="25"/>
                  </a:cubicBezTo>
                  <a:cubicBezTo>
                    <a:pt x="28" y="25"/>
                    <a:pt x="28" y="24"/>
                    <a:pt x="27" y="24"/>
                  </a:cubicBezTo>
                  <a:cubicBezTo>
                    <a:pt x="26" y="25"/>
                    <a:pt x="27" y="26"/>
                    <a:pt x="26" y="27"/>
                  </a:cubicBezTo>
                  <a:cubicBezTo>
                    <a:pt x="26" y="28"/>
                    <a:pt x="25" y="28"/>
                    <a:pt x="25" y="27"/>
                  </a:cubicBezTo>
                  <a:cubicBezTo>
                    <a:pt x="24" y="27"/>
                    <a:pt x="24" y="26"/>
                    <a:pt x="24" y="25"/>
                  </a:cubicBezTo>
                  <a:cubicBezTo>
                    <a:pt x="22" y="22"/>
                    <a:pt x="23" y="20"/>
                    <a:pt x="23" y="17"/>
                  </a:cubicBezTo>
                  <a:cubicBezTo>
                    <a:pt x="23" y="17"/>
                    <a:pt x="22" y="16"/>
                    <a:pt x="22" y="16"/>
                  </a:cubicBezTo>
                  <a:cubicBezTo>
                    <a:pt x="21" y="14"/>
                    <a:pt x="20" y="13"/>
                    <a:pt x="20" y="11"/>
                  </a:cubicBezTo>
                  <a:cubicBezTo>
                    <a:pt x="20" y="10"/>
                    <a:pt x="20" y="10"/>
                    <a:pt x="19" y="10"/>
                  </a:cubicBezTo>
                  <a:cubicBezTo>
                    <a:pt x="18" y="7"/>
                    <a:pt x="20" y="4"/>
                    <a:pt x="17" y="2"/>
                  </a:cubicBezTo>
                  <a:cubicBezTo>
                    <a:pt x="16" y="1"/>
                    <a:pt x="16" y="0"/>
                    <a:pt x="15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3"/>
                    <a:pt x="14" y="5"/>
                    <a:pt x="12" y="6"/>
                  </a:cubicBezTo>
                  <a:cubicBezTo>
                    <a:pt x="12" y="7"/>
                    <a:pt x="12" y="6"/>
                    <a:pt x="11" y="6"/>
                  </a:cubicBezTo>
                  <a:cubicBezTo>
                    <a:pt x="11" y="7"/>
                    <a:pt x="10" y="7"/>
                    <a:pt x="10" y="8"/>
                  </a:cubicBezTo>
                  <a:cubicBezTo>
                    <a:pt x="9" y="8"/>
                    <a:pt x="8" y="8"/>
                    <a:pt x="7" y="8"/>
                  </a:cubicBezTo>
                  <a:cubicBezTo>
                    <a:pt x="7" y="9"/>
                    <a:pt x="7" y="10"/>
                    <a:pt x="6" y="10"/>
                  </a:cubicBezTo>
                  <a:cubicBezTo>
                    <a:pt x="5" y="10"/>
                    <a:pt x="5" y="10"/>
                    <a:pt x="4" y="10"/>
                  </a:cubicBezTo>
                  <a:cubicBezTo>
                    <a:pt x="4" y="10"/>
                    <a:pt x="4" y="11"/>
                    <a:pt x="4" y="11"/>
                  </a:cubicBezTo>
                  <a:cubicBezTo>
                    <a:pt x="3" y="15"/>
                    <a:pt x="4" y="18"/>
                    <a:pt x="3" y="22"/>
                  </a:cubicBezTo>
                  <a:cubicBezTo>
                    <a:pt x="3" y="24"/>
                    <a:pt x="1" y="25"/>
                    <a:pt x="0" y="26"/>
                  </a:cubicBezTo>
                  <a:cubicBezTo>
                    <a:pt x="0" y="28"/>
                    <a:pt x="0" y="31"/>
                    <a:pt x="0" y="33"/>
                  </a:cubicBezTo>
                  <a:cubicBezTo>
                    <a:pt x="2" y="33"/>
                    <a:pt x="4" y="34"/>
                    <a:pt x="6" y="33"/>
                  </a:cubicBezTo>
                  <a:cubicBezTo>
                    <a:pt x="7" y="33"/>
                    <a:pt x="8" y="32"/>
                    <a:pt x="10" y="32"/>
                  </a:cubicBezTo>
                  <a:cubicBezTo>
                    <a:pt x="11" y="31"/>
                    <a:pt x="12" y="31"/>
                    <a:pt x="14" y="32"/>
                  </a:cubicBezTo>
                  <a:cubicBezTo>
                    <a:pt x="15" y="32"/>
                    <a:pt x="16" y="33"/>
                    <a:pt x="18" y="33"/>
                  </a:cubicBezTo>
                  <a:cubicBezTo>
                    <a:pt x="20" y="34"/>
                    <a:pt x="23" y="33"/>
                    <a:pt x="25" y="34"/>
                  </a:cubicBezTo>
                  <a:cubicBezTo>
                    <a:pt x="26" y="34"/>
                    <a:pt x="27" y="34"/>
                    <a:pt x="28" y="35"/>
                  </a:cubicBezTo>
                  <a:cubicBezTo>
                    <a:pt x="29" y="35"/>
                    <a:pt x="30" y="37"/>
                    <a:pt x="31" y="38"/>
                  </a:cubicBezTo>
                  <a:cubicBezTo>
                    <a:pt x="32" y="38"/>
                    <a:pt x="33" y="38"/>
                    <a:pt x="33" y="39"/>
                  </a:cubicBezTo>
                  <a:cubicBezTo>
                    <a:pt x="39" y="43"/>
                    <a:pt x="43" y="48"/>
                    <a:pt x="48" y="53"/>
                  </a:cubicBezTo>
                  <a:cubicBezTo>
                    <a:pt x="48" y="53"/>
                    <a:pt x="49" y="53"/>
                    <a:pt x="49" y="53"/>
                  </a:cubicBezTo>
                  <a:cubicBezTo>
                    <a:pt x="50" y="52"/>
                    <a:pt x="51" y="51"/>
                    <a:pt x="51" y="51"/>
                  </a:cubicBezTo>
                  <a:lnTo>
                    <a:pt x="52" y="5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9" name="Freeform 371"/>
            <p:cNvSpPr>
              <a:spLocks/>
            </p:cNvSpPr>
            <p:nvPr/>
          </p:nvSpPr>
          <p:spPr bwMode="auto">
            <a:xfrm>
              <a:off x="7306459" y="5201846"/>
              <a:ext cx="21024" cy="18735"/>
            </a:xfrm>
            <a:custGeom>
              <a:avLst/>
              <a:gdLst>
                <a:gd name="T0" fmla="*/ 295914 w 16"/>
                <a:gd name="T1" fmla="*/ 786432 h 17"/>
                <a:gd name="T2" fmla="*/ 237416 w 16"/>
                <a:gd name="T3" fmla="*/ 720896 h 17"/>
                <a:gd name="T4" fmla="*/ 237416 w 16"/>
                <a:gd name="T5" fmla="*/ 655360 h 17"/>
                <a:gd name="T6" fmla="*/ 271785 w 16"/>
                <a:gd name="T7" fmla="*/ 589824 h 17"/>
                <a:gd name="T8" fmla="*/ 371507 w 16"/>
                <a:gd name="T9" fmla="*/ 327680 h 17"/>
                <a:gd name="T10" fmla="*/ 371507 w 16"/>
                <a:gd name="T11" fmla="*/ 262144 h 17"/>
                <a:gd name="T12" fmla="*/ 258919 w 16"/>
                <a:gd name="T13" fmla="*/ 0 h 17"/>
                <a:gd name="T14" fmla="*/ 237416 w 16"/>
                <a:gd name="T15" fmla="*/ 65536 h 17"/>
                <a:gd name="T16" fmla="*/ 182981 w 16"/>
                <a:gd name="T17" fmla="*/ 196608 h 17"/>
                <a:gd name="T18" fmla="*/ 157821 w 16"/>
                <a:gd name="T19" fmla="*/ 196608 h 17"/>
                <a:gd name="T20" fmla="*/ 27759 w 16"/>
                <a:gd name="T21" fmla="*/ 589824 h 17"/>
                <a:gd name="T22" fmla="*/ 27759 w 16"/>
                <a:gd name="T23" fmla="*/ 786432 h 17"/>
                <a:gd name="T24" fmla="*/ 52048 w 16"/>
                <a:gd name="T25" fmla="*/ 1114112 h 17"/>
                <a:gd name="T26" fmla="*/ 112929 w 16"/>
                <a:gd name="T27" fmla="*/ 1048576 h 17"/>
                <a:gd name="T28" fmla="*/ 157821 w 16"/>
                <a:gd name="T29" fmla="*/ 983040 h 17"/>
                <a:gd name="T30" fmla="*/ 211742 w 16"/>
                <a:gd name="T31" fmla="*/ 983040 h 17"/>
                <a:gd name="T32" fmla="*/ 237416 w 16"/>
                <a:gd name="T33" fmla="*/ 983040 h 17"/>
                <a:gd name="T34" fmla="*/ 271785 w 16"/>
                <a:gd name="T35" fmla="*/ 917504 h 17"/>
                <a:gd name="T36" fmla="*/ 295914 w 16"/>
                <a:gd name="T37" fmla="*/ 786432 h 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6"/>
                <a:gd name="T58" fmla="*/ 0 h 17"/>
                <a:gd name="T59" fmla="*/ 16 w 16"/>
                <a:gd name="T60" fmla="*/ 17 h 1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6" h="17">
                  <a:moveTo>
                    <a:pt x="13" y="12"/>
                  </a:moveTo>
                  <a:cubicBezTo>
                    <a:pt x="12" y="12"/>
                    <a:pt x="11" y="12"/>
                    <a:pt x="10" y="11"/>
                  </a:cubicBezTo>
                  <a:cubicBezTo>
                    <a:pt x="10" y="11"/>
                    <a:pt x="10" y="10"/>
                    <a:pt x="10" y="10"/>
                  </a:cubicBezTo>
                  <a:cubicBezTo>
                    <a:pt x="10" y="10"/>
                    <a:pt x="11" y="10"/>
                    <a:pt x="12" y="9"/>
                  </a:cubicBezTo>
                  <a:cubicBezTo>
                    <a:pt x="13" y="8"/>
                    <a:pt x="15" y="7"/>
                    <a:pt x="16" y="5"/>
                  </a:cubicBezTo>
                  <a:cubicBezTo>
                    <a:pt x="16" y="5"/>
                    <a:pt x="16" y="4"/>
                    <a:pt x="16" y="4"/>
                  </a:cubicBezTo>
                  <a:cubicBezTo>
                    <a:pt x="14" y="2"/>
                    <a:pt x="12" y="1"/>
                    <a:pt x="11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5"/>
                    <a:pt x="3" y="7"/>
                    <a:pt x="1" y="9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2" y="14"/>
                    <a:pt x="2" y="15"/>
                    <a:pt x="2" y="17"/>
                  </a:cubicBezTo>
                  <a:cubicBezTo>
                    <a:pt x="3" y="17"/>
                    <a:pt x="4" y="17"/>
                    <a:pt x="5" y="16"/>
                  </a:cubicBezTo>
                  <a:cubicBezTo>
                    <a:pt x="6" y="16"/>
                    <a:pt x="6" y="15"/>
                    <a:pt x="7" y="15"/>
                  </a:cubicBezTo>
                  <a:cubicBezTo>
                    <a:pt x="8" y="15"/>
                    <a:pt x="8" y="14"/>
                    <a:pt x="9" y="15"/>
                  </a:cubicBezTo>
                  <a:cubicBezTo>
                    <a:pt x="9" y="15"/>
                    <a:pt x="10" y="15"/>
                    <a:pt x="10" y="15"/>
                  </a:cubicBezTo>
                  <a:cubicBezTo>
                    <a:pt x="11" y="16"/>
                    <a:pt x="11" y="14"/>
                    <a:pt x="12" y="14"/>
                  </a:cubicBezTo>
                  <a:lnTo>
                    <a:pt x="13" y="12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0" name="Freeform 372"/>
            <p:cNvSpPr>
              <a:spLocks/>
            </p:cNvSpPr>
            <p:nvPr/>
          </p:nvSpPr>
          <p:spPr bwMode="auto">
            <a:xfrm>
              <a:off x="7212938" y="5181900"/>
              <a:ext cx="160941" cy="110594"/>
            </a:xfrm>
            <a:custGeom>
              <a:avLst/>
              <a:gdLst>
                <a:gd name="T0" fmla="*/ 2798238 w 119"/>
                <a:gd name="T1" fmla="*/ 3548263 h 102"/>
                <a:gd name="T2" fmla="*/ 3141668 w 119"/>
                <a:gd name="T3" fmla="*/ 3375543 h 102"/>
                <a:gd name="T4" fmla="*/ 3398714 w 119"/>
                <a:gd name="T5" fmla="*/ 3418914 h 102"/>
                <a:gd name="T6" fmla="*/ 3780907 w 119"/>
                <a:gd name="T7" fmla="*/ 2933583 h 102"/>
                <a:gd name="T8" fmla="*/ 4020468 w 119"/>
                <a:gd name="T9" fmla="*/ 2580382 h 102"/>
                <a:gd name="T10" fmla="*/ 4213435 w 119"/>
                <a:gd name="T11" fmla="*/ 2441054 h 102"/>
                <a:gd name="T12" fmla="*/ 3989946 w 119"/>
                <a:gd name="T13" fmla="*/ 2289978 h 102"/>
                <a:gd name="T14" fmla="*/ 3255433 w 119"/>
                <a:gd name="T15" fmla="*/ 2061932 h 102"/>
                <a:gd name="T16" fmla="*/ 3102665 w 119"/>
                <a:gd name="T17" fmla="*/ 1940722 h 102"/>
                <a:gd name="T18" fmla="*/ 2979102 w 119"/>
                <a:gd name="T19" fmla="*/ 1810598 h 102"/>
                <a:gd name="T20" fmla="*/ 2862358 w 119"/>
                <a:gd name="T21" fmla="*/ 1648606 h 102"/>
                <a:gd name="T22" fmla="*/ 2798238 w 119"/>
                <a:gd name="T23" fmla="*/ 1274710 h 102"/>
                <a:gd name="T24" fmla="*/ 2684563 w 119"/>
                <a:gd name="T25" fmla="*/ 1274710 h 102"/>
                <a:gd name="T26" fmla="*/ 2522564 w 119"/>
                <a:gd name="T27" fmla="*/ 1357029 h 102"/>
                <a:gd name="T28" fmla="*/ 2480917 w 119"/>
                <a:gd name="T29" fmla="*/ 1045120 h 102"/>
                <a:gd name="T30" fmla="*/ 2720382 w 119"/>
                <a:gd name="T31" fmla="*/ 810278 h 102"/>
                <a:gd name="T32" fmla="*/ 2148630 w 119"/>
                <a:gd name="T33" fmla="*/ 291579 h 102"/>
                <a:gd name="T34" fmla="*/ 1986130 w 119"/>
                <a:gd name="T35" fmla="*/ 150970 h 102"/>
                <a:gd name="T36" fmla="*/ 1632570 w 119"/>
                <a:gd name="T37" fmla="*/ 78167 h 102"/>
                <a:gd name="T38" fmla="*/ 1336563 w 119"/>
                <a:gd name="T39" fmla="*/ 40472 h 102"/>
                <a:gd name="T40" fmla="*/ 993031 w 119"/>
                <a:gd name="T41" fmla="*/ 78167 h 102"/>
                <a:gd name="T42" fmla="*/ 993031 w 119"/>
                <a:gd name="T43" fmla="*/ 150970 h 102"/>
                <a:gd name="T44" fmla="*/ 951385 w 119"/>
                <a:gd name="T45" fmla="*/ 441962 h 102"/>
                <a:gd name="T46" fmla="*/ 772942 w 119"/>
                <a:gd name="T47" fmla="*/ 714251 h 102"/>
                <a:gd name="T48" fmla="*/ 681185 w 119"/>
                <a:gd name="T49" fmla="*/ 937467 h 102"/>
                <a:gd name="T50" fmla="*/ 611588 w 119"/>
                <a:gd name="T51" fmla="*/ 1087649 h 102"/>
                <a:gd name="T52" fmla="*/ 569648 w 119"/>
                <a:gd name="T53" fmla="*/ 1379485 h 102"/>
                <a:gd name="T54" fmla="*/ 381737 w 119"/>
                <a:gd name="T55" fmla="*/ 1497924 h 102"/>
                <a:gd name="T56" fmla="*/ 381737 w 119"/>
                <a:gd name="T57" fmla="*/ 1810598 h 102"/>
                <a:gd name="T58" fmla="*/ 381737 w 119"/>
                <a:gd name="T59" fmla="*/ 1978129 h 102"/>
                <a:gd name="T60" fmla="*/ 353978 w 119"/>
                <a:gd name="T61" fmla="*/ 2128412 h 102"/>
                <a:gd name="T62" fmla="*/ 114369 w 119"/>
                <a:gd name="T63" fmla="*/ 2212237 h 102"/>
                <a:gd name="T64" fmla="*/ 75260 w 119"/>
                <a:gd name="T65" fmla="*/ 2252695 h 102"/>
                <a:gd name="T66" fmla="*/ 75260 w 119"/>
                <a:gd name="T67" fmla="*/ 2373688 h 102"/>
                <a:gd name="T68" fmla="*/ 423531 w 119"/>
                <a:gd name="T69" fmla="*/ 2664300 h 102"/>
                <a:gd name="T70" fmla="*/ 536328 w 119"/>
                <a:gd name="T71" fmla="*/ 2731272 h 102"/>
                <a:gd name="T72" fmla="*/ 611588 w 119"/>
                <a:gd name="T73" fmla="*/ 3022500 h 102"/>
                <a:gd name="T74" fmla="*/ 681185 w 119"/>
                <a:gd name="T75" fmla="*/ 3146797 h 102"/>
                <a:gd name="T76" fmla="*/ 848366 w 119"/>
                <a:gd name="T77" fmla="*/ 3453661 h 102"/>
                <a:gd name="T78" fmla="*/ 1096214 w 119"/>
                <a:gd name="T79" fmla="*/ 3537442 h 102"/>
                <a:gd name="T80" fmla="*/ 1310852 w 119"/>
                <a:gd name="T81" fmla="*/ 3669465 h 102"/>
                <a:gd name="T82" fmla="*/ 1568419 w 119"/>
                <a:gd name="T83" fmla="*/ 3788741 h 102"/>
                <a:gd name="T84" fmla="*/ 1950075 w 119"/>
                <a:gd name="T85" fmla="*/ 3788741 h 102"/>
                <a:gd name="T86" fmla="*/ 2109521 w 119"/>
                <a:gd name="T87" fmla="*/ 3591663 h 102"/>
                <a:gd name="T88" fmla="*/ 2331765 w 119"/>
                <a:gd name="T89" fmla="*/ 3748257 h 102"/>
                <a:gd name="T90" fmla="*/ 2550291 w 119"/>
                <a:gd name="T91" fmla="*/ 3709759 h 1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19"/>
                <a:gd name="T139" fmla="*/ 0 h 102"/>
                <a:gd name="T140" fmla="*/ 119 w 119"/>
                <a:gd name="T141" fmla="*/ 102 h 1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19" h="102">
                  <a:moveTo>
                    <a:pt x="72" y="99"/>
                  </a:moveTo>
                  <a:cubicBezTo>
                    <a:pt x="74" y="97"/>
                    <a:pt x="77" y="97"/>
                    <a:pt x="79" y="95"/>
                  </a:cubicBezTo>
                  <a:cubicBezTo>
                    <a:pt x="81" y="94"/>
                    <a:pt x="82" y="93"/>
                    <a:pt x="84" y="92"/>
                  </a:cubicBezTo>
                  <a:cubicBezTo>
                    <a:pt x="85" y="91"/>
                    <a:pt x="87" y="91"/>
                    <a:pt x="89" y="90"/>
                  </a:cubicBezTo>
                  <a:cubicBezTo>
                    <a:pt x="90" y="90"/>
                    <a:pt x="91" y="90"/>
                    <a:pt x="91" y="90"/>
                  </a:cubicBezTo>
                  <a:cubicBezTo>
                    <a:pt x="93" y="91"/>
                    <a:pt x="94" y="91"/>
                    <a:pt x="96" y="91"/>
                  </a:cubicBezTo>
                  <a:cubicBezTo>
                    <a:pt x="97" y="90"/>
                    <a:pt x="98" y="89"/>
                    <a:pt x="99" y="89"/>
                  </a:cubicBezTo>
                  <a:cubicBezTo>
                    <a:pt x="102" y="85"/>
                    <a:pt x="103" y="81"/>
                    <a:pt x="107" y="78"/>
                  </a:cubicBezTo>
                  <a:cubicBezTo>
                    <a:pt x="108" y="78"/>
                    <a:pt x="108" y="77"/>
                    <a:pt x="108" y="77"/>
                  </a:cubicBezTo>
                  <a:cubicBezTo>
                    <a:pt x="110" y="74"/>
                    <a:pt x="112" y="72"/>
                    <a:pt x="114" y="69"/>
                  </a:cubicBezTo>
                  <a:cubicBezTo>
                    <a:pt x="115" y="69"/>
                    <a:pt x="116" y="68"/>
                    <a:pt x="116" y="68"/>
                  </a:cubicBezTo>
                  <a:cubicBezTo>
                    <a:pt x="117" y="67"/>
                    <a:pt x="118" y="66"/>
                    <a:pt x="119" y="65"/>
                  </a:cubicBezTo>
                  <a:cubicBezTo>
                    <a:pt x="119" y="64"/>
                    <a:pt x="119" y="62"/>
                    <a:pt x="118" y="62"/>
                  </a:cubicBezTo>
                  <a:cubicBezTo>
                    <a:pt x="117" y="61"/>
                    <a:pt x="115" y="62"/>
                    <a:pt x="113" y="61"/>
                  </a:cubicBezTo>
                  <a:cubicBezTo>
                    <a:pt x="110" y="61"/>
                    <a:pt x="107" y="60"/>
                    <a:pt x="104" y="58"/>
                  </a:cubicBezTo>
                  <a:cubicBezTo>
                    <a:pt x="100" y="57"/>
                    <a:pt x="96" y="56"/>
                    <a:pt x="92" y="55"/>
                  </a:cubicBezTo>
                  <a:cubicBezTo>
                    <a:pt x="91" y="55"/>
                    <a:pt x="90" y="54"/>
                    <a:pt x="90" y="53"/>
                  </a:cubicBezTo>
                  <a:cubicBezTo>
                    <a:pt x="89" y="53"/>
                    <a:pt x="89" y="52"/>
                    <a:pt x="88" y="52"/>
                  </a:cubicBezTo>
                  <a:cubicBezTo>
                    <a:pt x="88" y="52"/>
                    <a:pt x="88" y="52"/>
                    <a:pt x="87" y="51"/>
                  </a:cubicBezTo>
                  <a:cubicBezTo>
                    <a:pt x="86" y="50"/>
                    <a:pt x="85" y="49"/>
                    <a:pt x="84" y="48"/>
                  </a:cubicBezTo>
                  <a:cubicBezTo>
                    <a:pt x="84" y="48"/>
                    <a:pt x="84" y="47"/>
                    <a:pt x="84" y="47"/>
                  </a:cubicBezTo>
                  <a:cubicBezTo>
                    <a:pt x="83" y="46"/>
                    <a:pt x="82" y="45"/>
                    <a:pt x="81" y="44"/>
                  </a:cubicBezTo>
                  <a:cubicBezTo>
                    <a:pt x="80" y="42"/>
                    <a:pt x="79" y="40"/>
                    <a:pt x="78" y="38"/>
                  </a:cubicBezTo>
                  <a:cubicBezTo>
                    <a:pt x="78" y="37"/>
                    <a:pt x="79" y="36"/>
                    <a:pt x="79" y="34"/>
                  </a:cubicBezTo>
                  <a:cubicBezTo>
                    <a:pt x="79" y="34"/>
                    <a:pt x="78" y="34"/>
                    <a:pt x="78" y="34"/>
                  </a:cubicBezTo>
                  <a:cubicBezTo>
                    <a:pt x="77" y="33"/>
                    <a:pt x="77" y="34"/>
                    <a:pt x="76" y="34"/>
                  </a:cubicBezTo>
                  <a:cubicBezTo>
                    <a:pt x="75" y="34"/>
                    <a:pt x="75" y="35"/>
                    <a:pt x="74" y="35"/>
                  </a:cubicBezTo>
                  <a:cubicBezTo>
                    <a:pt x="73" y="36"/>
                    <a:pt x="72" y="36"/>
                    <a:pt x="71" y="36"/>
                  </a:cubicBezTo>
                  <a:cubicBezTo>
                    <a:pt x="71" y="34"/>
                    <a:pt x="71" y="33"/>
                    <a:pt x="70" y="31"/>
                  </a:cubicBezTo>
                  <a:cubicBezTo>
                    <a:pt x="69" y="30"/>
                    <a:pt x="69" y="29"/>
                    <a:pt x="70" y="28"/>
                  </a:cubicBezTo>
                  <a:cubicBezTo>
                    <a:pt x="72" y="26"/>
                    <a:pt x="75" y="24"/>
                    <a:pt x="76" y="22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7" y="22"/>
                    <a:pt x="76" y="22"/>
                    <a:pt x="76" y="22"/>
                  </a:cubicBezTo>
                  <a:cubicBezTo>
                    <a:pt x="71" y="17"/>
                    <a:pt x="67" y="12"/>
                    <a:pt x="61" y="8"/>
                  </a:cubicBezTo>
                  <a:cubicBezTo>
                    <a:pt x="61" y="7"/>
                    <a:pt x="60" y="7"/>
                    <a:pt x="59" y="7"/>
                  </a:cubicBezTo>
                  <a:cubicBezTo>
                    <a:pt x="58" y="6"/>
                    <a:pt x="57" y="4"/>
                    <a:pt x="56" y="4"/>
                  </a:cubicBezTo>
                  <a:cubicBezTo>
                    <a:pt x="55" y="3"/>
                    <a:pt x="54" y="3"/>
                    <a:pt x="53" y="3"/>
                  </a:cubicBezTo>
                  <a:cubicBezTo>
                    <a:pt x="51" y="2"/>
                    <a:pt x="48" y="3"/>
                    <a:pt x="46" y="2"/>
                  </a:cubicBezTo>
                  <a:cubicBezTo>
                    <a:pt x="44" y="2"/>
                    <a:pt x="43" y="1"/>
                    <a:pt x="42" y="1"/>
                  </a:cubicBezTo>
                  <a:cubicBezTo>
                    <a:pt x="40" y="0"/>
                    <a:pt x="39" y="0"/>
                    <a:pt x="38" y="1"/>
                  </a:cubicBezTo>
                  <a:cubicBezTo>
                    <a:pt x="36" y="1"/>
                    <a:pt x="35" y="2"/>
                    <a:pt x="34" y="2"/>
                  </a:cubicBezTo>
                  <a:cubicBezTo>
                    <a:pt x="32" y="3"/>
                    <a:pt x="30" y="2"/>
                    <a:pt x="28" y="2"/>
                  </a:cubicBezTo>
                  <a:cubicBezTo>
                    <a:pt x="29" y="3"/>
                    <a:pt x="28" y="3"/>
                    <a:pt x="28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6"/>
                    <a:pt x="29" y="8"/>
                    <a:pt x="28" y="10"/>
                  </a:cubicBezTo>
                  <a:cubicBezTo>
                    <a:pt x="28" y="11"/>
                    <a:pt x="28" y="11"/>
                    <a:pt x="27" y="12"/>
                  </a:cubicBezTo>
                  <a:cubicBezTo>
                    <a:pt x="26" y="14"/>
                    <a:pt x="28" y="16"/>
                    <a:pt x="26" y="18"/>
                  </a:cubicBezTo>
                  <a:cubicBezTo>
                    <a:pt x="25" y="19"/>
                    <a:pt x="23" y="18"/>
                    <a:pt x="22" y="19"/>
                  </a:cubicBezTo>
                  <a:cubicBezTo>
                    <a:pt x="21" y="19"/>
                    <a:pt x="21" y="19"/>
                    <a:pt x="21" y="20"/>
                  </a:cubicBezTo>
                  <a:cubicBezTo>
                    <a:pt x="20" y="22"/>
                    <a:pt x="20" y="23"/>
                    <a:pt x="19" y="25"/>
                  </a:cubicBezTo>
                  <a:cubicBezTo>
                    <a:pt x="19" y="26"/>
                    <a:pt x="19" y="26"/>
                    <a:pt x="18" y="27"/>
                  </a:cubicBezTo>
                  <a:cubicBezTo>
                    <a:pt x="18" y="28"/>
                    <a:pt x="17" y="29"/>
                    <a:pt x="17" y="29"/>
                  </a:cubicBezTo>
                  <a:cubicBezTo>
                    <a:pt x="17" y="30"/>
                    <a:pt x="17" y="30"/>
                    <a:pt x="16" y="31"/>
                  </a:cubicBezTo>
                  <a:cubicBezTo>
                    <a:pt x="16" y="33"/>
                    <a:pt x="16" y="35"/>
                    <a:pt x="16" y="37"/>
                  </a:cubicBezTo>
                  <a:cubicBezTo>
                    <a:pt x="14" y="37"/>
                    <a:pt x="12" y="36"/>
                    <a:pt x="11" y="37"/>
                  </a:cubicBezTo>
                  <a:cubicBezTo>
                    <a:pt x="10" y="38"/>
                    <a:pt x="10" y="39"/>
                    <a:pt x="11" y="40"/>
                  </a:cubicBezTo>
                  <a:cubicBezTo>
                    <a:pt x="11" y="41"/>
                    <a:pt x="11" y="42"/>
                    <a:pt x="11" y="42"/>
                  </a:cubicBezTo>
                  <a:cubicBezTo>
                    <a:pt x="11" y="44"/>
                    <a:pt x="11" y="46"/>
                    <a:pt x="11" y="48"/>
                  </a:cubicBezTo>
                  <a:cubicBezTo>
                    <a:pt x="10" y="49"/>
                    <a:pt x="10" y="50"/>
                    <a:pt x="11" y="52"/>
                  </a:cubicBezTo>
                  <a:cubicBezTo>
                    <a:pt x="11" y="52"/>
                    <a:pt x="11" y="52"/>
                    <a:pt x="11" y="53"/>
                  </a:cubicBezTo>
                  <a:cubicBezTo>
                    <a:pt x="12" y="54"/>
                    <a:pt x="12" y="55"/>
                    <a:pt x="11" y="56"/>
                  </a:cubicBezTo>
                  <a:cubicBezTo>
                    <a:pt x="11" y="57"/>
                    <a:pt x="11" y="57"/>
                    <a:pt x="10" y="57"/>
                  </a:cubicBezTo>
                  <a:cubicBezTo>
                    <a:pt x="10" y="58"/>
                    <a:pt x="9" y="58"/>
                    <a:pt x="8" y="58"/>
                  </a:cubicBezTo>
                  <a:cubicBezTo>
                    <a:pt x="6" y="59"/>
                    <a:pt x="5" y="58"/>
                    <a:pt x="3" y="59"/>
                  </a:cubicBezTo>
                  <a:cubicBezTo>
                    <a:pt x="3" y="59"/>
                    <a:pt x="3" y="59"/>
                    <a:pt x="2" y="59"/>
                  </a:cubicBezTo>
                  <a:cubicBezTo>
                    <a:pt x="2" y="59"/>
                    <a:pt x="2" y="60"/>
                    <a:pt x="2" y="60"/>
                  </a:cubicBezTo>
                  <a:cubicBezTo>
                    <a:pt x="2" y="60"/>
                    <a:pt x="1" y="61"/>
                    <a:pt x="1" y="61"/>
                  </a:cubicBezTo>
                  <a:cubicBezTo>
                    <a:pt x="0" y="62"/>
                    <a:pt x="1" y="63"/>
                    <a:pt x="2" y="63"/>
                  </a:cubicBezTo>
                  <a:cubicBezTo>
                    <a:pt x="3" y="64"/>
                    <a:pt x="5" y="63"/>
                    <a:pt x="7" y="65"/>
                  </a:cubicBezTo>
                  <a:cubicBezTo>
                    <a:pt x="8" y="67"/>
                    <a:pt x="9" y="69"/>
                    <a:pt x="12" y="71"/>
                  </a:cubicBezTo>
                  <a:cubicBezTo>
                    <a:pt x="12" y="71"/>
                    <a:pt x="12" y="72"/>
                    <a:pt x="12" y="72"/>
                  </a:cubicBezTo>
                  <a:cubicBezTo>
                    <a:pt x="13" y="73"/>
                    <a:pt x="14" y="73"/>
                    <a:pt x="15" y="73"/>
                  </a:cubicBezTo>
                  <a:cubicBezTo>
                    <a:pt x="15" y="73"/>
                    <a:pt x="16" y="74"/>
                    <a:pt x="16" y="75"/>
                  </a:cubicBezTo>
                  <a:cubicBezTo>
                    <a:pt x="17" y="77"/>
                    <a:pt x="15" y="80"/>
                    <a:pt x="17" y="81"/>
                  </a:cubicBezTo>
                  <a:cubicBezTo>
                    <a:pt x="18" y="82"/>
                    <a:pt x="19" y="82"/>
                    <a:pt x="19" y="83"/>
                  </a:cubicBezTo>
                  <a:cubicBezTo>
                    <a:pt x="19" y="83"/>
                    <a:pt x="19" y="83"/>
                    <a:pt x="19" y="84"/>
                  </a:cubicBezTo>
                  <a:cubicBezTo>
                    <a:pt x="21" y="84"/>
                    <a:pt x="22" y="84"/>
                    <a:pt x="23" y="84"/>
                  </a:cubicBezTo>
                  <a:cubicBezTo>
                    <a:pt x="24" y="87"/>
                    <a:pt x="23" y="90"/>
                    <a:pt x="24" y="92"/>
                  </a:cubicBezTo>
                  <a:cubicBezTo>
                    <a:pt x="24" y="93"/>
                    <a:pt x="24" y="94"/>
                    <a:pt x="25" y="94"/>
                  </a:cubicBezTo>
                  <a:cubicBezTo>
                    <a:pt x="27" y="94"/>
                    <a:pt x="29" y="93"/>
                    <a:pt x="31" y="94"/>
                  </a:cubicBezTo>
                  <a:cubicBezTo>
                    <a:pt x="33" y="95"/>
                    <a:pt x="34" y="96"/>
                    <a:pt x="36" y="97"/>
                  </a:cubicBezTo>
                  <a:cubicBezTo>
                    <a:pt x="36" y="98"/>
                    <a:pt x="37" y="98"/>
                    <a:pt x="37" y="98"/>
                  </a:cubicBezTo>
                  <a:cubicBezTo>
                    <a:pt x="38" y="99"/>
                    <a:pt x="39" y="99"/>
                    <a:pt x="40" y="100"/>
                  </a:cubicBezTo>
                  <a:cubicBezTo>
                    <a:pt x="41" y="101"/>
                    <a:pt x="43" y="101"/>
                    <a:pt x="44" y="101"/>
                  </a:cubicBezTo>
                  <a:cubicBezTo>
                    <a:pt x="47" y="102"/>
                    <a:pt x="50" y="101"/>
                    <a:pt x="53" y="101"/>
                  </a:cubicBezTo>
                  <a:cubicBezTo>
                    <a:pt x="54" y="101"/>
                    <a:pt x="55" y="101"/>
                    <a:pt x="55" y="101"/>
                  </a:cubicBezTo>
                  <a:cubicBezTo>
                    <a:pt x="55" y="100"/>
                    <a:pt x="55" y="99"/>
                    <a:pt x="56" y="99"/>
                  </a:cubicBezTo>
                  <a:cubicBezTo>
                    <a:pt x="57" y="97"/>
                    <a:pt x="58" y="97"/>
                    <a:pt x="60" y="96"/>
                  </a:cubicBezTo>
                  <a:cubicBezTo>
                    <a:pt x="60" y="96"/>
                    <a:pt x="60" y="96"/>
                    <a:pt x="60" y="96"/>
                  </a:cubicBezTo>
                  <a:cubicBezTo>
                    <a:pt x="63" y="95"/>
                    <a:pt x="65" y="98"/>
                    <a:pt x="66" y="100"/>
                  </a:cubicBezTo>
                  <a:cubicBezTo>
                    <a:pt x="68" y="100"/>
                    <a:pt x="70" y="100"/>
                    <a:pt x="72" y="100"/>
                  </a:cubicBezTo>
                  <a:lnTo>
                    <a:pt x="72" y="99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1" name="Freeform 373"/>
            <p:cNvSpPr>
              <a:spLocks/>
            </p:cNvSpPr>
            <p:nvPr/>
          </p:nvSpPr>
          <p:spPr bwMode="auto">
            <a:xfrm>
              <a:off x="7299208" y="5209096"/>
              <a:ext cx="111646" cy="132351"/>
            </a:xfrm>
            <a:custGeom>
              <a:avLst/>
              <a:gdLst>
                <a:gd name="T0" fmla="*/ 323755 w 83"/>
                <a:gd name="T1" fmla="*/ 4040217 h 123"/>
                <a:gd name="T2" fmla="*/ 590379 w 83"/>
                <a:gd name="T3" fmla="*/ 3783145 h 123"/>
                <a:gd name="T4" fmla="*/ 939537 w 83"/>
                <a:gd name="T5" fmla="*/ 3410647 h 123"/>
                <a:gd name="T6" fmla="*/ 1203096 w 83"/>
                <a:gd name="T7" fmla="*/ 3200350 h 123"/>
                <a:gd name="T8" fmla="*/ 1563643 w 83"/>
                <a:gd name="T9" fmla="*/ 2969853 h 123"/>
                <a:gd name="T10" fmla="*/ 1887655 w 83"/>
                <a:gd name="T11" fmla="*/ 2563574 h 123"/>
                <a:gd name="T12" fmla="*/ 1995466 w 83"/>
                <a:gd name="T13" fmla="*/ 2465519 h 123"/>
                <a:gd name="T14" fmla="*/ 2111902 w 83"/>
                <a:gd name="T15" fmla="*/ 2282214 h 123"/>
                <a:gd name="T16" fmla="*/ 2193889 w 83"/>
                <a:gd name="T17" fmla="*/ 2162467 h 123"/>
                <a:gd name="T18" fmla="*/ 2279563 w 83"/>
                <a:gd name="T19" fmla="*/ 1986711 h 123"/>
                <a:gd name="T20" fmla="*/ 2435757 w 83"/>
                <a:gd name="T21" fmla="*/ 1725807 h 123"/>
                <a:gd name="T22" fmla="*/ 2583133 w 83"/>
                <a:gd name="T23" fmla="*/ 1319173 h 123"/>
                <a:gd name="T24" fmla="*/ 2827609 w 83"/>
                <a:gd name="T25" fmla="*/ 878121 h 123"/>
                <a:gd name="T26" fmla="*/ 2909608 w 83"/>
                <a:gd name="T27" fmla="*/ 509852 h 123"/>
                <a:gd name="T28" fmla="*/ 2983387 w 83"/>
                <a:gd name="T29" fmla="*/ 208994 h 123"/>
                <a:gd name="T30" fmla="*/ 2787119 w 83"/>
                <a:gd name="T31" fmla="*/ 37620 h 123"/>
                <a:gd name="T32" fmla="*/ 2701947 w 83"/>
                <a:gd name="T33" fmla="*/ 208994 h 123"/>
                <a:gd name="T34" fmla="*/ 2396098 w 83"/>
                <a:gd name="T35" fmla="*/ 265728 h 123"/>
                <a:gd name="T36" fmla="*/ 2111902 w 83"/>
                <a:gd name="T37" fmla="*/ 265728 h 123"/>
                <a:gd name="T38" fmla="*/ 1750874 w 83"/>
                <a:gd name="T39" fmla="*/ 400997 h 123"/>
                <a:gd name="T40" fmla="*/ 1646051 w 83"/>
                <a:gd name="T41" fmla="*/ 440871 h 123"/>
                <a:gd name="T42" fmla="*/ 1297677 w 83"/>
                <a:gd name="T43" fmla="*/ 400997 h 123"/>
                <a:gd name="T44" fmla="*/ 792162 w 83"/>
                <a:gd name="T45" fmla="*/ 368653 h 123"/>
                <a:gd name="T46" fmla="*/ 695125 w 83"/>
                <a:gd name="T47" fmla="*/ 265728 h 123"/>
                <a:gd name="T48" fmla="*/ 624106 w 83"/>
                <a:gd name="T49" fmla="*/ 265728 h 123"/>
                <a:gd name="T50" fmla="*/ 507971 w 83"/>
                <a:gd name="T51" fmla="*/ 440871 h 123"/>
                <a:gd name="T52" fmla="*/ 737785 w 83"/>
                <a:gd name="T53" fmla="*/ 739728 h 123"/>
                <a:gd name="T54" fmla="*/ 831826 w 83"/>
                <a:gd name="T55" fmla="*/ 878121 h 123"/>
                <a:gd name="T56" fmla="*/ 939537 w 83"/>
                <a:gd name="T57" fmla="*/ 956053 h 123"/>
                <a:gd name="T58" fmla="*/ 1445818 w 83"/>
                <a:gd name="T59" fmla="*/ 1108281 h 123"/>
                <a:gd name="T60" fmla="*/ 1958681 w 83"/>
                <a:gd name="T61" fmla="*/ 1246775 h 123"/>
                <a:gd name="T62" fmla="*/ 1887655 w 83"/>
                <a:gd name="T63" fmla="*/ 1455890 h 123"/>
                <a:gd name="T64" fmla="*/ 1603520 w 83"/>
                <a:gd name="T65" fmla="*/ 1758185 h 123"/>
                <a:gd name="T66" fmla="*/ 1263549 w 83"/>
                <a:gd name="T67" fmla="*/ 2162467 h 123"/>
                <a:gd name="T68" fmla="*/ 979221 w 83"/>
                <a:gd name="T69" fmla="*/ 2197701 h 123"/>
                <a:gd name="T70" fmla="*/ 737785 w 83"/>
                <a:gd name="T71" fmla="*/ 2273582 h 123"/>
                <a:gd name="T72" fmla="*/ 284096 w 83"/>
                <a:gd name="T73" fmla="*/ 2495104 h 123"/>
                <a:gd name="T74" fmla="*/ 187059 w 83"/>
                <a:gd name="T75" fmla="*/ 2693276 h 123"/>
                <a:gd name="T76" fmla="*/ 39659 w 83"/>
                <a:gd name="T77" fmla="*/ 3042094 h 123"/>
                <a:gd name="T78" fmla="*/ 39659 w 83"/>
                <a:gd name="T79" fmla="*/ 3920816 h 123"/>
                <a:gd name="T80" fmla="*/ 284096 w 83"/>
                <a:gd name="T81" fmla="*/ 4149123 h 1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83"/>
                <a:gd name="T124" fmla="*/ 0 h 123"/>
                <a:gd name="T125" fmla="*/ 83 w 83"/>
                <a:gd name="T126" fmla="*/ 123 h 12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83" h="123">
                  <a:moveTo>
                    <a:pt x="8" y="123"/>
                  </a:moveTo>
                  <a:cubicBezTo>
                    <a:pt x="8" y="122"/>
                    <a:pt x="9" y="121"/>
                    <a:pt x="9" y="120"/>
                  </a:cubicBezTo>
                  <a:cubicBezTo>
                    <a:pt x="10" y="117"/>
                    <a:pt x="12" y="115"/>
                    <a:pt x="14" y="113"/>
                  </a:cubicBezTo>
                  <a:cubicBezTo>
                    <a:pt x="14" y="113"/>
                    <a:pt x="15" y="112"/>
                    <a:pt x="16" y="112"/>
                  </a:cubicBezTo>
                  <a:cubicBezTo>
                    <a:pt x="16" y="112"/>
                    <a:pt x="16" y="111"/>
                    <a:pt x="16" y="111"/>
                  </a:cubicBezTo>
                  <a:cubicBezTo>
                    <a:pt x="20" y="108"/>
                    <a:pt x="23" y="105"/>
                    <a:pt x="26" y="101"/>
                  </a:cubicBezTo>
                  <a:cubicBezTo>
                    <a:pt x="27" y="100"/>
                    <a:pt x="28" y="98"/>
                    <a:pt x="30" y="97"/>
                  </a:cubicBezTo>
                  <a:cubicBezTo>
                    <a:pt x="31" y="96"/>
                    <a:pt x="32" y="96"/>
                    <a:pt x="33" y="95"/>
                  </a:cubicBezTo>
                  <a:cubicBezTo>
                    <a:pt x="35" y="94"/>
                    <a:pt x="37" y="93"/>
                    <a:pt x="39" y="92"/>
                  </a:cubicBezTo>
                  <a:cubicBezTo>
                    <a:pt x="40" y="90"/>
                    <a:pt x="41" y="89"/>
                    <a:pt x="43" y="88"/>
                  </a:cubicBezTo>
                  <a:cubicBezTo>
                    <a:pt x="44" y="86"/>
                    <a:pt x="46" y="85"/>
                    <a:pt x="47" y="83"/>
                  </a:cubicBezTo>
                  <a:cubicBezTo>
                    <a:pt x="49" y="81"/>
                    <a:pt x="50" y="79"/>
                    <a:pt x="52" y="76"/>
                  </a:cubicBezTo>
                  <a:cubicBezTo>
                    <a:pt x="52" y="76"/>
                    <a:pt x="53" y="75"/>
                    <a:pt x="54" y="74"/>
                  </a:cubicBezTo>
                  <a:cubicBezTo>
                    <a:pt x="54" y="74"/>
                    <a:pt x="54" y="73"/>
                    <a:pt x="55" y="73"/>
                  </a:cubicBezTo>
                  <a:cubicBezTo>
                    <a:pt x="55" y="72"/>
                    <a:pt x="56" y="71"/>
                    <a:pt x="57" y="70"/>
                  </a:cubicBezTo>
                  <a:cubicBezTo>
                    <a:pt x="57" y="69"/>
                    <a:pt x="58" y="68"/>
                    <a:pt x="58" y="68"/>
                  </a:cubicBezTo>
                  <a:cubicBezTo>
                    <a:pt x="58" y="67"/>
                    <a:pt x="58" y="67"/>
                    <a:pt x="59" y="67"/>
                  </a:cubicBezTo>
                  <a:cubicBezTo>
                    <a:pt x="59" y="66"/>
                    <a:pt x="60" y="65"/>
                    <a:pt x="60" y="64"/>
                  </a:cubicBezTo>
                  <a:cubicBezTo>
                    <a:pt x="61" y="63"/>
                    <a:pt x="62" y="62"/>
                    <a:pt x="62" y="61"/>
                  </a:cubicBezTo>
                  <a:cubicBezTo>
                    <a:pt x="63" y="60"/>
                    <a:pt x="63" y="59"/>
                    <a:pt x="63" y="59"/>
                  </a:cubicBezTo>
                  <a:cubicBezTo>
                    <a:pt x="64" y="58"/>
                    <a:pt x="65" y="57"/>
                    <a:pt x="65" y="57"/>
                  </a:cubicBezTo>
                  <a:cubicBezTo>
                    <a:pt x="66" y="55"/>
                    <a:pt x="66" y="52"/>
                    <a:pt x="67" y="51"/>
                  </a:cubicBezTo>
                  <a:cubicBezTo>
                    <a:pt x="68" y="49"/>
                    <a:pt x="69" y="47"/>
                    <a:pt x="70" y="45"/>
                  </a:cubicBezTo>
                  <a:cubicBezTo>
                    <a:pt x="71" y="43"/>
                    <a:pt x="70" y="41"/>
                    <a:pt x="71" y="39"/>
                  </a:cubicBezTo>
                  <a:cubicBezTo>
                    <a:pt x="72" y="37"/>
                    <a:pt x="74" y="35"/>
                    <a:pt x="75" y="33"/>
                  </a:cubicBezTo>
                  <a:cubicBezTo>
                    <a:pt x="77" y="31"/>
                    <a:pt x="77" y="28"/>
                    <a:pt x="78" y="26"/>
                  </a:cubicBezTo>
                  <a:cubicBezTo>
                    <a:pt x="79" y="23"/>
                    <a:pt x="79" y="21"/>
                    <a:pt x="80" y="18"/>
                  </a:cubicBezTo>
                  <a:cubicBezTo>
                    <a:pt x="80" y="17"/>
                    <a:pt x="80" y="16"/>
                    <a:pt x="80" y="15"/>
                  </a:cubicBezTo>
                  <a:cubicBezTo>
                    <a:pt x="81" y="14"/>
                    <a:pt x="82" y="14"/>
                    <a:pt x="82" y="14"/>
                  </a:cubicBezTo>
                  <a:cubicBezTo>
                    <a:pt x="82" y="11"/>
                    <a:pt x="82" y="8"/>
                    <a:pt x="82" y="6"/>
                  </a:cubicBezTo>
                  <a:cubicBezTo>
                    <a:pt x="83" y="5"/>
                    <a:pt x="82" y="4"/>
                    <a:pt x="82" y="3"/>
                  </a:cubicBezTo>
                  <a:cubicBezTo>
                    <a:pt x="81" y="2"/>
                    <a:pt x="79" y="0"/>
                    <a:pt x="77" y="1"/>
                  </a:cubicBezTo>
                  <a:cubicBezTo>
                    <a:pt x="76" y="2"/>
                    <a:pt x="76" y="3"/>
                    <a:pt x="76" y="4"/>
                  </a:cubicBezTo>
                  <a:cubicBezTo>
                    <a:pt x="75" y="5"/>
                    <a:pt x="75" y="6"/>
                    <a:pt x="74" y="6"/>
                  </a:cubicBezTo>
                  <a:cubicBezTo>
                    <a:pt x="72" y="7"/>
                    <a:pt x="70" y="6"/>
                    <a:pt x="68" y="7"/>
                  </a:cubicBezTo>
                  <a:cubicBezTo>
                    <a:pt x="67" y="7"/>
                    <a:pt x="67" y="8"/>
                    <a:pt x="66" y="8"/>
                  </a:cubicBezTo>
                  <a:cubicBezTo>
                    <a:pt x="65" y="8"/>
                    <a:pt x="64" y="8"/>
                    <a:pt x="63" y="8"/>
                  </a:cubicBezTo>
                  <a:cubicBezTo>
                    <a:pt x="61" y="8"/>
                    <a:pt x="59" y="7"/>
                    <a:pt x="58" y="8"/>
                  </a:cubicBezTo>
                  <a:cubicBezTo>
                    <a:pt x="56" y="9"/>
                    <a:pt x="53" y="8"/>
                    <a:pt x="50" y="10"/>
                  </a:cubicBezTo>
                  <a:cubicBezTo>
                    <a:pt x="49" y="10"/>
                    <a:pt x="49" y="11"/>
                    <a:pt x="48" y="12"/>
                  </a:cubicBezTo>
                  <a:cubicBezTo>
                    <a:pt x="47" y="12"/>
                    <a:pt x="47" y="12"/>
                    <a:pt x="46" y="12"/>
                  </a:cubicBezTo>
                  <a:cubicBezTo>
                    <a:pt x="46" y="12"/>
                    <a:pt x="45" y="13"/>
                    <a:pt x="45" y="13"/>
                  </a:cubicBezTo>
                  <a:cubicBezTo>
                    <a:pt x="44" y="13"/>
                    <a:pt x="43" y="13"/>
                    <a:pt x="42" y="13"/>
                  </a:cubicBezTo>
                  <a:cubicBezTo>
                    <a:pt x="40" y="12"/>
                    <a:pt x="38" y="12"/>
                    <a:pt x="36" y="12"/>
                  </a:cubicBezTo>
                  <a:cubicBezTo>
                    <a:pt x="33" y="13"/>
                    <a:pt x="30" y="14"/>
                    <a:pt x="27" y="13"/>
                  </a:cubicBezTo>
                  <a:cubicBezTo>
                    <a:pt x="26" y="13"/>
                    <a:pt x="24" y="12"/>
                    <a:pt x="22" y="11"/>
                  </a:cubicBezTo>
                  <a:cubicBezTo>
                    <a:pt x="21" y="11"/>
                    <a:pt x="21" y="10"/>
                    <a:pt x="21" y="9"/>
                  </a:cubicBezTo>
                  <a:cubicBezTo>
                    <a:pt x="20" y="9"/>
                    <a:pt x="20" y="9"/>
                    <a:pt x="19" y="8"/>
                  </a:cubicBezTo>
                  <a:cubicBezTo>
                    <a:pt x="19" y="8"/>
                    <a:pt x="19" y="7"/>
                    <a:pt x="18" y="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10"/>
                    <a:pt x="15" y="9"/>
                  </a:cubicBezTo>
                  <a:cubicBezTo>
                    <a:pt x="15" y="11"/>
                    <a:pt x="14" y="12"/>
                    <a:pt x="14" y="13"/>
                  </a:cubicBezTo>
                  <a:cubicBezTo>
                    <a:pt x="15" y="15"/>
                    <a:pt x="16" y="17"/>
                    <a:pt x="17" y="19"/>
                  </a:cubicBezTo>
                  <a:cubicBezTo>
                    <a:pt x="18" y="20"/>
                    <a:pt x="19" y="21"/>
                    <a:pt x="20" y="22"/>
                  </a:cubicBezTo>
                  <a:cubicBezTo>
                    <a:pt x="20" y="22"/>
                    <a:pt x="20" y="23"/>
                    <a:pt x="20" y="23"/>
                  </a:cubicBezTo>
                  <a:cubicBezTo>
                    <a:pt x="21" y="24"/>
                    <a:pt x="22" y="25"/>
                    <a:pt x="23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5" y="27"/>
                    <a:pt x="25" y="28"/>
                    <a:pt x="26" y="28"/>
                  </a:cubicBezTo>
                  <a:cubicBezTo>
                    <a:pt x="26" y="29"/>
                    <a:pt x="27" y="30"/>
                    <a:pt x="28" y="30"/>
                  </a:cubicBezTo>
                  <a:cubicBezTo>
                    <a:pt x="32" y="31"/>
                    <a:pt x="36" y="32"/>
                    <a:pt x="40" y="33"/>
                  </a:cubicBezTo>
                  <a:cubicBezTo>
                    <a:pt x="43" y="35"/>
                    <a:pt x="46" y="36"/>
                    <a:pt x="49" y="36"/>
                  </a:cubicBezTo>
                  <a:cubicBezTo>
                    <a:pt x="51" y="37"/>
                    <a:pt x="53" y="36"/>
                    <a:pt x="54" y="37"/>
                  </a:cubicBezTo>
                  <a:cubicBezTo>
                    <a:pt x="55" y="37"/>
                    <a:pt x="55" y="39"/>
                    <a:pt x="55" y="40"/>
                  </a:cubicBezTo>
                  <a:cubicBezTo>
                    <a:pt x="54" y="41"/>
                    <a:pt x="53" y="42"/>
                    <a:pt x="52" y="43"/>
                  </a:cubicBezTo>
                  <a:cubicBezTo>
                    <a:pt x="52" y="43"/>
                    <a:pt x="51" y="44"/>
                    <a:pt x="50" y="44"/>
                  </a:cubicBezTo>
                  <a:cubicBezTo>
                    <a:pt x="48" y="47"/>
                    <a:pt x="46" y="49"/>
                    <a:pt x="44" y="52"/>
                  </a:cubicBezTo>
                  <a:cubicBezTo>
                    <a:pt x="44" y="52"/>
                    <a:pt x="44" y="53"/>
                    <a:pt x="43" y="53"/>
                  </a:cubicBezTo>
                  <a:cubicBezTo>
                    <a:pt x="39" y="56"/>
                    <a:pt x="38" y="60"/>
                    <a:pt x="35" y="64"/>
                  </a:cubicBezTo>
                  <a:cubicBezTo>
                    <a:pt x="34" y="64"/>
                    <a:pt x="33" y="65"/>
                    <a:pt x="32" y="66"/>
                  </a:cubicBezTo>
                  <a:cubicBezTo>
                    <a:pt x="30" y="66"/>
                    <a:pt x="29" y="66"/>
                    <a:pt x="27" y="65"/>
                  </a:cubicBezTo>
                  <a:cubicBezTo>
                    <a:pt x="27" y="65"/>
                    <a:pt x="26" y="65"/>
                    <a:pt x="25" y="65"/>
                  </a:cubicBezTo>
                  <a:cubicBezTo>
                    <a:pt x="23" y="66"/>
                    <a:pt x="21" y="66"/>
                    <a:pt x="20" y="67"/>
                  </a:cubicBezTo>
                  <a:cubicBezTo>
                    <a:pt x="18" y="68"/>
                    <a:pt x="17" y="69"/>
                    <a:pt x="15" y="70"/>
                  </a:cubicBezTo>
                  <a:cubicBezTo>
                    <a:pt x="13" y="72"/>
                    <a:pt x="10" y="72"/>
                    <a:pt x="8" y="74"/>
                  </a:cubicBezTo>
                  <a:cubicBezTo>
                    <a:pt x="7" y="75"/>
                    <a:pt x="7" y="76"/>
                    <a:pt x="7" y="77"/>
                  </a:cubicBezTo>
                  <a:cubicBezTo>
                    <a:pt x="6" y="79"/>
                    <a:pt x="6" y="80"/>
                    <a:pt x="5" y="80"/>
                  </a:cubicBezTo>
                  <a:cubicBezTo>
                    <a:pt x="4" y="81"/>
                    <a:pt x="3" y="82"/>
                    <a:pt x="2" y="83"/>
                  </a:cubicBezTo>
                  <a:cubicBezTo>
                    <a:pt x="0" y="85"/>
                    <a:pt x="1" y="88"/>
                    <a:pt x="1" y="90"/>
                  </a:cubicBezTo>
                  <a:cubicBezTo>
                    <a:pt x="1" y="96"/>
                    <a:pt x="0" y="102"/>
                    <a:pt x="1" y="108"/>
                  </a:cubicBezTo>
                  <a:cubicBezTo>
                    <a:pt x="1" y="111"/>
                    <a:pt x="1" y="114"/>
                    <a:pt x="1" y="116"/>
                  </a:cubicBezTo>
                  <a:cubicBezTo>
                    <a:pt x="2" y="119"/>
                    <a:pt x="4" y="120"/>
                    <a:pt x="6" y="122"/>
                  </a:cubicBezTo>
                  <a:lnTo>
                    <a:pt x="8" y="12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2" name="Freeform 374"/>
            <p:cNvSpPr>
              <a:spLocks/>
            </p:cNvSpPr>
            <p:nvPr/>
          </p:nvSpPr>
          <p:spPr bwMode="auto">
            <a:xfrm>
              <a:off x="7219462" y="5272552"/>
              <a:ext cx="91347" cy="99717"/>
            </a:xfrm>
            <a:custGeom>
              <a:avLst/>
              <a:gdLst>
                <a:gd name="T0" fmla="*/ 1928734 w 67"/>
                <a:gd name="T1" fmla="*/ 3245439 h 92"/>
                <a:gd name="T2" fmla="*/ 2016296 w 67"/>
                <a:gd name="T3" fmla="*/ 3058496 h 92"/>
                <a:gd name="T4" fmla="*/ 2061453 w 67"/>
                <a:gd name="T5" fmla="*/ 2967482 h 92"/>
                <a:gd name="T6" fmla="*/ 2061453 w 67"/>
                <a:gd name="T7" fmla="*/ 2934294 h 92"/>
                <a:gd name="T8" fmla="*/ 2098627 w 67"/>
                <a:gd name="T9" fmla="*/ 2892417 h 92"/>
                <a:gd name="T10" fmla="*/ 2186187 w 67"/>
                <a:gd name="T11" fmla="*/ 2816926 h 92"/>
                <a:gd name="T12" fmla="*/ 2186187 w 67"/>
                <a:gd name="T13" fmla="*/ 2677904 h 92"/>
                <a:gd name="T14" fmla="*/ 2349156 w 67"/>
                <a:gd name="T15" fmla="*/ 2543419 h 92"/>
                <a:gd name="T16" fmla="*/ 2451550 w 67"/>
                <a:gd name="T17" fmla="*/ 2437996 h 92"/>
                <a:gd name="T18" fmla="*/ 2655898 w 67"/>
                <a:gd name="T19" fmla="*/ 2285851 h 92"/>
                <a:gd name="T20" fmla="*/ 2701466 w 67"/>
                <a:gd name="T21" fmla="*/ 2255323 h 92"/>
                <a:gd name="T22" fmla="*/ 2613906 w 67"/>
                <a:gd name="T23" fmla="*/ 2216335 h 92"/>
                <a:gd name="T24" fmla="*/ 2413869 w 67"/>
                <a:gd name="T25" fmla="*/ 2018464 h 92"/>
                <a:gd name="T26" fmla="*/ 2413869 w 67"/>
                <a:gd name="T27" fmla="*/ 1722995 h 92"/>
                <a:gd name="T28" fmla="*/ 2413869 w 67"/>
                <a:gd name="T29" fmla="*/ 1093602 h 92"/>
                <a:gd name="T30" fmla="*/ 2451550 w 67"/>
                <a:gd name="T31" fmla="*/ 846168 h 92"/>
                <a:gd name="T32" fmla="*/ 2585853 w 67"/>
                <a:gd name="T33" fmla="*/ 732434 h 92"/>
                <a:gd name="T34" fmla="*/ 2655898 w 67"/>
                <a:gd name="T35" fmla="*/ 637806 h 92"/>
                <a:gd name="T36" fmla="*/ 2701466 w 67"/>
                <a:gd name="T37" fmla="*/ 534761 h 92"/>
                <a:gd name="T38" fmla="*/ 2701466 w 67"/>
                <a:gd name="T39" fmla="*/ 568426 h 92"/>
                <a:gd name="T40" fmla="*/ 2451550 w 67"/>
                <a:gd name="T41" fmla="*/ 568426 h 92"/>
                <a:gd name="T42" fmla="*/ 2231873 w 67"/>
                <a:gd name="T43" fmla="*/ 422528 h 92"/>
                <a:gd name="T44" fmla="*/ 2231873 w 67"/>
                <a:gd name="T45" fmla="*/ 422528 h 92"/>
                <a:gd name="T46" fmla="*/ 2061453 w 67"/>
                <a:gd name="T47" fmla="*/ 534761 h 92"/>
                <a:gd name="T48" fmla="*/ 2016296 w 67"/>
                <a:gd name="T49" fmla="*/ 598776 h 92"/>
                <a:gd name="T50" fmla="*/ 1928734 w 67"/>
                <a:gd name="T51" fmla="*/ 598776 h 92"/>
                <a:gd name="T52" fmla="*/ 1574738 w 67"/>
                <a:gd name="T53" fmla="*/ 598776 h 92"/>
                <a:gd name="T54" fmla="*/ 1414084 w 67"/>
                <a:gd name="T55" fmla="*/ 568426 h 92"/>
                <a:gd name="T56" fmla="*/ 1287031 w 67"/>
                <a:gd name="T57" fmla="*/ 493284 h 92"/>
                <a:gd name="T58" fmla="*/ 1244071 w 67"/>
                <a:gd name="T59" fmla="*/ 455740 h 92"/>
                <a:gd name="T60" fmla="*/ 1039168 w 67"/>
                <a:gd name="T61" fmla="*/ 352913 h 92"/>
                <a:gd name="T62" fmla="*/ 811596 w 67"/>
                <a:gd name="T63" fmla="*/ 352913 h 92"/>
                <a:gd name="T64" fmla="*/ 774422 w 67"/>
                <a:gd name="T65" fmla="*/ 277955 h 92"/>
                <a:gd name="T66" fmla="*/ 728797 w 67"/>
                <a:gd name="T67" fmla="*/ 0 h 92"/>
                <a:gd name="T68" fmla="*/ 557440 w 67"/>
                <a:gd name="T69" fmla="*/ 0 h 92"/>
                <a:gd name="T70" fmla="*/ 524307 w 67"/>
                <a:gd name="T71" fmla="*/ 75094 h 92"/>
                <a:gd name="T72" fmla="*/ 399125 w 67"/>
                <a:gd name="T73" fmla="*/ 236882 h 92"/>
                <a:gd name="T74" fmla="*/ 205703 w 67"/>
                <a:gd name="T75" fmla="*/ 380700 h 92"/>
                <a:gd name="T76" fmla="*/ 205703 w 67"/>
                <a:gd name="T77" fmla="*/ 380700 h 92"/>
                <a:gd name="T78" fmla="*/ 247863 w 67"/>
                <a:gd name="T79" fmla="*/ 422528 h 92"/>
                <a:gd name="T80" fmla="*/ 287296 w 67"/>
                <a:gd name="T81" fmla="*/ 534761 h 92"/>
                <a:gd name="T82" fmla="*/ 330452 w 67"/>
                <a:gd name="T83" fmla="*/ 598776 h 92"/>
                <a:gd name="T84" fmla="*/ 330452 w 67"/>
                <a:gd name="T85" fmla="*/ 692636 h 92"/>
                <a:gd name="T86" fmla="*/ 441542 w 67"/>
                <a:gd name="T87" fmla="*/ 876804 h 92"/>
                <a:gd name="T88" fmla="*/ 441542 w 67"/>
                <a:gd name="T89" fmla="*/ 1267207 h 92"/>
                <a:gd name="T90" fmla="*/ 353996 w 67"/>
                <a:gd name="T91" fmla="*/ 1409139 h 92"/>
                <a:gd name="T92" fmla="*/ 205703 w 67"/>
                <a:gd name="T93" fmla="*/ 1589727 h 92"/>
                <a:gd name="T94" fmla="*/ 0 w 67"/>
                <a:gd name="T95" fmla="*/ 1722995 h 92"/>
                <a:gd name="T96" fmla="*/ 0 w 67"/>
                <a:gd name="T97" fmla="*/ 2082240 h 92"/>
                <a:gd name="T98" fmla="*/ 480928 w 67"/>
                <a:gd name="T99" fmla="*/ 2216335 h 92"/>
                <a:gd name="T100" fmla="*/ 600612 w 67"/>
                <a:gd name="T101" fmla="*/ 2319112 h 92"/>
                <a:gd name="T102" fmla="*/ 728797 w 67"/>
                <a:gd name="T103" fmla="*/ 2399133 h 92"/>
                <a:gd name="T104" fmla="*/ 856723 w 67"/>
                <a:gd name="T105" fmla="*/ 2437996 h 92"/>
                <a:gd name="T106" fmla="*/ 1039168 w 67"/>
                <a:gd name="T107" fmla="*/ 2563751 h 92"/>
                <a:gd name="T108" fmla="*/ 1081600 w 67"/>
                <a:gd name="T109" fmla="*/ 2597275 h 92"/>
                <a:gd name="T110" fmla="*/ 1244071 w 67"/>
                <a:gd name="T111" fmla="*/ 2636023 h 92"/>
                <a:gd name="T112" fmla="*/ 1368809 w 67"/>
                <a:gd name="T113" fmla="*/ 2752165 h 92"/>
                <a:gd name="T114" fmla="*/ 1414084 w 67"/>
                <a:gd name="T115" fmla="*/ 2816926 h 92"/>
                <a:gd name="T116" fmla="*/ 1540387 w 67"/>
                <a:gd name="T117" fmla="*/ 3008927 h 92"/>
                <a:gd name="T118" fmla="*/ 1662298 w 67"/>
                <a:gd name="T119" fmla="*/ 3091763 h 92"/>
                <a:gd name="T120" fmla="*/ 1722802 w 67"/>
                <a:gd name="T121" fmla="*/ 3132042 h 92"/>
                <a:gd name="T122" fmla="*/ 1855736 w 67"/>
                <a:gd name="T123" fmla="*/ 3206378 h 92"/>
                <a:gd name="T124" fmla="*/ 1928734 w 67"/>
                <a:gd name="T125" fmla="*/ 3245439 h 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7"/>
                <a:gd name="T190" fmla="*/ 0 h 92"/>
                <a:gd name="T191" fmla="*/ 67 w 67"/>
                <a:gd name="T192" fmla="*/ 92 h 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7" h="92">
                  <a:moveTo>
                    <a:pt x="48" y="92"/>
                  </a:moveTo>
                  <a:cubicBezTo>
                    <a:pt x="48" y="91"/>
                    <a:pt x="49" y="89"/>
                    <a:pt x="50" y="87"/>
                  </a:cubicBezTo>
                  <a:cubicBezTo>
                    <a:pt x="50" y="86"/>
                    <a:pt x="50" y="85"/>
                    <a:pt x="51" y="84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2" y="82"/>
                  </a:cubicBezTo>
                  <a:cubicBezTo>
                    <a:pt x="52" y="81"/>
                    <a:pt x="53" y="81"/>
                    <a:pt x="54" y="80"/>
                  </a:cubicBezTo>
                  <a:cubicBezTo>
                    <a:pt x="54" y="79"/>
                    <a:pt x="53" y="77"/>
                    <a:pt x="54" y="76"/>
                  </a:cubicBezTo>
                  <a:cubicBezTo>
                    <a:pt x="55" y="74"/>
                    <a:pt x="57" y="74"/>
                    <a:pt x="58" y="72"/>
                  </a:cubicBezTo>
                  <a:cubicBezTo>
                    <a:pt x="59" y="71"/>
                    <a:pt x="60" y="70"/>
                    <a:pt x="61" y="69"/>
                  </a:cubicBezTo>
                  <a:cubicBezTo>
                    <a:pt x="63" y="68"/>
                    <a:pt x="65" y="67"/>
                    <a:pt x="66" y="65"/>
                  </a:cubicBezTo>
                  <a:cubicBezTo>
                    <a:pt x="66" y="65"/>
                    <a:pt x="66" y="64"/>
                    <a:pt x="67" y="64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63" y="61"/>
                    <a:pt x="61" y="60"/>
                    <a:pt x="60" y="57"/>
                  </a:cubicBezTo>
                  <a:cubicBezTo>
                    <a:pt x="60" y="55"/>
                    <a:pt x="60" y="52"/>
                    <a:pt x="60" y="49"/>
                  </a:cubicBezTo>
                  <a:cubicBezTo>
                    <a:pt x="59" y="43"/>
                    <a:pt x="60" y="37"/>
                    <a:pt x="60" y="31"/>
                  </a:cubicBezTo>
                  <a:cubicBezTo>
                    <a:pt x="60" y="29"/>
                    <a:pt x="59" y="26"/>
                    <a:pt x="61" y="24"/>
                  </a:cubicBezTo>
                  <a:cubicBezTo>
                    <a:pt x="62" y="23"/>
                    <a:pt x="63" y="22"/>
                    <a:pt x="64" y="21"/>
                  </a:cubicBezTo>
                  <a:cubicBezTo>
                    <a:pt x="65" y="21"/>
                    <a:pt x="65" y="20"/>
                    <a:pt x="66" y="18"/>
                  </a:cubicBezTo>
                  <a:cubicBezTo>
                    <a:pt x="66" y="17"/>
                    <a:pt x="66" y="16"/>
                    <a:pt x="67" y="15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5" y="16"/>
                    <a:pt x="63" y="16"/>
                    <a:pt x="61" y="16"/>
                  </a:cubicBezTo>
                  <a:cubicBezTo>
                    <a:pt x="60" y="14"/>
                    <a:pt x="58" y="11"/>
                    <a:pt x="55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3" y="13"/>
                    <a:pt x="52" y="13"/>
                    <a:pt x="51" y="15"/>
                  </a:cubicBezTo>
                  <a:cubicBezTo>
                    <a:pt x="50" y="15"/>
                    <a:pt x="50" y="16"/>
                    <a:pt x="50" y="17"/>
                  </a:cubicBezTo>
                  <a:cubicBezTo>
                    <a:pt x="50" y="17"/>
                    <a:pt x="49" y="17"/>
                    <a:pt x="48" y="17"/>
                  </a:cubicBezTo>
                  <a:cubicBezTo>
                    <a:pt x="45" y="17"/>
                    <a:pt x="42" y="18"/>
                    <a:pt x="39" y="17"/>
                  </a:cubicBezTo>
                  <a:cubicBezTo>
                    <a:pt x="38" y="17"/>
                    <a:pt x="36" y="17"/>
                    <a:pt x="35" y="16"/>
                  </a:cubicBezTo>
                  <a:cubicBezTo>
                    <a:pt x="34" y="15"/>
                    <a:pt x="33" y="15"/>
                    <a:pt x="32" y="14"/>
                  </a:cubicBezTo>
                  <a:cubicBezTo>
                    <a:pt x="32" y="14"/>
                    <a:pt x="31" y="14"/>
                    <a:pt x="31" y="13"/>
                  </a:cubicBezTo>
                  <a:cubicBezTo>
                    <a:pt x="29" y="12"/>
                    <a:pt x="28" y="11"/>
                    <a:pt x="26" y="10"/>
                  </a:cubicBezTo>
                  <a:cubicBezTo>
                    <a:pt x="24" y="9"/>
                    <a:pt x="22" y="10"/>
                    <a:pt x="20" y="10"/>
                  </a:cubicBezTo>
                  <a:cubicBezTo>
                    <a:pt x="19" y="10"/>
                    <a:pt x="19" y="9"/>
                    <a:pt x="19" y="8"/>
                  </a:cubicBezTo>
                  <a:cubicBezTo>
                    <a:pt x="18" y="6"/>
                    <a:pt x="19" y="3"/>
                    <a:pt x="18" y="0"/>
                  </a:cubicBezTo>
                  <a:cubicBezTo>
                    <a:pt x="17" y="0"/>
                    <a:pt x="16" y="0"/>
                    <a:pt x="14" y="0"/>
                  </a:cubicBezTo>
                  <a:cubicBezTo>
                    <a:pt x="14" y="0"/>
                    <a:pt x="14" y="2"/>
                    <a:pt x="13" y="2"/>
                  </a:cubicBezTo>
                  <a:cubicBezTo>
                    <a:pt x="13" y="4"/>
                    <a:pt x="11" y="5"/>
                    <a:pt x="10" y="7"/>
                  </a:cubicBezTo>
                  <a:cubicBezTo>
                    <a:pt x="9" y="8"/>
                    <a:pt x="6" y="10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3"/>
                    <a:pt x="6" y="15"/>
                    <a:pt x="7" y="15"/>
                  </a:cubicBezTo>
                  <a:cubicBezTo>
                    <a:pt x="8" y="16"/>
                    <a:pt x="8" y="16"/>
                    <a:pt x="8" y="17"/>
                  </a:cubicBezTo>
                  <a:cubicBezTo>
                    <a:pt x="9" y="18"/>
                    <a:pt x="8" y="19"/>
                    <a:pt x="8" y="20"/>
                  </a:cubicBezTo>
                  <a:cubicBezTo>
                    <a:pt x="9" y="22"/>
                    <a:pt x="11" y="23"/>
                    <a:pt x="11" y="25"/>
                  </a:cubicBezTo>
                  <a:cubicBezTo>
                    <a:pt x="12" y="29"/>
                    <a:pt x="12" y="32"/>
                    <a:pt x="11" y="36"/>
                  </a:cubicBezTo>
                  <a:cubicBezTo>
                    <a:pt x="10" y="37"/>
                    <a:pt x="10" y="39"/>
                    <a:pt x="9" y="40"/>
                  </a:cubicBezTo>
                  <a:cubicBezTo>
                    <a:pt x="8" y="42"/>
                    <a:pt x="6" y="43"/>
                    <a:pt x="5" y="45"/>
                  </a:cubicBezTo>
                  <a:cubicBezTo>
                    <a:pt x="3" y="46"/>
                    <a:pt x="2" y="48"/>
                    <a:pt x="0" y="49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" y="59"/>
                    <a:pt x="8" y="61"/>
                    <a:pt x="12" y="63"/>
                  </a:cubicBezTo>
                  <a:cubicBezTo>
                    <a:pt x="13" y="64"/>
                    <a:pt x="14" y="65"/>
                    <a:pt x="15" y="66"/>
                  </a:cubicBezTo>
                  <a:cubicBezTo>
                    <a:pt x="16" y="66"/>
                    <a:pt x="17" y="67"/>
                    <a:pt x="18" y="68"/>
                  </a:cubicBezTo>
                  <a:cubicBezTo>
                    <a:pt x="19" y="69"/>
                    <a:pt x="20" y="69"/>
                    <a:pt x="21" y="69"/>
                  </a:cubicBezTo>
                  <a:cubicBezTo>
                    <a:pt x="23" y="70"/>
                    <a:pt x="24" y="71"/>
                    <a:pt x="26" y="73"/>
                  </a:cubicBezTo>
                  <a:cubicBezTo>
                    <a:pt x="27" y="73"/>
                    <a:pt x="27" y="73"/>
                    <a:pt x="27" y="74"/>
                  </a:cubicBezTo>
                  <a:cubicBezTo>
                    <a:pt x="29" y="75"/>
                    <a:pt x="29" y="75"/>
                    <a:pt x="31" y="75"/>
                  </a:cubicBezTo>
                  <a:cubicBezTo>
                    <a:pt x="32" y="76"/>
                    <a:pt x="33" y="77"/>
                    <a:pt x="34" y="78"/>
                  </a:cubicBezTo>
                  <a:cubicBezTo>
                    <a:pt x="34" y="79"/>
                    <a:pt x="35" y="79"/>
                    <a:pt x="35" y="80"/>
                  </a:cubicBezTo>
                  <a:cubicBezTo>
                    <a:pt x="36" y="82"/>
                    <a:pt x="37" y="83"/>
                    <a:pt x="38" y="85"/>
                  </a:cubicBezTo>
                  <a:cubicBezTo>
                    <a:pt x="39" y="87"/>
                    <a:pt x="40" y="88"/>
                    <a:pt x="41" y="88"/>
                  </a:cubicBezTo>
                  <a:cubicBezTo>
                    <a:pt x="42" y="89"/>
                    <a:pt x="43" y="89"/>
                    <a:pt x="43" y="89"/>
                  </a:cubicBezTo>
                  <a:cubicBezTo>
                    <a:pt x="44" y="90"/>
                    <a:pt x="45" y="91"/>
                    <a:pt x="46" y="91"/>
                  </a:cubicBezTo>
                  <a:lnTo>
                    <a:pt x="48" y="92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3" name="Freeform 375"/>
            <p:cNvSpPr>
              <a:spLocks/>
            </p:cNvSpPr>
            <p:nvPr/>
          </p:nvSpPr>
          <p:spPr bwMode="auto">
            <a:xfrm>
              <a:off x="7176689" y="5284640"/>
              <a:ext cx="59447" cy="56809"/>
            </a:xfrm>
            <a:custGeom>
              <a:avLst/>
              <a:gdLst>
                <a:gd name="T0" fmla="*/ 1383419 w 44"/>
                <a:gd name="T1" fmla="*/ 0 h 53"/>
                <a:gd name="T2" fmla="*/ 1362432 w 44"/>
                <a:gd name="T3" fmla="*/ 75303 h 53"/>
                <a:gd name="T4" fmla="*/ 1253064 w 44"/>
                <a:gd name="T5" fmla="*/ 184039 h 53"/>
                <a:gd name="T6" fmla="*/ 1169024 w 44"/>
                <a:gd name="T7" fmla="*/ 220206 h 53"/>
                <a:gd name="T8" fmla="*/ 855361 w 44"/>
                <a:gd name="T9" fmla="*/ 237529 h 53"/>
                <a:gd name="T10" fmla="*/ 756461 w 44"/>
                <a:gd name="T11" fmla="*/ 220206 h 53"/>
                <a:gd name="T12" fmla="*/ 716123 w 44"/>
                <a:gd name="T13" fmla="*/ 220206 h 53"/>
                <a:gd name="T14" fmla="*/ 522033 w 44"/>
                <a:gd name="T15" fmla="*/ 220206 h 53"/>
                <a:gd name="T16" fmla="*/ 414101 w 44"/>
                <a:gd name="T17" fmla="*/ 237529 h 53"/>
                <a:gd name="T18" fmla="*/ 370699 w 44"/>
                <a:gd name="T19" fmla="*/ 639981 h 53"/>
                <a:gd name="T20" fmla="*/ 414101 w 44"/>
                <a:gd name="T21" fmla="*/ 639981 h 53"/>
                <a:gd name="T22" fmla="*/ 522033 w 44"/>
                <a:gd name="T23" fmla="*/ 639981 h 53"/>
                <a:gd name="T24" fmla="*/ 522033 w 44"/>
                <a:gd name="T25" fmla="*/ 735270 h 53"/>
                <a:gd name="T26" fmla="*/ 486490 w 44"/>
                <a:gd name="T27" fmla="*/ 848977 h 53"/>
                <a:gd name="T28" fmla="*/ 292317 w 44"/>
                <a:gd name="T29" fmla="*/ 993792 h 53"/>
                <a:gd name="T30" fmla="*/ 229201 w 44"/>
                <a:gd name="T31" fmla="*/ 1033022 h 53"/>
                <a:gd name="T32" fmla="*/ 78329 w 44"/>
                <a:gd name="T33" fmla="*/ 1198023 h 53"/>
                <a:gd name="T34" fmla="*/ 40547 w 44"/>
                <a:gd name="T35" fmla="*/ 1231662 h 53"/>
                <a:gd name="T36" fmla="*/ 40547 w 44"/>
                <a:gd name="T37" fmla="*/ 1376632 h 53"/>
                <a:gd name="T38" fmla="*/ 78329 w 44"/>
                <a:gd name="T39" fmla="*/ 1809378 h 53"/>
                <a:gd name="T40" fmla="*/ 118645 w 44"/>
                <a:gd name="T41" fmla="*/ 1838048 h 53"/>
                <a:gd name="T42" fmla="*/ 151317 w 44"/>
                <a:gd name="T43" fmla="*/ 1838048 h 53"/>
                <a:gd name="T44" fmla="*/ 270229 w 44"/>
                <a:gd name="T45" fmla="*/ 1838048 h 53"/>
                <a:gd name="T46" fmla="*/ 335769 w 44"/>
                <a:gd name="T47" fmla="*/ 1809378 h 53"/>
                <a:gd name="T48" fmla="*/ 442775 w 44"/>
                <a:gd name="T49" fmla="*/ 1729400 h 53"/>
                <a:gd name="T50" fmla="*/ 896313 w 44"/>
                <a:gd name="T51" fmla="*/ 1633880 h 53"/>
                <a:gd name="T52" fmla="*/ 1048751 w 44"/>
                <a:gd name="T53" fmla="*/ 1488973 h 53"/>
                <a:gd name="T54" fmla="*/ 1127189 w 44"/>
                <a:gd name="T55" fmla="*/ 1415048 h 53"/>
                <a:gd name="T56" fmla="*/ 1209620 w 44"/>
                <a:gd name="T57" fmla="*/ 1337516 h 53"/>
                <a:gd name="T58" fmla="*/ 1383419 w 44"/>
                <a:gd name="T59" fmla="*/ 1198023 h 53"/>
                <a:gd name="T60" fmla="*/ 1545393 w 44"/>
                <a:gd name="T61" fmla="*/ 1033022 h 53"/>
                <a:gd name="T62" fmla="*/ 1612008 w 44"/>
                <a:gd name="T63" fmla="*/ 879762 h 53"/>
                <a:gd name="T64" fmla="*/ 1612008 w 44"/>
                <a:gd name="T65" fmla="*/ 496259 h 53"/>
                <a:gd name="T66" fmla="*/ 1502284 w 44"/>
                <a:gd name="T67" fmla="*/ 318028 h 53"/>
                <a:gd name="T68" fmla="*/ 1502284 w 44"/>
                <a:gd name="T69" fmla="*/ 220206 h 53"/>
                <a:gd name="T70" fmla="*/ 1461345 w 44"/>
                <a:gd name="T71" fmla="*/ 144923 h 53"/>
                <a:gd name="T72" fmla="*/ 1417943 w 44"/>
                <a:gd name="T73" fmla="*/ 39128 h 53"/>
                <a:gd name="T74" fmla="*/ 1383419 w 44"/>
                <a:gd name="T75" fmla="*/ 0 h 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4"/>
                <a:gd name="T115" fmla="*/ 0 h 53"/>
                <a:gd name="T116" fmla="*/ 44 w 44"/>
                <a:gd name="T117" fmla="*/ 53 h 5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4" h="53">
                  <a:moveTo>
                    <a:pt x="37" y="0"/>
                  </a:moveTo>
                  <a:cubicBezTo>
                    <a:pt x="36" y="1"/>
                    <a:pt x="36" y="1"/>
                    <a:pt x="36" y="2"/>
                  </a:cubicBezTo>
                  <a:cubicBezTo>
                    <a:pt x="35" y="3"/>
                    <a:pt x="34" y="4"/>
                    <a:pt x="33" y="5"/>
                  </a:cubicBezTo>
                  <a:cubicBezTo>
                    <a:pt x="33" y="5"/>
                    <a:pt x="32" y="6"/>
                    <a:pt x="31" y="6"/>
                  </a:cubicBezTo>
                  <a:cubicBezTo>
                    <a:pt x="29" y="6"/>
                    <a:pt x="26" y="5"/>
                    <a:pt x="23" y="7"/>
                  </a:cubicBezTo>
                  <a:cubicBezTo>
                    <a:pt x="22" y="8"/>
                    <a:pt x="21" y="7"/>
                    <a:pt x="20" y="6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7" y="6"/>
                    <a:pt x="15" y="5"/>
                    <a:pt x="14" y="6"/>
                  </a:cubicBezTo>
                  <a:cubicBezTo>
                    <a:pt x="12" y="6"/>
                    <a:pt x="12" y="7"/>
                    <a:pt x="11" y="7"/>
                  </a:cubicBezTo>
                  <a:cubicBezTo>
                    <a:pt x="10" y="10"/>
                    <a:pt x="10" y="14"/>
                    <a:pt x="10" y="18"/>
                  </a:cubicBezTo>
                  <a:cubicBezTo>
                    <a:pt x="10" y="18"/>
                    <a:pt x="11" y="18"/>
                    <a:pt x="11" y="18"/>
                  </a:cubicBezTo>
                  <a:cubicBezTo>
                    <a:pt x="12" y="19"/>
                    <a:pt x="13" y="18"/>
                    <a:pt x="14" y="18"/>
                  </a:cubicBezTo>
                  <a:cubicBezTo>
                    <a:pt x="14" y="19"/>
                    <a:pt x="14" y="20"/>
                    <a:pt x="14" y="21"/>
                  </a:cubicBezTo>
                  <a:cubicBezTo>
                    <a:pt x="14" y="22"/>
                    <a:pt x="13" y="23"/>
                    <a:pt x="13" y="24"/>
                  </a:cubicBezTo>
                  <a:cubicBezTo>
                    <a:pt x="12" y="26"/>
                    <a:pt x="10" y="27"/>
                    <a:pt x="8" y="28"/>
                  </a:cubicBezTo>
                  <a:cubicBezTo>
                    <a:pt x="7" y="28"/>
                    <a:pt x="7" y="29"/>
                    <a:pt x="6" y="29"/>
                  </a:cubicBezTo>
                  <a:cubicBezTo>
                    <a:pt x="5" y="31"/>
                    <a:pt x="4" y="33"/>
                    <a:pt x="2" y="34"/>
                  </a:cubicBezTo>
                  <a:cubicBezTo>
                    <a:pt x="2" y="34"/>
                    <a:pt x="1" y="35"/>
                    <a:pt x="1" y="35"/>
                  </a:cubicBezTo>
                  <a:cubicBezTo>
                    <a:pt x="0" y="36"/>
                    <a:pt x="1" y="38"/>
                    <a:pt x="1" y="39"/>
                  </a:cubicBezTo>
                  <a:cubicBezTo>
                    <a:pt x="2" y="43"/>
                    <a:pt x="1" y="47"/>
                    <a:pt x="2" y="51"/>
                  </a:cubicBezTo>
                  <a:cubicBezTo>
                    <a:pt x="2" y="51"/>
                    <a:pt x="2" y="52"/>
                    <a:pt x="3" y="52"/>
                  </a:cubicBezTo>
                  <a:cubicBezTo>
                    <a:pt x="3" y="52"/>
                    <a:pt x="4" y="52"/>
                    <a:pt x="4" y="52"/>
                  </a:cubicBezTo>
                  <a:cubicBezTo>
                    <a:pt x="5" y="53"/>
                    <a:pt x="6" y="53"/>
                    <a:pt x="7" y="52"/>
                  </a:cubicBezTo>
                  <a:cubicBezTo>
                    <a:pt x="7" y="52"/>
                    <a:pt x="8" y="51"/>
                    <a:pt x="9" y="51"/>
                  </a:cubicBezTo>
                  <a:cubicBezTo>
                    <a:pt x="10" y="50"/>
                    <a:pt x="11" y="49"/>
                    <a:pt x="12" y="49"/>
                  </a:cubicBezTo>
                  <a:cubicBezTo>
                    <a:pt x="16" y="48"/>
                    <a:pt x="20" y="47"/>
                    <a:pt x="24" y="46"/>
                  </a:cubicBezTo>
                  <a:cubicBezTo>
                    <a:pt x="25" y="45"/>
                    <a:pt x="26" y="43"/>
                    <a:pt x="28" y="42"/>
                  </a:cubicBezTo>
                  <a:cubicBezTo>
                    <a:pt x="28" y="41"/>
                    <a:pt x="29" y="41"/>
                    <a:pt x="30" y="40"/>
                  </a:cubicBezTo>
                  <a:cubicBezTo>
                    <a:pt x="31" y="40"/>
                    <a:pt x="32" y="39"/>
                    <a:pt x="32" y="38"/>
                  </a:cubicBezTo>
                  <a:cubicBezTo>
                    <a:pt x="34" y="37"/>
                    <a:pt x="35" y="35"/>
                    <a:pt x="37" y="34"/>
                  </a:cubicBezTo>
                  <a:cubicBezTo>
                    <a:pt x="38" y="32"/>
                    <a:pt x="40" y="31"/>
                    <a:pt x="41" y="29"/>
                  </a:cubicBezTo>
                  <a:cubicBezTo>
                    <a:pt x="42" y="28"/>
                    <a:pt x="42" y="26"/>
                    <a:pt x="43" y="25"/>
                  </a:cubicBezTo>
                  <a:cubicBezTo>
                    <a:pt x="44" y="21"/>
                    <a:pt x="44" y="18"/>
                    <a:pt x="43" y="14"/>
                  </a:cubicBezTo>
                  <a:cubicBezTo>
                    <a:pt x="43" y="12"/>
                    <a:pt x="41" y="11"/>
                    <a:pt x="40" y="9"/>
                  </a:cubicBezTo>
                  <a:cubicBezTo>
                    <a:pt x="40" y="8"/>
                    <a:pt x="41" y="7"/>
                    <a:pt x="40" y="6"/>
                  </a:cubicBezTo>
                  <a:cubicBezTo>
                    <a:pt x="40" y="5"/>
                    <a:pt x="40" y="5"/>
                    <a:pt x="39" y="4"/>
                  </a:cubicBezTo>
                  <a:cubicBezTo>
                    <a:pt x="38" y="4"/>
                    <a:pt x="38" y="2"/>
                    <a:pt x="38" y="1"/>
                  </a:cubicBezTo>
                  <a:cubicBezTo>
                    <a:pt x="38" y="1"/>
                    <a:pt x="38" y="1"/>
                    <a:pt x="37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4" name="Freeform 376"/>
            <p:cNvSpPr>
              <a:spLocks/>
            </p:cNvSpPr>
            <p:nvPr/>
          </p:nvSpPr>
          <p:spPr bwMode="auto">
            <a:xfrm>
              <a:off x="7017199" y="5219371"/>
              <a:ext cx="137744" cy="84004"/>
            </a:xfrm>
            <a:custGeom>
              <a:avLst/>
              <a:gdLst>
                <a:gd name="T0" fmla="*/ 485389 w 102"/>
                <a:gd name="T1" fmla="*/ 2655048 h 78"/>
                <a:gd name="T2" fmla="*/ 603907 w 102"/>
                <a:gd name="T3" fmla="*/ 2419956 h 78"/>
                <a:gd name="T4" fmla="*/ 810278 w 102"/>
                <a:gd name="T5" fmla="*/ 2308310 h 78"/>
                <a:gd name="T6" fmla="*/ 937467 w 102"/>
                <a:gd name="T7" fmla="*/ 2345129 h 78"/>
                <a:gd name="T8" fmla="*/ 1166370 w 102"/>
                <a:gd name="T9" fmla="*/ 2345129 h 78"/>
                <a:gd name="T10" fmla="*/ 1206739 w 102"/>
                <a:gd name="T11" fmla="*/ 2243869 h 78"/>
                <a:gd name="T12" fmla="*/ 1316526 w 102"/>
                <a:gd name="T13" fmla="*/ 2031758 h 78"/>
                <a:gd name="T14" fmla="*/ 1541382 w 102"/>
                <a:gd name="T15" fmla="*/ 1928957 h 78"/>
                <a:gd name="T16" fmla="*/ 1770199 w 102"/>
                <a:gd name="T17" fmla="*/ 2051135 h 78"/>
                <a:gd name="T18" fmla="*/ 2168779 w 102"/>
                <a:gd name="T19" fmla="*/ 2164423 h 78"/>
                <a:gd name="T20" fmla="*/ 2373688 w 102"/>
                <a:gd name="T21" fmla="*/ 2131366 h 78"/>
                <a:gd name="T22" fmla="*/ 2580382 w 102"/>
                <a:gd name="T23" fmla="*/ 2008998 h 78"/>
                <a:gd name="T24" fmla="*/ 2731272 w 102"/>
                <a:gd name="T25" fmla="*/ 2008998 h 78"/>
                <a:gd name="T26" fmla="*/ 3001513 w 102"/>
                <a:gd name="T27" fmla="*/ 1928957 h 78"/>
                <a:gd name="T28" fmla="*/ 3256953 w 102"/>
                <a:gd name="T29" fmla="*/ 1854607 h 78"/>
                <a:gd name="T30" fmla="*/ 3626660 w 102"/>
                <a:gd name="T31" fmla="*/ 1893165 h 78"/>
                <a:gd name="T32" fmla="*/ 3709759 w 102"/>
                <a:gd name="T33" fmla="*/ 1673446 h 78"/>
                <a:gd name="T34" fmla="*/ 3548263 w 102"/>
                <a:gd name="T35" fmla="*/ 1579156 h 78"/>
                <a:gd name="T36" fmla="*/ 3375543 w 102"/>
                <a:gd name="T37" fmla="*/ 1219467 h 78"/>
                <a:gd name="T38" fmla="*/ 3184072 w 102"/>
                <a:gd name="T39" fmla="*/ 1022973 h 78"/>
                <a:gd name="T40" fmla="*/ 3146797 w 102"/>
                <a:gd name="T41" fmla="*/ 984446 h 78"/>
                <a:gd name="T42" fmla="*/ 3065770 w 102"/>
                <a:gd name="T43" fmla="*/ 870192 h 78"/>
                <a:gd name="T44" fmla="*/ 2893049 w 102"/>
                <a:gd name="T45" fmla="*/ 801206 h 78"/>
                <a:gd name="T46" fmla="*/ 2814883 w 102"/>
                <a:gd name="T47" fmla="*/ 687785 h 78"/>
                <a:gd name="T48" fmla="*/ 2664300 w 102"/>
                <a:gd name="T49" fmla="*/ 565137 h 78"/>
                <a:gd name="T50" fmla="*/ 2693067 w 102"/>
                <a:gd name="T51" fmla="*/ 349967 h 78"/>
                <a:gd name="T52" fmla="*/ 2664300 w 102"/>
                <a:gd name="T53" fmla="*/ 181983 h 78"/>
                <a:gd name="T54" fmla="*/ 2441054 w 102"/>
                <a:gd name="T55" fmla="*/ 0 h 78"/>
                <a:gd name="T56" fmla="*/ 2212237 w 102"/>
                <a:gd name="T57" fmla="*/ 0 h 78"/>
                <a:gd name="T58" fmla="*/ 2018516 w 102"/>
                <a:gd name="T59" fmla="*/ 310096 h 78"/>
                <a:gd name="T60" fmla="*/ 1837172 w 102"/>
                <a:gd name="T61" fmla="*/ 452500 h 78"/>
                <a:gd name="T62" fmla="*/ 1541382 w 102"/>
                <a:gd name="T63" fmla="*/ 634123 h 78"/>
                <a:gd name="T64" fmla="*/ 1357029 w 102"/>
                <a:gd name="T65" fmla="*/ 673013 h 78"/>
                <a:gd name="T66" fmla="*/ 1087649 w 102"/>
                <a:gd name="T67" fmla="*/ 944279 h 78"/>
                <a:gd name="T68" fmla="*/ 754620 w 102"/>
                <a:gd name="T69" fmla="*/ 1056514 h 78"/>
                <a:gd name="T70" fmla="*/ 644377 w 102"/>
                <a:gd name="T71" fmla="*/ 1022973 h 78"/>
                <a:gd name="T72" fmla="*/ 413217 w 102"/>
                <a:gd name="T73" fmla="*/ 1146804 h 78"/>
                <a:gd name="T74" fmla="*/ 269380 w 102"/>
                <a:gd name="T75" fmla="*/ 1146804 h 78"/>
                <a:gd name="T76" fmla="*/ 118482 w 102"/>
                <a:gd name="T77" fmla="*/ 1322663 h 78"/>
                <a:gd name="T78" fmla="*/ 40472 w 102"/>
                <a:gd name="T79" fmla="*/ 1579156 h 78"/>
                <a:gd name="T80" fmla="*/ 40472 w 102"/>
                <a:gd name="T81" fmla="*/ 1967255 h 78"/>
                <a:gd name="T82" fmla="*/ 228833 w 102"/>
                <a:gd name="T83" fmla="*/ 2272412 h 78"/>
                <a:gd name="T84" fmla="*/ 441962 w 102"/>
                <a:gd name="T85" fmla="*/ 2583794 h 78"/>
                <a:gd name="T86" fmla="*/ 485389 w 102"/>
                <a:gd name="T87" fmla="*/ 2724150 h 7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2"/>
                <a:gd name="T133" fmla="*/ 0 h 78"/>
                <a:gd name="T134" fmla="*/ 102 w 102"/>
                <a:gd name="T135" fmla="*/ 78 h 7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2" h="78">
                  <a:moveTo>
                    <a:pt x="13" y="78"/>
                  </a:moveTo>
                  <a:cubicBezTo>
                    <a:pt x="13" y="77"/>
                    <a:pt x="13" y="77"/>
                    <a:pt x="13" y="76"/>
                  </a:cubicBezTo>
                  <a:cubicBezTo>
                    <a:pt x="14" y="75"/>
                    <a:pt x="14" y="74"/>
                    <a:pt x="14" y="73"/>
                  </a:cubicBezTo>
                  <a:cubicBezTo>
                    <a:pt x="15" y="72"/>
                    <a:pt x="15" y="70"/>
                    <a:pt x="16" y="69"/>
                  </a:cubicBezTo>
                  <a:cubicBezTo>
                    <a:pt x="16" y="68"/>
                    <a:pt x="16" y="68"/>
                    <a:pt x="17" y="68"/>
                  </a:cubicBezTo>
                  <a:cubicBezTo>
                    <a:pt x="18" y="67"/>
                    <a:pt x="20" y="67"/>
                    <a:pt x="22" y="66"/>
                  </a:cubicBezTo>
                  <a:cubicBezTo>
                    <a:pt x="22" y="66"/>
                    <a:pt x="23" y="65"/>
                    <a:pt x="24" y="66"/>
                  </a:cubicBezTo>
                  <a:cubicBezTo>
                    <a:pt x="25" y="66"/>
                    <a:pt x="25" y="67"/>
                    <a:pt x="25" y="67"/>
                  </a:cubicBezTo>
                  <a:cubicBezTo>
                    <a:pt x="27" y="67"/>
                    <a:pt x="29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2" y="67"/>
                    <a:pt x="32" y="67"/>
                  </a:cubicBezTo>
                  <a:cubicBezTo>
                    <a:pt x="32" y="66"/>
                    <a:pt x="32" y="65"/>
                    <a:pt x="32" y="64"/>
                  </a:cubicBezTo>
                  <a:cubicBezTo>
                    <a:pt x="33" y="63"/>
                    <a:pt x="32" y="61"/>
                    <a:pt x="33" y="60"/>
                  </a:cubicBezTo>
                  <a:cubicBezTo>
                    <a:pt x="33" y="59"/>
                    <a:pt x="34" y="59"/>
                    <a:pt x="35" y="58"/>
                  </a:cubicBezTo>
                  <a:cubicBezTo>
                    <a:pt x="36" y="57"/>
                    <a:pt x="36" y="56"/>
                    <a:pt x="37" y="55"/>
                  </a:cubicBezTo>
                  <a:cubicBezTo>
                    <a:pt x="39" y="55"/>
                    <a:pt x="40" y="54"/>
                    <a:pt x="41" y="55"/>
                  </a:cubicBezTo>
                  <a:cubicBezTo>
                    <a:pt x="42" y="55"/>
                    <a:pt x="43" y="56"/>
                    <a:pt x="43" y="56"/>
                  </a:cubicBezTo>
                  <a:cubicBezTo>
                    <a:pt x="45" y="58"/>
                    <a:pt x="46" y="58"/>
                    <a:pt x="47" y="59"/>
                  </a:cubicBezTo>
                  <a:cubicBezTo>
                    <a:pt x="48" y="60"/>
                    <a:pt x="48" y="60"/>
                    <a:pt x="49" y="60"/>
                  </a:cubicBezTo>
                  <a:cubicBezTo>
                    <a:pt x="52" y="61"/>
                    <a:pt x="55" y="62"/>
                    <a:pt x="58" y="62"/>
                  </a:cubicBezTo>
                  <a:cubicBezTo>
                    <a:pt x="59" y="63"/>
                    <a:pt x="60" y="63"/>
                    <a:pt x="61" y="62"/>
                  </a:cubicBezTo>
                  <a:cubicBezTo>
                    <a:pt x="62" y="62"/>
                    <a:pt x="63" y="62"/>
                    <a:pt x="63" y="61"/>
                  </a:cubicBezTo>
                  <a:cubicBezTo>
                    <a:pt x="63" y="59"/>
                    <a:pt x="64" y="58"/>
                    <a:pt x="66" y="57"/>
                  </a:cubicBezTo>
                  <a:cubicBezTo>
                    <a:pt x="67" y="57"/>
                    <a:pt x="68" y="57"/>
                    <a:pt x="69" y="57"/>
                  </a:cubicBezTo>
                  <a:cubicBezTo>
                    <a:pt x="70" y="58"/>
                    <a:pt x="71" y="58"/>
                    <a:pt x="72" y="58"/>
                  </a:cubicBezTo>
                  <a:cubicBezTo>
                    <a:pt x="72" y="57"/>
                    <a:pt x="73" y="57"/>
                    <a:pt x="73" y="57"/>
                  </a:cubicBezTo>
                  <a:cubicBezTo>
                    <a:pt x="75" y="57"/>
                    <a:pt x="77" y="56"/>
                    <a:pt x="78" y="55"/>
                  </a:cubicBezTo>
                  <a:cubicBezTo>
                    <a:pt x="79" y="54"/>
                    <a:pt x="80" y="54"/>
                    <a:pt x="80" y="55"/>
                  </a:cubicBezTo>
                  <a:cubicBezTo>
                    <a:pt x="81" y="56"/>
                    <a:pt x="82" y="56"/>
                    <a:pt x="84" y="56"/>
                  </a:cubicBezTo>
                  <a:cubicBezTo>
                    <a:pt x="85" y="55"/>
                    <a:pt x="85" y="54"/>
                    <a:pt x="87" y="53"/>
                  </a:cubicBezTo>
                  <a:cubicBezTo>
                    <a:pt x="88" y="52"/>
                    <a:pt x="90" y="53"/>
                    <a:pt x="92" y="54"/>
                  </a:cubicBezTo>
                  <a:cubicBezTo>
                    <a:pt x="93" y="54"/>
                    <a:pt x="95" y="54"/>
                    <a:pt x="97" y="54"/>
                  </a:cubicBezTo>
                  <a:cubicBezTo>
                    <a:pt x="98" y="53"/>
                    <a:pt x="100" y="53"/>
                    <a:pt x="102" y="53"/>
                  </a:cubicBezTo>
                  <a:cubicBezTo>
                    <a:pt x="102" y="51"/>
                    <a:pt x="101" y="49"/>
                    <a:pt x="99" y="48"/>
                  </a:cubicBezTo>
                  <a:cubicBezTo>
                    <a:pt x="98" y="47"/>
                    <a:pt x="98" y="47"/>
                    <a:pt x="97" y="46"/>
                  </a:cubicBezTo>
                  <a:cubicBezTo>
                    <a:pt x="96" y="46"/>
                    <a:pt x="96" y="46"/>
                    <a:pt x="95" y="45"/>
                  </a:cubicBezTo>
                  <a:cubicBezTo>
                    <a:pt x="95" y="45"/>
                    <a:pt x="94" y="44"/>
                    <a:pt x="94" y="44"/>
                  </a:cubicBezTo>
                  <a:cubicBezTo>
                    <a:pt x="94" y="40"/>
                    <a:pt x="92" y="38"/>
                    <a:pt x="90" y="35"/>
                  </a:cubicBezTo>
                  <a:cubicBezTo>
                    <a:pt x="89" y="34"/>
                    <a:pt x="87" y="35"/>
                    <a:pt x="86" y="33"/>
                  </a:cubicBezTo>
                  <a:cubicBezTo>
                    <a:pt x="85" y="32"/>
                    <a:pt x="86" y="30"/>
                    <a:pt x="85" y="29"/>
                  </a:cubicBezTo>
                  <a:cubicBezTo>
                    <a:pt x="85" y="29"/>
                    <a:pt x="85" y="29"/>
                    <a:pt x="84" y="29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7"/>
                    <a:pt x="83" y="27"/>
                    <a:pt x="82" y="27"/>
                  </a:cubicBezTo>
                  <a:cubicBezTo>
                    <a:pt x="82" y="26"/>
                    <a:pt x="82" y="25"/>
                    <a:pt x="82" y="25"/>
                  </a:cubicBezTo>
                  <a:cubicBezTo>
                    <a:pt x="81" y="24"/>
                    <a:pt x="80" y="24"/>
                    <a:pt x="79" y="23"/>
                  </a:cubicBezTo>
                  <a:cubicBezTo>
                    <a:pt x="78" y="23"/>
                    <a:pt x="78" y="23"/>
                    <a:pt x="77" y="23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6" y="21"/>
                    <a:pt x="76" y="20"/>
                    <a:pt x="75" y="20"/>
                  </a:cubicBezTo>
                  <a:cubicBezTo>
                    <a:pt x="74" y="20"/>
                    <a:pt x="73" y="20"/>
                    <a:pt x="73" y="20"/>
                  </a:cubicBezTo>
                  <a:cubicBezTo>
                    <a:pt x="72" y="19"/>
                    <a:pt x="71" y="18"/>
                    <a:pt x="71" y="16"/>
                  </a:cubicBezTo>
                  <a:cubicBezTo>
                    <a:pt x="70" y="16"/>
                    <a:pt x="70" y="15"/>
                    <a:pt x="71" y="15"/>
                  </a:cubicBezTo>
                  <a:cubicBezTo>
                    <a:pt x="73" y="13"/>
                    <a:pt x="72" y="12"/>
                    <a:pt x="72" y="10"/>
                  </a:cubicBezTo>
                  <a:cubicBezTo>
                    <a:pt x="72" y="10"/>
                    <a:pt x="71" y="9"/>
                    <a:pt x="71" y="9"/>
                  </a:cubicBezTo>
                  <a:cubicBezTo>
                    <a:pt x="71" y="8"/>
                    <a:pt x="71" y="6"/>
                    <a:pt x="71" y="5"/>
                  </a:cubicBezTo>
                  <a:cubicBezTo>
                    <a:pt x="70" y="4"/>
                    <a:pt x="69" y="3"/>
                    <a:pt x="68" y="2"/>
                  </a:cubicBezTo>
                  <a:cubicBezTo>
                    <a:pt x="67" y="1"/>
                    <a:pt x="66" y="1"/>
                    <a:pt x="65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1"/>
                    <a:pt x="61" y="0"/>
                    <a:pt x="59" y="0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4"/>
                    <a:pt x="56" y="7"/>
                    <a:pt x="54" y="9"/>
                  </a:cubicBezTo>
                  <a:cubicBezTo>
                    <a:pt x="54" y="9"/>
                    <a:pt x="53" y="9"/>
                    <a:pt x="53" y="9"/>
                  </a:cubicBezTo>
                  <a:cubicBezTo>
                    <a:pt x="51" y="10"/>
                    <a:pt x="51" y="12"/>
                    <a:pt x="49" y="13"/>
                  </a:cubicBezTo>
                  <a:cubicBezTo>
                    <a:pt x="49" y="14"/>
                    <a:pt x="48" y="14"/>
                    <a:pt x="48" y="14"/>
                  </a:cubicBezTo>
                  <a:cubicBezTo>
                    <a:pt x="46" y="16"/>
                    <a:pt x="44" y="18"/>
                    <a:pt x="41" y="18"/>
                  </a:cubicBezTo>
                  <a:cubicBezTo>
                    <a:pt x="40" y="18"/>
                    <a:pt x="38" y="17"/>
                    <a:pt x="36" y="18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5" y="21"/>
                    <a:pt x="36" y="23"/>
                    <a:pt x="34" y="24"/>
                  </a:cubicBezTo>
                  <a:cubicBezTo>
                    <a:pt x="32" y="25"/>
                    <a:pt x="30" y="25"/>
                    <a:pt x="29" y="27"/>
                  </a:cubicBezTo>
                  <a:cubicBezTo>
                    <a:pt x="27" y="28"/>
                    <a:pt x="25" y="27"/>
                    <a:pt x="23" y="27"/>
                  </a:cubicBezTo>
                  <a:cubicBezTo>
                    <a:pt x="22" y="28"/>
                    <a:pt x="21" y="29"/>
                    <a:pt x="20" y="30"/>
                  </a:cubicBezTo>
                  <a:cubicBezTo>
                    <a:pt x="19" y="31"/>
                    <a:pt x="19" y="31"/>
                    <a:pt x="18" y="30"/>
                  </a:cubicBezTo>
                  <a:cubicBezTo>
                    <a:pt x="17" y="30"/>
                    <a:pt x="17" y="29"/>
                    <a:pt x="17" y="29"/>
                  </a:cubicBezTo>
                  <a:cubicBezTo>
                    <a:pt x="16" y="29"/>
                    <a:pt x="16" y="29"/>
                    <a:pt x="15" y="29"/>
                  </a:cubicBezTo>
                  <a:cubicBezTo>
                    <a:pt x="14" y="30"/>
                    <a:pt x="13" y="32"/>
                    <a:pt x="11" y="33"/>
                  </a:cubicBezTo>
                  <a:cubicBezTo>
                    <a:pt x="10" y="33"/>
                    <a:pt x="8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6" y="34"/>
                    <a:pt x="6" y="35"/>
                    <a:pt x="5" y="35"/>
                  </a:cubicBezTo>
                  <a:cubicBezTo>
                    <a:pt x="4" y="36"/>
                    <a:pt x="3" y="37"/>
                    <a:pt x="3" y="38"/>
                  </a:cubicBezTo>
                  <a:cubicBezTo>
                    <a:pt x="2" y="39"/>
                    <a:pt x="3" y="40"/>
                    <a:pt x="2" y="42"/>
                  </a:cubicBezTo>
                  <a:cubicBezTo>
                    <a:pt x="1" y="43"/>
                    <a:pt x="1" y="44"/>
                    <a:pt x="1" y="45"/>
                  </a:cubicBezTo>
                  <a:cubicBezTo>
                    <a:pt x="0" y="47"/>
                    <a:pt x="1" y="48"/>
                    <a:pt x="1" y="50"/>
                  </a:cubicBezTo>
                  <a:cubicBezTo>
                    <a:pt x="1" y="52"/>
                    <a:pt x="1" y="54"/>
                    <a:pt x="1" y="56"/>
                  </a:cubicBezTo>
                  <a:cubicBezTo>
                    <a:pt x="2" y="58"/>
                    <a:pt x="3" y="59"/>
                    <a:pt x="4" y="60"/>
                  </a:cubicBezTo>
                  <a:cubicBezTo>
                    <a:pt x="5" y="62"/>
                    <a:pt x="5" y="63"/>
                    <a:pt x="6" y="65"/>
                  </a:cubicBezTo>
                  <a:cubicBezTo>
                    <a:pt x="6" y="67"/>
                    <a:pt x="8" y="68"/>
                    <a:pt x="10" y="70"/>
                  </a:cubicBezTo>
                  <a:cubicBezTo>
                    <a:pt x="10" y="72"/>
                    <a:pt x="11" y="73"/>
                    <a:pt x="12" y="74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3" y="77"/>
                    <a:pt x="13" y="77"/>
                    <a:pt x="13" y="78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5" name="Freeform 377"/>
            <p:cNvSpPr>
              <a:spLocks/>
            </p:cNvSpPr>
            <p:nvPr/>
          </p:nvSpPr>
          <p:spPr bwMode="auto">
            <a:xfrm>
              <a:off x="6963550" y="5305188"/>
              <a:ext cx="19573" cy="12088"/>
            </a:xfrm>
            <a:custGeom>
              <a:avLst/>
              <a:gdLst>
                <a:gd name="T0" fmla="*/ 40780 w 15"/>
                <a:gd name="T1" fmla="*/ 340187 h 11"/>
                <a:gd name="T2" fmla="*/ 40780 w 15"/>
                <a:gd name="T3" fmla="*/ 216017 h 11"/>
                <a:gd name="T4" fmla="*/ 40780 w 15"/>
                <a:gd name="T5" fmla="*/ 128623 h 11"/>
                <a:gd name="T6" fmla="*/ 78841 w 15"/>
                <a:gd name="T7" fmla="*/ 0 h 11"/>
                <a:gd name="T8" fmla="*/ 119631 w 15"/>
                <a:gd name="T9" fmla="*/ 0 h 11"/>
                <a:gd name="T10" fmla="*/ 447155 w 15"/>
                <a:gd name="T11" fmla="*/ 35291 h 11"/>
                <a:gd name="T12" fmla="*/ 569734 w 15"/>
                <a:gd name="T13" fmla="*/ 35291 h 11"/>
                <a:gd name="T14" fmla="*/ 531651 w 15"/>
                <a:gd name="T15" fmla="*/ 340187 h 11"/>
                <a:gd name="T16" fmla="*/ 531651 w 15"/>
                <a:gd name="T17" fmla="*/ 340187 h 11"/>
                <a:gd name="T18" fmla="*/ 40780 w 15"/>
                <a:gd name="T19" fmla="*/ 34018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"/>
                <a:gd name="T31" fmla="*/ 0 h 11"/>
                <a:gd name="T32" fmla="*/ 15 w 15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" h="11">
                  <a:moveTo>
                    <a:pt x="1" y="11"/>
                  </a:moveTo>
                  <a:cubicBezTo>
                    <a:pt x="1" y="10"/>
                    <a:pt x="0" y="8"/>
                    <a:pt x="1" y="7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2" y="3"/>
                    <a:pt x="2" y="2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6" y="0"/>
                    <a:pt x="9" y="1"/>
                    <a:pt x="12" y="1"/>
                  </a:cubicBezTo>
                  <a:cubicBezTo>
                    <a:pt x="13" y="1"/>
                    <a:pt x="14" y="1"/>
                    <a:pt x="15" y="1"/>
                  </a:cubicBezTo>
                  <a:cubicBezTo>
                    <a:pt x="14" y="4"/>
                    <a:pt x="14" y="7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0" y="11"/>
                    <a:pt x="6" y="11"/>
                    <a:pt x="1" y="1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6" name="Freeform 378"/>
            <p:cNvSpPr>
              <a:spLocks/>
            </p:cNvSpPr>
            <p:nvPr/>
          </p:nvSpPr>
          <p:spPr bwMode="auto">
            <a:xfrm>
              <a:off x="6957027" y="5305188"/>
              <a:ext cx="60172" cy="59831"/>
            </a:xfrm>
            <a:custGeom>
              <a:avLst/>
              <a:gdLst>
                <a:gd name="T0" fmla="*/ 512830 w 45"/>
                <a:gd name="T1" fmla="*/ 1763391 h 56"/>
                <a:gd name="T2" fmla="*/ 512830 w 45"/>
                <a:gd name="T3" fmla="*/ 1737615 h 56"/>
                <a:gd name="T4" fmla="*/ 477136 w 45"/>
                <a:gd name="T5" fmla="*/ 1632946 h 56"/>
                <a:gd name="T6" fmla="*/ 382937 w 45"/>
                <a:gd name="T7" fmla="*/ 1555272 h 56"/>
                <a:gd name="T8" fmla="*/ 218385 w 45"/>
                <a:gd name="T9" fmla="*/ 1356703 h 56"/>
                <a:gd name="T10" fmla="*/ 179881 w 45"/>
                <a:gd name="T11" fmla="*/ 1289937 h 56"/>
                <a:gd name="T12" fmla="*/ 163906 w 45"/>
                <a:gd name="T13" fmla="*/ 1203036 h 56"/>
                <a:gd name="T14" fmla="*/ 94124 w 45"/>
                <a:gd name="T15" fmla="*/ 1013541 h 56"/>
                <a:gd name="T16" fmla="*/ 35768 w 45"/>
                <a:gd name="T17" fmla="*/ 940650 h 56"/>
                <a:gd name="T18" fmla="*/ 68357 w 45"/>
                <a:gd name="T19" fmla="*/ 854626 h 56"/>
                <a:gd name="T20" fmla="*/ 130638 w 45"/>
                <a:gd name="T21" fmla="*/ 691354 h 56"/>
                <a:gd name="T22" fmla="*/ 130638 w 45"/>
                <a:gd name="T23" fmla="*/ 475951 h 56"/>
                <a:gd name="T24" fmla="*/ 163906 w 45"/>
                <a:gd name="T25" fmla="*/ 447281 h 56"/>
                <a:gd name="T26" fmla="*/ 179881 w 45"/>
                <a:gd name="T27" fmla="*/ 343141 h 56"/>
                <a:gd name="T28" fmla="*/ 179881 w 45"/>
                <a:gd name="T29" fmla="*/ 343141 h 56"/>
                <a:gd name="T30" fmla="*/ 598642 w 45"/>
                <a:gd name="T31" fmla="*/ 343141 h 56"/>
                <a:gd name="T32" fmla="*/ 598642 w 45"/>
                <a:gd name="T33" fmla="*/ 343141 h 56"/>
                <a:gd name="T34" fmla="*/ 635551 w 45"/>
                <a:gd name="T35" fmla="*/ 35709 h 56"/>
                <a:gd name="T36" fmla="*/ 831190 w 45"/>
                <a:gd name="T37" fmla="*/ 35709 h 56"/>
                <a:gd name="T38" fmla="*/ 1144071 w 45"/>
                <a:gd name="T39" fmla="*/ 0 h 56"/>
                <a:gd name="T40" fmla="*/ 1144071 w 45"/>
                <a:gd name="T41" fmla="*/ 35709 h 56"/>
                <a:gd name="T42" fmla="*/ 1144071 w 45"/>
                <a:gd name="T43" fmla="*/ 35709 h 56"/>
                <a:gd name="T44" fmla="*/ 1110747 w 45"/>
                <a:gd name="T45" fmla="*/ 130368 h 56"/>
                <a:gd name="T46" fmla="*/ 1075692 w 45"/>
                <a:gd name="T47" fmla="*/ 130368 h 56"/>
                <a:gd name="T48" fmla="*/ 1110747 w 45"/>
                <a:gd name="T49" fmla="*/ 179588 h 56"/>
                <a:gd name="T50" fmla="*/ 1360228 w 45"/>
                <a:gd name="T51" fmla="*/ 217948 h 56"/>
                <a:gd name="T52" fmla="*/ 1398618 w 45"/>
                <a:gd name="T53" fmla="*/ 416436 h 56"/>
                <a:gd name="T54" fmla="*/ 1360228 w 45"/>
                <a:gd name="T55" fmla="*/ 595990 h 56"/>
                <a:gd name="T56" fmla="*/ 1360228 w 45"/>
                <a:gd name="T57" fmla="*/ 629626 h 56"/>
                <a:gd name="T58" fmla="*/ 1294076 w 45"/>
                <a:gd name="T59" fmla="*/ 655644 h 56"/>
                <a:gd name="T60" fmla="*/ 1294076 w 45"/>
                <a:gd name="T61" fmla="*/ 729761 h 56"/>
                <a:gd name="T62" fmla="*/ 1360228 w 45"/>
                <a:gd name="T63" fmla="*/ 759249 h 56"/>
                <a:gd name="T64" fmla="*/ 1419480 w 45"/>
                <a:gd name="T65" fmla="*/ 828874 h 56"/>
                <a:gd name="T66" fmla="*/ 1419480 w 45"/>
                <a:gd name="T67" fmla="*/ 1203036 h 56"/>
                <a:gd name="T68" fmla="*/ 1398618 w 45"/>
                <a:gd name="T69" fmla="*/ 1235529 h 56"/>
                <a:gd name="T70" fmla="*/ 1360228 w 45"/>
                <a:gd name="T71" fmla="*/ 1356703 h 56"/>
                <a:gd name="T72" fmla="*/ 1294076 w 45"/>
                <a:gd name="T73" fmla="*/ 1356703 h 56"/>
                <a:gd name="T74" fmla="*/ 1239208 w 45"/>
                <a:gd name="T75" fmla="*/ 1252748 h 56"/>
                <a:gd name="T76" fmla="*/ 1180277 w 45"/>
                <a:gd name="T77" fmla="*/ 1252748 h 56"/>
                <a:gd name="T78" fmla="*/ 1144071 w 45"/>
                <a:gd name="T79" fmla="*/ 1289937 h 56"/>
                <a:gd name="T80" fmla="*/ 1110747 w 45"/>
                <a:gd name="T81" fmla="*/ 1289937 h 56"/>
                <a:gd name="T82" fmla="*/ 945096 w 45"/>
                <a:gd name="T83" fmla="*/ 1177086 h 56"/>
                <a:gd name="T84" fmla="*/ 911860 w 45"/>
                <a:gd name="T85" fmla="*/ 1177086 h 56"/>
                <a:gd name="T86" fmla="*/ 893116 w 45"/>
                <a:gd name="T87" fmla="*/ 1289937 h 56"/>
                <a:gd name="T88" fmla="*/ 692770 w 45"/>
                <a:gd name="T89" fmla="*/ 1320980 h 56"/>
                <a:gd name="T90" fmla="*/ 692770 w 45"/>
                <a:gd name="T91" fmla="*/ 1450708 h 56"/>
                <a:gd name="T92" fmla="*/ 797617 w 45"/>
                <a:gd name="T93" fmla="*/ 1489742 h 56"/>
                <a:gd name="T94" fmla="*/ 797617 w 45"/>
                <a:gd name="T95" fmla="*/ 1555272 h 56"/>
                <a:gd name="T96" fmla="*/ 797617 w 45"/>
                <a:gd name="T97" fmla="*/ 1632946 h 56"/>
                <a:gd name="T98" fmla="*/ 731835 w 45"/>
                <a:gd name="T99" fmla="*/ 1632946 h 56"/>
                <a:gd name="T100" fmla="*/ 692770 w 45"/>
                <a:gd name="T101" fmla="*/ 1596018 h 56"/>
                <a:gd name="T102" fmla="*/ 635551 w 45"/>
                <a:gd name="T103" fmla="*/ 1596018 h 56"/>
                <a:gd name="T104" fmla="*/ 531490 w 45"/>
                <a:gd name="T105" fmla="*/ 1737615 h 56"/>
                <a:gd name="T106" fmla="*/ 512830 w 45"/>
                <a:gd name="T107" fmla="*/ 1763391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5"/>
                <a:gd name="T163" fmla="*/ 0 h 56"/>
                <a:gd name="T164" fmla="*/ 45 w 45"/>
                <a:gd name="T165" fmla="*/ 56 h 5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5" h="56">
                  <a:moveTo>
                    <a:pt x="16" y="56"/>
                  </a:moveTo>
                  <a:cubicBezTo>
                    <a:pt x="16" y="55"/>
                    <a:pt x="16" y="55"/>
                    <a:pt x="16" y="55"/>
                  </a:cubicBezTo>
                  <a:cubicBezTo>
                    <a:pt x="15" y="54"/>
                    <a:pt x="15" y="53"/>
                    <a:pt x="15" y="52"/>
                  </a:cubicBezTo>
                  <a:cubicBezTo>
                    <a:pt x="14" y="51"/>
                    <a:pt x="13" y="50"/>
                    <a:pt x="12" y="49"/>
                  </a:cubicBezTo>
                  <a:cubicBezTo>
                    <a:pt x="11" y="46"/>
                    <a:pt x="9" y="45"/>
                    <a:pt x="7" y="43"/>
                  </a:cubicBezTo>
                  <a:cubicBezTo>
                    <a:pt x="6" y="43"/>
                    <a:pt x="7" y="42"/>
                    <a:pt x="6" y="41"/>
                  </a:cubicBezTo>
                  <a:cubicBezTo>
                    <a:pt x="6" y="40"/>
                    <a:pt x="5" y="39"/>
                    <a:pt x="5" y="38"/>
                  </a:cubicBezTo>
                  <a:cubicBezTo>
                    <a:pt x="3" y="36"/>
                    <a:pt x="3" y="34"/>
                    <a:pt x="3" y="32"/>
                  </a:cubicBezTo>
                  <a:cubicBezTo>
                    <a:pt x="3" y="31"/>
                    <a:pt x="1" y="31"/>
                    <a:pt x="1" y="30"/>
                  </a:cubicBezTo>
                  <a:cubicBezTo>
                    <a:pt x="0" y="30"/>
                    <a:pt x="0" y="28"/>
                    <a:pt x="2" y="27"/>
                  </a:cubicBezTo>
                  <a:cubicBezTo>
                    <a:pt x="5" y="27"/>
                    <a:pt x="4" y="24"/>
                    <a:pt x="4" y="22"/>
                  </a:cubicBezTo>
                  <a:cubicBezTo>
                    <a:pt x="4" y="20"/>
                    <a:pt x="3" y="17"/>
                    <a:pt x="4" y="15"/>
                  </a:cubicBezTo>
                  <a:cubicBezTo>
                    <a:pt x="4" y="14"/>
                    <a:pt x="5" y="14"/>
                    <a:pt x="5" y="14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11" y="11"/>
                    <a:pt x="15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7"/>
                    <a:pt x="19" y="4"/>
                    <a:pt x="20" y="1"/>
                  </a:cubicBezTo>
                  <a:cubicBezTo>
                    <a:pt x="22" y="1"/>
                    <a:pt x="24" y="1"/>
                    <a:pt x="26" y="1"/>
                  </a:cubicBezTo>
                  <a:cubicBezTo>
                    <a:pt x="29" y="0"/>
                    <a:pt x="32" y="0"/>
                    <a:pt x="36" y="0"/>
                  </a:cubicBezTo>
                  <a:cubicBezTo>
                    <a:pt x="36" y="0"/>
                    <a:pt x="36" y="1"/>
                    <a:pt x="36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2"/>
                    <a:pt x="35" y="3"/>
                    <a:pt x="35" y="4"/>
                  </a:cubicBezTo>
                  <a:cubicBezTo>
                    <a:pt x="35" y="4"/>
                    <a:pt x="34" y="4"/>
                    <a:pt x="34" y="4"/>
                  </a:cubicBezTo>
                  <a:cubicBezTo>
                    <a:pt x="34" y="5"/>
                    <a:pt x="34" y="6"/>
                    <a:pt x="35" y="6"/>
                  </a:cubicBezTo>
                  <a:cubicBezTo>
                    <a:pt x="38" y="7"/>
                    <a:pt x="41" y="6"/>
                    <a:pt x="43" y="7"/>
                  </a:cubicBezTo>
                  <a:cubicBezTo>
                    <a:pt x="45" y="8"/>
                    <a:pt x="44" y="11"/>
                    <a:pt x="44" y="13"/>
                  </a:cubicBezTo>
                  <a:cubicBezTo>
                    <a:pt x="43" y="15"/>
                    <a:pt x="44" y="17"/>
                    <a:pt x="43" y="19"/>
                  </a:cubicBezTo>
                  <a:cubicBezTo>
                    <a:pt x="43" y="19"/>
                    <a:pt x="43" y="19"/>
                    <a:pt x="43" y="20"/>
                  </a:cubicBezTo>
                  <a:cubicBezTo>
                    <a:pt x="43" y="20"/>
                    <a:pt x="41" y="20"/>
                    <a:pt x="41" y="21"/>
                  </a:cubicBezTo>
                  <a:cubicBezTo>
                    <a:pt x="41" y="21"/>
                    <a:pt x="41" y="22"/>
                    <a:pt x="41" y="23"/>
                  </a:cubicBezTo>
                  <a:cubicBezTo>
                    <a:pt x="42" y="23"/>
                    <a:pt x="42" y="24"/>
                    <a:pt x="43" y="24"/>
                  </a:cubicBezTo>
                  <a:cubicBezTo>
                    <a:pt x="43" y="25"/>
                    <a:pt x="44" y="25"/>
                    <a:pt x="45" y="26"/>
                  </a:cubicBezTo>
                  <a:cubicBezTo>
                    <a:pt x="45" y="30"/>
                    <a:pt x="45" y="34"/>
                    <a:pt x="45" y="38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3" y="40"/>
                    <a:pt x="44" y="42"/>
                    <a:pt x="43" y="43"/>
                  </a:cubicBezTo>
                  <a:cubicBezTo>
                    <a:pt x="43" y="43"/>
                    <a:pt x="42" y="43"/>
                    <a:pt x="41" y="43"/>
                  </a:cubicBezTo>
                  <a:cubicBezTo>
                    <a:pt x="41" y="42"/>
                    <a:pt x="40" y="41"/>
                    <a:pt x="39" y="40"/>
                  </a:cubicBezTo>
                  <a:cubicBezTo>
                    <a:pt x="39" y="40"/>
                    <a:pt x="38" y="40"/>
                    <a:pt x="37" y="40"/>
                  </a:cubicBezTo>
                  <a:cubicBezTo>
                    <a:pt x="37" y="40"/>
                    <a:pt x="36" y="41"/>
                    <a:pt x="36" y="41"/>
                  </a:cubicBezTo>
                  <a:cubicBezTo>
                    <a:pt x="36" y="42"/>
                    <a:pt x="35" y="42"/>
                    <a:pt x="35" y="41"/>
                  </a:cubicBezTo>
                  <a:cubicBezTo>
                    <a:pt x="33" y="40"/>
                    <a:pt x="32" y="38"/>
                    <a:pt x="30" y="37"/>
                  </a:cubicBezTo>
                  <a:cubicBezTo>
                    <a:pt x="30" y="37"/>
                    <a:pt x="29" y="37"/>
                    <a:pt x="29" y="37"/>
                  </a:cubicBezTo>
                  <a:cubicBezTo>
                    <a:pt x="29" y="38"/>
                    <a:pt x="30" y="41"/>
                    <a:pt x="28" y="41"/>
                  </a:cubicBezTo>
                  <a:cubicBezTo>
                    <a:pt x="26" y="42"/>
                    <a:pt x="24" y="42"/>
                    <a:pt x="22" y="42"/>
                  </a:cubicBezTo>
                  <a:cubicBezTo>
                    <a:pt x="22" y="43"/>
                    <a:pt x="22" y="45"/>
                    <a:pt x="22" y="46"/>
                  </a:cubicBezTo>
                  <a:cubicBezTo>
                    <a:pt x="24" y="46"/>
                    <a:pt x="25" y="46"/>
                    <a:pt x="25" y="47"/>
                  </a:cubicBezTo>
                  <a:cubicBezTo>
                    <a:pt x="25" y="48"/>
                    <a:pt x="25" y="48"/>
                    <a:pt x="25" y="49"/>
                  </a:cubicBezTo>
                  <a:cubicBezTo>
                    <a:pt x="25" y="50"/>
                    <a:pt x="25" y="51"/>
                    <a:pt x="25" y="52"/>
                  </a:cubicBezTo>
                  <a:cubicBezTo>
                    <a:pt x="24" y="52"/>
                    <a:pt x="24" y="53"/>
                    <a:pt x="23" y="52"/>
                  </a:cubicBezTo>
                  <a:cubicBezTo>
                    <a:pt x="23" y="52"/>
                    <a:pt x="22" y="51"/>
                    <a:pt x="22" y="51"/>
                  </a:cubicBezTo>
                  <a:cubicBezTo>
                    <a:pt x="21" y="50"/>
                    <a:pt x="21" y="51"/>
                    <a:pt x="20" y="51"/>
                  </a:cubicBezTo>
                  <a:cubicBezTo>
                    <a:pt x="19" y="53"/>
                    <a:pt x="19" y="55"/>
                    <a:pt x="17" y="55"/>
                  </a:cubicBezTo>
                  <a:lnTo>
                    <a:pt x="16" y="5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7" name="Freeform 379"/>
            <p:cNvSpPr>
              <a:spLocks/>
            </p:cNvSpPr>
            <p:nvPr/>
          </p:nvSpPr>
          <p:spPr bwMode="auto">
            <a:xfrm>
              <a:off x="6978051" y="5290078"/>
              <a:ext cx="84095" cy="84004"/>
            </a:xfrm>
            <a:custGeom>
              <a:avLst/>
              <a:gdLst>
                <a:gd name="T0" fmla="*/ 154351 w 62"/>
                <a:gd name="T1" fmla="*/ 2543583 h 78"/>
                <a:gd name="T2" fmla="*/ 0 w 62"/>
                <a:gd name="T3" fmla="*/ 2461331 h 78"/>
                <a:gd name="T4" fmla="*/ 154351 w 62"/>
                <a:gd name="T5" fmla="*/ 2272412 h 78"/>
                <a:gd name="T6" fmla="*/ 278297 w 62"/>
                <a:gd name="T7" fmla="*/ 2308310 h 78"/>
                <a:gd name="T8" fmla="*/ 343072 w 62"/>
                <a:gd name="T9" fmla="*/ 2205392 h 78"/>
                <a:gd name="T10" fmla="*/ 239615 w 62"/>
                <a:gd name="T11" fmla="*/ 2090004 h 78"/>
                <a:gd name="T12" fmla="*/ 463771 w 62"/>
                <a:gd name="T13" fmla="*/ 1928957 h 78"/>
                <a:gd name="T14" fmla="*/ 538639 w 62"/>
                <a:gd name="T15" fmla="*/ 1779811 h 78"/>
                <a:gd name="T16" fmla="*/ 776843 w 62"/>
                <a:gd name="T17" fmla="*/ 1928957 h 78"/>
                <a:gd name="T18" fmla="*/ 897621 w 62"/>
                <a:gd name="T19" fmla="*/ 1893165 h 78"/>
                <a:gd name="T20" fmla="*/ 1042527 w 62"/>
                <a:gd name="T21" fmla="*/ 2008998 h 78"/>
                <a:gd name="T22" fmla="*/ 1119124 w 62"/>
                <a:gd name="T23" fmla="*/ 1815921 h 78"/>
                <a:gd name="T24" fmla="*/ 1042527 w 62"/>
                <a:gd name="T25" fmla="*/ 1322663 h 78"/>
                <a:gd name="T26" fmla="*/ 962810 w 62"/>
                <a:gd name="T27" fmla="*/ 1219467 h 78"/>
                <a:gd name="T28" fmla="*/ 1042527 w 62"/>
                <a:gd name="T29" fmla="*/ 1146804 h 78"/>
                <a:gd name="T30" fmla="*/ 1042527 w 62"/>
                <a:gd name="T31" fmla="*/ 729111 h 78"/>
                <a:gd name="T32" fmla="*/ 705244 w 62"/>
                <a:gd name="T33" fmla="*/ 634123 h 78"/>
                <a:gd name="T34" fmla="*/ 776843 w 62"/>
                <a:gd name="T35" fmla="*/ 531946 h 78"/>
                <a:gd name="T36" fmla="*/ 1285181 w 62"/>
                <a:gd name="T37" fmla="*/ 565137 h 78"/>
                <a:gd name="T38" fmla="*/ 1625290 w 62"/>
                <a:gd name="T39" fmla="*/ 596338 h 78"/>
                <a:gd name="T40" fmla="*/ 1625290 w 62"/>
                <a:gd name="T41" fmla="*/ 379138 h 78"/>
                <a:gd name="T42" fmla="*/ 1737331 w 62"/>
                <a:gd name="T43" fmla="*/ 143838 h 78"/>
                <a:gd name="T44" fmla="*/ 1990388 w 62"/>
                <a:gd name="T45" fmla="*/ 38894 h 78"/>
                <a:gd name="T46" fmla="*/ 2103221 w 62"/>
                <a:gd name="T47" fmla="*/ 74796 h 78"/>
                <a:gd name="T48" fmla="*/ 2327387 w 62"/>
                <a:gd name="T49" fmla="*/ 74796 h 78"/>
                <a:gd name="T50" fmla="*/ 2360222 w 62"/>
                <a:gd name="T51" fmla="*/ 216646 h 78"/>
                <a:gd name="T52" fmla="*/ 2246993 w 62"/>
                <a:gd name="T53" fmla="*/ 416627 h 78"/>
                <a:gd name="T54" fmla="*/ 2166047 w 62"/>
                <a:gd name="T55" fmla="*/ 801206 h 78"/>
                <a:gd name="T56" fmla="*/ 2121558 w 62"/>
                <a:gd name="T57" fmla="*/ 1322663 h 78"/>
                <a:gd name="T58" fmla="*/ 1904704 w 62"/>
                <a:gd name="T59" fmla="*/ 1579156 h 78"/>
                <a:gd name="T60" fmla="*/ 1823874 w 62"/>
                <a:gd name="T61" fmla="*/ 1752088 h 78"/>
                <a:gd name="T62" fmla="*/ 1669351 w 62"/>
                <a:gd name="T63" fmla="*/ 1854607 h 78"/>
                <a:gd name="T64" fmla="*/ 1625290 w 62"/>
                <a:gd name="T65" fmla="*/ 2008998 h 78"/>
                <a:gd name="T66" fmla="*/ 1583303 w 62"/>
                <a:gd name="T67" fmla="*/ 2345129 h 78"/>
                <a:gd name="T68" fmla="*/ 1326287 w 62"/>
                <a:gd name="T69" fmla="*/ 2655048 h 78"/>
                <a:gd name="T70" fmla="*/ 1086664 w 62"/>
                <a:gd name="T71" fmla="*/ 2724150 h 78"/>
                <a:gd name="T72" fmla="*/ 897621 w 62"/>
                <a:gd name="T73" fmla="*/ 2621623 h 78"/>
                <a:gd name="T74" fmla="*/ 743590 w 62"/>
                <a:gd name="T75" fmla="*/ 2621623 h 78"/>
                <a:gd name="T76" fmla="*/ 578214 w 62"/>
                <a:gd name="T77" fmla="*/ 2543583 h 78"/>
                <a:gd name="T78" fmla="*/ 463771 w 62"/>
                <a:gd name="T79" fmla="*/ 2621623 h 78"/>
                <a:gd name="T80" fmla="*/ 343072 w 62"/>
                <a:gd name="T81" fmla="*/ 2724150 h 7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2"/>
                <a:gd name="T124" fmla="*/ 0 h 78"/>
                <a:gd name="T125" fmla="*/ 62 w 62"/>
                <a:gd name="T126" fmla="*/ 78 h 7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2" h="78">
                  <a:moveTo>
                    <a:pt x="9" y="78"/>
                  </a:moveTo>
                  <a:cubicBezTo>
                    <a:pt x="7" y="76"/>
                    <a:pt x="7" y="75"/>
                    <a:pt x="4" y="73"/>
                  </a:cubicBezTo>
                  <a:cubicBezTo>
                    <a:pt x="3" y="72"/>
                    <a:pt x="2" y="71"/>
                    <a:pt x="1" y="70"/>
                  </a:cubicBezTo>
                  <a:cubicBezTo>
                    <a:pt x="1" y="70"/>
                    <a:pt x="1" y="70"/>
                    <a:pt x="0" y="70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3" y="69"/>
                    <a:pt x="3" y="67"/>
                    <a:pt x="4" y="65"/>
                  </a:cubicBezTo>
                  <a:cubicBezTo>
                    <a:pt x="5" y="65"/>
                    <a:pt x="5" y="64"/>
                    <a:pt x="6" y="65"/>
                  </a:cubicBezTo>
                  <a:cubicBezTo>
                    <a:pt x="6" y="65"/>
                    <a:pt x="7" y="66"/>
                    <a:pt x="7" y="66"/>
                  </a:cubicBezTo>
                  <a:cubicBezTo>
                    <a:pt x="8" y="67"/>
                    <a:pt x="8" y="66"/>
                    <a:pt x="9" y="66"/>
                  </a:cubicBezTo>
                  <a:cubicBezTo>
                    <a:pt x="9" y="65"/>
                    <a:pt x="9" y="64"/>
                    <a:pt x="9" y="63"/>
                  </a:cubicBezTo>
                  <a:cubicBezTo>
                    <a:pt x="9" y="62"/>
                    <a:pt x="9" y="62"/>
                    <a:pt x="9" y="61"/>
                  </a:cubicBezTo>
                  <a:cubicBezTo>
                    <a:pt x="9" y="60"/>
                    <a:pt x="8" y="60"/>
                    <a:pt x="6" y="60"/>
                  </a:cubicBezTo>
                  <a:cubicBezTo>
                    <a:pt x="6" y="59"/>
                    <a:pt x="6" y="57"/>
                    <a:pt x="6" y="56"/>
                  </a:cubicBezTo>
                  <a:cubicBezTo>
                    <a:pt x="8" y="56"/>
                    <a:pt x="10" y="56"/>
                    <a:pt x="12" y="55"/>
                  </a:cubicBezTo>
                  <a:cubicBezTo>
                    <a:pt x="14" y="55"/>
                    <a:pt x="13" y="52"/>
                    <a:pt x="13" y="51"/>
                  </a:cubicBezTo>
                  <a:cubicBezTo>
                    <a:pt x="13" y="51"/>
                    <a:pt x="14" y="51"/>
                    <a:pt x="14" y="51"/>
                  </a:cubicBezTo>
                  <a:cubicBezTo>
                    <a:pt x="16" y="52"/>
                    <a:pt x="17" y="54"/>
                    <a:pt x="19" y="55"/>
                  </a:cubicBezTo>
                  <a:cubicBezTo>
                    <a:pt x="19" y="56"/>
                    <a:pt x="20" y="56"/>
                    <a:pt x="20" y="55"/>
                  </a:cubicBezTo>
                  <a:cubicBezTo>
                    <a:pt x="20" y="55"/>
                    <a:pt x="21" y="54"/>
                    <a:pt x="21" y="54"/>
                  </a:cubicBezTo>
                  <a:cubicBezTo>
                    <a:pt x="22" y="54"/>
                    <a:pt x="23" y="54"/>
                    <a:pt x="23" y="54"/>
                  </a:cubicBezTo>
                  <a:cubicBezTo>
                    <a:pt x="24" y="55"/>
                    <a:pt x="25" y="56"/>
                    <a:pt x="25" y="57"/>
                  </a:cubicBezTo>
                  <a:cubicBezTo>
                    <a:pt x="26" y="57"/>
                    <a:pt x="27" y="57"/>
                    <a:pt x="27" y="57"/>
                  </a:cubicBezTo>
                  <a:cubicBezTo>
                    <a:pt x="28" y="56"/>
                    <a:pt x="27" y="54"/>
                    <a:pt x="28" y="53"/>
                  </a:cubicBezTo>
                  <a:cubicBezTo>
                    <a:pt x="28" y="53"/>
                    <a:pt x="28" y="53"/>
                    <a:pt x="29" y="52"/>
                  </a:cubicBezTo>
                  <a:cubicBezTo>
                    <a:pt x="29" y="48"/>
                    <a:pt x="29" y="44"/>
                    <a:pt x="29" y="40"/>
                  </a:cubicBezTo>
                  <a:cubicBezTo>
                    <a:pt x="28" y="39"/>
                    <a:pt x="27" y="39"/>
                    <a:pt x="27" y="38"/>
                  </a:cubicBezTo>
                  <a:cubicBezTo>
                    <a:pt x="26" y="38"/>
                    <a:pt x="26" y="37"/>
                    <a:pt x="25" y="37"/>
                  </a:cubicBezTo>
                  <a:cubicBezTo>
                    <a:pt x="25" y="36"/>
                    <a:pt x="25" y="35"/>
                    <a:pt x="25" y="35"/>
                  </a:cubicBezTo>
                  <a:cubicBezTo>
                    <a:pt x="25" y="34"/>
                    <a:pt x="27" y="34"/>
                    <a:pt x="27" y="34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8" y="31"/>
                    <a:pt x="27" y="29"/>
                    <a:pt x="28" y="27"/>
                  </a:cubicBezTo>
                  <a:cubicBezTo>
                    <a:pt x="28" y="25"/>
                    <a:pt x="29" y="22"/>
                    <a:pt x="27" y="21"/>
                  </a:cubicBezTo>
                  <a:cubicBezTo>
                    <a:pt x="25" y="20"/>
                    <a:pt x="22" y="21"/>
                    <a:pt x="19" y="20"/>
                  </a:cubicBezTo>
                  <a:cubicBezTo>
                    <a:pt x="18" y="20"/>
                    <a:pt x="18" y="19"/>
                    <a:pt x="18" y="18"/>
                  </a:cubicBezTo>
                  <a:cubicBezTo>
                    <a:pt x="18" y="18"/>
                    <a:pt x="19" y="18"/>
                    <a:pt x="19" y="18"/>
                  </a:cubicBezTo>
                  <a:cubicBezTo>
                    <a:pt x="19" y="17"/>
                    <a:pt x="20" y="16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4" y="15"/>
                    <a:pt x="29" y="15"/>
                    <a:pt x="33" y="16"/>
                  </a:cubicBezTo>
                  <a:cubicBezTo>
                    <a:pt x="34" y="16"/>
                    <a:pt x="35" y="17"/>
                    <a:pt x="37" y="17"/>
                  </a:cubicBezTo>
                  <a:cubicBezTo>
                    <a:pt x="38" y="18"/>
                    <a:pt x="40" y="18"/>
                    <a:pt x="42" y="17"/>
                  </a:cubicBezTo>
                  <a:cubicBezTo>
                    <a:pt x="42" y="16"/>
                    <a:pt x="42" y="14"/>
                    <a:pt x="42" y="13"/>
                  </a:cubicBezTo>
                  <a:cubicBezTo>
                    <a:pt x="42" y="12"/>
                    <a:pt x="42" y="12"/>
                    <a:pt x="42" y="11"/>
                  </a:cubicBezTo>
                  <a:cubicBezTo>
                    <a:pt x="43" y="10"/>
                    <a:pt x="43" y="9"/>
                    <a:pt x="43" y="8"/>
                  </a:cubicBezTo>
                  <a:cubicBezTo>
                    <a:pt x="44" y="7"/>
                    <a:pt x="44" y="5"/>
                    <a:pt x="45" y="4"/>
                  </a:cubicBezTo>
                  <a:cubicBezTo>
                    <a:pt x="45" y="3"/>
                    <a:pt x="45" y="3"/>
                    <a:pt x="46" y="3"/>
                  </a:cubicBezTo>
                  <a:cubicBezTo>
                    <a:pt x="47" y="2"/>
                    <a:pt x="49" y="2"/>
                    <a:pt x="51" y="1"/>
                  </a:cubicBezTo>
                  <a:cubicBezTo>
                    <a:pt x="51" y="1"/>
                    <a:pt x="52" y="0"/>
                    <a:pt x="53" y="1"/>
                  </a:cubicBezTo>
                  <a:cubicBezTo>
                    <a:pt x="54" y="1"/>
                    <a:pt x="54" y="2"/>
                    <a:pt x="54" y="2"/>
                  </a:cubicBezTo>
                  <a:cubicBezTo>
                    <a:pt x="56" y="2"/>
                    <a:pt x="58" y="2"/>
                    <a:pt x="60" y="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0" y="2"/>
                    <a:pt x="61" y="2"/>
                    <a:pt x="61" y="2"/>
                  </a:cubicBezTo>
                  <a:cubicBezTo>
                    <a:pt x="62" y="3"/>
                    <a:pt x="62" y="5"/>
                    <a:pt x="61" y="6"/>
                  </a:cubicBezTo>
                  <a:cubicBezTo>
                    <a:pt x="60" y="8"/>
                    <a:pt x="61" y="9"/>
                    <a:pt x="60" y="10"/>
                  </a:cubicBezTo>
                  <a:cubicBezTo>
                    <a:pt x="59" y="11"/>
                    <a:pt x="59" y="11"/>
                    <a:pt x="58" y="12"/>
                  </a:cubicBezTo>
                  <a:cubicBezTo>
                    <a:pt x="56" y="15"/>
                    <a:pt x="57" y="18"/>
                    <a:pt x="56" y="22"/>
                  </a:cubicBezTo>
                  <a:cubicBezTo>
                    <a:pt x="56" y="22"/>
                    <a:pt x="56" y="23"/>
                    <a:pt x="56" y="23"/>
                  </a:cubicBezTo>
                  <a:cubicBezTo>
                    <a:pt x="56" y="26"/>
                    <a:pt x="56" y="29"/>
                    <a:pt x="55" y="32"/>
                  </a:cubicBezTo>
                  <a:cubicBezTo>
                    <a:pt x="55" y="34"/>
                    <a:pt x="55" y="36"/>
                    <a:pt x="55" y="38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4" y="42"/>
                    <a:pt x="52" y="44"/>
                    <a:pt x="49" y="45"/>
                  </a:cubicBezTo>
                  <a:cubicBezTo>
                    <a:pt x="49" y="45"/>
                    <a:pt x="49" y="45"/>
                    <a:pt x="48" y="46"/>
                  </a:cubicBezTo>
                  <a:cubicBezTo>
                    <a:pt x="48" y="47"/>
                    <a:pt x="48" y="49"/>
                    <a:pt x="47" y="50"/>
                  </a:cubicBezTo>
                  <a:cubicBezTo>
                    <a:pt x="46" y="51"/>
                    <a:pt x="44" y="52"/>
                    <a:pt x="43" y="52"/>
                  </a:cubicBezTo>
                  <a:cubicBezTo>
                    <a:pt x="43" y="52"/>
                    <a:pt x="43" y="53"/>
                    <a:pt x="43" y="53"/>
                  </a:cubicBezTo>
                  <a:cubicBezTo>
                    <a:pt x="42" y="53"/>
                    <a:pt x="42" y="54"/>
                    <a:pt x="42" y="54"/>
                  </a:cubicBezTo>
                  <a:cubicBezTo>
                    <a:pt x="41" y="55"/>
                    <a:pt x="42" y="56"/>
                    <a:pt x="42" y="57"/>
                  </a:cubicBezTo>
                  <a:cubicBezTo>
                    <a:pt x="43" y="59"/>
                    <a:pt x="43" y="62"/>
                    <a:pt x="42" y="64"/>
                  </a:cubicBezTo>
                  <a:cubicBezTo>
                    <a:pt x="42" y="65"/>
                    <a:pt x="42" y="66"/>
                    <a:pt x="41" y="67"/>
                  </a:cubicBezTo>
                  <a:cubicBezTo>
                    <a:pt x="39" y="68"/>
                    <a:pt x="37" y="70"/>
                    <a:pt x="36" y="72"/>
                  </a:cubicBezTo>
                  <a:cubicBezTo>
                    <a:pt x="35" y="73"/>
                    <a:pt x="34" y="74"/>
                    <a:pt x="34" y="76"/>
                  </a:cubicBezTo>
                  <a:cubicBezTo>
                    <a:pt x="33" y="77"/>
                    <a:pt x="32" y="77"/>
                    <a:pt x="31" y="78"/>
                  </a:cubicBezTo>
                  <a:cubicBezTo>
                    <a:pt x="30" y="78"/>
                    <a:pt x="29" y="77"/>
                    <a:pt x="28" y="78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6" y="76"/>
                    <a:pt x="25" y="74"/>
                    <a:pt x="23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2" y="75"/>
                    <a:pt x="20" y="76"/>
                    <a:pt x="19" y="75"/>
                  </a:cubicBezTo>
                  <a:cubicBezTo>
                    <a:pt x="18" y="75"/>
                    <a:pt x="18" y="74"/>
                    <a:pt x="17" y="73"/>
                  </a:cubicBezTo>
                  <a:cubicBezTo>
                    <a:pt x="17" y="72"/>
                    <a:pt x="16" y="73"/>
                    <a:pt x="15" y="73"/>
                  </a:cubicBezTo>
                  <a:cubicBezTo>
                    <a:pt x="15" y="73"/>
                    <a:pt x="15" y="73"/>
                    <a:pt x="14" y="73"/>
                  </a:cubicBezTo>
                  <a:cubicBezTo>
                    <a:pt x="14" y="74"/>
                    <a:pt x="13" y="75"/>
                    <a:pt x="12" y="75"/>
                  </a:cubicBezTo>
                  <a:cubicBezTo>
                    <a:pt x="12" y="76"/>
                    <a:pt x="11" y="77"/>
                    <a:pt x="10" y="77"/>
                  </a:cubicBezTo>
                  <a:lnTo>
                    <a:pt x="9" y="7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8" name="Freeform 380"/>
            <p:cNvSpPr>
              <a:spLocks/>
            </p:cNvSpPr>
            <p:nvPr/>
          </p:nvSpPr>
          <p:spPr bwMode="auto">
            <a:xfrm>
              <a:off x="6990376" y="5368641"/>
              <a:ext cx="13775" cy="15713"/>
            </a:xfrm>
            <a:custGeom>
              <a:avLst/>
              <a:gdLst>
                <a:gd name="T0" fmla="*/ 61959 w 10"/>
                <a:gd name="T1" fmla="*/ 324186 h 15"/>
                <a:gd name="T2" fmla="*/ 32610 w 10"/>
                <a:gd name="T3" fmla="*/ 257843 h 15"/>
                <a:gd name="T4" fmla="*/ 0 w 10"/>
                <a:gd name="T5" fmla="*/ 130469 h 15"/>
                <a:gd name="T6" fmla="*/ 32610 w 10"/>
                <a:gd name="T7" fmla="*/ 107343 h 15"/>
                <a:gd name="T8" fmla="*/ 88502 w 10"/>
                <a:gd name="T9" fmla="*/ 69894 h 15"/>
                <a:gd name="T10" fmla="*/ 149971 w 10"/>
                <a:gd name="T11" fmla="*/ 23143 h 15"/>
                <a:gd name="T12" fmla="*/ 168154 w 10"/>
                <a:gd name="T13" fmla="*/ 23143 h 15"/>
                <a:gd name="T14" fmla="*/ 223672 w 10"/>
                <a:gd name="T15" fmla="*/ 23143 h 15"/>
                <a:gd name="T16" fmla="*/ 284945 w 10"/>
                <a:gd name="T17" fmla="*/ 69894 h 15"/>
                <a:gd name="T18" fmla="*/ 284945 w 10"/>
                <a:gd name="T19" fmla="*/ 69894 h 15"/>
                <a:gd name="T20" fmla="*/ 223672 w 10"/>
                <a:gd name="T21" fmla="*/ 107343 h 15"/>
                <a:gd name="T22" fmla="*/ 149971 w 10"/>
                <a:gd name="T23" fmla="*/ 150528 h 15"/>
                <a:gd name="T24" fmla="*/ 149971 w 10"/>
                <a:gd name="T25" fmla="*/ 257843 h 15"/>
                <a:gd name="T26" fmla="*/ 88502 w 10"/>
                <a:gd name="T27" fmla="*/ 304129 h 15"/>
                <a:gd name="T28" fmla="*/ 61959 w 10"/>
                <a:gd name="T29" fmla="*/ 324186 h 1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0"/>
                <a:gd name="T46" fmla="*/ 0 h 15"/>
                <a:gd name="T47" fmla="*/ 10 w 10"/>
                <a:gd name="T48" fmla="*/ 15 h 1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0" h="15">
                  <a:moveTo>
                    <a:pt x="2" y="15"/>
                  </a:moveTo>
                  <a:cubicBezTo>
                    <a:pt x="2" y="14"/>
                    <a:pt x="1" y="13"/>
                    <a:pt x="1" y="12"/>
                  </a:cubicBezTo>
                  <a:cubicBezTo>
                    <a:pt x="0" y="10"/>
                    <a:pt x="1" y="7"/>
                    <a:pt x="0" y="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5"/>
                    <a:pt x="3" y="4"/>
                    <a:pt x="3" y="3"/>
                  </a:cubicBezTo>
                  <a:cubicBezTo>
                    <a:pt x="4" y="3"/>
                    <a:pt x="5" y="2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8" y="0"/>
                    <a:pt x="8" y="1"/>
                  </a:cubicBezTo>
                  <a:cubicBezTo>
                    <a:pt x="9" y="2"/>
                    <a:pt x="9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4"/>
                    <a:pt x="9" y="4"/>
                    <a:pt x="8" y="5"/>
                  </a:cubicBezTo>
                  <a:cubicBezTo>
                    <a:pt x="7" y="6"/>
                    <a:pt x="6" y="6"/>
                    <a:pt x="5" y="7"/>
                  </a:cubicBezTo>
                  <a:cubicBezTo>
                    <a:pt x="5" y="9"/>
                    <a:pt x="5" y="10"/>
                    <a:pt x="5" y="12"/>
                  </a:cubicBezTo>
                  <a:cubicBezTo>
                    <a:pt x="5" y="13"/>
                    <a:pt x="4" y="14"/>
                    <a:pt x="3" y="14"/>
                  </a:cubicBezTo>
                  <a:lnTo>
                    <a:pt x="2" y="15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9" name="Freeform 381"/>
            <p:cNvSpPr>
              <a:spLocks/>
            </p:cNvSpPr>
            <p:nvPr/>
          </p:nvSpPr>
          <p:spPr bwMode="auto">
            <a:xfrm>
              <a:off x="6992548" y="5275574"/>
              <a:ext cx="203714" cy="184322"/>
            </a:xfrm>
            <a:custGeom>
              <a:avLst/>
              <a:gdLst>
                <a:gd name="T0" fmla="*/ 40780 w 150"/>
                <a:gd name="T1" fmla="*/ 3617566 h 170"/>
                <a:gd name="T2" fmla="*/ 338447 w 150"/>
                <a:gd name="T3" fmla="*/ 3504924 h 170"/>
                <a:gd name="T4" fmla="*/ 1303101 w 150"/>
                <a:gd name="T5" fmla="*/ 3538469 h 170"/>
                <a:gd name="T6" fmla="*/ 1417450 w 150"/>
                <a:gd name="T7" fmla="*/ 3958471 h 170"/>
                <a:gd name="T8" fmla="*/ 1756273 w 150"/>
                <a:gd name="T9" fmla="*/ 4253405 h 170"/>
                <a:gd name="T10" fmla="*/ 2051023 w 150"/>
                <a:gd name="T11" fmla="*/ 4175071 h 170"/>
                <a:gd name="T12" fmla="*/ 2214457 w 150"/>
                <a:gd name="T13" fmla="*/ 3874896 h 170"/>
                <a:gd name="T14" fmla="*/ 2814034 w 150"/>
                <a:gd name="T15" fmla="*/ 3997424 h 170"/>
                <a:gd name="T16" fmla="*/ 2936615 w 150"/>
                <a:gd name="T17" fmla="*/ 4820373 h 170"/>
                <a:gd name="T18" fmla="*/ 3015052 w 150"/>
                <a:gd name="T19" fmla="*/ 5059129 h 170"/>
                <a:gd name="T20" fmla="*/ 3506529 w 150"/>
                <a:gd name="T21" fmla="*/ 5161853 h 170"/>
                <a:gd name="T22" fmla="*/ 3801113 w 150"/>
                <a:gd name="T23" fmla="*/ 5275314 h 170"/>
                <a:gd name="T24" fmla="*/ 4201667 w 150"/>
                <a:gd name="T25" fmla="*/ 5477977 h 170"/>
                <a:gd name="T26" fmla="*/ 4455552 w 150"/>
                <a:gd name="T27" fmla="*/ 5398285 h 170"/>
                <a:gd name="T28" fmla="*/ 4812964 w 150"/>
                <a:gd name="T29" fmla="*/ 5590011 h 170"/>
                <a:gd name="T30" fmla="*/ 5259390 w 150"/>
                <a:gd name="T31" fmla="*/ 5931507 h 170"/>
                <a:gd name="T32" fmla="*/ 5218608 w 150"/>
                <a:gd name="T33" fmla="*/ 5590011 h 170"/>
                <a:gd name="T34" fmla="*/ 4870701 w 150"/>
                <a:gd name="T35" fmla="*/ 5439003 h 170"/>
                <a:gd name="T36" fmla="*/ 4943603 w 150"/>
                <a:gd name="T37" fmla="*/ 4820373 h 170"/>
                <a:gd name="T38" fmla="*/ 5259390 w 150"/>
                <a:gd name="T39" fmla="*/ 4328426 h 170"/>
                <a:gd name="T40" fmla="*/ 5472497 w 150"/>
                <a:gd name="T41" fmla="*/ 3958471 h 170"/>
                <a:gd name="T42" fmla="*/ 5145706 w 150"/>
                <a:gd name="T43" fmla="*/ 2886850 h 170"/>
                <a:gd name="T44" fmla="*/ 5066826 w 150"/>
                <a:gd name="T45" fmla="*/ 2506005 h 170"/>
                <a:gd name="T46" fmla="*/ 5218608 w 150"/>
                <a:gd name="T47" fmla="*/ 2096874 h 170"/>
                <a:gd name="T48" fmla="*/ 5218608 w 150"/>
                <a:gd name="T49" fmla="*/ 1644923 h 170"/>
                <a:gd name="T50" fmla="*/ 5423564 w 150"/>
                <a:gd name="T51" fmla="*/ 1302816 h 170"/>
                <a:gd name="T52" fmla="*/ 5721158 w 150"/>
                <a:gd name="T53" fmla="*/ 1025553 h 170"/>
                <a:gd name="T54" fmla="*/ 5557042 w 150"/>
                <a:gd name="T55" fmla="*/ 913792 h 170"/>
                <a:gd name="T56" fmla="*/ 5472497 w 150"/>
                <a:gd name="T57" fmla="*/ 453530 h 170"/>
                <a:gd name="T58" fmla="*/ 5145706 w 150"/>
                <a:gd name="T59" fmla="*/ 235780 h 170"/>
                <a:gd name="T60" fmla="*/ 4771339 w 150"/>
                <a:gd name="T61" fmla="*/ 235780 h 170"/>
                <a:gd name="T62" fmla="*/ 4575968 w 150"/>
                <a:gd name="T63" fmla="*/ 38946 h 170"/>
                <a:gd name="T64" fmla="*/ 3994345 w 150"/>
                <a:gd name="T65" fmla="*/ 38946 h 170"/>
                <a:gd name="T66" fmla="*/ 3670676 w 150"/>
                <a:gd name="T67" fmla="*/ 113592 h 170"/>
                <a:gd name="T68" fmla="*/ 3310580 w 150"/>
                <a:gd name="T69" fmla="*/ 183057 h 170"/>
                <a:gd name="T70" fmla="*/ 3015052 w 150"/>
                <a:gd name="T71" fmla="*/ 352116 h 170"/>
                <a:gd name="T72" fmla="*/ 2489464 w 150"/>
                <a:gd name="T73" fmla="*/ 235780 h 170"/>
                <a:gd name="T74" fmla="*/ 2088760 w 150"/>
                <a:gd name="T75" fmla="*/ 113592 h 170"/>
                <a:gd name="T76" fmla="*/ 1914404 w 150"/>
                <a:gd name="T77" fmla="*/ 420287 h 170"/>
                <a:gd name="T78" fmla="*/ 1875915 w 150"/>
                <a:gd name="T79" fmla="*/ 808434 h 170"/>
                <a:gd name="T80" fmla="*/ 1712369 w 150"/>
                <a:gd name="T81" fmla="*/ 1261991 h 170"/>
                <a:gd name="T82" fmla="*/ 1671366 w 150"/>
                <a:gd name="T83" fmla="*/ 1860424 h 170"/>
                <a:gd name="T84" fmla="*/ 1376676 w 150"/>
                <a:gd name="T85" fmla="*/ 2211251 h 170"/>
                <a:gd name="T86" fmla="*/ 1180343 w 150"/>
                <a:gd name="T87" fmla="*/ 2355346 h 170"/>
                <a:gd name="T88" fmla="*/ 1145409 w 150"/>
                <a:gd name="T89" fmla="*/ 2806449 h 170"/>
                <a:gd name="T90" fmla="*/ 762940 w 150"/>
                <a:gd name="T91" fmla="*/ 3197173 h 170"/>
                <a:gd name="T92" fmla="*/ 447155 w 150"/>
                <a:gd name="T93" fmla="*/ 3083658 h 170"/>
                <a:gd name="T94" fmla="*/ 294690 w 150"/>
                <a:gd name="T95" fmla="*/ 3083658 h 170"/>
                <a:gd name="T96" fmla="*/ 119631 w 150"/>
                <a:gd name="T97" fmla="*/ 3414205 h 17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50"/>
                <a:gd name="T148" fmla="*/ 0 h 170"/>
                <a:gd name="T149" fmla="*/ 150 w 150"/>
                <a:gd name="T150" fmla="*/ 170 h 17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50" h="170">
                  <a:moveTo>
                    <a:pt x="0" y="100"/>
                  </a:moveTo>
                  <a:cubicBezTo>
                    <a:pt x="1" y="101"/>
                    <a:pt x="1" y="102"/>
                    <a:pt x="1" y="103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3" y="102"/>
                    <a:pt x="3" y="102"/>
                    <a:pt x="5" y="102"/>
                  </a:cubicBezTo>
                  <a:cubicBezTo>
                    <a:pt x="5" y="101"/>
                    <a:pt x="7" y="101"/>
                    <a:pt x="8" y="101"/>
                  </a:cubicBezTo>
                  <a:cubicBezTo>
                    <a:pt x="8" y="100"/>
                    <a:pt x="9" y="100"/>
                    <a:pt x="9" y="100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17" y="100"/>
                    <a:pt x="22" y="99"/>
                    <a:pt x="29" y="100"/>
                  </a:cubicBezTo>
                  <a:cubicBezTo>
                    <a:pt x="30" y="100"/>
                    <a:pt x="32" y="99"/>
                    <a:pt x="34" y="101"/>
                  </a:cubicBezTo>
                  <a:cubicBezTo>
                    <a:pt x="35" y="102"/>
                    <a:pt x="35" y="103"/>
                    <a:pt x="36" y="105"/>
                  </a:cubicBezTo>
                  <a:cubicBezTo>
                    <a:pt x="36" y="106"/>
                    <a:pt x="36" y="107"/>
                    <a:pt x="36" y="108"/>
                  </a:cubicBezTo>
                  <a:cubicBezTo>
                    <a:pt x="36" y="109"/>
                    <a:pt x="36" y="111"/>
                    <a:pt x="37" y="113"/>
                  </a:cubicBezTo>
                  <a:cubicBezTo>
                    <a:pt x="37" y="114"/>
                    <a:pt x="38" y="114"/>
                    <a:pt x="39" y="115"/>
                  </a:cubicBezTo>
                  <a:cubicBezTo>
                    <a:pt x="42" y="116"/>
                    <a:pt x="41" y="119"/>
                    <a:pt x="42" y="122"/>
                  </a:cubicBezTo>
                  <a:cubicBezTo>
                    <a:pt x="43" y="121"/>
                    <a:pt x="45" y="122"/>
                    <a:pt x="46" y="121"/>
                  </a:cubicBezTo>
                  <a:cubicBezTo>
                    <a:pt x="47" y="121"/>
                    <a:pt x="47" y="120"/>
                    <a:pt x="48" y="120"/>
                  </a:cubicBezTo>
                  <a:cubicBezTo>
                    <a:pt x="50" y="120"/>
                    <a:pt x="51" y="120"/>
                    <a:pt x="53" y="120"/>
                  </a:cubicBezTo>
                  <a:cubicBezTo>
                    <a:pt x="53" y="120"/>
                    <a:pt x="54" y="119"/>
                    <a:pt x="54" y="119"/>
                  </a:cubicBezTo>
                  <a:cubicBezTo>
                    <a:pt x="55" y="118"/>
                    <a:pt x="57" y="118"/>
                    <a:pt x="58" y="117"/>
                  </a:cubicBezTo>
                  <a:cubicBezTo>
                    <a:pt x="58" y="115"/>
                    <a:pt x="58" y="113"/>
                    <a:pt x="58" y="111"/>
                  </a:cubicBezTo>
                  <a:cubicBezTo>
                    <a:pt x="58" y="111"/>
                    <a:pt x="58" y="110"/>
                    <a:pt x="58" y="110"/>
                  </a:cubicBezTo>
                  <a:cubicBezTo>
                    <a:pt x="61" y="111"/>
                    <a:pt x="63" y="110"/>
                    <a:pt x="66" y="111"/>
                  </a:cubicBezTo>
                  <a:cubicBezTo>
                    <a:pt x="66" y="112"/>
                    <a:pt x="67" y="113"/>
                    <a:pt x="68" y="113"/>
                  </a:cubicBezTo>
                  <a:cubicBezTo>
                    <a:pt x="70" y="114"/>
                    <a:pt x="72" y="113"/>
                    <a:pt x="74" y="114"/>
                  </a:cubicBezTo>
                  <a:cubicBezTo>
                    <a:pt x="75" y="114"/>
                    <a:pt x="75" y="114"/>
                    <a:pt x="75" y="115"/>
                  </a:cubicBezTo>
                  <a:cubicBezTo>
                    <a:pt x="76" y="118"/>
                    <a:pt x="75" y="121"/>
                    <a:pt x="76" y="124"/>
                  </a:cubicBezTo>
                  <a:cubicBezTo>
                    <a:pt x="77" y="128"/>
                    <a:pt x="77" y="133"/>
                    <a:pt x="77" y="137"/>
                  </a:cubicBezTo>
                  <a:cubicBezTo>
                    <a:pt x="78" y="137"/>
                    <a:pt x="78" y="137"/>
                    <a:pt x="78" y="137"/>
                  </a:cubicBezTo>
                  <a:cubicBezTo>
                    <a:pt x="78" y="138"/>
                    <a:pt x="79" y="139"/>
                    <a:pt x="80" y="140"/>
                  </a:cubicBezTo>
                  <a:cubicBezTo>
                    <a:pt x="80" y="141"/>
                    <a:pt x="80" y="142"/>
                    <a:pt x="79" y="144"/>
                  </a:cubicBezTo>
                  <a:cubicBezTo>
                    <a:pt x="79" y="145"/>
                    <a:pt x="80" y="147"/>
                    <a:pt x="80" y="149"/>
                  </a:cubicBezTo>
                  <a:cubicBezTo>
                    <a:pt x="83" y="149"/>
                    <a:pt x="85" y="149"/>
                    <a:pt x="87" y="149"/>
                  </a:cubicBezTo>
                  <a:cubicBezTo>
                    <a:pt x="89" y="148"/>
                    <a:pt x="91" y="148"/>
                    <a:pt x="92" y="147"/>
                  </a:cubicBezTo>
                  <a:cubicBezTo>
                    <a:pt x="94" y="147"/>
                    <a:pt x="96" y="147"/>
                    <a:pt x="96" y="148"/>
                  </a:cubicBezTo>
                  <a:cubicBezTo>
                    <a:pt x="97" y="149"/>
                    <a:pt x="96" y="150"/>
                    <a:pt x="97" y="151"/>
                  </a:cubicBezTo>
                  <a:cubicBezTo>
                    <a:pt x="98" y="151"/>
                    <a:pt x="99" y="150"/>
                    <a:pt x="100" y="150"/>
                  </a:cubicBezTo>
                  <a:cubicBezTo>
                    <a:pt x="102" y="149"/>
                    <a:pt x="103" y="152"/>
                    <a:pt x="104" y="154"/>
                  </a:cubicBezTo>
                  <a:cubicBezTo>
                    <a:pt x="104" y="154"/>
                    <a:pt x="105" y="155"/>
                    <a:pt x="105" y="155"/>
                  </a:cubicBezTo>
                  <a:cubicBezTo>
                    <a:pt x="107" y="155"/>
                    <a:pt x="109" y="155"/>
                    <a:pt x="110" y="156"/>
                  </a:cubicBezTo>
                  <a:cubicBezTo>
                    <a:pt x="111" y="157"/>
                    <a:pt x="112" y="156"/>
                    <a:pt x="113" y="157"/>
                  </a:cubicBezTo>
                  <a:cubicBezTo>
                    <a:pt x="114" y="157"/>
                    <a:pt x="116" y="157"/>
                    <a:pt x="116" y="156"/>
                  </a:cubicBezTo>
                  <a:cubicBezTo>
                    <a:pt x="117" y="155"/>
                    <a:pt x="117" y="154"/>
                    <a:pt x="117" y="154"/>
                  </a:cubicBezTo>
                  <a:cubicBezTo>
                    <a:pt x="118" y="153"/>
                    <a:pt x="119" y="153"/>
                    <a:pt x="120" y="154"/>
                  </a:cubicBezTo>
                  <a:cubicBezTo>
                    <a:pt x="120" y="156"/>
                    <a:pt x="119" y="158"/>
                    <a:pt x="121" y="159"/>
                  </a:cubicBezTo>
                  <a:cubicBezTo>
                    <a:pt x="123" y="159"/>
                    <a:pt x="124" y="159"/>
                    <a:pt x="126" y="159"/>
                  </a:cubicBezTo>
                  <a:cubicBezTo>
                    <a:pt x="126" y="160"/>
                    <a:pt x="126" y="160"/>
                    <a:pt x="127" y="161"/>
                  </a:cubicBezTo>
                  <a:cubicBezTo>
                    <a:pt x="128" y="163"/>
                    <a:pt x="130" y="165"/>
                    <a:pt x="131" y="167"/>
                  </a:cubicBezTo>
                  <a:cubicBezTo>
                    <a:pt x="133" y="170"/>
                    <a:pt x="135" y="169"/>
                    <a:pt x="138" y="169"/>
                  </a:cubicBezTo>
                  <a:cubicBezTo>
                    <a:pt x="138" y="169"/>
                    <a:pt x="138" y="168"/>
                    <a:pt x="138" y="168"/>
                  </a:cubicBezTo>
                  <a:cubicBezTo>
                    <a:pt x="138" y="165"/>
                    <a:pt x="139" y="162"/>
                    <a:pt x="138" y="159"/>
                  </a:cubicBezTo>
                  <a:cubicBezTo>
                    <a:pt x="138" y="159"/>
                    <a:pt x="137" y="159"/>
                    <a:pt x="137" y="159"/>
                  </a:cubicBezTo>
                  <a:cubicBezTo>
                    <a:pt x="137" y="159"/>
                    <a:pt x="136" y="160"/>
                    <a:pt x="136" y="160"/>
                  </a:cubicBezTo>
                  <a:cubicBezTo>
                    <a:pt x="135" y="160"/>
                    <a:pt x="134" y="160"/>
                    <a:pt x="133" y="159"/>
                  </a:cubicBezTo>
                  <a:cubicBezTo>
                    <a:pt x="132" y="158"/>
                    <a:pt x="130" y="156"/>
                    <a:pt x="128" y="155"/>
                  </a:cubicBezTo>
                  <a:cubicBezTo>
                    <a:pt x="128" y="153"/>
                    <a:pt x="128" y="151"/>
                    <a:pt x="129" y="149"/>
                  </a:cubicBezTo>
                  <a:cubicBezTo>
                    <a:pt x="129" y="148"/>
                    <a:pt x="129" y="147"/>
                    <a:pt x="130" y="146"/>
                  </a:cubicBezTo>
                  <a:cubicBezTo>
                    <a:pt x="130" y="143"/>
                    <a:pt x="130" y="140"/>
                    <a:pt x="130" y="137"/>
                  </a:cubicBezTo>
                  <a:cubicBezTo>
                    <a:pt x="129" y="133"/>
                    <a:pt x="130" y="129"/>
                    <a:pt x="133" y="126"/>
                  </a:cubicBezTo>
                  <a:cubicBezTo>
                    <a:pt x="133" y="125"/>
                    <a:pt x="134" y="124"/>
                    <a:pt x="135" y="124"/>
                  </a:cubicBezTo>
                  <a:cubicBezTo>
                    <a:pt x="136" y="123"/>
                    <a:pt x="137" y="124"/>
                    <a:pt x="138" y="123"/>
                  </a:cubicBezTo>
                  <a:cubicBezTo>
                    <a:pt x="138" y="123"/>
                    <a:pt x="139" y="123"/>
                    <a:pt x="139" y="123"/>
                  </a:cubicBezTo>
                  <a:cubicBezTo>
                    <a:pt x="141" y="122"/>
                    <a:pt x="144" y="122"/>
                    <a:pt x="146" y="122"/>
                  </a:cubicBezTo>
                  <a:cubicBezTo>
                    <a:pt x="144" y="113"/>
                    <a:pt x="144" y="113"/>
                    <a:pt x="144" y="113"/>
                  </a:cubicBezTo>
                  <a:cubicBezTo>
                    <a:pt x="137" y="106"/>
                    <a:pt x="137" y="106"/>
                    <a:pt x="137" y="106"/>
                  </a:cubicBezTo>
                  <a:cubicBezTo>
                    <a:pt x="136" y="87"/>
                    <a:pt x="136" y="87"/>
                    <a:pt x="136" y="87"/>
                  </a:cubicBezTo>
                  <a:cubicBezTo>
                    <a:pt x="136" y="85"/>
                    <a:pt x="135" y="84"/>
                    <a:pt x="135" y="82"/>
                  </a:cubicBezTo>
                  <a:cubicBezTo>
                    <a:pt x="134" y="79"/>
                    <a:pt x="134" y="77"/>
                    <a:pt x="134" y="74"/>
                  </a:cubicBezTo>
                  <a:cubicBezTo>
                    <a:pt x="134" y="73"/>
                    <a:pt x="133" y="72"/>
                    <a:pt x="133" y="71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69"/>
                    <a:pt x="133" y="68"/>
                    <a:pt x="133" y="66"/>
                  </a:cubicBezTo>
                  <a:cubicBezTo>
                    <a:pt x="133" y="66"/>
                    <a:pt x="134" y="66"/>
                    <a:pt x="134" y="65"/>
                  </a:cubicBezTo>
                  <a:cubicBezTo>
                    <a:pt x="135" y="63"/>
                    <a:pt x="136" y="62"/>
                    <a:pt x="137" y="60"/>
                  </a:cubicBezTo>
                  <a:cubicBezTo>
                    <a:pt x="138" y="60"/>
                    <a:pt x="138" y="60"/>
                    <a:pt x="138" y="59"/>
                  </a:cubicBezTo>
                  <a:cubicBezTo>
                    <a:pt x="138" y="59"/>
                    <a:pt x="138" y="59"/>
                    <a:pt x="138" y="59"/>
                  </a:cubicBezTo>
                  <a:cubicBezTo>
                    <a:pt x="137" y="55"/>
                    <a:pt x="138" y="51"/>
                    <a:pt x="137" y="47"/>
                  </a:cubicBezTo>
                  <a:cubicBezTo>
                    <a:pt x="137" y="46"/>
                    <a:pt x="136" y="44"/>
                    <a:pt x="137" y="43"/>
                  </a:cubicBezTo>
                  <a:cubicBezTo>
                    <a:pt x="137" y="43"/>
                    <a:pt x="138" y="42"/>
                    <a:pt x="138" y="42"/>
                  </a:cubicBezTo>
                  <a:cubicBezTo>
                    <a:pt x="140" y="41"/>
                    <a:pt x="141" y="39"/>
                    <a:pt x="142" y="37"/>
                  </a:cubicBezTo>
                  <a:cubicBezTo>
                    <a:pt x="143" y="37"/>
                    <a:pt x="143" y="36"/>
                    <a:pt x="144" y="36"/>
                  </a:cubicBezTo>
                  <a:cubicBezTo>
                    <a:pt x="146" y="35"/>
                    <a:pt x="148" y="34"/>
                    <a:pt x="149" y="32"/>
                  </a:cubicBezTo>
                  <a:cubicBezTo>
                    <a:pt x="149" y="31"/>
                    <a:pt x="150" y="30"/>
                    <a:pt x="150" y="29"/>
                  </a:cubicBezTo>
                  <a:cubicBezTo>
                    <a:pt x="150" y="28"/>
                    <a:pt x="150" y="27"/>
                    <a:pt x="150" y="26"/>
                  </a:cubicBezTo>
                  <a:cubicBezTo>
                    <a:pt x="149" y="26"/>
                    <a:pt x="148" y="27"/>
                    <a:pt x="147" y="26"/>
                  </a:cubicBezTo>
                  <a:cubicBezTo>
                    <a:pt x="147" y="26"/>
                    <a:pt x="146" y="26"/>
                    <a:pt x="146" y="26"/>
                  </a:cubicBezTo>
                  <a:cubicBezTo>
                    <a:pt x="146" y="22"/>
                    <a:pt x="146" y="18"/>
                    <a:pt x="147" y="15"/>
                  </a:cubicBezTo>
                  <a:cubicBezTo>
                    <a:pt x="146" y="14"/>
                    <a:pt x="145" y="14"/>
                    <a:pt x="144" y="14"/>
                  </a:cubicBezTo>
                  <a:cubicBezTo>
                    <a:pt x="144" y="13"/>
                    <a:pt x="144" y="13"/>
                    <a:pt x="144" y="13"/>
                  </a:cubicBezTo>
                  <a:cubicBezTo>
                    <a:pt x="143" y="11"/>
                    <a:pt x="142" y="9"/>
                    <a:pt x="140" y="8"/>
                  </a:cubicBezTo>
                  <a:cubicBezTo>
                    <a:pt x="140" y="7"/>
                    <a:pt x="138" y="7"/>
                    <a:pt x="138" y="6"/>
                  </a:cubicBezTo>
                  <a:cubicBezTo>
                    <a:pt x="137" y="5"/>
                    <a:pt x="136" y="7"/>
                    <a:pt x="135" y="7"/>
                  </a:cubicBezTo>
                  <a:cubicBezTo>
                    <a:pt x="133" y="8"/>
                    <a:pt x="131" y="7"/>
                    <a:pt x="129" y="7"/>
                  </a:cubicBezTo>
                  <a:cubicBezTo>
                    <a:pt x="129" y="7"/>
                    <a:pt x="128" y="8"/>
                    <a:pt x="128" y="8"/>
                  </a:cubicBezTo>
                  <a:cubicBezTo>
                    <a:pt x="127" y="9"/>
                    <a:pt x="126" y="8"/>
                    <a:pt x="125" y="7"/>
                  </a:cubicBezTo>
                  <a:cubicBezTo>
                    <a:pt x="124" y="6"/>
                    <a:pt x="124" y="5"/>
                    <a:pt x="124" y="4"/>
                  </a:cubicBezTo>
                  <a:cubicBezTo>
                    <a:pt x="123" y="2"/>
                    <a:pt x="121" y="2"/>
                    <a:pt x="120" y="1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18" y="1"/>
                    <a:pt x="116" y="1"/>
                    <a:pt x="115" y="2"/>
                  </a:cubicBezTo>
                  <a:cubicBezTo>
                    <a:pt x="113" y="2"/>
                    <a:pt x="111" y="2"/>
                    <a:pt x="110" y="2"/>
                  </a:cubicBezTo>
                  <a:cubicBezTo>
                    <a:pt x="108" y="1"/>
                    <a:pt x="106" y="0"/>
                    <a:pt x="105" y="1"/>
                  </a:cubicBezTo>
                  <a:cubicBezTo>
                    <a:pt x="103" y="2"/>
                    <a:pt x="103" y="3"/>
                    <a:pt x="102" y="4"/>
                  </a:cubicBezTo>
                  <a:cubicBezTo>
                    <a:pt x="100" y="4"/>
                    <a:pt x="99" y="4"/>
                    <a:pt x="98" y="3"/>
                  </a:cubicBezTo>
                  <a:cubicBezTo>
                    <a:pt x="98" y="2"/>
                    <a:pt x="97" y="2"/>
                    <a:pt x="96" y="3"/>
                  </a:cubicBezTo>
                  <a:cubicBezTo>
                    <a:pt x="95" y="4"/>
                    <a:pt x="93" y="5"/>
                    <a:pt x="91" y="5"/>
                  </a:cubicBezTo>
                  <a:cubicBezTo>
                    <a:pt x="91" y="5"/>
                    <a:pt x="90" y="5"/>
                    <a:pt x="90" y="6"/>
                  </a:cubicBezTo>
                  <a:cubicBezTo>
                    <a:pt x="89" y="6"/>
                    <a:pt x="88" y="6"/>
                    <a:pt x="87" y="5"/>
                  </a:cubicBezTo>
                  <a:cubicBezTo>
                    <a:pt x="86" y="5"/>
                    <a:pt x="85" y="5"/>
                    <a:pt x="84" y="5"/>
                  </a:cubicBezTo>
                  <a:cubicBezTo>
                    <a:pt x="82" y="6"/>
                    <a:pt x="81" y="7"/>
                    <a:pt x="81" y="9"/>
                  </a:cubicBezTo>
                  <a:cubicBezTo>
                    <a:pt x="81" y="10"/>
                    <a:pt x="80" y="10"/>
                    <a:pt x="79" y="10"/>
                  </a:cubicBezTo>
                  <a:cubicBezTo>
                    <a:pt x="78" y="11"/>
                    <a:pt x="77" y="11"/>
                    <a:pt x="76" y="10"/>
                  </a:cubicBezTo>
                  <a:cubicBezTo>
                    <a:pt x="73" y="10"/>
                    <a:pt x="70" y="9"/>
                    <a:pt x="67" y="8"/>
                  </a:cubicBezTo>
                  <a:cubicBezTo>
                    <a:pt x="66" y="8"/>
                    <a:pt x="66" y="8"/>
                    <a:pt x="65" y="7"/>
                  </a:cubicBezTo>
                  <a:cubicBezTo>
                    <a:pt x="64" y="6"/>
                    <a:pt x="63" y="6"/>
                    <a:pt x="61" y="4"/>
                  </a:cubicBezTo>
                  <a:cubicBezTo>
                    <a:pt x="61" y="4"/>
                    <a:pt x="60" y="3"/>
                    <a:pt x="59" y="3"/>
                  </a:cubicBezTo>
                  <a:cubicBezTo>
                    <a:pt x="58" y="2"/>
                    <a:pt x="57" y="3"/>
                    <a:pt x="55" y="3"/>
                  </a:cubicBezTo>
                  <a:cubicBezTo>
                    <a:pt x="54" y="4"/>
                    <a:pt x="54" y="5"/>
                    <a:pt x="53" y="6"/>
                  </a:cubicBezTo>
                  <a:cubicBezTo>
                    <a:pt x="52" y="7"/>
                    <a:pt x="51" y="7"/>
                    <a:pt x="51" y="8"/>
                  </a:cubicBezTo>
                  <a:cubicBezTo>
                    <a:pt x="50" y="9"/>
                    <a:pt x="51" y="11"/>
                    <a:pt x="50" y="12"/>
                  </a:cubicBezTo>
                  <a:cubicBezTo>
                    <a:pt x="50" y="13"/>
                    <a:pt x="50" y="14"/>
                    <a:pt x="50" y="15"/>
                  </a:cubicBezTo>
                  <a:cubicBezTo>
                    <a:pt x="51" y="16"/>
                    <a:pt x="51" y="18"/>
                    <a:pt x="50" y="19"/>
                  </a:cubicBezTo>
                  <a:cubicBezTo>
                    <a:pt x="49" y="21"/>
                    <a:pt x="50" y="22"/>
                    <a:pt x="49" y="23"/>
                  </a:cubicBezTo>
                  <a:cubicBezTo>
                    <a:pt x="48" y="24"/>
                    <a:pt x="48" y="24"/>
                    <a:pt x="47" y="25"/>
                  </a:cubicBezTo>
                  <a:cubicBezTo>
                    <a:pt x="45" y="28"/>
                    <a:pt x="46" y="31"/>
                    <a:pt x="45" y="35"/>
                  </a:cubicBezTo>
                  <a:cubicBezTo>
                    <a:pt x="45" y="35"/>
                    <a:pt x="45" y="36"/>
                    <a:pt x="45" y="36"/>
                  </a:cubicBezTo>
                  <a:cubicBezTo>
                    <a:pt x="45" y="39"/>
                    <a:pt x="45" y="42"/>
                    <a:pt x="44" y="45"/>
                  </a:cubicBezTo>
                  <a:cubicBezTo>
                    <a:pt x="44" y="47"/>
                    <a:pt x="44" y="49"/>
                    <a:pt x="44" y="51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3" y="55"/>
                    <a:pt x="41" y="57"/>
                    <a:pt x="38" y="58"/>
                  </a:cubicBezTo>
                  <a:cubicBezTo>
                    <a:pt x="38" y="58"/>
                    <a:pt x="38" y="58"/>
                    <a:pt x="37" y="59"/>
                  </a:cubicBezTo>
                  <a:cubicBezTo>
                    <a:pt x="37" y="60"/>
                    <a:pt x="37" y="62"/>
                    <a:pt x="36" y="63"/>
                  </a:cubicBezTo>
                  <a:cubicBezTo>
                    <a:pt x="35" y="64"/>
                    <a:pt x="33" y="65"/>
                    <a:pt x="32" y="65"/>
                  </a:cubicBezTo>
                  <a:cubicBezTo>
                    <a:pt x="32" y="65"/>
                    <a:pt x="32" y="66"/>
                    <a:pt x="32" y="66"/>
                  </a:cubicBezTo>
                  <a:cubicBezTo>
                    <a:pt x="31" y="66"/>
                    <a:pt x="31" y="67"/>
                    <a:pt x="31" y="67"/>
                  </a:cubicBezTo>
                  <a:cubicBezTo>
                    <a:pt x="30" y="68"/>
                    <a:pt x="31" y="69"/>
                    <a:pt x="31" y="70"/>
                  </a:cubicBezTo>
                  <a:cubicBezTo>
                    <a:pt x="32" y="72"/>
                    <a:pt x="32" y="75"/>
                    <a:pt x="31" y="77"/>
                  </a:cubicBezTo>
                  <a:cubicBezTo>
                    <a:pt x="31" y="78"/>
                    <a:pt x="31" y="79"/>
                    <a:pt x="30" y="80"/>
                  </a:cubicBezTo>
                  <a:cubicBezTo>
                    <a:pt x="28" y="81"/>
                    <a:pt x="26" y="83"/>
                    <a:pt x="25" y="85"/>
                  </a:cubicBezTo>
                  <a:cubicBezTo>
                    <a:pt x="24" y="86"/>
                    <a:pt x="23" y="87"/>
                    <a:pt x="23" y="89"/>
                  </a:cubicBezTo>
                  <a:cubicBezTo>
                    <a:pt x="22" y="90"/>
                    <a:pt x="21" y="90"/>
                    <a:pt x="20" y="91"/>
                  </a:cubicBezTo>
                  <a:cubicBezTo>
                    <a:pt x="19" y="91"/>
                    <a:pt x="18" y="90"/>
                    <a:pt x="17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5" y="89"/>
                    <a:pt x="14" y="87"/>
                    <a:pt x="12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1" y="88"/>
                    <a:pt x="9" y="89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9"/>
                    <a:pt x="7" y="89"/>
                    <a:pt x="6" y="90"/>
                  </a:cubicBezTo>
                  <a:cubicBezTo>
                    <a:pt x="5" y="91"/>
                    <a:pt x="4" y="91"/>
                    <a:pt x="3" y="92"/>
                  </a:cubicBezTo>
                  <a:cubicBezTo>
                    <a:pt x="3" y="94"/>
                    <a:pt x="3" y="95"/>
                    <a:pt x="3" y="97"/>
                  </a:cubicBezTo>
                  <a:cubicBezTo>
                    <a:pt x="3" y="98"/>
                    <a:pt x="2" y="99"/>
                    <a:pt x="1" y="99"/>
                  </a:cubicBezTo>
                  <a:lnTo>
                    <a:pt x="0" y="10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0" name="Freeform 382"/>
            <p:cNvSpPr>
              <a:spLocks/>
            </p:cNvSpPr>
            <p:nvPr/>
          </p:nvSpPr>
          <p:spPr bwMode="auto">
            <a:xfrm>
              <a:off x="6987476" y="5383148"/>
              <a:ext cx="134116" cy="122077"/>
            </a:xfrm>
            <a:custGeom>
              <a:avLst/>
              <a:gdLst>
                <a:gd name="T0" fmla="*/ 0 w 99"/>
                <a:gd name="T1" fmla="*/ 3841245 h 113"/>
                <a:gd name="T2" fmla="*/ 39898 w 99"/>
                <a:gd name="T3" fmla="*/ 3372962 h 113"/>
                <a:gd name="T4" fmla="*/ 225912 w 99"/>
                <a:gd name="T5" fmla="*/ 2937247 h 113"/>
                <a:gd name="T6" fmla="*/ 326743 w 99"/>
                <a:gd name="T7" fmla="*/ 2609343 h 113"/>
                <a:gd name="T8" fmla="*/ 403639 w 99"/>
                <a:gd name="T9" fmla="*/ 2383830 h 113"/>
                <a:gd name="T10" fmla="*/ 552770 w 99"/>
                <a:gd name="T11" fmla="*/ 2096636 h 113"/>
                <a:gd name="T12" fmla="*/ 512908 w 99"/>
                <a:gd name="T13" fmla="*/ 1661654 h 113"/>
                <a:gd name="T14" fmla="*/ 435850 w 99"/>
                <a:gd name="T15" fmla="*/ 1352549 h 113"/>
                <a:gd name="T16" fmla="*/ 475887 w 99"/>
                <a:gd name="T17" fmla="*/ 1066103 h 113"/>
                <a:gd name="T18" fmla="*/ 435850 w 99"/>
                <a:gd name="T19" fmla="*/ 744030 h 113"/>
                <a:gd name="T20" fmla="*/ 363712 w 99"/>
                <a:gd name="T21" fmla="*/ 552613 h 113"/>
                <a:gd name="T22" fmla="*/ 225912 w 99"/>
                <a:gd name="T23" fmla="*/ 188373 h 113"/>
                <a:gd name="T24" fmla="*/ 188521 w 99"/>
                <a:gd name="T25" fmla="*/ 148479 h 113"/>
                <a:gd name="T26" fmla="*/ 435850 w 99"/>
                <a:gd name="T27" fmla="*/ 76964 h 113"/>
                <a:gd name="T28" fmla="*/ 552770 w 99"/>
                <a:gd name="T29" fmla="*/ 39894 h 113"/>
                <a:gd name="T30" fmla="*/ 1396083 w 99"/>
                <a:gd name="T31" fmla="*/ 76964 h 113"/>
                <a:gd name="T32" fmla="*/ 1473171 w 99"/>
                <a:gd name="T33" fmla="*/ 326647 h 113"/>
                <a:gd name="T34" fmla="*/ 1585269 w 99"/>
                <a:gd name="T35" fmla="*/ 594889 h 113"/>
                <a:gd name="T36" fmla="*/ 1831933 w 99"/>
                <a:gd name="T37" fmla="*/ 800739 h 113"/>
                <a:gd name="T38" fmla="*/ 2097566 w 99"/>
                <a:gd name="T39" fmla="*/ 778480 h 113"/>
                <a:gd name="T40" fmla="*/ 2297863 w 99"/>
                <a:gd name="T41" fmla="*/ 671961 h 113"/>
                <a:gd name="T42" fmla="*/ 2297863 w 99"/>
                <a:gd name="T43" fmla="*/ 403524 h 113"/>
                <a:gd name="T44" fmla="*/ 2652350 w 99"/>
                <a:gd name="T45" fmla="*/ 512723 h 113"/>
                <a:gd name="T46" fmla="*/ 2898597 w 99"/>
                <a:gd name="T47" fmla="*/ 594889 h 113"/>
                <a:gd name="T48" fmla="*/ 2981568 w 99"/>
                <a:gd name="T49" fmla="*/ 1395544 h 113"/>
                <a:gd name="T50" fmla="*/ 3098491 w 99"/>
                <a:gd name="T51" fmla="*/ 1501846 h 113"/>
                <a:gd name="T52" fmla="*/ 3098491 w 99"/>
                <a:gd name="T53" fmla="*/ 1830878 h 113"/>
                <a:gd name="T54" fmla="*/ 3534335 w 99"/>
                <a:gd name="T55" fmla="*/ 1770075 h 113"/>
                <a:gd name="T56" fmla="*/ 3642777 w 99"/>
                <a:gd name="T57" fmla="*/ 1770075 h 113"/>
                <a:gd name="T58" fmla="*/ 3611742 w 99"/>
                <a:gd name="T59" fmla="*/ 1908266 h 113"/>
                <a:gd name="T60" fmla="*/ 3571785 w 99"/>
                <a:gd name="T61" fmla="*/ 2256439 h 113"/>
                <a:gd name="T62" fmla="*/ 3571785 w 99"/>
                <a:gd name="T63" fmla="*/ 2426107 h 113"/>
                <a:gd name="T64" fmla="*/ 3417418 w 99"/>
                <a:gd name="T65" fmla="*/ 2426107 h 113"/>
                <a:gd name="T66" fmla="*/ 3015915 w 99"/>
                <a:gd name="T67" fmla="*/ 2426107 h 113"/>
                <a:gd name="T68" fmla="*/ 2981568 w 99"/>
                <a:gd name="T69" fmla="*/ 3414835 h 113"/>
                <a:gd name="T70" fmla="*/ 3165252 w 99"/>
                <a:gd name="T71" fmla="*/ 3841245 h 113"/>
                <a:gd name="T72" fmla="*/ 3374468 w 99"/>
                <a:gd name="T73" fmla="*/ 4004808 h 113"/>
                <a:gd name="T74" fmla="*/ 2898597 w 99"/>
                <a:gd name="T75" fmla="*/ 4164704 h 113"/>
                <a:gd name="T76" fmla="*/ 2810712 w 99"/>
                <a:gd name="T77" fmla="*/ 4164704 h 113"/>
                <a:gd name="T78" fmla="*/ 2652350 w 99"/>
                <a:gd name="T79" fmla="*/ 4121910 h 113"/>
                <a:gd name="T80" fmla="*/ 2297863 w 99"/>
                <a:gd name="T81" fmla="*/ 4087794 h 113"/>
                <a:gd name="T82" fmla="*/ 1872055 w 99"/>
                <a:gd name="T83" fmla="*/ 3967851 h 113"/>
                <a:gd name="T84" fmla="*/ 1585269 w 99"/>
                <a:gd name="T85" fmla="*/ 3927957 h 113"/>
                <a:gd name="T86" fmla="*/ 672143 w 99"/>
                <a:gd name="T87" fmla="*/ 3967851 h 113"/>
                <a:gd name="T88" fmla="*/ 435850 w 99"/>
                <a:gd name="T89" fmla="*/ 3875735 h 113"/>
                <a:gd name="T90" fmla="*/ 225912 w 99"/>
                <a:gd name="T91" fmla="*/ 3896403 h 113"/>
                <a:gd name="T92" fmla="*/ 39898 w 99"/>
                <a:gd name="T93" fmla="*/ 3896403 h 11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99"/>
                <a:gd name="T142" fmla="*/ 0 h 113"/>
                <a:gd name="T143" fmla="*/ 99 w 99"/>
                <a:gd name="T144" fmla="*/ 113 h 11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99" h="113">
                  <a:moveTo>
                    <a:pt x="0" y="106"/>
                  </a:moveTo>
                  <a:cubicBezTo>
                    <a:pt x="0" y="105"/>
                    <a:pt x="0" y="105"/>
                    <a:pt x="0" y="104"/>
                  </a:cubicBezTo>
                  <a:cubicBezTo>
                    <a:pt x="1" y="101"/>
                    <a:pt x="0" y="98"/>
                    <a:pt x="0" y="95"/>
                  </a:cubicBezTo>
                  <a:cubicBezTo>
                    <a:pt x="1" y="94"/>
                    <a:pt x="1" y="93"/>
                    <a:pt x="1" y="92"/>
                  </a:cubicBezTo>
                  <a:cubicBezTo>
                    <a:pt x="2" y="90"/>
                    <a:pt x="4" y="88"/>
                    <a:pt x="4" y="86"/>
                  </a:cubicBezTo>
                  <a:cubicBezTo>
                    <a:pt x="4" y="84"/>
                    <a:pt x="6" y="82"/>
                    <a:pt x="6" y="80"/>
                  </a:cubicBezTo>
                  <a:cubicBezTo>
                    <a:pt x="7" y="78"/>
                    <a:pt x="6" y="76"/>
                    <a:pt x="7" y="74"/>
                  </a:cubicBezTo>
                  <a:cubicBezTo>
                    <a:pt x="7" y="73"/>
                    <a:pt x="8" y="72"/>
                    <a:pt x="9" y="71"/>
                  </a:cubicBezTo>
                  <a:cubicBezTo>
                    <a:pt x="9" y="70"/>
                    <a:pt x="9" y="69"/>
                    <a:pt x="9" y="68"/>
                  </a:cubicBezTo>
                  <a:cubicBezTo>
                    <a:pt x="10" y="67"/>
                    <a:pt x="10" y="66"/>
                    <a:pt x="11" y="65"/>
                  </a:cubicBezTo>
                  <a:cubicBezTo>
                    <a:pt x="12" y="63"/>
                    <a:pt x="14" y="62"/>
                    <a:pt x="15" y="60"/>
                  </a:cubicBezTo>
                  <a:cubicBezTo>
                    <a:pt x="15" y="59"/>
                    <a:pt x="15" y="58"/>
                    <a:pt x="15" y="57"/>
                  </a:cubicBezTo>
                  <a:cubicBezTo>
                    <a:pt x="15" y="54"/>
                    <a:pt x="16" y="50"/>
                    <a:pt x="14" y="46"/>
                  </a:cubicBezTo>
                  <a:cubicBezTo>
                    <a:pt x="14" y="46"/>
                    <a:pt x="14" y="46"/>
                    <a:pt x="14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3"/>
                    <a:pt x="13" y="40"/>
                    <a:pt x="12" y="37"/>
                  </a:cubicBezTo>
                  <a:cubicBezTo>
                    <a:pt x="11" y="36"/>
                    <a:pt x="11" y="34"/>
                    <a:pt x="12" y="32"/>
                  </a:cubicBezTo>
                  <a:cubicBezTo>
                    <a:pt x="12" y="31"/>
                    <a:pt x="13" y="30"/>
                    <a:pt x="13" y="29"/>
                  </a:cubicBezTo>
                  <a:cubicBezTo>
                    <a:pt x="14" y="28"/>
                    <a:pt x="14" y="27"/>
                    <a:pt x="13" y="26"/>
                  </a:cubicBezTo>
                  <a:cubicBezTo>
                    <a:pt x="13" y="24"/>
                    <a:pt x="12" y="22"/>
                    <a:pt x="12" y="20"/>
                  </a:cubicBezTo>
                  <a:cubicBezTo>
                    <a:pt x="12" y="19"/>
                    <a:pt x="11" y="19"/>
                    <a:pt x="11" y="19"/>
                  </a:cubicBezTo>
                  <a:cubicBezTo>
                    <a:pt x="11" y="17"/>
                    <a:pt x="10" y="16"/>
                    <a:pt x="10" y="15"/>
                  </a:cubicBezTo>
                  <a:cubicBezTo>
                    <a:pt x="9" y="12"/>
                    <a:pt x="8" y="10"/>
                    <a:pt x="7" y="7"/>
                  </a:cubicBezTo>
                  <a:cubicBezTo>
                    <a:pt x="7" y="6"/>
                    <a:pt x="6" y="6"/>
                    <a:pt x="6" y="5"/>
                  </a:cubicBezTo>
                  <a:cubicBezTo>
                    <a:pt x="6" y="5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7" y="3"/>
                    <a:pt x="7" y="3"/>
                    <a:pt x="9" y="3"/>
                  </a:cubicBezTo>
                  <a:cubicBezTo>
                    <a:pt x="9" y="2"/>
                    <a:pt x="11" y="2"/>
                    <a:pt x="12" y="2"/>
                  </a:cubicBezTo>
                  <a:cubicBezTo>
                    <a:pt x="12" y="1"/>
                    <a:pt x="13" y="1"/>
                    <a:pt x="13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21" y="1"/>
                    <a:pt x="26" y="0"/>
                    <a:pt x="33" y="1"/>
                  </a:cubicBezTo>
                  <a:cubicBezTo>
                    <a:pt x="34" y="1"/>
                    <a:pt x="36" y="0"/>
                    <a:pt x="38" y="2"/>
                  </a:cubicBezTo>
                  <a:cubicBezTo>
                    <a:pt x="39" y="3"/>
                    <a:pt x="39" y="4"/>
                    <a:pt x="40" y="6"/>
                  </a:cubicBezTo>
                  <a:cubicBezTo>
                    <a:pt x="40" y="7"/>
                    <a:pt x="40" y="8"/>
                    <a:pt x="40" y="9"/>
                  </a:cubicBezTo>
                  <a:cubicBezTo>
                    <a:pt x="40" y="10"/>
                    <a:pt x="40" y="12"/>
                    <a:pt x="41" y="14"/>
                  </a:cubicBezTo>
                  <a:cubicBezTo>
                    <a:pt x="41" y="15"/>
                    <a:pt x="42" y="15"/>
                    <a:pt x="43" y="16"/>
                  </a:cubicBezTo>
                  <a:cubicBezTo>
                    <a:pt x="46" y="17"/>
                    <a:pt x="45" y="20"/>
                    <a:pt x="46" y="23"/>
                  </a:cubicBezTo>
                  <a:cubicBezTo>
                    <a:pt x="47" y="22"/>
                    <a:pt x="49" y="23"/>
                    <a:pt x="50" y="22"/>
                  </a:cubicBezTo>
                  <a:cubicBezTo>
                    <a:pt x="51" y="22"/>
                    <a:pt x="51" y="21"/>
                    <a:pt x="52" y="21"/>
                  </a:cubicBezTo>
                  <a:cubicBezTo>
                    <a:pt x="54" y="21"/>
                    <a:pt x="55" y="21"/>
                    <a:pt x="57" y="21"/>
                  </a:cubicBezTo>
                  <a:cubicBezTo>
                    <a:pt x="57" y="21"/>
                    <a:pt x="58" y="20"/>
                    <a:pt x="58" y="20"/>
                  </a:cubicBezTo>
                  <a:cubicBezTo>
                    <a:pt x="59" y="19"/>
                    <a:pt x="61" y="19"/>
                    <a:pt x="62" y="18"/>
                  </a:cubicBezTo>
                  <a:cubicBezTo>
                    <a:pt x="62" y="16"/>
                    <a:pt x="62" y="14"/>
                    <a:pt x="62" y="12"/>
                  </a:cubicBezTo>
                  <a:cubicBezTo>
                    <a:pt x="62" y="12"/>
                    <a:pt x="62" y="11"/>
                    <a:pt x="62" y="11"/>
                  </a:cubicBezTo>
                  <a:cubicBezTo>
                    <a:pt x="65" y="12"/>
                    <a:pt x="67" y="11"/>
                    <a:pt x="70" y="12"/>
                  </a:cubicBezTo>
                  <a:cubicBezTo>
                    <a:pt x="70" y="13"/>
                    <a:pt x="71" y="14"/>
                    <a:pt x="72" y="14"/>
                  </a:cubicBezTo>
                  <a:cubicBezTo>
                    <a:pt x="74" y="15"/>
                    <a:pt x="76" y="14"/>
                    <a:pt x="78" y="15"/>
                  </a:cubicBezTo>
                  <a:cubicBezTo>
                    <a:pt x="79" y="15"/>
                    <a:pt x="79" y="15"/>
                    <a:pt x="79" y="16"/>
                  </a:cubicBezTo>
                  <a:cubicBezTo>
                    <a:pt x="80" y="19"/>
                    <a:pt x="79" y="22"/>
                    <a:pt x="80" y="25"/>
                  </a:cubicBezTo>
                  <a:cubicBezTo>
                    <a:pt x="81" y="29"/>
                    <a:pt x="81" y="34"/>
                    <a:pt x="81" y="38"/>
                  </a:cubicBezTo>
                  <a:cubicBezTo>
                    <a:pt x="82" y="38"/>
                    <a:pt x="82" y="38"/>
                    <a:pt x="82" y="38"/>
                  </a:cubicBezTo>
                  <a:cubicBezTo>
                    <a:pt x="82" y="39"/>
                    <a:pt x="83" y="40"/>
                    <a:pt x="84" y="41"/>
                  </a:cubicBezTo>
                  <a:cubicBezTo>
                    <a:pt x="84" y="42"/>
                    <a:pt x="84" y="43"/>
                    <a:pt x="83" y="45"/>
                  </a:cubicBezTo>
                  <a:cubicBezTo>
                    <a:pt x="83" y="46"/>
                    <a:pt x="84" y="48"/>
                    <a:pt x="84" y="50"/>
                  </a:cubicBezTo>
                  <a:cubicBezTo>
                    <a:pt x="87" y="50"/>
                    <a:pt x="89" y="50"/>
                    <a:pt x="91" y="50"/>
                  </a:cubicBezTo>
                  <a:cubicBezTo>
                    <a:pt x="93" y="49"/>
                    <a:pt x="95" y="49"/>
                    <a:pt x="96" y="48"/>
                  </a:cubicBezTo>
                  <a:cubicBezTo>
                    <a:pt x="97" y="48"/>
                    <a:pt x="98" y="48"/>
                    <a:pt x="99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99" y="49"/>
                    <a:pt x="99" y="49"/>
                    <a:pt x="98" y="50"/>
                  </a:cubicBezTo>
                  <a:cubicBezTo>
                    <a:pt x="98" y="50"/>
                    <a:pt x="98" y="51"/>
                    <a:pt x="98" y="52"/>
                  </a:cubicBezTo>
                  <a:cubicBezTo>
                    <a:pt x="97" y="53"/>
                    <a:pt x="98" y="55"/>
                    <a:pt x="97" y="56"/>
                  </a:cubicBezTo>
                  <a:cubicBezTo>
                    <a:pt x="96" y="58"/>
                    <a:pt x="97" y="60"/>
                    <a:pt x="97" y="61"/>
                  </a:cubicBezTo>
                  <a:cubicBezTo>
                    <a:pt x="97" y="61"/>
                    <a:pt x="97" y="62"/>
                    <a:pt x="97" y="62"/>
                  </a:cubicBezTo>
                  <a:cubicBezTo>
                    <a:pt x="98" y="64"/>
                    <a:pt x="98" y="65"/>
                    <a:pt x="97" y="66"/>
                  </a:cubicBezTo>
                  <a:cubicBezTo>
                    <a:pt x="97" y="67"/>
                    <a:pt x="97" y="67"/>
                    <a:pt x="97" y="67"/>
                  </a:cubicBezTo>
                  <a:cubicBezTo>
                    <a:pt x="95" y="67"/>
                    <a:pt x="94" y="67"/>
                    <a:pt x="93" y="66"/>
                  </a:cubicBezTo>
                  <a:cubicBezTo>
                    <a:pt x="91" y="66"/>
                    <a:pt x="90" y="66"/>
                    <a:pt x="89" y="66"/>
                  </a:cubicBezTo>
                  <a:cubicBezTo>
                    <a:pt x="86" y="66"/>
                    <a:pt x="84" y="65"/>
                    <a:pt x="82" y="66"/>
                  </a:cubicBezTo>
                  <a:cubicBezTo>
                    <a:pt x="81" y="67"/>
                    <a:pt x="81" y="67"/>
                    <a:pt x="81" y="67"/>
                  </a:cubicBezTo>
                  <a:cubicBezTo>
                    <a:pt x="81" y="76"/>
                    <a:pt x="81" y="85"/>
                    <a:pt x="81" y="93"/>
                  </a:cubicBezTo>
                  <a:cubicBezTo>
                    <a:pt x="81" y="95"/>
                    <a:pt x="81" y="97"/>
                    <a:pt x="82" y="98"/>
                  </a:cubicBezTo>
                  <a:cubicBezTo>
                    <a:pt x="83" y="101"/>
                    <a:pt x="84" y="101"/>
                    <a:pt x="86" y="104"/>
                  </a:cubicBezTo>
                  <a:cubicBezTo>
                    <a:pt x="87" y="105"/>
                    <a:pt x="87" y="105"/>
                    <a:pt x="88" y="105"/>
                  </a:cubicBezTo>
                  <a:cubicBezTo>
                    <a:pt x="89" y="106"/>
                    <a:pt x="91" y="107"/>
                    <a:pt x="92" y="109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88" y="111"/>
                    <a:pt x="83" y="112"/>
                    <a:pt x="79" y="113"/>
                  </a:cubicBezTo>
                  <a:cubicBezTo>
                    <a:pt x="78" y="113"/>
                    <a:pt x="77" y="113"/>
                    <a:pt x="76" y="113"/>
                  </a:cubicBezTo>
                  <a:cubicBezTo>
                    <a:pt x="76" y="113"/>
                    <a:pt x="76" y="113"/>
                    <a:pt x="76" y="113"/>
                  </a:cubicBezTo>
                  <a:cubicBezTo>
                    <a:pt x="75" y="113"/>
                    <a:pt x="75" y="112"/>
                    <a:pt x="74" y="112"/>
                  </a:cubicBezTo>
                  <a:cubicBezTo>
                    <a:pt x="74" y="112"/>
                    <a:pt x="73" y="112"/>
                    <a:pt x="72" y="112"/>
                  </a:cubicBezTo>
                  <a:cubicBezTo>
                    <a:pt x="70" y="113"/>
                    <a:pt x="69" y="113"/>
                    <a:pt x="67" y="113"/>
                  </a:cubicBezTo>
                  <a:cubicBezTo>
                    <a:pt x="65" y="113"/>
                    <a:pt x="64" y="112"/>
                    <a:pt x="62" y="111"/>
                  </a:cubicBezTo>
                  <a:cubicBezTo>
                    <a:pt x="60" y="111"/>
                    <a:pt x="57" y="112"/>
                    <a:pt x="55" y="111"/>
                  </a:cubicBezTo>
                  <a:cubicBezTo>
                    <a:pt x="53" y="110"/>
                    <a:pt x="52" y="109"/>
                    <a:pt x="51" y="108"/>
                  </a:cubicBezTo>
                  <a:cubicBezTo>
                    <a:pt x="48" y="107"/>
                    <a:pt x="46" y="108"/>
                    <a:pt x="43" y="107"/>
                  </a:cubicBezTo>
                  <a:cubicBezTo>
                    <a:pt x="43" y="107"/>
                    <a:pt x="43" y="107"/>
                    <a:pt x="43" y="107"/>
                  </a:cubicBezTo>
                  <a:cubicBezTo>
                    <a:pt x="40" y="106"/>
                    <a:pt x="38" y="107"/>
                    <a:pt x="36" y="108"/>
                  </a:cubicBezTo>
                  <a:cubicBezTo>
                    <a:pt x="30" y="108"/>
                    <a:pt x="24" y="108"/>
                    <a:pt x="18" y="108"/>
                  </a:cubicBezTo>
                  <a:cubicBezTo>
                    <a:pt x="17" y="108"/>
                    <a:pt x="15" y="107"/>
                    <a:pt x="14" y="106"/>
                  </a:cubicBezTo>
                  <a:cubicBezTo>
                    <a:pt x="13" y="106"/>
                    <a:pt x="13" y="105"/>
                    <a:pt x="12" y="105"/>
                  </a:cubicBezTo>
                  <a:cubicBezTo>
                    <a:pt x="11" y="104"/>
                    <a:pt x="11" y="104"/>
                    <a:pt x="10" y="104"/>
                  </a:cubicBezTo>
                  <a:cubicBezTo>
                    <a:pt x="9" y="105"/>
                    <a:pt x="8" y="106"/>
                    <a:pt x="6" y="106"/>
                  </a:cubicBezTo>
                  <a:cubicBezTo>
                    <a:pt x="5" y="107"/>
                    <a:pt x="3" y="107"/>
                    <a:pt x="2" y="106"/>
                  </a:cubicBezTo>
                  <a:cubicBezTo>
                    <a:pt x="1" y="106"/>
                    <a:pt x="1" y="106"/>
                    <a:pt x="1" y="106"/>
                  </a:cubicBezTo>
                  <a:lnTo>
                    <a:pt x="0" y="10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1" name="Freeform 383"/>
            <p:cNvSpPr>
              <a:spLocks/>
            </p:cNvSpPr>
            <p:nvPr/>
          </p:nvSpPr>
          <p:spPr bwMode="auto">
            <a:xfrm>
              <a:off x="6986025" y="5495553"/>
              <a:ext cx="145718" cy="121472"/>
            </a:xfrm>
            <a:custGeom>
              <a:avLst/>
              <a:gdLst>
                <a:gd name="T0" fmla="*/ 1187364 w 108"/>
                <a:gd name="T1" fmla="*/ 3871703 h 112"/>
                <a:gd name="T2" fmla="*/ 1083439 w 108"/>
                <a:gd name="T3" fmla="*/ 3743330 h 112"/>
                <a:gd name="T4" fmla="*/ 968169 w 108"/>
                <a:gd name="T5" fmla="*/ 3518443 h 112"/>
                <a:gd name="T6" fmla="*/ 888095 w 108"/>
                <a:gd name="T7" fmla="*/ 3190361 h 112"/>
                <a:gd name="T8" fmla="*/ 823618 w 108"/>
                <a:gd name="T9" fmla="*/ 3110624 h 112"/>
                <a:gd name="T10" fmla="*/ 823618 w 108"/>
                <a:gd name="T11" fmla="*/ 3002468 h 112"/>
                <a:gd name="T12" fmla="*/ 781556 w 108"/>
                <a:gd name="T13" fmla="*/ 2640078 h 112"/>
                <a:gd name="T14" fmla="*/ 781556 w 108"/>
                <a:gd name="T15" fmla="*/ 2089010 h 112"/>
                <a:gd name="T16" fmla="*/ 721007 w 108"/>
                <a:gd name="T17" fmla="*/ 1760911 h 112"/>
                <a:gd name="T18" fmla="*/ 579970 w 108"/>
                <a:gd name="T19" fmla="*/ 1539052 h 112"/>
                <a:gd name="T20" fmla="*/ 461126 w 108"/>
                <a:gd name="T21" fmla="*/ 1348270 h 112"/>
                <a:gd name="T22" fmla="*/ 461126 w 108"/>
                <a:gd name="T23" fmla="*/ 1291804 h 112"/>
                <a:gd name="T24" fmla="*/ 320114 w 108"/>
                <a:gd name="T25" fmla="*/ 945974 h 112"/>
                <a:gd name="T26" fmla="*/ 185126 w 108"/>
                <a:gd name="T27" fmla="*/ 669824 h 112"/>
                <a:gd name="T28" fmla="*/ 39403 w 108"/>
                <a:gd name="T29" fmla="*/ 325194 h 112"/>
                <a:gd name="T30" fmla="*/ 39403 w 108"/>
                <a:gd name="T31" fmla="*/ 76738 h 112"/>
                <a:gd name="T32" fmla="*/ 115294 w 108"/>
                <a:gd name="T33" fmla="*/ 76738 h 112"/>
                <a:gd name="T34" fmla="*/ 385407 w 108"/>
                <a:gd name="T35" fmla="*/ 0 h 112"/>
                <a:gd name="T36" fmla="*/ 542110 w 108"/>
                <a:gd name="T37" fmla="*/ 76738 h 112"/>
                <a:gd name="T38" fmla="*/ 1322472 w 108"/>
                <a:gd name="T39" fmla="*/ 147995 h 112"/>
                <a:gd name="T40" fmla="*/ 1586227 w 108"/>
                <a:gd name="T41" fmla="*/ 116592 h 112"/>
                <a:gd name="T42" fmla="*/ 2010790 w 108"/>
                <a:gd name="T43" fmla="*/ 264679 h 112"/>
                <a:gd name="T44" fmla="*/ 2432722 w 108"/>
                <a:gd name="T45" fmla="*/ 325194 h 112"/>
                <a:gd name="T46" fmla="*/ 2674353 w 108"/>
                <a:gd name="T47" fmla="*/ 285419 h 112"/>
                <a:gd name="T48" fmla="*/ 2753202 w 108"/>
                <a:gd name="T49" fmla="*/ 325194 h 112"/>
                <a:gd name="T50" fmla="*/ 3330916 w 108"/>
                <a:gd name="T51" fmla="*/ 187962 h 112"/>
                <a:gd name="T52" fmla="*/ 3330916 w 108"/>
                <a:gd name="T53" fmla="*/ 187962 h 112"/>
                <a:gd name="T54" fmla="*/ 3591124 w 108"/>
                <a:gd name="T55" fmla="*/ 147995 h 112"/>
                <a:gd name="T56" fmla="*/ 3872632 w 108"/>
                <a:gd name="T57" fmla="*/ 264679 h 112"/>
                <a:gd name="T58" fmla="*/ 3554787 w 108"/>
                <a:gd name="T59" fmla="*/ 325194 h 112"/>
                <a:gd name="T60" fmla="*/ 3369456 w 108"/>
                <a:gd name="T61" fmla="*/ 473441 h 112"/>
                <a:gd name="T62" fmla="*/ 3012637 w 108"/>
                <a:gd name="T63" fmla="*/ 402275 h 112"/>
                <a:gd name="T64" fmla="*/ 2627291 w 108"/>
                <a:gd name="T65" fmla="*/ 699103 h 112"/>
                <a:gd name="T66" fmla="*/ 2328008 w 108"/>
                <a:gd name="T67" fmla="*/ 1730999 h 112"/>
                <a:gd name="T68" fmla="*/ 2252837 w 108"/>
                <a:gd name="T69" fmla="*/ 3948443 h 112"/>
                <a:gd name="T70" fmla="*/ 2126835 w 108"/>
                <a:gd name="T71" fmla="*/ 4105636 h 112"/>
                <a:gd name="T72" fmla="*/ 1825304 w 108"/>
                <a:gd name="T73" fmla="*/ 4068804 h 112"/>
                <a:gd name="T74" fmla="*/ 1543795 w 108"/>
                <a:gd name="T75" fmla="*/ 3986720 h 112"/>
                <a:gd name="T76" fmla="*/ 1429547 w 108"/>
                <a:gd name="T77" fmla="*/ 3820409 h 112"/>
                <a:gd name="T78" fmla="*/ 1245728 w 108"/>
                <a:gd name="T79" fmla="*/ 4028805 h 11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8"/>
                <a:gd name="T121" fmla="*/ 0 h 112"/>
                <a:gd name="T122" fmla="*/ 108 w 108"/>
                <a:gd name="T123" fmla="*/ 112 h 11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8" h="112">
                  <a:moveTo>
                    <a:pt x="35" y="110"/>
                  </a:moveTo>
                  <a:cubicBezTo>
                    <a:pt x="34" y="108"/>
                    <a:pt x="34" y="107"/>
                    <a:pt x="33" y="106"/>
                  </a:cubicBezTo>
                  <a:cubicBezTo>
                    <a:pt x="32" y="105"/>
                    <a:pt x="32" y="105"/>
                    <a:pt x="32" y="105"/>
                  </a:cubicBezTo>
                  <a:cubicBezTo>
                    <a:pt x="31" y="104"/>
                    <a:pt x="31" y="103"/>
                    <a:pt x="30" y="102"/>
                  </a:cubicBezTo>
                  <a:cubicBezTo>
                    <a:pt x="29" y="101"/>
                    <a:pt x="29" y="99"/>
                    <a:pt x="29" y="98"/>
                  </a:cubicBezTo>
                  <a:cubicBezTo>
                    <a:pt x="28" y="97"/>
                    <a:pt x="27" y="97"/>
                    <a:pt x="27" y="96"/>
                  </a:cubicBezTo>
                  <a:cubicBezTo>
                    <a:pt x="27" y="94"/>
                    <a:pt x="28" y="92"/>
                    <a:pt x="27" y="90"/>
                  </a:cubicBezTo>
                  <a:cubicBezTo>
                    <a:pt x="27" y="89"/>
                    <a:pt x="25" y="88"/>
                    <a:pt x="25" y="87"/>
                  </a:cubicBezTo>
                  <a:cubicBezTo>
                    <a:pt x="24" y="87"/>
                    <a:pt x="24" y="86"/>
                    <a:pt x="24" y="85"/>
                  </a:cubicBezTo>
                  <a:cubicBezTo>
                    <a:pt x="24" y="85"/>
                    <a:pt x="24" y="84"/>
                    <a:pt x="23" y="85"/>
                  </a:cubicBezTo>
                  <a:cubicBezTo>
                    <a:pt x="23" y="84"/>
                    <a:pt x="23" y="83"/>
                    <a:pt x="23" y="82"/>
                  </a:cubicBezTo>
                  <a:cubicBezTo>
                    <a:pt x="23" y="82"/>
                    <a:pt x="23" y="82"/>
                    <a:pt x="23" y="82"/>
                  </a:cubicBezTo>
                  <a:cubicBezTo>
                    <a:pt x="23" y="79"/>
                    <a:pt x="24" y="77"/>
                    <a:pt x="23" y="74"/>
                  </a:cubicBezTo>
                  <a:cubicBezTo>
                    <a:pt x="23" y="73"/>
                    <a:pt x="22" y="73"/>
                    <a:pt x="22" y="72"/>
                  </a:cubicBezTo>
                  <a:cubicBezTo>
                    <a:pt x="21" y="67"/>
                    <a:pt x="21" y="62"/>
                    <a:pt x="22" y="58"/>
                  </a:cubicBezTo>
                  <a:cubicBezTo>
                    <a:pt x="22" y="57"/>
                    <a:pt x="22" y="57"/>
                    <a:pt x="22" y="57"/>
                  </a:cubicBezTo>
                  <a:cubicBezTo>
                    <a:pt x="22" y="55"/>
                    <a:pt x="22" y="53"/>
                    <a:pt x="22" y="51"/>
                  </a:cubicBezTo>
                  <a:cubicBezTo>
                    <a:pt x="22" y="50"/>
                    <a:pt x="21" y="49"/>
                    <a:pt x="20" y="48"/>
                  </a:cubicBezTo>
                  <a:cubicBezTo>
                    <a:pt x="19" y="47"/>
                    <a:pt x="18" y="46"/>
                    <a:pt x="17" y="44"/>
                  </a:cubicBezTo>
                  <a:cubicBezTo>
                    <a:pt x="17" y="43"/>
                    <a:pt x="17" y="42"/>
                    <a:pt x="16" y="42"/>
                  </a:cubicBezTo>
                  <a:cubicBezTo>
                    <a:pt x="15" y="41"/>
                    <a:pt x="15" y="39"/>
                    <a:pt x="14" y="38"/>
                  </a:cubicBezTo>
                  <a:cubicBezTo>
                    <a:pt x="14" y="38"/>
                    <a:pt x="13" y="38"/>
                    <a:pt x="13" y="37"/>
                  </a:cubicBezTo>
                  <a:cubicBezTo>
                    <a:pt x="13" y="37"/>
                    <a:pt x="12" y="36"/>
                    <a:pt x="12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2" y="32"/>
                    <a:pt x="12" y="30"/>
                    <a:pt x="10" y="28"/>
                  </a:cubicBezTo>
                  <a:cubicBezTo>
                    <a:pt x="10" y="27"/>
                    <a:pt x="9" y="26"/>
                    <a:pt x="9" y="26"/>
                  </a:cubicBezTo>
                  <a:cubicBezTo>
                    <a:pt x="8" y="25"/>
                    <a:pt x="8" y="24"/>
                    <a:pt x="7" y="23"/>
                  </a:cubicBezTo>
                  <a:cubicBezTo>
                    <a:pt x="6" y="21"/>
                    <a:pt x="6" y="19"/>
                    <a:pt x="5" y="18"/>
                  </a:cubicBezTo>
                  <a:cubicBezTo>
                    <a:pt x="5" y="16"/>
                    <a:pt x="3" y="15"/>
                    <a:pt x="2" y="14"/>
                  </a:cubicBezTo>
                  <a:cubicBezTo>
                    <a:pt x="1" y="12"/>
                    <a:pt x="1" y="11"/>
                    <a:pt x="1" y="9"/>
                  </a:cubicBezTo>
                  <a:cubicBezTo>
                    <a:pt x="0" y="8"/>
                    <a:pt x="0" y="6"/>
                    <a:pt x="0" y="5"/>
                  </a:cubicBezTo>
                  <a:cubicBezTo>
                    <a:pt x="1" y="4"/>
                    <a:pt x="1" y="3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4" y="3"/>
                    <a:pt x="6" y="3"/>
                    <a:pt x="7" y="2"/>
                  </a:cubicBezTo>
                  <a:cubicBezTo>
                    <a:pt x="9" y="2"/>
                    <a:pt x="10" y="1"/>
                    <a:pt x="11" y="0"/>
                  </a:cubicBezTo>
                  <a:cubicBezTo>
                    <a:pt x="12" y="0"/>
                    <a:pt x="12" y="0"/>
                    <a:pt x="13" y="1"/>
                  </a:cubicBezTo>
                  <a:cubicBezTo>
                    <a:pt x="14" y="1"/>
                    <a:pt x="14" y="2"/>
                    <a:pt x="15" y="2"/>
                  </a:cubicBezTo>
                  <a:cubicBezTo>
                    <a:pt x="16" y="3"/>
                    <a:pt x="18" y="4"/>
                    <a:pt x="19" y="4"/>
                  </a:cubicBezTo>
                  <a:cubicBezTo>
                    <a:pt x="25" y="4"/>
                    <a:pt x="31" y="4"/>
                    <a:pt x="37" y="4"/>
                  </a:cubicBezTo>
                  <a:cubicBezTo>
                    <a:pt x="39" y="3"/>
                    <a:pt x="41" y="2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4"/>
                    <a:pt x="49" y="3"/>
                    <a:pt x="52" y="4"/>
                  </a:cubicBezTo>
                  <a:cubicBezTo>
                    <a:pt x="53" y="5"/>
                    <a:pt x="54" y="6"/>
                    <a:pt x="56" y="7"/>
                  </a:cubicBezTo>
                  <a:cubicBezTo>
                    <a:pt x="58" y="8"/>
                    <a:pt x="61" y="7"/>
                    <a:pt x="63" y="7"/>
                  </a:cubicBezTo>
                  <a:cubicBezTo>
                    <a:pt x="65" y="8"/>
                    <a:pt x="66" y="9"/>
                    <a:pt x="68" y="9"/>
                  </a:cubicBezTo>
                  <a:cubicBezTo>
                    <a:pt x="70" y="9"/>
                    <a:pt x="71" y="9"/>
                    <a:pt x="73" y="8"/>
                  </a:cubicBezTo>
                  <a:cubicBezTo>
                    <a:pt x="74" y="8"/>
                    <a:pt x="75" y="8"/>
                    <a:pt x="75" y="8"/>
                  </a:cubicBezTo>
                  <a:cubicBezTo>
                    <a:pt x="76" y="8"/>
                    <a:pt x="76" y="9"/>
                    <a:pt x="77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8" y="9"/>
                    <a:pt x="79" y="9"/>
                    <a:pt x="80" y="9"/>
                  </a:cubicBezTo>
                  <a:cubicBezTo>
                    <a:pt x="84" y="8"/>
                    <a:pt x="89" y="7"/>
                    <a:pt x="93" y="5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5" y="5"/>
                    <a:pt x="97" y="5"/>
                    <a:pt x="99" y="5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2" y="5"/>
                    <a:pt x="104" y="4"/>
                    <a:pt x="105" y="4"/>
                  </a:cubicBezTo>
                  <a:cubicBezTo>
                    <a:pt x="106" y="5"/>
                    <a:pt x="106" y="7"/>
                    <a:pt x="108" y="7"/>
                  </a:cubicBezTo>
                  <a:cubicBezTo>
                    <a:pt x="107" y="7"/>
                    <a:pt x="106" y="8"/>
                    <a:pt x="106" y="8"/>
                  </a:cubicBezTo>
                  <a:cubicBezTo>
                    <a:pt x="104" y="9"/>
                    <a:pt x="101" y="8"/>
                    <a:pt x="99" y="9"/>
                  </a:cubicBezTo>
                  <a:cubicBezTo>
                    <a:pt x="99" y="9"/>
                    <a:pt x="98" y="10"/>
                    <a:pt x="97" y="11"/>
                  </a:cubicBezTo>
                  <a:cubicBezTo>
                    <a:pt x="96" y="13"/>
                    <a:pt x="96" y="14"/>
                    <a:pt x="94" y="13"/>
                  </a:cubicBezTo>
                  <a:cubicBezTo>
                    <a:pt x="93" y="13"/>
                    <a:pt x="93" y="11"/>
                    <a:pt x="92" y="10"/>
                  </a:cubicBezTo>
                  <a:cubicBezTo>
                    <a:pt x="90" y="9"/>
                    <a:pt x="87" y="10"/>
                    <a:pt x="84" y="11"/>
                  </a:cubicBezTo>
                  <a:cubicBezTo>
                    <a:pt x="81" y="11"/>
                    <a:pt x="78" y="11"/>
                    <a:pt x="74" y="12"/>
                  </a:cubicBezTo>
                  <a:cubicBezTo>
                    <a:pt x="72" y="14"/>
                    <a:pt x="73" y="17"/>
                    <a:pt x="73" y="19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4" y="108"/>
                    <a:pt x="63" y="108"/>
                    <a:pt x="63" y="108"/>
                  </a:cubicBezTo>
                  <a:cubicBezTo>
                    <a:pt x="63" y="109"/>
                    <a:pt x="62" y="108"/>
                    <a:pt x="61" y="109"/>
                  </a:cubicBezTo>
                  <a:cubicBezTo>
                    <a:pt x="60" y="110"/>
                    <a:pt x="60" y="111"/>
                    <a:pt x="59" y="112"/>
                  </a:cubicBezTo>
                  <a:cubicBezTo>
                    <a:pt x="57" y="112"/>
                    <a:pt x="55" y="112"/>
                    <a:pt x="54" y="111"/>
                  </a:cubicBezTo>
                  <a:cubicBezTo>
                    <a:pt x="53" y="110"/>
                    <a:pt x="52" y="111"/>
                    <a:pt x="51" y="111"/>
                  </a:cubicBezTo>
                  <a:cubicBezTo>
                    <a:pt x="49" y="112"/>
                    <a:pt x="46" y="112"/>
                    <a:pt x="44" y="111"/>
                  </a:cubicBezTo>
                  <a:cubicBezTo>
                    <a:pt x="44" y="110"/>
                    <a:pt x="43" y="110"/>
                    <a:pt x="43" y="109"/>
                  </a:cubicBezTo>
                  <a:cubicBezTo>
                    <a:pt x="42" y="108"/>
                    <a:pt x="43" y="106"/>
                    <a:pt x="42" y="105"/>
                  </a:cubicBezTo>
                  <a:cubicBezTo>
                    <a:pt x="42" y="104"/>
                    <a:pt x="41" y="104"/>
                    <a:pt x="40" y="104"/>
                  </a:cubicBezTo>
                  <a:cubicBezTo>
                    <a:pt x="39" y="106"/>
                    <a:pt x="37" y="107"/>
                    <a:pt x="36" y="108"/>
                  </a:cubicBezTo>
                  <a:lnTo>
                    <a:pt x="35" y="11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2" name="Freeform 384"/>
            <p:cNvSpPr>
              <a:spLocks/>
            </p:cNvSpPr>
            <p:nvPr/>
          </p:nvSpPr>
          <p:spPr bwMode="auto">
            <a:xfrm>
              <a:off x="7145518" y="5614003"/>
              <a:ext cx="25373" cy="19942"/>
            </a:xfrm>
            <a:custGeom>
              <a:avLst/>
              <a:gdLst>
                <a:gd name="T0" fmla="*/ 764011 w 19"/>
                <a:gd name="T1" fmla="*/ 85938 h 19"/>
                <a:gd name="T2" fmla="*/ 596847 w 19"/>
                <a:gd name="T3" fmla="*/ 0 h 19"/>
                <a:gd name="T4" fmla="*/ 508384 w 19"/>
                <a:gd name="T5" fmla="*/ 0 h 19"/>
                <a:gd name="T6" fmla="*/ 306489 w 19"/>
                <a:gd name="T7" fmla="*/ 85938 h 19"/>
                <a:gd name="T8" fmla="*/ 214205 w 19"/>
                <a:gd name="T9" fmla="*/ 85938 h 19"/>
                <a:gd name="T10" fmla="*/ 178819 w 19"/>
                <a:gd name="T11" fmla="*/ 162830 h 19"/>
                <a:gd name="T12" fmla="*/ 47154 w 19"/>
                <a:gd name="T13" fmla="*/ 248591 h 19"/>
                <a:gd name="T14" fmla="*/ 91826 w 19"/>
                <a:gd name="T15" fmla="*/ 393995 h 19"/>
                <a:gd name="T16" fmla="*/ 306489 w 19"/>
                <a:gd name="T17" fmla="*/ 521731 h 19"/>
                <a:gd name="T18" fmla="*/ 348226 w 19"/>
                <a:gd name="T19" fmla="*/ 521731 h 19"/>
                <a:gd name="T20" fmla="*/ 464327 w 19"/>
                <a:gd name="T21" fmla="*/ 438357 h 19"/>
                <a:gd name="T22" fmla="*/ 678124 w 19"/>
                <a:gd name="T23" fmla="*/ 335869 h 19"/>
                <a:gd name="T24" fmla="*/ 722620 w 19"/>
                <a:gd name="T25" fmla="*/ 248591 h 19"/>
                <a:gd name="T26" fmla="*/ 764011 w 19"/>
                <a:gd name="T27" fmla="*/ 112669 h 19"/>
                <a:gd name="T28" fmla="*/ 764011 w 19"/>
                <a:gd name="T29" fmla="*/ 85938 h 1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"/>
                <a:gd name="T46" fmla="*/ 0 h 19"/>
                <a:gd name="T47" fmla="*/ 19 w 19"/>
                <a:gd name="T48" fmla="*/ 19 h 1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" h="19">
                  <a:moveTo>
                    <a:pt x="18" y="3"/>
                  </a:moveTo>
                  <a:cubicBezTo>
                    <a:pt x="16" y="2"/>
                    <a:pt x="15" y="1"/>
                    <a:pt x="14" y="0"/>
                  </a:cubicBezTo>
                  <a:cubicBezTo>
                    <a:pt x="13" y="0"/>
                    <a:pt x="12" y="0"/>
                    <a:pt x="12" y="0"/>
                  </a:cubicBezTo>
                  <a:cubicBezTo>
                    <a:pt x="10" y="1"/>
                    <a:pt x="9" y="2"/>
                    <a:pt x="7" y="3"/>
                  </a:cubicBezTo>
                  <a:cubicBezTo>
                    <a:pt x="7" y="3"/>
                    <a:pt x="6" y="3"/>
                    <a:pt x="5" y="3"/>
                  </a:cubicBezTo>
                  <a:cubicBezTo>
                    <a:pt x="5" y="4"/>
                    <a:pt x="5" y="5"/>
                    <a:pt x="4" y="6"/>
                  </a:cubicBezTo>
                  <a:cubicBezTo>
                    <a:pt x="4" y="7"/>
                    <a:pt x="2" y="8"/>
                    <a:pt x="1" y="9"/>
                  </a:cubicBezTo>
                  <a:cubicBezTo>
                    <a:pt x="0" y="11"/>
                    <a:pt x="1" y="13"/>
                    <a:pt x="2" y="14"/>
                  </a:cubicBezTo>
                  <a:cubicBezTo>
                    <a:pt x="4" y="15"/>
                    <a:pt x="5" y="18"/>
                    <a:pt x="7" y="19"/>
                  </a:cubicBezTo>
                  <a:cubicBezTo>
                    <a:pt x="7" y="19"/>
                    <a:pt x="8" y="19"/>
                    <a:pt x="8" y="19"/>
                  </a:cubicBezTo>
                  <a:cubicBezTo>
                    <a:pt x="9" y="18"/>
                    <a:pt x="9" y="16"/>
                    <a:pt x="11" y="16"/>
                  </a:cubicBezTo>
                  <a:cubicBezTo>
                    <a:pt x="13" y="15"/>
                    <a:pt x="15" y="14"/>
                    <a:pt x="16" y="12"/>
                  </a:cubicBezTo>
                  <a:cubicBezTo>
                    <a:pt x="16" y="11"/>
                    <a:pt x="16" y="10"/>
                    <a:pt x="17" y="9"/>
                  </a:cubicBezTo>
                  <a:cubicBezTo>
                    <a:pt x="18" y="7"/>
                    <a:pt x="19" y="6"/>
                    <a:pt x="18" y="4"/>
                  </a:cubicBezTo>
                  <a:lnTo>
                    <a:pt x="18" y="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3" name="Freeform 385"/>
            <p:cNvSpPr>
              <a:spLocks/>
            </p:cNvSpPr>
            <p:nvPr/>
          </p:nvSpPr>
          <p:spPr bwMode="auto">
            <a:xfrm>
              <a:off x="7187565" y="5583786"/>
              <a:ext cx="15949" cy="17525"/>
            </a:xfrm>
            <a:custGeom>
              <a:avLst/>
              <a:gdLst>
                <a:gd name="T0" fmla="*/ 364036 w 12"/>
                <a:gd name="T1" fmla="*/ 655360 h 15"/>
                <a:gd name="T2" fmla="*/ 364036 w 12"/>
                <a:gd name="T3" fmla="*/ 327680 h 15"/>
                <a:gd name="T4" fmla="*/ 324497 w 12"/>
                <a:gd name="T5" fmla="*/ 131072 h 15"/>
                <a:gd name="T6" fmla="*/ 206699 w 12"/>
                <a:gd name="T7" fmla="*/ 0 h 15"/>
                <a:gd name="T8" fmla="*/ 107843 w 12"/>
                <a:gd name="T9" fmla="*/ 65536 h 15"/>
                <a:gd name="T10" fmla="*/ 107843 w 12"/>
                <a:gd name="T11" fmla="*/ 196608 h 15"/>
                <a:gd name="T12" fmla="*/ 0 w 12"/>
                <a:gd name="T13" fmla="*/ 393216 h 15"/>
                <a:gd name="T14" fmla="*/ 0 w 12"/>
                <a:gd name="T15" fmla="*/ 524288 h 15"/>
                <a:gd name="T16" fmla="*/ 37331 w 12"/>
                <a:gd name="T17" fmla="*/ 589824 h 15"/>
                <a:gd name="T18" fmla="*/ 71551 w 12"/>
                <a:gd name="T19" fmla="*/ 786432 h 15"/>
                <a:gd name="T20" fmla="*/ 169303 w 12"/>
                <a:gd name="T21" fmla="*/ 983040 h 15"/>
                <a:gd name="T22" fmla="*/ 225482 w 12"/>
                <a:gd name="T23" fmla="*/ 983040 h 15"/>
                <a:gd name="T24" fmla="*/ 324497 w 12"/>
                <a:gd name="T25" fmla="*/ 720896 h 15"/>
                <a:gd name="T26" fmla="*/ 364036 w 12"/>
                <a:gd name="T27" fmla="*/ 655360 h 1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15"/>
                <a:gd name="T44" fmla="*/ 12 w 12"/>
                <a:gd name="T45" fmla="*/ 15 h 1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15">
                  <a:moveTo>
                    <a:pt x="11" y="10"/>
                  </a:moveTo>
                  <a:cubicBezTo>
                    <a:pt x="11" y="8"/>
                    <a:pt x="12" y="6"/>
                    <a:pt x="11" y="5"/>
                  </a:cubicBezTo>
                  <a:cubicBezTo>
                    <a:pt x="10" y="3"/>
                    <a:pt x="10" y="3"/>
                    <a:pt x="10" y="2"/>
                  </a:cubicBezTo>
                  <a:cubicBezTo>
                    <a:pt x="8" y="2"/>
                    <a:pt x="7" y="1"/>
                    <a:pt x="6" y="0"/>
                  </a:cubicBezTo>
                  <a:cubicBezTo>
                    <a:pt x="5" y="0"/>
                    <a:pt x="4" y="0"/>
                    <a:pt x="3" y="1"/>
                  </a:cubicBezTo>
                  <a:cubicBezTo>
                    <a:pt x="3" y="2"/>
                    <a:pt x="3" y="2"/>
                    <a:pt x="3" y="3"/>
                  </a:cubicBezTo>
                  <a:cubicBezTo>
                    <a:pt x="2" y="4"/>
                    <a:pt x="1" y="4"/>
                    <a:pt x="0" y="6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1" y="10"/>
                    <a:pt x="2" y="11"/>
                    <a:pt x="2" y="12"/>
                  </a:cubicBezTo>
                  <a:cubicBezTo>
                    <a:pt x="3" y="13"/>
                    <a:pt x="4" y="14"/>
                    <a:pt x="5" y="15"/>
                  </a:cubicBezTo>
                  <a:cubicBezTo>
                    <a:pt x="5" y="15"/>
                    <a:pt x="6" y="15"/>
                    <a:pt x="7" y="15"/>
                  </a:cubicBezTo>
                  <a:cubicBezTo>
                    <a:pt x="8" y="14"/>
                    <a:pt x="9" y="12"/>
                    <a:pt x="10" y="11"/>
                  </a:cubicBezTo>
                  <a:cubicBezTo>
                    <a:pt x="10" y="10"/>
                    <a:pt x="11" y="10"/>
                    <a:pt x="11" y="1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4" name="Freeform 386"/>
            <p:cNvSpPr>
              <a:spLocks/>
            </p:cNvSpPr>
            <p:nvPr/>
          </p:nvSpPr>
          <p:spPr bwMode="auto">
            <a:xfrm>
              <a:off x="7186115" y="5430889"/>
              <a:ext cx="111646" cy="164379"/>
            </a:xfrm>
            <a:custGeom>
              <a:avLst/>
              <a:gdLst>
                <a:gd name="T0" fmla="*/ 2943728 w 83"/>
                <a:gd name="T1" fmla="*/ 223783 h 152"/>
                <a:gd name="T2" fmla="*/ 2943728 w 83"/>
                <a:gd name="T3" fmla="*/ 623907 h 152"/>
                <a:gd name="T4" fmla="*/ 2943728 w 83"/>
                <a:gd name="T5" fmla="*/ 791863 h 152"/>
                <a:gd name="T6" fmla="*/ 2983387 w 83"/>
                <a:gd name="T7" fmla="*/ 1202663 h 152"/>
                <a:gd name="T8" fmla="*/ 3014251 w 83"/>
                <a:gd name="T9" fmla="*/ 1378976 h 152"/>
                <a:gd name="T10" fmla="*/ 2983387 w 83"/>
                <a:gd name="T11" fmla="*/ 1526420 h 152"/>
                <a:gd name="T12" fmla="*/ 2943728 w 83"/>
                <a:gd name="T13" fmla="*/ 1645503 h 152"/>
                <a:gd name="T14" fmla="*/ 2909608 w 83"/>
                <a:gd name="T15" fmla="*/ 1710547 h 152"/>
                <a:gd name="T16" fmla="*/ 2625455 w 83"/>
                <a:gd name="T17" fmla="*/ 2034243 h 152"/>
                <a:gd name="T18" fmla="*/ 2279563 w 83"/>
                <a:gd name="T19" fmla="*/ 2258059 h 152"/>
                <a:gd name="T20" fmla="*/ 1887655 w 83"/>
                <a:gd name="T21" fmla="*/ 2499963 h 152"/>
                <a:gd name="T22" fmla="*/ 1685710 w 83"/>
                <a:gd name="T23" fmla="*/ 2768935 h 152"/>
                <a:gd name="T24" fmla="*/ 1603520 w 83"/>
                <a:gd name="T25" fmla="*/ 2826091 h 152"/>
                <a:gd name="T26" fmla="*/ 1340000 w 83"/>
                <a:gd name="T27" fmla="*/ 3129400 h 152"/>
                <a:gd name="T28" fmla="*/ 1242976 w 83"/>
                <a:gd name="T29" fmla="*/ 3331419 h 152"/>
                <a:gd name="T30" fmla="*/ 1297677 w 83"/>
                <a:gd name="T31" fmla="*/ 3714042 h 152"/>
                <a:gd name="T32" fmla="*/ 1422236 w 83"/>
                <a:gd name="T33" fmla="*/ 3921270 h 152"/>
                <a:gd name="T34" fmla="*/ 1422236 w 83"/>
                <a:gd name="T35" fmla="*/ 4352704 h 152"/>
                <a:gd name="T36" fmla="*/ 1242976 w 83"/>
                <a:gd name="T37" fmla="*/ 4795454 h 152"/>
                <a:gd name="T38" fmla="*/ 874462 w 83"/>
                <a:gd name="T39" fmla="*/ 4937362 h 152"/>
                <a:gd name="T40" fmla="*/ 655466 w 83"/>
                <a:gd name="T41" fmla="*/ 5058903 h 152"/>
                <a:gd name="T42" fmla="*/ 547655 w 83"/>
                <a:gd name="T43" fmla="*/ 5163597 h 152"/>
                <a:gd name="T44" fmla="*/ 624106 w 83"/>
                <a:gd name="T45" fmla="*/ 5282778 h 152"/>
                <a:gd name="T46" fmla="*/ 624106 w 83"/>
                <a:gd name="T47" fmla="*/ 5524472 h 152"/>
                <a:gd name="T48" fmla="*/ 431510 w 83"/>
                <a:gd name="T49" fmla="*/ 5524472 h 152"/>
                <a:gd name="T50" fmla="*/ 389072 w 83"/>
                <a:gd name="T51" fmla="*/ 5240459 h 152"/>
                <a:gd name="T52" fmla="*/ 431510 w 83"/>
                <a:gd name="T53" fmla="*/ 4900178 h 152"/>
                <a:gd name="T54" fmla="*/ 284096 w 83"/>
                <a:gd name="T55" fmla="*/ 4282076 h 152"/>
                <a:gd name="T56" fmla="*/ 244416 w 83"/>
                <a:gd name="T57" fmla="*/ 3960866 h 152"/>
                <a:gd name="T58" fmla="*/ 547655 w 83"/>
                <a:gd name="T59" fmla="*/ 3679706 h 152"/>
                <a:gd name="T60" fmla="*/ 547655 w 83"/>
                <a:gd name="T61" fmla="*/ 3373746 h 152"/>
                <a:gd name="T62" fmla="*/ 695125 w 83"/>
                <a:gd name="T63" fmla="*/ 3049871 h 152"/>
                <a:gd name="T64" fmla="*/ 655466 w 83"/>
                <a:gd name="T65" fmla="*/ 2768935 h 152"/>
                <a:gd name="T66" fmla="*/ 737785 w 83"/>
                <a:gd name="T67" fmla="*/ 2394724 h 152"/>
                <a:gd name="T68" fmla="*/ 737785 w 83"/>
                <a:gd name="T69" fmla="*/ 2221418 h 152"/>
                <a:gd name="T70" fmla="*/ 590379 w 83"/>
                <a:gd name="T71" fmla="*/ 1926739 h 152"/>
                <a:gd name="T72" fmla="*/ 187059 w 83"/>
                <a:gd name="T73" fmla="*/ 1886864 h 152"/>
                <a:gd name="T74" fmla="*/ 0 w 83"/>
                <a:gd name="T75" fmla="*/ 1750203 h 152"/>
                <a:gd name="T76" fmla="*/ 0 w 83"/>
                <a:gd name="T77" fmla="*/ 1486767 h 152"/>
                <a:gd name="T78" fmla="*/ 750018 w 83"/>
                <a:gd name="T79" fmla="*/ 1171416 h 152"/>
                <a:gd name="T80" fmla="*/ 831826 w 83"/>
                <a:gd name="T81" fmla="*/ 1202663 h 152"/>
                <a:gd name="T82" fmla="*/ 874462 w 83"/>
                <a:gd name="T83" fmla="*/ 1296909 h 152"/>
                <a:gd name="T84" fmla="*/ 1172048 w 83"/>
                <a:gd name="T85" fmla="*/ 1339432 h 152"/>
                <a:gd name="T86" fmla="*/ 1138080 w 83"/>
                <a:gd name="T87" fmla="*/ 1685158 h 152"/>
                <a:gd name="T88" fmla="*/ 1297677 w 83"/>
                <a:gd name="T89" fmla="*/ 2074072 h 152"/>
                <a:gd name="T90" fmla="*/ 1422236 w 83"/>
                <a:gd name="T91" fmla="*/ 1926739 h 152"/>
                <a:gd name="T92" fmla="*/ 1563643 w 83"/>
                <a:gd name="T93" fmla="*/ 1770772 h 152"/>
                <a:gd name="T94" fmla="*/ 1487400 w 83"/>
                <a:gd name="T95" fmla="*/ 1171416 h 152"/>
                <a:gd name="T96" fmla="*/ 1340000 w 83"/>
                <a:gd name="T97" fmla="*/ 1094958 h 152"/>
                <a:gd name="T98" fmla="*/ 1242976 w 83"/>
                <a:gd name="T99" fmla="*/ 360473 h 152"/>
                <a:gd name="T100" fmla="*/ 1646051 w 83"/>
                <a:gd name="T101" fmla="*/ 284008 h 152"/>
                <a:gd name="T102" fmla="*/ 1847998 w 83"/>
                <a:gd name="T103" fmla="*/ 388680 h 152"/>
                <a:gd name="T104" fmla="*/ 2074689 w 83"/>
                <a:gd name="T105" fmla="*/ 388680 h 152"/>
                <a:gd name="T106" fmla="*/ 2259370 w 83"/>
                <a:gd name="T107" fmla="*/ 244352 h 152"/>
                <a:gd name="T108" fmla="*/ 2501546 w 83"/>
                <a:gd name="T109" fmla="*/ 223783 h 152"/>
                <a:gd name="T110" fmla="*/ 2772908 w 83"/>
                <a:gd name="T111" fmla="*/ 116092 h 152"/>
                <a:gd name="T112" fmla="*/ 2943728 w 83"/>
                <a:gd name="T113" fmla="*/ 0 h 15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3"/>
                <a:gd name="T172" fmla="*/ 0 h 152"/>
                <a:gd name="T173" fmla="*/ 83 w 83"/>
                <a:gd name="T174" fmla="*/ 152 h 15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3" h="152">
                  <a:moveTo>
                    <a:pt x="81" y="0"/>
                  </a:moveTo>
                  <a:cubicBezTo>
                    <a:pt x="81" y="2"/>
                    <a:pt x="81" y="4"/>
                    <a:pt x="81" y="6"/>
                  </a:cubicBezTo>
                  <a:cubicBezTo>
                    <a:pt x="81" y="8"/>
                    <a:pt x="81" y="9"/>
                    <a:pt x="81" y="10"/>
                  </a:cubicBezTo>
                  <a:cubicBezTo>
                    <a:pt x="80" y="12"/>
                    <a:pt x="80" y="15"/>
                    <a:pt x="81" y="17"/>
                  </a:cubicBezTo>
                  <a:cubicBezTo>
                    <a:pt x="81" y="18"/>
                    <a:pt x="81" y="18"/>
                    <a:pt x="82" y="19"/>
                  </a:cubicBezTo>
                  <a:cubicBezTo>
                    <a:pt x="82" y="20"/>
                    <a:pt x="82" y="21"/>
                    <a:pt x="81" y="22"/>
                  </a:cubicBezTo>
                  <a:cubicBezTo>
                    <a:pt x="81" y="23"/>
                    <a:pt x="81" y="24"/>
                    <a:pt x="81" y="25"/>
                  </a:cubicBezTo>
                  <a:cubicBezTo>
                    <a:pt x="82" y="27"/>
                    <a:pt x="81" y="30"/>
                    <a:pt x="82" y="33"/>
                  </a:cubicBezTo>
                  <a:cubicBezTo>
                    <a:pt x="82" y="33"/>
                    <a:pt x="83" y="34"/>
                    <a:pt x="83" y="34"/>
                  </a:cubicBezTo>
                  <a:cubicBezTo>
                    <a:pt x="83" y="36"/>
                    <a:pt x="83" y="37"/>
                    <a:pt x="83" y="38"/>
                  </a:cubicBezTo>
                  <a:cubicBezTo>
                    <a:pt x="83" y="39"/>
                    <a:pt x="82" y="39"/>
                    <a:pt x="82" y="40"/>
                  </a:cubicBezTo>
                  <a:cubicBezTo>
                    <a:pt x="82" y="40"/>
                    <a:pt x="82" y="41"/>
                    <a:pt x="82" y="42"/>
                  </a:cubicBezTo>
                  <a:cubicBezTo>
                    <a:pt x="82" y="43"/>
                    <a:pt x="81" y="44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6"/>
                    <a:pt x="80" y="46"/>
                    <a:pt x="80" y="47"/>
                  </a:cubicBezTo>
                  <a:cubicBezTo>
                    <a:pt x="78" y="49"/>
                    <a:pt x="76" y="51"/>
                    <a:pt x="74" y="53"/>
                  </a:cubicBezTo>
                  <a:cubicBezTo>
                    <a:pt x="73" y="54"/>
                    <a:pt x="72" y="55"/>
                    <a:pt x="72" y="56"/>
                  </a:cubicBezTo>
                  <a:cubicBezTo>
                    <a:pt x="70" y="58"/>
                    <a:pt x="69" y="60"/>
                    <a:pt x="67" y="61"/>
                  </a:cubicBezTo>
                  <a:cubicBezTo>
                    <a:pt x="65" y="62"/>
                    <a:pt x="64" y="61"/>
                    <a:pt x="63" y="62"/>
                  </a:cubicBezTo>
                  <a:cubicBezTo>
                    <a:pt x="62" y="62"/>
                    <a:pt x="62" y="62"/>
                    <a:pt x="61" y="62"/>
                  </a:cubicBezTo>
                  <a:cubicBezTo>
                    <a:pt x="58" y="64"/>
                    <a:pt x="54" y="66"/>
                    <a:pt x="52" y="69"/>
                  </a:cubicBezTo>
                  <a:cubicBezTo>
                    <a:pt x="51" y="70"/>
                    <a:pt x="50" y="71"/>
                    <a:pt x="49" y="73"/>
                  </a:cubicBezTo>
                  <a:cubicBezTo>
                    <a:pt x="48" y="74"/>
                    <a:pt x="47" y="75"/>
                    <a:pt x="46" y="76"/>
                  </a:cubicBezTo>
                  <a:cubicBezTo>
                    <a:pt x="45" y="76"/>
                    <a:pt x="45" y="76"/>
                    <a:pt x="45" y="77"/>
                  </a:cubicBezTo>
                  <a:cubicBezTo>
                    <a:pt x="45" y="77"/>
                    <a:pt x="44" y="77"/>
                    <a:pt x="44" y="78"/>
                  </a:cubicBezTo>
                  <a:cubicBezTo>
                    <a:pt x="42" y="80"/>
                    <a:pt x="40" y="82"/>
                    <a:pt x="39" y="84"/>
                  </a:cubicBezTo>
                  <a:cubicBezTo>
                    <a:pt x="38" y="85"/>
                    <a:pt x="38" y="85"/>
                    <a:pt x="37" y="86"/>
                  </a:cubicBezTo>
                  <a:cubicBezTo>
                    <a:pt x="36" y="86"/>
                    <a:pt x="34" y="87"/>
                    <a:pt x="34" y="88"/>
                  </a:cubicBezTo>
                  <a:cubicBezTo>
                    <a:pt x="33" y="89"/>
                    <a:pt x="34" y="90"/>
                    <a:pt x="34" y="92"/>
                  </a:cubicBezTo>
                  <a:cubicBezTo>
                    <a:pt x="35" y="93"/>
                    <a:pt x="36" y="93"/>
                    <a:pt x="36" y="94"/>
                  </a:cubicBezTo>
                  <a:cubicBezTo>
                    <a:pt x="37" y="97"/>
                    <a:pt x="36" y="99"/>
                    <a:pt x="36" y="102"/>
                  </a:cubicBezTo>
                  <a:cubicBezTo>
                    <a:pt x="37" y="103"/>
                    <a:pt x="37" y="105"/>
                    <a:pt x="37" y="106"/>
                  </a:cubicBezTo>
                  <a:cubicBezTo>
                    <a:pt x="37" y="107"/>
                    <a:pt x="38" y="108"/>
                    <a:pt x="39" y="108"/>
                  </a:cubicBezTo>
                  <a:cubicBezTo>
                    <a:pt x="39" y="111"/>
                    <a:pt x="40" y="113"/>
                    <a:pt x="39" y="116"/>
                  </a:cubicBezTo>
                  <a:cubicBezTo>
                    <a:pt x="39" y="117"/>
                    <a:pt x="39" y="118"/>
                    <a:pt x="39" y="120"/>
                  </a:cubicBezTo>
                  <a:cubicBezTo>
                    <a:pt x="38" y="122"/>
                    <a:pt x="39" y="124"/>
                    <a:pt x="38" y="127"/>
                  </a:cubicBezTo>
                  <a:cubicBezTo>
                    <a:pt x="37" y="129"/>
                    <a:pt x="36" y="131"/>
                    <a:pt x="34" y="132"/>
                  </a:cubicBezTo>
                  <a:cubicBezTo>
                    <a:pt x="33" y="133"/>
                    <a:pt x="31" y="133"/>
                    <a:pt x="30" y="134"/>
                  </a:cubicBezTo>
                  <a:cubicBezTo>
                    <a:pt x="28" y="134"/>
                    <a:pt x="25" y="135"/>
                    <a:pt x="24" y="136"/>
                  </a:cubicBezTo>
                  <a:cubicBezTo>
                    <a:pt x="22" y="137"/>
                    <a:pt x="21" y="137"/>
                    <a:pt x="20" y="138"/>
                  </a:cubicBezTo>
                  <a:cubicBezTo>
                    <a:pt x="19" y="138"/>
                    <a:pt x="19" y="138"/>
                    <a:pt x="18" y="139"/>
                  </a:cubicBezTo>
                  <a:cubicBezTo>
                    <a:pt x="18" y="139"/>
                    <a:pt x="17" y="139"/>
                    <a:pt x="17" y="140"/>
                  </a:cubicBezTo>
                  <a:cubicBezTo>
                    <a:pt x="16" y="141"/>
                    <a:pt x="15" y="141"/>
                    <a:pt x="15" y="142"/>
                  </a:cubicBezTo>
                  <a:cubicBezTo>
                    <a:pt x="15" y="143"/>
                    <a:pt x="15" y="144"/>
                    <a:pt x="15" y="144"/>
                  </a:cubicBezTo>
                  <a:cubicBezTo>
                    <a:pt x="16" y="145"/>
                    <a:pt x="17" y="144"/>
                    <a:pt x="17" y="145"/>
                  </a:cubicBezTo>
                  <a:cubicBezTo>
                    <a:pt x="18" y="146"/>
                    <a:pt x="17" y="147"/>
                    <a:pt x="17" y="148"/>
                  </a:cubicBezTo>
                  <a:cubicBezTo>
                    <a:pt x="17" y="150"/>
                    <a:pt x="17" y="151"/>
                    <a:pt x="17" y="152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5" y="152"/>
                    <a:pt x="14" y="152"/>
                    <a:pt x="12" y="152"/>
                  </a:cubicBezTo>
                  <a:cubicBezTo>
                    <a:pt x="12" y="150"/>
                    <a:pt x="13" y="148"/>
                    <a:pt x="12" y="147"/>
                  </a:cubicBezTo>
                  <a:cubicBezTo>
                    <a:pt x="11" y="145"/>
                    <a:pt x="11" y="145"/>
                    <a:pt x="11" y="144"/>
                  </a:cubicBezTo>
                  <a:cubicBezTo>
                    <a:pt x="11" y="142"/>
                    <a:pt x="11" y="138"/>
                    <a:pt x="11" y="136"/>
                  </a:cubicBezTo>
                  <a:cubicBezTo>
                    <a:pt x="11" y="136"/>
                    <a:pt x="12" y="135"/>
                    <a:pt x="12" y="135"/>
                  </a:cubicBezTo>
                  <a:cubicBezTo>
                    <a:pt x="13" y="129"/>
                    <a:pt x="10" y="125"/>
                    <a:pt x="8" y="121"/>
                  </a:cubicBezTo>
                  <a:cubicBezTo>
                    <a:pt x="8" y="120"/>
                    <a:pt x="8" y="119"/>
                    <a:pt x="8" y="118"/>
                  </a:cubicBezTo>
                  <a:cubicBezTo>
                    <a:pt x="7" y="115"/>
                    <a:pt x="5" y="112"/>
                    <a:pt x="5" y="109"/>
                  </a:cubicBezTo>
                  <a:cubicBezTo>
                    <a:pt x="6" y="109"/>
                    <a:pt x="6" y="109"/>
                    <a:pt x="7" y="109"/>
                  </a:cubicBezTo>
                  <a:cubicBezTo>
                    <a:pt x="8" y="108"/>
                    <a:pt x="10" y="107"/>
                    <a:pt x="11" y="106"/>
                  </a:cubicBezTo>
                  <a:cubicBezTo>
                    <a:pt x="12" y="104"/>
                    <a:pt x="14" y="103"/>
                    <a:pt x="15" y="101"/>
                  </a:cubicBezTo>
                  <a:cubicBezTo>
                    <a:pt x="16" y="100"/>
                    <a:pt x="15" y="98"/>
                    <a:pt x="15" y="97"/>
                  </a:cubicBezTo>
                  <a:cubicBezTo>
                    <a:pt x="15" y="95"/>
                    <a:pt x="15" y="94"/>
                    <a:pt x="15" y="93"/>
                  </a:cubicBezTo>
                  <a:cubicBezTo>
                    <a:pt x="16" y="90"/>
                    <a:pt x="19" y="89"/>
                    <a:pt x="20" y="87"/>
                  </a:cubicBezTo>
                  <a:cubicBezTo>
                    <a:pt x="21" y="86"/>
                    <a:pt x="20" y="84"/>
                    <a:pt x="19" y="84"/>
                  </a:cubicBezTo>
                  <a:cubicBezTo>
                    <a:pt x="19" y="84"/>
                    <a:pt x="18" y="83"/>
                    <a:pt x="18" y="82"/>
                  </a:cubicBezTo>
                  <a:cubicBezTo>
                    <a:pt x="17" y="80"/>
                    <a:pt x="17" y="78"/>
                    <a:pt x="18" y="76"/>
                  </a:cubicBezTo>
                  <a:cubicBezTo>
                    <a:pt x="18" y="76"/>
                    <a:pt x="19" y="76"/>
                    <a:pt x="19" y="75"/>
                  </a:cubicBezTo>
                  <a:cubicBezTo>
                    <a:pt x="20" y="72"/>
                    <a:pt x="19" y="69"/>
                    <a:pt x="20" y="66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20" y="63"/>
                    <a:pt x="21" y="62"/>
                    <a:pt x="20" y="61"/>
                  </a:cubicBezTo>
                  <a:cubicBezTo>
                    <a:pt x="20" y="60"/>
                    <a:pt x="19" y="58"/>
                    <a:pt x="19" y="57"/>
                  </a:cubicBezTo>
                  <a:cubicBezTo>
                    <a:pt x="18" y="55"/>
                    <a:pt x="17" y="55"/>
                    <a:pt x="16" y="53"/>
                  </a:cubicBezTo>
                  <a:cubicBezTo>
                    <a:pt x="15" y="53"/>
                    <a:pt x="15" y="53"/>
                    <a:pt x="14" y="53"/>
                  </a:cubicBezTo>
                  <a:cubicBezTo>
                    <a:pt x="11" y="52"/>
                    <a:pt x="8" y="53"/>
                    <a:pt x="5" y="52"/>
                  </a:cubicBezTo>
                  <a:cubicBezTo>
                    <a:pt x="3" y="52"/>
                    <a:pt x="2" y="51"/>
                    <a:pt x="1" y="50"/>
                  </a:cubicBezTo>
                  <a:cubicBezTo>
                    <a:pt x="0" y="50"/>
                    <a:pt x="0" y="49"/>
                    <a:pt x="0" y="48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5"/>
                    <a:pt x="0" y="42"/>
                    <a:pt x="0" y="41"/>
                  </a:cubicBezTo>
                  <a:cubicBezTo>
                    <a:pt x="6" y="38"/>
                    <a:pt x="12" y="37"/>
                    <a:pt x="18" y="34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2" y="32"/>
                    <a:pt x="23" y="32"/>
                    <a:pt x="23" y="33"/>
                  </a:cubicBezTo>
                  <a:cubicBezTo>
                    <a:pt x="24" y="33"/>
                    <a:pt x="24" y="34"/>
                    <a:pt x="24" y="35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6" y="37"/>
                    <a:pt x="28" y="38"/>
                    <a:pt x="30" y="37"/>
                  </a:cubicBezTo>
                  <a:cubicBezTo>
                    <a:pt x="31" y="37"/>
                    <a:pt x="32" y="36"/>
                    <a:pt x="32" y="37"/>
                  </a:cubicBezTo>
                  <a:cubicBezTo>
                    <a:pt x="34" y="38"/>
                    <a:pt x="33" y="41"/>
                    <a:pt x="33" y="43"/>
                  </a:cubicBezTo>
                  <a:cubicBezTo>
                    <a:pt x="32" y="44"/>
                    <a:pt x="32" y="45"/>
                    <a:pt x="31" y="46"/>
                  </a:cubicBezTo>
                  <a:cubicBezTo>
                    <a:pt x="31" y="48"/>
                    <a:pt x="31" y="50"/>
                    <a:pt x="31" y="52"/>
                  </a:cubicBezTo>
                  <a:cubicBezTo>
                    <a:pt x="33" y="54"/>
                    <a:pt x="35" y="55"/>
                    <a:pt x="36" y="57"/>
                  </a:cubicBezTo>
                  <a:cubicBezTo>
                    <a:pt x="37" y="58"/>
                    <a:pt x="37" y="58"/>
                    <a:pt x="37" y="57"/>
                  </a:cubicBezTo>
                  <a:cubicBezTo>
                    <a:pt x="38" y="56"/>
                    <a:pt x="37" y="54"/>
                    <a:pt x="39" y="53"/>
                  </a:cubicBezTo>
                  <a:cubicBezTo>
                    <a:pt x="39" y="52"/>
                    <a:pt x="40" y="52"/>
                    <a:pt x="41" y="51"/>
                  </a:cubicBezTo>
                  <a:cubicBezTo>
                    <a:pt x="42" y="50"/>
                    <a:pt x="43" y="50"/>
                    <a:pt x="43" y="49"/>
                  </a:cubicBezTo>
                  <a:cubicBezTo>
                    <a:pt x="44" y="45"/>
                    <a:pt x="44" y="41"/>
                    <a:pt x="43" y="36"/>
                  </a:cubicBezTo>
                  <a:cubicBezTo>
                    <a:pt x="43" y="35"/>
                    <a:pt x="42" y="34"/>
                    <a:pt x="41" y="32"/>
                  </a:cubicBezTo>
                  <a:cubicBezTo>
                    <a:pt x="41" y="32"/>
                    <a:pt x="40" y="32"/>
                    <a:pt x="40" y="31"/>
                  </a:cubicBezTo>
                  <a:cubicBezTo>
                    <a:pt x="39" y="31"/>
                    <a:pt x="38" y="31"/>
                    <a:pt x="37" y="30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6" y="10"/>
                    <a:pt x="38" y="10"/>
                    <a:pt x="40" y="10"/>
                  </a:cubicBezTo>
                  <a:cubicBezTo>
                    <a:pt x="42" y="9"/>
                    <a:pt x="43" y="7"/>
                    <a:pt x="45" y="8"/>
                  </a:cubicBezTo>
                  <a:cubicBezTo>
                    <a:pt x="46" y="8"/>
                    <a:pt x="47" y="10"/>
                    <a:pt x="48" y="10"/>
                  </a:cubicBezTo>
                  <a:cubicBezTo>
                    <a:pt x="49" y="11"/>
                    <a:pt x="50" y="11"/>
                    <a:pt x="51" y="11"/>
                  </a:cubicBezTo>
                  <a:cubicBezTo>
                    <a:pt x="51" y="10"/>
                    <a:pt x="52" y="10"/>
                    <a:pt x="53" y="10"/>
                  </a:cubicBezTo>
                  <a:cubicBezTo>
                    <a:pt x="55" y="10"/>
                    <a:pt x="56" y="12"/>
                    <a:pt x="57" y="11"/>
                  </a:cubicBezTo>
                  <a:cubicBezTo>
                    <a:pt x="58" y="11"/>
                    <a:pt x="59" y="10"/>
                    <a:pt x="59" y="9"/>
                  </a:cubicBezTo>
                  <a:cubicBezTo>
                    <a:pt x="60" y="8"/>
                    <a:pt x="61" y="7"/>
                    <a:pt x="62" y="7"/>
                  </a:cubicBezTo>
                  <a:cubicBezTo>
                    <a:pt x="63" y="6"/>
                    <a:pt x="64" y="7"/>
                    <a:pt x="66" y="6"/>
                  </a:cubicBezTo>
                  <a:cubicBezTo>
                    <a:pt x="67" y="6"/>
                    <a:pt x="68" y="7"/>
                    <a:pt x="69" y="6"/>
                  </a:cubicBezTo>
                  <a:cubicBezTo>
                    <a:pt x="70" y="6"/>
                    <a:pt x="71" y="6"/>
                    <a:pt x="71" y="5"/>
                  </a:cubicBezTo>
                  <a:cubicBezTo>
                    <a:pt x="73" y="4"/>
                    <a:pt x="74" y="4"/>
                    <a:pt x="76" y="3"/>
                  </a:cubicBezTo>
                  <a:cubicBezTo>
                    <a:pt x="77" y="3"/>
                    <a:pt x="79" y="2"/>
                    <a:pt x="80" y="1"/>
                  </a:cubicBezTo>
                  <a:lnTo>
                    <a:pt x="81" y="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5" name="Freeform 387"/>
            <p:cNvSpPr>
              <a:spLocks/>
            </p:cNvSpPr>
            <p:nvPr/>
          </p:nvSpPr>
          <p:spPr bwMode="auto">
            <a:xfrm>
              <a:off x="7212214" y="5421219"/>
              <a:ext cx="33347" cy="72520"/>
            </a:xfrm>
            <a:custGeom>
              <a:avLst/>
              <a:gdLst>
                <a:gd name="T0" fmla="*/ 622293 w 25"/>
                <a:gd name="T1" fmla="*/ 1382809 h 67"/>
                <a:gd name="T2" fmla="*/ 711973 w 25"/>
                <a:gd name="T3" fmla="*/ 1424689 h 67"/>
                <a:gd name="T4" fmla="*/ 753143 w 25"/>
                <a:gd name="T5" fmla="*/ 1463926 h 67"/>
                <a:gd name="T6" fmla="*/ 812763 w 25"/>
                <a:gd name="T7" fmla="*/ 1615267 h 67"/>
                <a:gd name="T8" fmla="*/ 812763 w 25"/>
                <a:gd name="T9" fmla="*/ 2078334 h 67"/>
                <a:gd name="T10" fmla="*/ 753143 w 25"/>
                <a:gd name="T11" fmla="*/ 2143056 h 67"/>
                <a:gd name="T12" fmla="*/ 674840 w 25"/>
                <a:gd name="T13" fmla="*/ 2203882 h 67"/>
                <a:gd name="T14" fmla="*/ 622293 w 25"/>
                <a:gd name="T15" fmla="*/ 2358744 h 67"/>
                <a:gd name="T16" fmla="*/ 581510 w 25"/>
                <a:gd name="T17" fmla="*/ 2358744 h 67"/>
                <a:gd name="T18" fmla="*/ 403878 w 25"/>
                <a:gd name="T19" fmla="*/ 2164645 h 67"/>
                <a:gd name="T20" fmla="*/ 403878 w 25"/>
                <a:gd name="T21" fmla="*/ 1965353 h 67"/>
                <a:gd name="T22" fmla="*/ 481789 w 25"/>
                <a:gd name="T23" fmla="*/ 1858828 h 67"/>
                <a:gd name="T24" fmla="*/ 444660 w 25"/>
                <a:gd name="T25" fmla="*/ 1643233 h 67"/>
                <a:gd name="T26" fmla="*/ 370819 w 25"/>
                <a:gd name="T27" fmla="*/ 1643233 h 67"/>
                <a:gd name="T28" fmla="*/ 172291 w 25"/>
                <a:gd name="T29" fmla="*/ 1615267 h 67"/>
                <a:gd name="T30" fmla="*/ 172291 w 25"/>
                <a:gd name="T31" fmla="*/ 1578781 h 67"/>
                <a:gd name="T32" fmla="*/ 140721 w 25"/>
                <a:gd name="T33" fmla="*/ 1500233 h 67"/>
                <a:gd name="T34" fmla="*/ 73292 w 25"/>
                <a:gd name="T35" fmla="*/ 1463926 h 67"/>
                <a:gd name="T36" fmla="*/ 73292 w 25"/>
                <a:gd name="T37" fmla="*/ 1463926 h 67"/>
                <a:gd name="T38" fmla="*/ 0 w 25"/>
                <a:gd name="T39" fmla="*/ 1354843 h 67"/>
                <a:gd name="T40" fmla="*/ 0 w 25"/>
                <a:gd name="T41" fmla="*/ 1279137 h 67"/>
                <a:gd name="T42" fmla="*/ 109559 w 25"/>
                <a:gd name="T43" fmla="*/ 1144652 h 67"/>
                <a:gd name="T44" fmla="*/ 109559 w 25"/>
                <a:gd name="T45" fmla="*/ 999205 h 67"/>
                <a:gd name="T46" fmla="*/ 172291 w 25"/>
                <a:gd name="T47" fmla="*/ 965438 h 67"/>
                <a:gd name="T48" fmla="*/ 172291 w 25"/>
                <a:gd name="T49" fmla="*/ 819987 h 67"/>
                <a:gd name="T50" fmla="*/ 172291 w 25"/>
                <a:gd name="T51" fmla="*/ 384318 h 67"/>
                <a:gd name="T52" fmla="*/ 172291 w 25"/>
                <a:gd name="T53" fmla="*/ 114885 h 67"/>
                <a:gd name="T54" fmla="*/ 172291 w 25"/>
                <a:gd name="T55" fmla="*/ 0 h 67"/>
                <a:gd name="T56" fmla="*/ 172291 w 25"/>
                <a:gd name="T57" fmla="*/ 0 h 67"/>
                <a:gd name="T58" fmla="*/ 330799 w 25"/>
                <a:gd name="T59" fmla="*/ 75542 h 67"/>
                <a:gd name="T60" fmla="*/ 481789 w 25"/>
                <a:gd name="T61" fmla="*/ 319152 h 67"/>
                <a:gd name="T62" fmla="*/ 481789 w 25"/>
                <a:gd name="T63" fmla="*/ 1079445 h 67"/>
                <a:gd name="T64" fmla="*/ 518753 w 25"/>
                <a:gd name="T65" fmla="*/ 1317956 h 67"/>
                <a:gd name="T66" fmla="*/ 622293 w 25"/>
                <a:gd name="T67" fmla="*/ 1382809 h 6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"/>
                <a:gd name="T103" fmla="*/ 0 h 67"/>
                <a:gd name="T104" fmla="*/ 25 w 25"/>
                <a:gd name="T105" fmla="*/ 67 h 67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" h="67">
                  <a:moveTo>
                    <a:pt x="18" y="39"/>
                  </a:moveTo>
                  <a:cubicBezTo>
                    <a:pt x="19" y="40"/>
                    <a:pt x="20" y="40"/>
                    <a:pt x="21" y="40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3"/>
                    <a:pt x="24" y="44"/>
                    <a:pt x="24" y="45"/>
                  </a:cubicBezTo>
                  <a:cubicBezTo>
                    <a:pt x="25" y="50"/>
                    <a:pt x="25" y="54"/>
                    <a:pt x="24" y="58"/>
                  </a:cubicBezTo>
                  <a:cubicBezTo>
                    <a:pt x="24" y="59"/>
                    <a:pt x="23" y="59"/>
                    <a:pt x="22" y="60"/>
                  </a:cubicBezTo>
                  <a:cubicBezTo>
                    <a:pt x="21" y="61"/>
                    <a:pt x="20" y="61"/>
                    <a:pt x="20" y="62"/>
                  </a:cubicBezTo>
                  <a:cubicBezTo>
                    <a:pt x="18" y="63"/>
                    <a:pt x="19" y="65"/>
                    <a:pt x="18" y="66"/>
                  </a:cubicBezTo>
                  <a:cubicBezTo>
                    <a:pt x="18" y="67"/>
                    <a:pt x="18" y="67"/>
                    <a:pt x="17" y="66"/>
                  </a:cubicBezTo>
                  <a:cubicBezTo>
                    <a:pt x="16" y="64"/>
                    <a:pt x="14" y="63"/>
                    <a:pt x="12" y="61"/>
                  </a:cubicBezTo>
                  <a:cubicBezTo>
                    <a:pt x="12" y="59"/>
                    <a:pt x="12" y="57"/>
                    <a:pt x="12" y="55"/>
                  </a:cubicBezTo>
                  <a:cubicBezTo>
                    <a:pt x="13" y="54"/>
                    <a:pt x="13" y="53"/>
                    <a:pt x="14" y="52"/>
                  </a:cubicBezTo>
                  <a:cubicBezTo>
                    <a:pt x="14" y="50"/>
                    <a:pt x="15" y="47"/>
                    <a:pt x="13" y="46"/>
                  </a:cubicBezTo>
                  <a:cubicBezTo>
                    <a:pt x="13" y="45"/>
                    <a:pt x="12" y="46"/>
                    <a:pt x="11" y="46"/>
                  </a:cubicBezTo>
                  <a:cubicBezTo>
                    <a:pt x="9" y="47"/>
                    <a:pt x="7" y="46"/>
                    <a:pt x="5" y="45"/>
                  </a:cubicBezTo>
                  <a:cubicBezTo>
                    <a:pt x="5" y="45"/>
                    <a:pt x="5" y="45"/>
                    <a:pt x="5" y="44"/>
                  </a:cubicBezTo>
                  <a:cubicBezTo>
                    <a:pt x="5" y="43"/>
                    <a:pt x="5" y="42"/>
                    <a:pt x="4" y="42"/>
                  </a:cubicBezTo>
                  <a:cubicBezTo>
                    <a:pt x="4" y="41"/>
                    <a:pt x="3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3" y="40"/>
                    <a:pt x="1" y="39"/>
                    <a:pt x="0" y="38"/>
                  </a:cubicBezTo>
                  <a:cubicBezTo>
                    <a:pt x="0" y="37"/>
                    <a:pt x="0" y="36"/>
                    <a:pt x="0" y="36"/>
                  </a:cubicBezTo>
                  <a:cubicBezTo>
                    <a:pt x="1" y="35"/>
                    <a:pt x="2" y="33"/>
                    <a:pt x="3" y="32"/>
                  </a:cubicBezTo>
                  <a:cubicBezTo>
                    <a:pt x="3" y="31"/>
                    <a:pt x="3" y="29"/>
                    <a:pt x="3" y="28"/>
                  </a:cubicBezTo>
                  <a:cubicBezTo>
                    <a:pt x="4" y="27"/>
                    <a:pt x="5" y="27"/>
                    <a:pt x="5" y="27"/>
                  </a:cubicBezTo>
                  <a:cubicBezTo>
                    <a:pt x="6" y="25"/>
                    <a:pt x="5" y="24"/>
                    <a:pt x="5" y="23"/>
                  </a:cubicBezTo>
                  <a:cubicBezTo>
                    <a:pt x="4" y="19"/>
                    <a:pt x="5" y="15"/>
                    <a:pt x="5" y="11"/>
                  </a:cubicBezTo>
                  <a:cubicBezTo>
                    <a:pt x="5" y="8"/>
                    <a:pt x="6" y="6"/>
                    <a:pt x="5" y="3"/>
                  </a:cubicBezTo>
                  <a:cubicBezTo>
                    <a:pt x="5" y="2"/>
                    <a:pt x="5" y="1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1"/>
                    <a:pt x="9" y="0"/>
                    <a:pt x="10" y="2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7"/>
                    <a:pt x="15" y="37"/>
                    <a:pt x="15" y="37"/>
                  </a:cubicBezTo>
                  <a:lnTo>
                    <a:pt x="18" y="39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6" name="Freeform 388"/>
            <p:cNvSpPr>
              <a:spLocks/>
            </p:cNvSpPr>
            <p:nvPr/>
          </p:nvSpPr>
          <p:spPr bwMode="auto">
            <a:xfrm>
              <a:off x="7097670" y="5407924"/>
              <a:ext cx="121792" cy="97299"/>
            </a:xfrm>
            <a:custGeom>
              <a:avLst/>
              <a:gdLst>
                <a:gd name="T0" fmla="*/ 2655048 w 91"/>
                <a:gd name="T1" fmla="*/ 152426 h 90"/>
                <a:gd name="T2" fmla="*/ 2840477 w 91"/>
                <a:gd name="T3" fmla="*/ 338447 h 90"/>
                <a:gd name="T4" fmla="*/ 3149123 w 91"/>
                <a:gd name="T5" fmla="*/ 447155 h 90"/>
                <a:gd name="T6" fmla="*/ 3149123 w 91"/>
                <a:gd name="T7" fmla="*/ 569734 h 90"/>
                <a:gd name="T8" fmla="*/ 3149123 w 91"/>
                <a:gd name="T9" fmla="*/ 1332970 h 90"/>
                <a:gd name="T10" fmla="*/ 3075585 w 91"/>
                <a:gd name="T11" fmla="*/ 1518939 h 90"/>
                <a:gd name="T12" fmla="*/ 2963040 w 91"/>
                <a:gd name="T13" fmla="*/ 1834725 h 90"/>
                <a:gd name="T14" fmla="*/ 3036842 w 91"/>
                <a:gd name="T15" fmla="*/ 2009909 h 90"/>
                <a:gd name="T16" fmla="*/ 2308310 w 91"/>
                <a:gd name="T17" fmla="*/ 2366882 h 90"/>
                <a:gd name="T18" fmla="*/ 2243869 w 91"/>
                <a:gd name="T19" fmla="*/ 2577075 h 90"/>
                <a:gd name="T20" fmla="*/ 2031758 w 91"/>
                <a:gd name="T21" fmla="*/ 2620773 h 90"/>
                <a:gd name="T22" fmla="*/ 1893165 w 91"/>
                <a:gd name="T23" fmla="*/ 2814034 h 90"/>
                <a:gd name="T24" fmla="*/ 1854608 w 91"/>
                <a:gd name="T25" fmla="*/ 2936615 h 90"/>
                <a:gd name="T26" fmla="*/ 1477048 w 91"/>
                <a:gd name="T27" fmla="*/ 3231309 h 90"/>
                <a:gd name="T28" fmla="*/ 1146806 w 91"/>
                <a:gd name="T29" fmla="*/ 3395461 h 90"/>
                <a:gd name="T30" fmla="*/ 801206 w 91"/>
                <a:gd name="T31" fmla="*/ 3231309 h 90"/>
                <a:gd name="T32" fmla="*/ 596339 w 91"/>
                <a:gd name="T33" fmla="*/ 3275003 h 90"/>
                <a:gd name="T34" fmla="*/ 379138 w 91"/>
                <a:gd name="T35" fmla="*/ 3275003 h 90"/>
                <a:gd name="T36" fmla="*/ 181983 w 91"/>
                <a:gd name="T37" fmla="*/ 3099951 h 90"/>
                <a:gd name="T38" fmla="*/ 0 w 91"/>
                <a:gd name="T39" fmla="*/ 2661574 h 90"/>
                <a:gd name="T40" fmla="*/ 38894 w 91"/>
                <a:gd name="T41" fmla="*/ 1627435 h 90"/>
                <a:gd name="T42" fmla="*/ 416627 w 91"/>
                <a:gd name="T43" fmla="*/ 1627435 h 90"/>
                <a:gd name="T44" fmla="*/ 565137 w 91"/>
                <a:gd name="T45" fmla="*/ 1627435 h 90"/>
                <a:gd name="T46" fmla="*/ 565137 w 91"/>
                <a:gd name="T47" fmla="*/ 1440099 h 90"/>
                <a:gd name="T48" fmla="*/ 596339 w 91"/>
                <a:gd name="T49" fmla="*/ 1101486 h 90"/>
                <a:gd name="T50" fmla="*/ 634123 w 91"/>
                <a:gd name="T51" fmla="*/ 948996 h 90"/>
                <a:gd name="T52" fmla="*/ 673013 w 91"/>
                <a:gd name="T53" fmla="*/ 990209 h 90"/>
                <a:gd name="T54" fmla="*/ 801206 w 91"/>
                <a:gd name="T55" fmla="*/ 1060874 h 90"/>
                <a:gd name="T56" fmla="*/ 984446 w 91"/>
                <a:gd name="T57" fmla="*/ 1265040 h 90"/>
                <a:gd name="T58" fmla="*/ 1258377 w 91"/>
                <a:gd name="T59" fmla="*/ 1332970 h 90"/>
                <a:gd name="T60" fmla="*/ 1402138 w 91"/>
                <a:gd name="T61" fmla="*/ 1224249 h 90"/>
                <a:gd name="T62" fmla="*/ 1540781 w 91"/>
                <a:gd name="T63" fmla="*/ 1417450 h 90"/>
                <a:gd name="T64" fmla="*/ 1752088 w 91"/>
                <a:gd name="T65" fmla="*/ 1475017 h 90"/>
                <a:gd name="T66" fmla="*/ 2131366 w 91"/>
                <a:gd name="T67" fmla="*/ 1791013 h 90"/>
                <a:gd name="T68" fmla="*/ 2131366 w 91"/>
                <a:gd name="T69" fmla="*/ 1417450 h 90"/>
                <a:gd name="T70" fmla="*/ 2051137 w 91"/>
                <a:gd name="T71" fmla="*/ 1440099 h 90"/>
                <a:gd name="T72" fmla="*/ 1779811 w 91"/>
                <a:gd name="T73" fmla="*/ 1265040 h 90"/>
                <a:gd name="T74" fmla="*/ 1854608 w 91"/>
                <a:gd name="T75" fmla="*/ 908417 h 90"/>
                <a:gd name="T76" fmla="*/ 1967256 w 91"/>
                <a:gd name="T77" fmla="*/ 152426 h 90"/>
                <a:gd name="T78" fmla="*/ 2131366 w 91"/>
                <a:gd name="T79" fmla="*/ 40780 h 90"/>
                <a:gd name="T80" fmla="*/ 2419956 w 91"/>
                <a:gd name="T81" fmla="*/ 0 h 9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1"/>
                <a:gd name="T124" fmla="*/ 0 h 90"/>
                <a:gd name="T125" fmla="*/ 91 w 91"/>
                <a:gd name="T126" fmla="*/ 90 h 9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1" h="90">
                  <a:moveTo>
                    <a:pt x="71" y="2"/>
                  </a:moveTo>
                  <a:cubicBezTo>
                    <a:pt x="73" y="3"/>
                    <a:pt x="75" y="3"/>
                    <a:pt x="76" y="4"/>
                  </a:cubicBezTo>
                  <a:cubicBezTo>
                    <a:pt x="77" y="4"/>
                    <a:pt x="78" y="5"/>
                    <a:pt x="79" y="7"/>
                  </a:cubicBezTo>
                  <a:cubicBezTo>
                    <a:pt x="80" y="7"/>
                    <a:pt x="80" y="8"/>
                    <a:pt x="81" y="9"/>
                  </a:cubicBezTo>
                  <a:cubicBezTo>
                    <a:pt x="83" y="9"/>
                    <a:pt x="84" y="8"/>
                    <a:pt x="86" y="9"/>
                  </a:cubicBezTo>
                  <a:cubicBezTo>
                    <a:pt x="87" y="10"/>
                    <a:pt x="89" y="12"/>
                    <a:pt x="90" y="12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0" y="13"/>
                    <a:pt x="90" y="14"/>
                    <a:pt x="90" y="15"/>
                  </a:cubicBezTo>
                  <a:cubicBezTo>
                    <a:pt x="91" y="18"/>
                    <a:pt x="90" y="20"/>
                    <a:pt x="90" y="23"/>
                  </a:cubicBezTo>
                  <a:cubicBezTo>
                    <a:pt x="90" y="27"/>
                    <a:pt x="89" y="31"/>
                    <a:pt x="90" y="35"/>
                  </a:cubicBezTo>
                  <a:cubicBezTo>
                    <a:pt x="90" y="36"/>
                    <a:pt x="91" y="37"/>
                    <a:pt x="90" y="39"/>
                  </a:cubicBezTo>
                  <a:cubicBezTo>
                    <a:pt x="90" y="39"/>
                    <a:pt x="89" y="39"/>
                    <a:pt x="88" y="40"/>
                  </a:cubicBezTo>
                  <a:cubicBezTo>
                    <a:pt x="88" y="41"/>
                    <a:pt x="88" y="43"/>
                    <a:pt x="88" y="44"/>
                  </a:cubicBezTo>
                  <a:cubicBezTo>
                    <a:pt x="87" y="45"/>
                    <a:pt x="86" y="47"/>
                    <a:pt x="85" y="48"/>
                  </a:cubicBezTo>
                  <a:cubicBezTo>
                    <a:pt x="85" y="48"/>
                    <a:pt x="85" y="49"/>
                    <a:pt x="85" y="50"/>
                  </a:cubicBezTo>
                  <a:cubicBezTo>
                    <a:pt x="86" y="51"/>
                    <a:pt x="88" y="52"/>
                    <a:pt x="87" y="53"/>
                  </a:cubicBezTo>
                  <a:cubicBezTo>
                    <a:pt x="86" y="54"/>
                    <a:pt x="85" y="54"/>
                    <a:pt x="84" y="55"/>
                  </a:cubicBezTo>
                  <a:cubicBezTo>
                    <a:pt x="78" y="58"/>
                    <a:pt x="72" y="59"/>
                    <a:pt x="66" y="62"/>
                  </a:cubicBezTo>
                  <a:cubicBezTo>
                    <a:pt x="66" y="63"/>
                    <a:pt x="66" y="66"/>
                    <a:pt x="66" y="68"/>
                  </a:cubicBezTo>
                  <a:cubicBezTo>
                    <a:pt x="65" y="68"/>
                    <a:pt x="65" y="68"/>
                    <a:pt x="64" y="68"/>
                  </a:cubicBezTo>
                  <a:cubicBezTo>
                    <a:pt x="62" y="68"/>
                    <a:pt x="61" y="68"/>
                    <a:pt x="59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7" y="70"/>
                    <a:pt x="56" y="71"/>
                    <a:pt x="55" y="72"/>
                  </a:cubicBezTo>
                  <a:cubicBezTo>
                    <a:pt x="54" y="72"/>
                    <a:pt x="54" y="73"/>
                    <a:pt x="54" y="74"/>
                  </a:cubicBezTo>
                  <a:cubicBezTo>
                    <a:pt x="53" y="75"/>
                    <a:pt x="53" y="76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0" y="78"/>
                    <a:pt x="48" y="78"/>
                    <a:pt x="47" y="80"/>
                  </a:cubicBezTo>
                  <a:cubicBezTo>
                    <a:pt x="45" y="82"/>
                    <a:pt x="43" y="83"/>
                    <a:pt x="42" y="85"/>
                  </a:cubicBezTo>
                  <a:cubicBezTo>
                    <a:pt x="41" y="86"/>
                    <a:pt x="40" y="88"/>
                    <a:pt x="39" y="89"/>
                  </a:cubicBezTo>
                  <a:cubicBezTo>
                    <a:pt x="38" y="90"/>
                    <a:pt x="35" y="89"/>
                    <a:pt x="33" y="89"/>
                  </a:cubicBezTo>
                  <a:cubicBezTo>
                    <a:pt x="31" y="89"/>
                    <a:pt x="28" y="89"/>
                    <a:pt x="26" y="88"/>
                  </a:cubicBezTo>
                  <a:cubicBezTo>
                    <a:pt x="24" y="88"/>
                    <a:pt x="24" y="86"/>
                    <a:pt x="23" y="85"/>
                  </a:cubicBezTo>
                  <a:cubicBezTo>
                    <a:pt x="22" y="85"/>
                    <a:pt x="20" y="86"/>
                    <a:pt x="18" y="85"/>
                  </a:cubicBezTo>
                  <a:cubicBezTo>
                    <a:pt x="17" y="86"/>
                    <a:pt x="17" y="86"/>
                    <a:pt x="17" y="86"/>
                  </a:cubicBezTo>
                  <a:cubicBezTo>
                    <a:pt x="15" y="86"/>
                    <a:pt x="13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0" y="84"/>
                    <a:pt x="8" y="83"/>
                    <a:pt x="7" y="82"/>
                  </a:cubicBezTo>
                  <a:cubicBezTo>
                    <a:pt x="6" y="82"/>
                    <a:pt x="6" y="82"/>
                    <a:pt x="5" y="81"/>
                  </a:cubicBezTo>
                  <a:cubicBezTo>
                    <a:pt x="3" y="78"/>
                    <a:pt x="2" y="78"/>
                    <a:pt x="1" y="75"/>
                  </a:cubicBezTo>
                  <a:cubicBezTo>
                    <a:pt x="0" y="74"/>
                    <a:pt x="0" y="72"/>
                    <a:pt x="0" y="70"/>
                  </a:cubicBezTo>
                  <a:cubicBezTo>
                    <a:pt x="0" y="62"/>
                    <a:pt x="0" y="53"/>
                    <a:pt x="0" y="44"/>
                  </a:cubicBezTo>
                  <a:cubicBezTo>
                    <a:pt x="0" y="44"/>
                    <a:pt x="0" y="44"/>
                    <a:pt x="1" y="43"/>
                  </a:cubicBezTo>
                  <a:cubicBezTo>
                    <a:pt x="3" y="42"/>
                    <a:pt x="5" y="43"/>
                    <a:pt x="8" y="43"/>
                  </a:cubicBezTo>
                  <a:cubicBezTo>
                    <a:pt x="9" y="43"/>
                    <a:pt x="10" y="43"/>
                    <a:pt x="12" y="43"/>
                  </a:cubicBezTo>
                  <a:cubicBezTo>
                    <a:pt x="13" y="44"/>
                    <a:pt x="14" y="44"/>
                    <a:pt x="16" y="44"/>
                  </a:cubicBezTo>
                  <a:cubicBezTo>
                    <a:pt x="16" y="44"/>
                    <a:pt x="16" y="44"/>
                    <a:pt x="16" y="43"/>
                  </a:cubicBezTo>
                  <a:cubicBezTo>
                    <a:pt x="17" y="42"/>
                    <a:pt x="17" y="41"/>
                    <a:pt x="16" y="39"/>
                  </a:cubicBezTo>
                  <a:cubicBezTo>
                    <a:pt x="16" y="39"/>
                    <a:pt x="16" y="38"/>
                    <a:pt x="16" y="38"/>
                  </a:cubicBezTo>
                  <a:cubicBezTo>
                    <a:pt x="16" y="37"/>
                    <a:pt x="15" y="35"/>
                    <a:pt x="16" y="33"/>
                  </a:cubicBezTo>
                  <a:cubicBezTo>
                    <a:pt x="17" y="32"/>
                    <a:pt x="16" y="30"/>
                    <a:pt x="17" y="29"/>
                  </a:cubicBezTo>
                  <a:cubicBezTo>
                    <a:pt x="17" y="28"/>
                    <a:pt x="17" y="27"/>
                    <a:pt x="17" y="27"/>
                  </a:cubicBezTo>
                  <a:cubicBezTo>
                    <a:pt x="18" y="26"/>
                    <a:pt x="18" y="26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9" y="25"/>
                    <a:pt x="19" y="25"/>
                    <a:pt x="19" y="26"/>
                  </a:cubicBezTo>
                  <a:cubicBezTo>
                    <a:pt x="20" y="27"/>
                    <a:pt x="19" y="28"/>
                    <a:pt x="20" y="29"/>
                  </a:cubicBezTo>
                  <a:cubicBezTo>
                    <a:pt x="21" y="29"/>
                    <a:pt x="22" y="28"/>
                    <a:pt x="23" y="28"/>
                  </a:cubicBezTo>
                  <a:cubicBezTo>
                    <a:pt x="25" y="27"/>
                    <a:pt x="26" y="30"/>
                    <a:pt x="27" y="32"/>
                  </a:cubicBezTo>
                  <a:cubicBezTo>
                    <a:pt x="27" y="32"/>
                    <a:pt x="28" y="33"/>
                    <a:pt x="28" y="33"/>
                  </a:cubicBezTo>
                  <a:cubicBezTo>
                    <a:pt x="30" y="33"/>
                    <a:pt x="32" y="33"/>
                    <a:pt x="33" y="34"/>
                  </a:cubicBezTo>
                  <a:cubicBezTo>
                    <a:pt x="34" y="35"/>
                    <a:pt x="35" y="34"/>
                    <a:pt x="36" y="35"/>
                  </a:cubicBezTo>
                  <a:cubicBezTo>
                    <a:pt x="37" y="35"/>
                    <a:pt x="39" y="35"/>
                    <a:pt x="39" y="34"/>
                  </a:cubicBezTo>
                  <a:cubicBezTo>
                    <a:pt x="40" y="33"/>
                    <a:pt x="40" y="32"/>
                    <a:pt x="40" y="32"/>
                  </a:cubicBezTo>
                  <a:cubicBezTo>
                    <a:pt x="41" y="31"/>
                    <a:pt x="42" y="31"/>
                    <a:pt x="43" y="32"/>
                  </a:cubicBezTo>
                  <a:cubicBezTo>
                    <a:pt x="43" y="34"/>
                    <a:pt x="42" y="36"/>
                    <a:pt x="44" y="37"/>
                  </a:cubicBezTo>
                  <a:cubicBezTo>
                    <a:pt x="46" y="37"/>
                    <a:pt x="47" y="37"/>
                    <a:pt x="49" y="37"/>
                  </a:cubicBezTo>
                  <a:cubicBezTo>
                    <a:pt x="49" y="38"/>
                    <a:pt x="49" y="38"/>
                    <a:pt x="50" y="39"/>
                  </a:cubicBezTo>
                  <a:cubicBezTo>
                    <a:pt x="51" y="41"/>
                    <a:pt x="53" y="43"/>
                    <a:pt x="54" y="45"/>
                  </a:cubicBezTo>
                  <a:cubicBezTo>
                    <a:pt x="56" y="48"/>
                    <a:pt x="58" y="47"/>
                    <a:pt x="61" y="47"/>
                  </a:cubicBezTo>
                  <a:cubicBezTo>
                    <a:pt x="61" y="47"/>
                    <a:pt x="61" y="46"/>
                    <a:pt x="61" y="46"/>
                  </a:cubicBezTo>
                  <a:cubicBezTo>
                    <a:pt x="61" y="43"/>
                    <a:pt x="62" y="40"/>
                    <a:pt x="61" y="37"/>
                  </a:cubicBezTo>
                  <a:cubicBezTo>
                    <a:pt x="61" y="37"/>
                    <a:pt x="60" y="37"/>
                    <a:pt x="60" y="37"/>
                  </a:cubicBezTo>
                  <a:cubicBezTo>
                    <a:pt x="60" y="37"/>
                    <a:pt x="59" y="38"/>
                    <a:pt x="59" y="38"/>
                  </a:cubicBezTo>
                  <a:cubicBezTo>
                    <a:pt x="58" y="38"/>
                    <a:pt x="57" y="38"/>
                    <a:pt x="56" y="37"/>
                  </a:cubicBezTo>
                  <a:cubicBezTo>
                    <a:pt x="55" y="36"/>
                    <a:pt x="53" y="34"/>
                    <a:pt x="51" y="33"/>
                  </a:cubicBezTo>
                  <a:cubicBezTo>
                    <a:pt x="51" y="31"/>
                    <a:pt x="51" y="29"/>
                    <a:pt x="52" y="27"/>
                  </a:cubicBezTo>
                  <a:cubicBezTo>
                    <a:pt x="52" y="26"/>
                    <a:pt x="52" y="25"/>
                    <a:pt x="53" y="24"/>
                  </a:cubicBezTo>
                  <a:cubicBezTo>
                    <a:pt x="53" y="21"/>
                    <a:pt x="53" y="18"/>
                    <a:pt x="53" y="15"/>
                  </a:cubicBezTo>
                  <a:cubicBezTo>
                    <a:pt x="52" y="11"/>
                    <a:pt x="53" y="7"/>
                    <a:pt x="56" y="4"/>
                  </a:cubicBezTo>
                  <a:cubicBezTo>
                    <a:pt x="56" y="3"/>
                    <a:pt x="57" y="2"/>
                    <a:pt x="58" y="2"/>
                  </a:cubicBezTo>
                  <a:cubicBezTo>
                    <a:pt x="59" y="1"/>
                    <a:pt x="60" y="2"/>
                    <a:pt x="61" y="1"/>
                  </a:cubicBezTo>
                  <a:cubicBezTo>
                    <a:pt x="61" y="1"/>
                    <a:pt x="62" y="1"/>
                    <a:pt x="62" y="1"/>
                  </a:cubicBezTo>
                  <a:cubicBezTo>
                    <a:pt x="64" y="0"/>
                    <a:pt x="67" y="0"/>
                    <a:pt x="69" y="0"/>
                  </a:cubicBezTo>
                  <a:lnTo>
                    <a:pt x="71" y="2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7" name="Freeform 389"/>
            <p:cNvSpPr>
              <a:spLocks/>
            </p:cNvSpPr>
            <p:nvPr/>
          </p:nvSpPr>
          <p:spPr bwMode="auto">
            <a:xfrm>
              <a:off x="7172339" y="5338426"/>
              <a:ext cx="21024" cy="16317"/>
            </a:xfrm>
            <a:custGeom>
              <a:avLst/>
              <a:gdLst>
                <a:gd name="T0" fmla="*/ 447155 w 15"/>
                <a:gd name="T1" fmla="*/ 40780 h 15"/>
                <a:gd name="T2" fmla="*/ 379223 w 15"/>
                <a:gd name="T3" fmla="*/ 78841 h 15"/>
                <a:gd name="T4" fmla="*/ 274992 w 15"/>
                <a:gd name="T5" fmla="*/ 78841 h 15"/>
                <a:gd name="T6" fmla="*/ 231287 w 15"/>
                <a:gd name="T7" fmla="*/ 78841 h 15"/>
                <a:gd name="T8" fmla="*/ 196150 w 15"/>
                <a:gd name="T9" fmla="*/ 40780 h 15"/>
                <a:gd name="T10" fmla="*/ 196150 w 15"/>
                <a:gd name="T11" fmla="*/ 40780 h 15"/>
                <a:gd name="T12" fmla="*/ 152426 w 15"/>
                <a:gd name="T13" fmla="*/ 78841 h 15"/>
                <a:gd name="T14" fmla="*/ 40780 w 15"/>
                <a:gd name="T15" fmla="*/ 274992 h 15"/>
                <a:gd name="T16" fmla="*/ 0 w 15"/>
                <a:gd name="T17" fmla="*/ 294690 h 15"/>
                <a:gd name="T18" fmla="*/ 0 w 15"/>
                <a:gd name="T19" fmla="*/ 490860 h 15"/>
                <a:gd name="T20" fmla="*/ 119631 w 15"/>
                <a:gd name="T21" fmla="*/ 490860 h 15"/>
                <a:gd name="T22" fmla="*/ 196150 w 15"/>
                <a:gd name="T23" fmla="*/ 569734 h 15"/>
                <a:gd name="T24" fmla="*/ 231287 w 15"/>
                <a:gd name="T25" fmla="*/ 569734 h 15"/>
                <a:gd name="T26" fmla="*/ 338447 w 15"/>
                <a:gd name="T27" fmla="*/ 447155 h 15"/>
                <a:gd name="T28" fmla="*/ 447155 w 15"/>
                <a:gd name="T29" fmla="*/ 447155 h 15"/>
                <a:gd name="T30" fmla="*/ 569734 w 15"/>
                <a:gd name="T31" fmla="*/ 231287 h 15"/>
                <a:gd name="T32" fmla="*/ 531651 w 15"/>
                <a:gd name="T33" fmla="*/ 196150 h 15"/>
                <a:gd name="T34" fmla="*/ 531651 w 15"/>
                <a:gd name="T35" fmla="*/ 0 h 15"/>
                <a:gd name="T36" fmla="*/ 447155 w 15"/>
                <a:gd name="T37" fmla="*/ 40780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"/>
                <a:gd name="T58" fmla="*/ 0 h 15"/>
                <a:gd name="T59" fmla="*/ 15 w 15"/>
                <a:gd name="T60" fmla="*/ 15 h 1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" h="15">
                  <a:moveTo>
                    <a:pt x="12" y="1"/>
                  </a:moveTo>
                  <a:cubicBezTo>
                    <a:pt x="11" y="1"/>
                    <a:pt x="10" y="2"/>
                    <a:pt x="10" y="2"/>
                  </a:cubicBezTo>
                  <a:cubicBezTo>
                    <a:pt x="9" y="3"/>
                    <a:pt x="8" y="3"/>
                    <a:pt x="7" y="2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3" y="4"/>
                    <a:pt x="2" y="5"/>
                    <a:pt x="1" y="7"/>
                  </a:cubicBezTo>
                  <a:cubicBezTo>
                    <a:pt x="1" y="8"/>
                    <a:pt x="0" y="8"/>
                    <a:pt x="0" y="8"/>
                  </a:cubicBezTo>
                  <a:cubicBezTo>
                    <a:pt x="0" y="10"/>
                    <a:pt x="0" y="11"/>
                    <a:pt x="0" y="13"/>
                  </a:cubicBezTo>
                  <a:cubicBezTo>
                    <a:pt x="1" y="13"/>
                    <a:pt x="2" y="13"/>
                    <a:pt x="3" y="13"/>
                  </a:cubicBezTo>
                  <a:cubicBezTo>
                    <a:pt x="4" y="14"/>
                    <a:pt x="4" y="14"/>
                    <a:pt x="5" y="15"/>
                  </a:cubicBezTo>
                  <a:cubicBezTo>
                    <a:pt x="5" y="15"/>
                    <a:pt x="6" y="15"/>
                    <a:pt x="6" y="15"/>
                  </a:cubicBezTo>
                  <a:cubicBezTo>
                    <a:pt x="7" y="14"/>
                    <a:pt x="8" y="13"/>
                    <a:pt x="9" y="12"/>
                  </a:cubicBezTo>
                  <a:cubicBezTo>
                    <a:pt x="10" y="12"/>
                    <a:pt x="11" y="12"/>
                    <a:pt x="12" y="12"/>
                  </a:cubicBezTo>
                  <a:cubicBezTo>
                    <a:pt x="14" y="11"/>
                    <a:pt x="14" y="8"/>
                    <a:pt x="15" y="6"/>
                  </a:cubicBezTo>
                  <a:cubicBezTo>
                    <a:pt x="14" y="6"/>
                    <a:pt x="14" y="6"/>
                    <a:pt x="14" y="5"/>
                  </a:cubicBezTo>
                  <a:cubicBezTo>
                    <a:pt x="13" y="4"/>
                    <a:pt x="14" y="2"/>
                    <a:pt x="14" y="0"/>
                  </a:cubicBezTo>
                  <a:lnTo>
                    <a:pt x="12" y="1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8" name="Freeform 390"/>
            <p:cNvSpPr>
              <a:spLocks/>
            </p:cNvSpPr>
            <p:nvPr/>
          </p:nvSpPr>
          <p:spPr bwMode="auto">
            <a:xfrm>
              <a:off x="7172339" y="5351115"/>
              <a:ext cx="21024" cy="19944"/>
            </a:xfrm>
            <a:custGeom>
              <a:avLst/>
              <a:gdLst>
                <a:gd name="T0" fmla="*/ 447155 w 15"/>
                <a:gd name="T1" fmla="*/ 0 h 18"/>
                <a:gd name="T2" fmla="*/ 338447 w 15"/>
                <a:gd name="T3" fmla="*/ 0 h 18"/>
                <a:gd name="T4" fmla="*/ 231287 w 15"/>
                <a:gd name="T5" fmla="*/ 130758 h 18"/>
                <a:gd name="T6" fmla="*/ 196150 w 15"/>
                <a:gd name="T7" fmla="*/ 130758 h 18"/>
                <a:gd name="T8" fmla="*/ 119631 w 15"/>
                <a:gd name="T9" fmla="*/ 46301 h 18"/>
                <a:gd name="T10" fmla="*/ 0 w 15"/>
                <a:gd name="T11" fmla="*/ 46301 h 18"/>
                <a:gd name="T12" fmla="*/ 0 w 15"/>
                <a:gd name="T13" fmla="*/ 46301 h 18"/>
                <a:gd name="T14" fmla="*/ 40780 w 15"/>
                <a:gd name="T15" fmla="*/ 175058 h 18"/>
                <a:gd name="T16" fmla="*/ 78841 w 15"/>
                <a:gd name="T17" fmla="*/ 494379 h 18"/>
                <a:gd name="T18" fmla="*/ 119631 w 15"/>
                <a:gd name="T19" fmla="*/ 704340 h 18"/>
                <a:gd name="T20" fmla="*/ 196150 w 15"/>
                <a:gd name="T21" fmla="*/ 704340 h 18"/>
                <a:gd name="T22" fmla="*/ 417229 w 15"/>
                <a:gd name="T23" fmla="*/ 540678 h 18"/>
                <a:gd name="T24" fmla="*/ 417229 w 15"/>
                <a:gd name="T25" fmla="*/ 340391 h 18"/>
                <a:gd name="T26" fmla="*/ 531651 w 15"/>
                <a:gd name="T27" fmla="*/ 294436 h 18"/>
                <a:gd name="T28" fmla="*/ 569734 w 15"/>
                <a:gd name="T29" fmla="*/ 294436 h 18"/>
                <a:gd name="T30" fmla="*/ 531651 w 15"/>
                <a:gd name="T31" fmla="*/ 175058 h 18"/>
                <a:gd name="T32" fmla="*/ 447155 w 15"/>
                <a:gd name="T33" fmla="*/ 130758 h 18"/>
                <a:gd name="T34" fmla="*/ 447155 w 15"/>
                <a:gd name="T35" fmla="*/ 0 h 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5"/>
                <a:gd name="T55" fmla="*/ 0 h 18"/>
                <a:gd name="T56" fmla="*/ 15 w 15"/>
                <a:gd name="T57" fmla="*/ 18 h 1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5" h="18">
                  <a:moveTo>
                    <a:pt x="12" y="0"/>
                  </a:moveTo>
                  <a:cubicBezTo>
                    <a:pt x="11" y="0"/>
                    <a:pt x="10" y="0"/>
                    <a:pt x="9" y="0"/>
                  </a:cubicBezTo>
                  <a:cubicBezTo>
                    <a:pt x="8" y="1"/>
                    <a:pt x="7" y="2"/>
                    <a:pt x="6" y="3"/>
                  </a:cubicBezTo>
                  <a:cubicBezTo>
                    <a:pt x="6" y="3"/>
                    <a:pt x="5" y="3"/>
                    <a:pt x="5" y="3"/>
                  </a:cubicBezTo>
                  <a:cubicBezTo>
                    <a:pt x="4" y="2"/>
                    <a:pt x="4" y="2"/>
                    <a:pt x="3" y="1"/>
                  </a:cubicBezTo>
                  <a:cubicBezTo>
                    <a:pt x="2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3"/>
                    <a:pt x="1" y="4"/>
                  </a:cubicBezTo>
                  <a:cubicBezTo>
                    <a:pt x="1" y="7"/>
                    <a:pt x="1" y="9"/>
                    <a:pt x="2" y="12"/>
                  </a:cubicBezTo>
                  <a:cubicBezTo>
                    <a:pt x="2" y="14"/>
                    <a:pt x="3" y="15"/>
                    <a:pt x="3" y="17"/>
                  </a:cubicBezTo>
                  <a:cubicBezTo>
                    <a:pt x="4" y="18"/>
                    <a:pt x="5" y="18"/>
                    <a:pt x="5" y="17"/>
                  </a:cubicBezTo>
                  <a:cubicBezTo>
                    <a:pt x="7" y="16"/>
                    <a:pt x="10" y="15"/>
                    <a:pt x="11" y="13"/>
                  </a:cubicBezTo>
                  <a:cubicBezTo>
                    <a:pt x="11" y="11"/>
                    <a:pt x="11" y="10"/>
                    <a:pt x="11" y="8"/>
                  </a:cubicBezTo>
                  <a:cubicBezTo>
                    <a:pt x="12" y="7"/>
                    <a:pt x="13" y="7"/>
                    <a:pt x="14" y="7"/>
                  </a:cubicBezTo>
                  <a:cubicBezTo>
                    <a:pt x="14" y="7"/>
                    <a:pt x="15" y="7"/>
                    <a:pt x="15" y="7"/>
                  </a:cubicBezTo>
                  <a:cubicBezTo>
                    <a:pt x="15" y="6"/>
                    <a:pt x="15" y="5"/>
                    <a:pt x="14" y="4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2"/>
                    <a:pt x="12" y="1"/>
                    <a:pt x="12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9" name="Freeform 391"/>
            <p:cNvSpPr>
              <a:spLocks/>
            </p:cNvSpPr>
            <p:nvPr/>
          </p:nvSpPr>
          <p:spPr bwMode="auto">
            <a:xfrm>
              <a:off x="7176689" y="5334195"/>
              <a:ext cx="118167" cy="109386"/>
            </a:xfrm>
            <a:custGeom>
              <a:avLst/>
              <a:gdLst>
                <a:gd name="T0" fmla="*/ 3015380 w 88"/>
                <a:gd name="T1" fmla="*/ 2988826 h 101"/>
                <a:gd name="T2" fmla="*/ 2803157 w 88"/>
                <a:gd name="T3" fmla="*/ 2756552 h 101"/>
                <a:gd name="T4" fmla="*/ 2710462 w 88"/>
                <a:gd name="T5" fmla="*/ 2053523 h 101"/>
                <a:gd name="T6" fmla="*/ 2803157 w 88"/>
                <a:gd name="T7" fmla="*/ 1898396 h 101"/>
                <a:gd name="T8" fmla="*/ 2599956 w 88"/>
                <a:gd name="T9" fmla="*/ 1709624 h 101"/>
                <a:gd name="T10" fmla="*/ 2710462 w 88"/>
                <a:gd name="T11" fmla="*/ 1235344 h 101"/>
                <a:gd name="T12" fmla="*/ 2673490 w 88"/>
                <a:gd name="T13" fmla="*/ 1161891 h 101"/>
                <a:gd name="T14" fmla="*/ 2499199 w 88"/>
                <a:gd name="T15" fmla="*/ 1069102 h 101"/>
                <a:gd name="T16" fmla="*/ 2299641 w 88"/>
                <a:gd name="T17" fmla="*/ 788981 h 101"/>
                <a:gd name="T18" fmla="*/ 2157253 w 88"/>
                <a:gd name="T19" fmla="*/ 624991 h 101"/>
                <a:gd name="T20" fmla="*/ 1976403 w 88"/>
                <a:gd name="T21" fmla="*/ 556594 h 101"/>
                <a:gd name="T22" fmla="*/ 1705947 w 88"/>
                <a:gd name="T23" fmla="*/ 373283 h 101"/>
                <a:gd name="T24" fmla="*/ 1512195 w 88"/>
                <a:gd name="T25" fmla="*/ 213848 h 101"/>
                <a:gd name="T26" fmla="*/ 817587 w 88"/>
                <a:gd name="T27" fmla="*/ 0 h 101"/>
                <a:gd name="T28" fmla="*/ 372094 w 88"/>
                <a:gd name="T29" fmla="*/ 141520 h 101"/>
                <a:gd name="T30" fmla="*/ 410015 w 88"/>
                <a:gd name="T31" fmla="*/ 334832 h 101"/>
                <a:gd name="T32" fmla="*/ 304571 w 88"/>
                <a:gd name="T33" fmla="*/ 556594 h 101"/>
                <a:gd name="T34" fmla="*/ 372094 w 88"/>
                <a:gd name="T35" fmla="*/ 678746 h 101"/>
                <a:gd name="T36" fmla="*/ 372094 w 88"/>
                <a:gd name="T37" fmla="*/ 788981 h 101"/>
                <a:gd name="T38" fmla="*/ 271426 w 88"/>
                <a:gd name="T39" fmla="*/ 1002905 h 101"/>
                <a:gd name="T40" fmla="*/ 0 w 88"/>
                <a:gd name="T41" fmla="*/ 1125454 h 101"/>
                <a:gd name="T42" fmla="*/ 38321 w 88"/>
                <a:gd name="T43" fmla="*/ 1788346 h 101"/>
                <a:gd name="T44" fmla="*/ 372094 w 88"/>
                <a:gd name="T45" fmla="*/ 2372839 h 101"/>
                <a:gd name="T46" fmla="*/ 410015 w 88"/>
                <a:gd name="T47" fmla="*/ 2394120 h 101"/>
                <a:gd name="T48" fmla="*/ 677630 w 88"/>
                <a:gd name="T49" fmla="*/ 2577663 h 101"/>
                <a:gd name="T50" fmla="*/ 929550 w 88"/>
                <a:gd name="T51" fmla="*/ 2645327 h 101"/>
                <a:gd name="T52" fmla="*/ 1233014 w 88"/>
                <a:gd name="T53" fmla="*/ 2819133 h 101"/>
                <a:gd name="T54" fmla="*/ 1411365 w 88"/>
                <a:gd name="T55" fmla="*/ 3394272 h 101"/>
                <a:gd name="T56" fmla="*/ 1785158 w 88"/>
                <a:gd name="T57" fmla="*/ 3324413 h 101"/>
                <a:gd name="T58" fmla="*/ 1976403 w 88"/>
                <a:gd name="T59" fmla="*/ 3435041 h 101"/>
                <a:gd name="T60" fmla="*/ 2189941 w 88"/>
                <a:gd name="T61" fmla="*/ 3435041 h 101"/>
                <a:gd name="T62" fmla="*/ 2367947 w 88"/>
                <a:gd name="T63" fmla="*/ 3283832 h 101"/>
                <a:gd name="T64" fmla="*/ 2599956 w 88"/>
                <a:gd name="T65" fmla="*/ 3256803 h 101"/>
                <a:gd name="T66" fmla="*/ 2831968 w 88"/>
                <a:gd name="T67" fmla="*/ 3163247 h 101"/>
                <a:gd name="T68" fmla="*/ 3015380 w 88"/>
                <a:gd name="T69" fmla="*/ 3051505 h 10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8"/>
                <a:gd name="T106" fmla="*/ 0 h 101"/>
                <a:gd name="T107" fmla="*/ 88 w 88"/>
                <a:gd name="T108" fmla="*/ 101 h 10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8" h="101">
                  <a:moveTo>
                    <a:pt x="88" y="89"/>
                  </a:moveTo>
                  <a:cubicBezTo>
                    <a:pt x="88" y="88"/>
                    <a:pt x="88" y="87"/>
                    <a:pt x="88" y="87"/>
                  </a:cubicBezTo>
                  <a:cubicBezTo>
                    <a:pt x="86" y="86"/>
                    <a:pt x="84" y="85"/>
                    <a:pt x="83" y="83"/>
                  </a:cubicBezTo>
                  <a:cubicBezTo>
                    <a:pt x="82" y="82"/>
                    <a:pt x="83" y="81"/>
                    <a:pt x="82" y="80"/>
                  </a:cubicBezTo>
                  <a:cubicBezTo>
                    <a:pt x="81" y="78"/>
                    <a:pt x="82" y="75"/>
                    <a:pt x="81" y="73"/>
                  </a:cubicBezTo>
                  <a:cubicBezTo>
                    <a:pt x="78" y="69"/>
                    <a:pt x="79" y="64"/>
                    <a:pt x="79" y="60"/>
                  </a:cubicBezTo>
                  <a:cubicBezTo>
                    <a:pt x="79" y="59"/>
                    <a:pt x="81" y="59"/>
                    <a:pt x="81" y="58"/>
                  </a:cubicBezTo>
                  <a:cubicBezTo>
                    <a:pt x="82" y="57"/>
                    <a:pt x="82" y="56"/>
                    <a:pt x="82" y="55"/>
                  </a:cubicBezTo>
                  <a:cubicBezTo>
                    <a:pt x="79" y="55"/>
                    <a:pt x="79" y="52"/>
                    <a:pt x="78" y="50"/>
                  </a:cubicBezTo>
                  <a:cubicBezTo>
                    <a:pt x="78" y="49"/>
                    <a:pt x="76" y="50"/>
                    <a:pt x="76" y="50"/>
                  </a:cubicBezTo>
                  <a:cubicBezTo>
                    <a:pt x="76" y="48"/>
                    <a:pt x="76" y="46"/>
                    <a:pt x="76" y="44"/>
                  </a:cubicBezTo>
                  <a:cubicBezTo>
                    <a:pt x="76" y="41"/>
                    <a:pt x="78" y="39"/>
                    <a:pt x="79" y="36"/>
                  </a:cubicBezTo>
                  <a:cubicBezTo>
                    <a:pt x="79" y="36"/>
                    <a:pt x="79" y="36"/>
                    <a:pt x="80" y="35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7" y="34"/>
                    <a:pt x="76" y="33"/>
                    <a:pt x="75" y="32"/>
                  </a:cubicBezTo>
                  <a:cubicBezTo>
                    <a:pt x="75" y="32"/>
                    <a:pt x="74" y="32"/>
                    <a:pt x="73" y="31"/>
                  </a:cubicBezTo>
                  <a:cubicBezTo>
                    <a:pt x="72" y="31"/>
                    <a:pt x="71" y="30"/>
                    <a:pt x="70" y="28"/>
                  </a:cubicBezTo>
                  <a:cubicBezTo>
                    <a:pt x="69" y="26"/>
                    <a:pt x="68" y="25"/>
                    <a:pt x="67" y="23"/>
                  </a:cubicBezTo>
                  <a:cubicBezTo>
                    <a:pt x="67" y="22"/>
                    <a:pt x="66" y="22"/>
                    <a:pt x="66" y="21"/>
                  </a:cubicBezTo>
                  <a:cubicBezTo>
                    <a:pt x="65" y="20"/>
                    <a:pt x="64" y="19"/>
                    <a:pt x="63" y="18"/>
                  </a:cubicBezTo>
                  <a:cubicBezTo>
                    <a:pt x="61" y="18"/>
                    <a:pt x="61" y="18"/>
                    <a:pt x="59" y="17"/>
                  </a:cubicBezTo>
                  <a:cubicBezTo>
                    <a:pt x="59" y="16"/>
                    <a:pt x="59" y="16"/>
                    <a:pt x="58" y="16"/>
                  </a:cubicBezTo>
                  <a:cubicBezTo>
                    <a:pt x="56" y="14"/>
                    <a:pt x="55" y="13"/>
                    <a:pt x="53" y="12"/>
                  </a:cubicBezTo>
                  <a:cubicBezTo>
                    <a:pt x="52" y="12"/>
                    <a:pt x="51" y="12"/>
                    <a:pt x="50" y="11"/>
                  </a:cubicBezTo>
                  <a:cubicBezTo>
                    <a:pt x="49" y="10"/>
                    <a:pt x="48" y="9"/>
                    <a:pt x="47" y="9"/>
                  </a:cubicBezTo>
                  <a:cubicBezTo>
                    <a:pt x="46" y="8"/>
                    <a:pt x="45" y="7"/>
                    <a:pt x="44" y="6"/>
                  </a:cubicBezTo>
                  <a:cubicBezTo>
                    <a:pt x="40" y="4"/>
                    <a:pt x="36" y="2"/>
                    <a:pt x="32" y="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1"/>
                    <a:pt x="16" y="2"/>
                    <a:pt x="12" y="3"/>
                  </a:cubicBezTo>
                  <a:cubicBezTo>
                    <a:pt x="11" y="3"/>
                    <a:pt x="11" y="3"/>
                    <a:pt x="11" y="4"/>
                  </a:cubicBezTo>
                  <a:cubicBezTo>
                    <a:pt x="11" y="6"/>
                    <a:pt x="10" y="8"/>
                    <a:pt x="11" y="9"/>
                  </a:cubicBezTo>
                  <a:cubicBezTo>
                    <a:pt x="11" y="10"/>
                    <a:pt x="11" y="10"/>
                    <a:pt x="12" y="10"/>
                  </a:cubicBezTo>
                  <a:cubicBezTo>
                    <a:pt x="11" y="12"/>
                    <a:pt x="11" y="15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7"/>
                    <a:pt x="9" y="18"/>
                    <a:pt x="9" y="19"/>
                  </a:cubicBezTo>
                  <a:cubicBezTo>
                    <a:pt x="10" y="19"/>
                    <a:pt x="11" y="19"/>
                    <a:pt x="11" y="20"/>
                  </a:cubicBezTo>
                  <a:cubicBezTo>
                    <a:pt x="12" y="21"/>
                    <a:pt x="12" y="22"/>
                    <a:pt x="12" y="23"/>
                  </a:cubicBezTo>
                  <a:cubicBezTo>
                    <a:pt x="12" y="23"/>
                    <a:pt x="11" y="23"/>
                    <a:pt x="11" y="23"/>
                  </a:cubicBezTo>
                  <a:cubicBezTo>
                    <a:pt x="10" y="23"/>
                    <a:pt x="9" y="23"/>
                    <a:pt x="8" y="24"/>
                  </a:cubicBezTo>
                  <a:cubicBezTo>
                    <a:pt x="8" y="26"/>
                    <a:pt x="8" y="27"/>
                    <a:pt x="8" y="29"/>
                  </a:cubicBezTo>
                  <a:cubicBezTo>
                    <a:pt x="7" y="31"/>
                    <a:pt x="4" y="32"/>
                    <a:pt x="2" y="33"/>
                  </a:cubicBezTo>
                  <a:cubicBezTo>
                    <a:pt x="2" y="34"/>
                    <a:pt x="1" y="34"/>
                    <a:pt x="0" y="3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4" y="71"/>
                    <a:pt x="16" y="71"/>
                    <a:pt x="17" y="72"/>
                  </a:cubicBezTo>
                  <a:cubicBezTo>
                    <a:pt x="18" y="72"/>
                    <a:pt x="19" y="73"/>
                    <a:pt x="20" y="75"/>
                  </a:cubicBezTo>
                  <a:cubicBezTo>
                    <a:pt x="21" y="75"/>
                    <a:pt x="21" y="76"/>
                    <a:pt x="22" y="77"/>
                  </a:cubicBezTo>
                  <a:cubicBezTo>
                    <a:pt x="24" y="77"/>
                    <a:pt x="25" y="76"/>
                    <a:pt x="27" y="77"/>
                  </a:cubicBezTo>
                  <a:cubicBezTo>
                    <a:pt x="28" y="78"/>
                    <a:pt x="30" y="80"/>
                    <a:pt x="31" y="80"/>
                  </a:cubicBezTo>
                  <a:cubicBezTo>
                    <a:pt x="33" y="81"/>
                    <a:pt x="35" y="80"/>
                    <a:pt x="36" y="82"/>
                  </a:cubicBezTo>
                  <a:cubicBezTo>
                    <a:pt x="37" y="83"/>
                    <a:pt x="39" y="85"/>
                    <a:pt x="40" y="87"/>
                  </a:cubicBezTo>
                  <a:cubicBezTo>
                    <a:pt x="41" y="91"/>
                    <a:pt x="40" y="95"/>
                    <a:pt x="41" y="99"/>
                  </a:cubicBezTo>
                  <a:cubicBezTo>
                    <a:pt x="43" y="99"/>
                    <a:pt x="45" y="99"/>
                    <a:pt x="47" y="99"/>
                  </a:cubicBezTo>
                  <a:cubicBezTo>
                    <a:pt x="49" y="98"/>
                    <a:pt x="50" y="96"/>
                    <a:pt x="52" y="97"/>
                  </a:cubicBezTo>
                  <a:cubicBezTo>
                    <a:pt x="53" y="97"/>
                    <a:pt x="54" y="99"/>
                    <a:pt x="55" y="99"/>
                  </a:cubicBezTo>
                  <a:cubicBezTo>
                    <a:pt x="56" y="100"/>
                    <a:pt x="57" y="100"/>
                    <a:pt x="58" y="100"/>
                  </a:cubicBezTo>
                  <a:cubicBezTo>
                    <a:pt x="58" y="99"/>
                    <a:pt x="59" y="99"/>
                    <a:pt x="60" y="99"/>
                  </a:cubicBezTo>
                  <a:cubicBezTo>
                    <a:pt x="62" y="99"/>
                    <a:pt x="63" y="101"/>
                    <a:pt x="64" y="100"/>
                  </a:cubicBezTo>
                  <a:cubicBezTo>
                    <a:pt x="65" y="100"/>
                    <a:pt x="66" y="99"/>
                    <a:pt x="66" y="98"/>
                  </a:cubicBezTo>
                  <a:cubicBezTo>
                    <a:pt x="67" y="97"/>
                    <a:pt x="68" y="96"/>
                    <a:pt x="69" y="96"/>
                  </a:cubicBezTo>
                  <a:cubicBezTo>
                    <a:pt x="70" y="95"/>
                    <a:pt x="71" y="96"/>
                    <a:pt x="73" y="95"/>
                  </a:cubicBezTo>
                  <a:cubicBezTo>
                    <a:pt x="74" y="95"/>
                    <a:pt x="75" y="96"/>
                    <a:pt x="76" y="95"/>
                  </a:cubicBezTo>
                  <a:cubicBezTo>
                    <a:pt x="77" y="95"/>
                    <a:pt x="78" y="95"/>
                    <a:pt x="78" y="94"/>
                  </a:cubicBezTo>
                  <a:cubicBezTo>
                    <a:pt x="80" y="93"/>
                    <a:pt x="81" y="93"/>
                    <a:pt x="83" y="92"/>
                  </a:cubicBezTo>
                  <a:cubicBezTo>
                    <a:pt x="84" y="92"/>
                    <a:pt x="86" y="91"/>
                    <a:pt x="87" y="90"/>
                  </a:cubicBezTo>
                  <a:lnTo>
                    <a:pt x="88" y="89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0" name="Freeform 392"/>
            <p:cNvSpPr>
              <a:spLocks/>
            </p:cNvSpPr>
            <p:nvPr/>
          </p:nvSpPr>
          <p:spPr bwMode="auto">
            <a:xfrm>
              <a:off x="7131743" y="5481652"/>
              <a:ext cx="82647" cy="67082"/>
            </a:xfrm>
            <a:custGeom>
              <a:avLst/>
              <a:gdLst>
                <a:gd name="T0" fmla="*/ 1152665 w 61"/>
                <a:gd name="T1" fmla="*/ 2072199 h 62"/>
                <a:gd name="T2" fmla="*/ 1034698 w 61"/>
                <a:gd name="T3" fmla="*/ 1884202 h 62"/>
                <a:gd name="T4" fmla="*/ 658841 w 61"/>
                <a:gd name="T5" fmla="*/ 1769599 h 62"/>
                <a:gd name="T6" fmla="*/ 573923 w 61"/>
                <a:gd name="T7" fmla="*/ 1429628 h 62"/>
                <a:gd name="T8" fmla="*/ 0 w 61"/>
                <a:gd name="T9" fmla="*/ 709793 h 62"/>
                <a:gd name="T10" fmla="*/ 0 w 61"/>
                <a:gd name="T11" fmla="*/ 671701 h 62"/>
                <a:gd name="T12" fmla="*/ 276509 w 61"/>
                <a:gd name="T13" fmla="*/ 709793 h 62"/>
                <a:gd name="T14" fmla="*/ 493900 w 61"/>
                <a:gd name="T15" fmla="*/ 709793 h 62"/>
                <a:gd name="T16" fmla="*/ 614856 w 61"/>
                <a:gd name="T17" fmla="*/ 579386 h 62"/>
                <a:gd name="T18" fmla="*/ 812697 w 61"/>
                <a:gd name="T19" fmla="*/ 402270 h 62"/>
                <a:gd name="T20" fmla="*/ 1034698 w 61"/>
                <a:gd name="T21" fmla="*/ 301865 h 62"/>
                <a:gd name="T22" fmla="*/ 1034698 w 61"/>
                <a:gd name="T23" fmla="*/ 301865 h 62"/>
                <a:gd name="T24" fmla="*/ 1067598 w 61"/>
                <a:gd name="T25" fmla="*/ 209586 h 62"/>
                <a:gd name="T26" fmla="*/ 1110212 w 61"/>
                <a:gd name="T27" fmla="*/ 138837 h 62"/>
                <a:gd name="T28" fmla="*/ 1233437 w 61"/>
                <a:gd name="T29" fmla="*/ 37687 h 62"/>
                <a:gd name="T30" fmla="*/ 1274479 w 61"/>
                <a:gd name="T31" fmla="*/ 37687 h 62"/>
                <a:gd name="T32" fmla="*/ 1471746 w 61"/>
                <a:gd name="T33" fmla="*/ 0 h 62"/>
                <a:gd name="T34" fmla="*/ 1528191 w 61"/>
                <a:gd name="T35" fmla="*/ 0 h 62"/>
                <a:gd name="T36" fmla="*/ 1528191 w 61"/>
                <a:gd name="T37" fmla="*/ 37687 h 62"/>
                <a:gd name="T38" fmla="*/ 1572102 w 61"/>
                <a:gd name="T39" fmla="*/ 109196 h 62"/>
                <a:gd name="T40" fmla="*/ 1727209 w 61"/>
                <a:gd name="T41" fmla="*/ 171896 h 62"/>
                <a:gd name="T42" fmla="*/ 2065190 w 61"/>
                <a:gd name="T43" fmla="*/ 209586 h 62"/>
                <a:gd name="T44" fmla="*/ 2147624 w 61"/>
                <a:gd name="T45" fmla="*/ 209586 h 62"/>
                <a:gd name="T46" fmla="*/ 2273893 w 61"/>
                <a:gd name="T47" fmla="*/ 329929 h 62"/>
                <a:gd name="T48" fmla="*/ 2300795 w 61"/>
                <a:gd name="T49" fmla="*/ 480357 h 62"/>
                <a:gd name="T50" fmla="*/ 2300795 w 61"/>
                <a:gd name="T51" fmla="*/ 620099 h 62"/>
                <a:gd name="T52" fmla="*/ 2300795 w 61"/>
                <a:gd name="T53" fmla="*/ 633251 h 62"/>
                <a:gd name="T54" fmla="*/ 2273893 w 61"/>
                <a:gd name="T55" fmla="*/ 960152 h 62"/>
                <a:gd name="T56" fmla="*/ 2229746 w 61"/>
                <a:gd name="T57" fmla="*/ 981685 h 62"/>
                <a:gd name="T58" fmla="*/ 2229746 w 61"/>
                <a:gd name="T59" fmla="*/ 1190190 h 62"/>
                <a:gd name="T60" fmla="*/ 2273893 w 61"/>
                <a:gd name="T61" fmla="*/ 1252443 h 62"/>
                <a:gd name="T62" fmla="*/ 2300795 w 61"/>
                <a:gd name="T63" fmla="*/ 1362345 h 62"/>
                <a:gd name="T64" fmla="*/ 2109160 w 61"/>
                <a:gd name="T65" fmla="*/ 1555029 h 62"/>
                <a:gd name="T66" fmla="*/ 2109160 w 61"/>
                <a:gd name="T67" fmla="*/ 1694251 h 62"/>
                <a:gd name="T68" fmla="*/ 2109160 w 61"/>
                <a:gd name="T69" fmla="*/ 1842872 h 62"/>
                <a:gd name="T70" fmla="*/ 1971581 w 61"/>
                <a:gd name="T71" fmla="*/ 1998728 h 62"/>
                <a:gd name="T72" fmla="*/ 1807052 w 61"/>
                <a:gd name="T73" fmla="*/ 2101926 h 62"/>
                <a:gd name="T74" fmla="*/ 1727209 w 61"/>
                <a:gd name="T75" fmla="*/ 2101926 h 62"/>
                <a:gd name="T76" fmla="*/ 1152665 w 61"/>
                <a:gd name="T77" fmla="*/ 2101926 h 62"/>
                <a:gd name="T78" fmla="*/ 1152665 w 61"/>
                <a:gd name="T79" fmla="*/ 2101926 h 62"/>
                <a:gd name="T80" fmla="*/ 1152665 w 61"/>
                <a:gd name="T81" fmla="*/ 2072199 h 6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1"/>
                <a:gd name="T124" fmla="*/ 0 h 62"/>
                <a:gd name="T125" fmla="*/ 61 w 61"/>
                <a:gd name="T126" fmla="*/ 62 h 6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1" h="62">
                  <a:moveTo>
                    <a:pt x="30" y="61"/>
                  </a:moveTo>
                  <a:cubicBezTo>
                    <a:pt x="30" y="59"/>
                    <a:pt x="29" y="57"/>
                    <a:pt x="27" y="56"/>
                  </a:cubicBezTo>
                  <a:cubicBezTo>
                    <a:pt x="23" y="55"/>
                    <a:pt x="18" y="56"/>
                    <a:pt x="17" y="52"/>
                  </a:cubicBezTo>
                  <a:cubicBezTo>
                    <a:pt x="16" y="48"/>
                    <a:pt x="16" y="44"/>
                    <a:pt x="15" y="42"/>
                  </a:cubicBezTo>
                  <a:cubicBezTo>
                    <a:pt x="11" y="36"/>
                    <a:pt x="6" y="26"/>
                    <a:pt x="0" y="2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2" y="21"/>
                    <a:pt x="5" y="21"/>
                    <a:pt x="7" y="21"/>
                  </a:cubicBezTo>
                  <a:cubicBezTo>
                    <a:pt x="9" y="21"/>
                    <a:pt x="12" y="22"/>
                    <a:pt x="13" y="21"/>
                  </a:cubicBezTo>
                  <a:cubicBezTo>
                    <a:pt x="14" y="20"/>
                    <a:pt x="15" y="18"/>
                    <a:pt x="16" y="17"/>
                  </a:cubicBezTo>
                  <a:cubicBezTo>
                    <a:pt x="17" y="15"/>
                    <a:pt x="19" y="14"/>
                    <a:pt x="21" y="12"/>
                  </a:cubicBezTo>
                  <a:cubicBezTo>
                    <a:pt x="22" y="10"/>
                    <a:pt x="24" y="10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8"/>
                    <a:pt x="27" y="7"/>
                    <a:pt x="28" y="6"/>
                  </a:cubicBezTo>
                  <a:cubicBezTo>
                    <a:pt x="28" y="5"/>
                    <a:pt x="28" y="4"/>
                    <a:pt x="29" y="4"/>
                  </a:cubicBezTo>
                  <a:cubicBezTo>
                    <a:pt x="30" y="3"/>
                    <a:pt x="31" y="2"/>
                    <a:pt x="32" y="1"/>
                  </a:cubicBezTo>
                  <a:cubicBezTo>
                    <a:pt x="32" y="1"/>
                    <a:pt x="32" y="1"/>
                    <a:pt x="33" y="1"/>
                  </a:cubicBezTo>
                  <a:cubicBezTo>
                    <a:pt x="35" y="0"/>
                    <a:pt x="36" y="0"/>
                    <a:pt x="38" y="0"/>
                  </a:cubicBezTo>
                  <a:cubicBezTo>
                    <a:pt x="39" y="0"/>
                    <a:pt x="39" y="0"/>
                    <a:pt x="40" y="0"/>
                  </a:cubicBezTo>
                  <a:cubicBezTo>
                    <a:pt x="40" y="0"/>
                    <a:pt x="40" y="0"/>
                    <a:pt x="40" y="1"/>
                  </a:cubicBezTo>
                  <a:cubicBezTo>
                    <a:pt x="40" y="2"/>
                    <a:pt x="40" y="3"/>
                    <a:pt x="41" y="3"/>
                  </a:cubicBezTo>
                  <a:cubicBezTo>
                    <a:pt x="42" y="4"/>
                    <a:pt x="43" y="5"/>
                    <a:pt x="45" y="5"/>
                  </a:cubicBezTo>
                  <a:cubicBezTo>
                    <a:pt x="48" y="6"/>
                    <a:pt x="51" y="5"/>
                    <a:pt x="54" y="6"/>
                  </a:cubicBezTo>
                  <a:cubicBezTo>
                    <a:pt x="55" y="6"/>
                    <a:pt x="55" y="6"/>
                    <a:pt x="56" y="6"/>
                  </a:cubicBezTo>
                  <a:cubicBezTo>
                    <a:pt x="57" y="8"/>
                    <a:pt x="58" y="8"/>
                    <a:pt x="59" y="10"/>
                  </a:cubicBezTo>
                  <a:cubicBezTo>
                    <a:pt x="59" y="11"/>
                    <a:pt x="60" y="13"/>
                    <a:pt x="60" y="14"/>
                  </a:cubicBezTo>
                  <a:cubicBezTo>
                    <a:pt x="61" y="15"/>
                    <a:pt x="60" y="16"/>
                    <a:pt x="60" y="18"/>
                  </a:cubicBezTo>
                  <a:cubicBezTo>
                    <a:pt x="60" y="18"/>
                    <a:pt x="60" y="18"/>
                    <a:pt x="60" y="19"/>
                  </a:cubicBezTo>
                  <a:cubicBezTo>
                    <a:pt x="59" y="22"/>
                    <a:pt x="60" y="25"/>
                    <a:pt x="59" y="28"/>
                  </a:cubicBezTo>
                  <a:cubicBezTo>
                    <a:pt x="59" y="29"/>
                    <a:pt x="58" y="29"/>
                    <a:pt x="58" y="29"/>
                  </a:cubicBezTo>
                  <a:cubicBezTo>
                    <a:pt x="57" y="31"/>
                    <a:pt x="57" y="33"/>
                    <a:pt x="58" y="35"/>
                  </a:cubicBezTo>
                  <a:cubicBezTo>
                    <a:pt x="58" y="36"/>
                    <a:pt x="59" y="37"/>
                    <a:pt x="59" y="37"/>
                  </a:cubicBezTo>
                  <a:cubicBezTo>
                    <a:pt x="60" y="37"/>
                    <a:pt x="61" y="39"/>
                    <a:pt x="60" y="40"/>
                  </a:cubicBezTo>
                  <a:cubicBezTo>
                    <a:pt x="59" y="42"/>
                    <a:pt x="56" y="43"/>
                    <a:pt x="55" y="46"/>
                  </a:cubicBezTo>
                  <a:cubicBezTo>
                    <a:pt x="55" y="47"/>
                    <a:pt x="55" y="48"/>
                    <a:pt x="55" y="50"/>
                  </a:cubicBezTo>
                  <a:cubicBezTo>
                    <a:pt x="55" y="51"/>
                    <a:pt x="56" y="53"/>
                    <a:pt x="55" y="54"/>
                  </a:cubicBezTo>
                  <a:cubicBezTo>
                    <a:pt x="54" y="56"/>
                    <a:pt x="52" y="57"/>
                    <a:pt x="51" y="59"/>
                  </a:cubicBezTo>
                  <a:cubicBezTo>
                    <a:pt x="50" y="60"/>
                    <a:pt x="48" y="61"/>
                    <a:pt x="47" y="62"/>
                  </a:cubicBezTo>
                  <a:cubicBezTo>
                    <a:pt x="46" y="62"/>
                    <a:pt x="46" y="62"/>
                    <a:pt x="45" y="62"/>
                  </a:cubicBezTo>
                  <a:cubicBezTo>
                    <a:pt x="41" y="62"/>
                    <a:pt x="35" y="61"/>
                    <a:pt x="30" y="62"/>
                  </a:cubicBezTo>
                  <a:cubicBezTo>
                    <a:pt x="30" y="62"/>
                    <a:pt x="30" y="62"/>
                    <a:pt x="30" y="62"/>
                  </a:cubicBezTo>
                  <a:lnTo>
                    <a:pt x="30" y="61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1" name="Freeform 393"/>
            <p:cNvSpPr>
              <a:spLocks/>
            </p:cNvSpPr>
            <p:nvPr/>
          </p:nvSpPr>
          <p:spPr bwMode="auto">
            <a:xfrm>
              <a:off x="7073744" y="5503409"/>
              <a:ext cx="98595" cy="91861"/>
            </a:xfrm>
            <a:custGeom>
              <a:avLst/>
              <a:gdLst>
                <a:gd name="T0" fmla="*/ 2734699 w 73"/>
                <a:gd name="T1" fmla="*/ 1503673 h 85"/>
                <a:gd name="T2" fmla="*/ 2622590 w 73"/>
                <a:gd name="T3" fmla="*/ 1319934 h 85"/>
                <a:gd name="T4" fmla="*/ 2253906 w 73"/>
                <a:gd name="T5" fmla="*/ 1191618 h 85"/>
                <a:gd name="T6" fmla="*/ 2170260 w 73"/>
                <a:gd name="T7" fmla="*/ 801348 h 85"/>
                <a:gd name="T8" fmla="*/ 1609200 w 73"/>
                <a:gd name="T9" fmla="*/ 39929 h 85"/>
                <a:gd name="T10" fmla="*/ 1609200 w 73"/>
                <a:gd name="T11" fmla="*/ 0 h 85"/>
                <a:gd name="T12" fmla="*/ 1542424 w 73"/>
                <a:gd name="T13" fmla="*/ 39929 h 85"/>
                <a:gd name="T14" fmla="*/ 1275633 w 73"/>
                <a:gd name="T15" fmla="*/ 77039 h 85"/>
                <a:gd name="T16" fmla="*/ 1207839 w 73"/>
                <a:gd name="T17" fmla="*/ 148640 h 85"/>
                <a:gd name="T18" fmla="*/ 1089289 w 73"/>
                <a:gd name="T19" fmla="*/ 226060 h 85"/>
                <a:gd name="T20" fmla="*/ 1005424 w 73"/>
                <a:gd name="T21" fmla="*/ 117165 h 85"/>
                <a:gd name="T22" fmla="*/ 714574 w 73"/>
                <a:gd name="T23" fmla="*/ 148640 h 85"/>
                <a:gd name="T24" fmla="*/ 335290 w 73"/>
                <a:gd name="T25" fmla="*/ 188604 h 85"/>
                <a:gd name="T26" fmla="*/ 291978 w 73"/>
                <a:gd name="T27" fmla="*/ 436163 h 85"/>
                <a:gd name="T28" fmla="*/ 291978 w 73"/>
                <a:gd name="T29" fmla="*/ 1436891 h 85"/>
                <a:gd name="T30" fmla="*/ 0 w 73"/>
                <a:gd name="T31" fmla="*/ 1474694 h 85"/>
                <a:gd name="T32" fmla="*/ 0 w 73"/>
                <a:gd name="T33" fmla="*/ 2465088 h 85"/>
                <a:gd name="T34" fmla="*/ 78263 w 73"/>
                <a:gd name="T35" fmla="*/ 2465088 h 85"/>
                <a:gd name="T36" fmla="*/ 118558 w 73"/>
                <a:gd name="T37" fmla="*/ 2656688 h 85"/>
                <a:gd name="T38" fmla="*/ 151166 w 73"/>
                <a:gd name="T39" fmla="*/ 2695321 h 85"/>
                <a:gd name="T40" fmla="*/ 151166 w 73"/>
                <a:gd name="T41" fmla="*/ 2772354 h 85"/>
                <a:gd name="T42" fmla="*/ 191538 w 73"/>
                <a:gd name="T43" fmla="*/ 2812280 h 85"/>
                <a:gd name="T44" fmla="*/ 151166 w 73"/>
                <a:gd name="T45" fmla="*/ 2901204 h 85"/>
                <a:gd name="T46" fmla="*/ 118558 w 73"/>
                <a:gd name="T47" fmla="*/ 2983121 h 85"/>
                <a:gd name="T48" fmla="*/ 269499 w 73"/>
                <a:gd name="T49" fmla="*/ 3100514 h 85"/>
                <a:gd name="T50" fmla="*/ 413439 w 73"/>
                <a:gd name="T51" fmla="*/ 3100514 h 85"/>
                <a:gd name="T52" fmla="*/ 520539 w 73"/>
                <a:gd name="T53" fmla="*/ 3100514 h 85"/>
                <a:gd name="T54" fmla="*/ 755094 w 73"/>
                <a:gd name="T55" fmla="*/ 2866064 h 85"/>
                <a:gd name="T56" fmla="*/ 854319 w 73"/>
                <a:gd name="T57" fmla="*/ 2695321 h 85"/>
                <a:gd name="T58" fmla="*/ 894618 w 73"/>
                <a:gd name="T59" fmla="*/ 2613670 h 85"/>
                <a:gd name="T60" fmla="*/ 972871 w 73"/>
                <a:gd name="T61" fmla="*/ 2579357 h 85"/>
                <a:gd name="T62" fmla="*/ 1045859 w 73"/>
                <a:gd name="T63" fmla="*/ 2579357 h 85"/>
                <a:gd name="T64" fmla="*/ 1089289 w 73"/>
                <a:gd name="T65" fmla="*/ 2613670 h 85"/>
                <a:gd name="T66" fmla="*/ 1250873 w 73"/>
                <a:gd name="T67" fmla="*/ 2735298 h 85"/>
                <a:gd name="T68" fmla="*/ 1415837 w 73"/>
                <a:gd name="T69" fmla="*/ 2772354 h 85"/>
                <a:gd name="T70" fmla="*/ 1498981 w 73"/>
                <a:gd name="T71" fmla="*/ 2735298 h 85"/>
                <a:gd name="T72" fmla="*/ 1650123 w 73"/>
                <a:gd name="T73" fmla="*/ 2579357 h 85"/>
                <a:gd name="T74" fmla="*/ 1687463 w 73"/>
                <a:gd name="T75" fmla="*/ 2507709 h 85"/>
                <a:gd name="T76" fmla="*/ 1811599 w 73"/>
                <a:gd name="T77" fmla="*/ 2325437 h 85"/>
                <a:gd name="T78" fmla="*/ 1941983 w 73"/>
                <a:gd name="T79" fmla="*/ 2219022 h 85"/>
                <a:gd name="T80" fmla="*/ 2020083 w 73"/>
                <a:gd name="T81" fmla="*/ 2033189 h 85"/>
                <a:gd name="T82" fmla="*/ 2253906 w 73"/>
                <a:gd name="T83" fmla="*/ 1833034 h 85"/>
                <a:gd name="T84" fmla="*/ 2292382 w 73"/>
                <a:gd name="T85" fmla="*/ 1833034 h 85"/>
                <a:gd name="T86" fmla="*/ 2504434 w 73"/>
                <a:gd name="T87" fmla="*/ 1663620 h 85"/>
                <a:gd name="T88" fmla="*/ 2622590 w 73"/>
                <a:gd name="T89" fmla="*/ 1586264 h 85"/>
                <a:gd name="T90" fmla="*/ 2734699 w 73"/>
                <a:gd name="T91" fmla="*/ 1546130 h 85"/>
                <a:gd name="T92" fmla="*/ 2734699 w 73"/>
                <a:gd name="T93" fmla="*/ 1503673 h 8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3"/>
                <a:gd name="T142" fmla="*/ 0 h 85"/>
                <a:gd name="T143" fmla="*/ 73 w 73"/>
                <a:gd name="T144" fmla="*/ 85 h 8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3" h="85">
                  <a:moveTo>
                    <a:pt x="73" y="41"/>
                  </a:moveTo>
                  <a:cubicBezTo>
                    <a:pt x="73" y="39"/>
                    <a:pt x="72" y="37"/>
                    <a:pt x="70" y="36"/>
                  </a:cubicBezTo>
                  <a:cubicBezTo>
                    <a:pt x="66" y="35"/>
                    <a:pt x="61" y="36"/>
                    <a:pt x="60" y="32"/>
                  </a:cubicBezTo>
                  <a:cubicBezTo>
                    <a:pt x="59" y="28"/>
                    <a:pt x="59" y="24"/>
                    <a:pt x="58" y="22"/>
                  </a:cubicBezTo>
                  <a:cubicBezTo>
                    <a:pt x="54" y="16"/>
                    <a:pt x="49" y="6"/>
                    <a:pt x="43" y="1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2" y="0"/>
                    <a:pt x="41" y="1"/>
                    <a:pt x="41" y="1"/>
                  </a:cubicBezTo>
                  <a:cubicBezTo>
                    <a:pt x="39" y="2"/>
                    <a:pt x="36" y="1"/>
                    <a:pt x="34" y="2"/>
                  </a:cubicBezTo>
                  <a:cubicBezTo>
                    <a:pt x="34" y="2"/>
                    <a:pt x="33" y="3"/>
                    <a:pt x="32" y="4"/>
                  </a:cubicBezTo>
                  <a:cubicBezTo>
                    <a:pt x="31" y="6"/>
                    <a:pt x="31" y="7"/>
                    <a:pt x="29" y="6"/>
                  </a:cubicBezTo>
                  <a:cubicBezTo>
                    <a:pt x="28" y="6"/>
                    <a:pt x="28" y="4"/>
                    <a:pt x="27" y="3"/>
                  </a:cubicBezTo>
                  <a:cubicBezTo>
                    <a:pt x="25" y="2"/>
                    <a:pt x="22" y="3"/>
                    <a:pt x="19" y="4"/>
                  </a:cubicBezTo>
                  <a:cubicBezTo>
                    <a:pt x="16" y="4"/>
                    <a:pt x="13" y="4"/>
                    <a:pt x="9" y="5"/>
                  </a:cubicBezTo>
                  <a:cubicBezTo>
                    <a:pt x="7" y="7"/>
                    <a:pt x="8" y="10"/>
                    <a:pt x="8" y="12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67"/>
                    <a:pt x="1" y="67"/>
                    <a:pt x="2" y="67"/>
                  </a:cubicBezTo>
                  <a:cubicBezTo>
                    <a:pt x="3" y="68"/>
                    <a:pt x="3" y="70"/>
                    <a:pt x="3" y="72"/>
                  </a:cubicBezTo>
                  <a:cubicBezTo>
                    <a:pt x="4" y="72"/>
                    <a:pt x="4" y="72"/>
                    <a:pt x="4" y="73"/>
                  </a:cubicBezTo>
                  <a:cubicBezTo>
                    <a:pt x="4" y="74"/>
                    <a:pt x="4" y="74"/>
                    <a:pt x="4" y="75"/>
                  </a:cubicBezTo>
                  <a:cubicBezTo>
                    <a:pt x="4" y="75"/>
                    <a:pt x="4" y="76"/>
                    <a:pt x="5" y="76"/>
                  </a:cubicBezTo>
                  <a:cubicBezTo>
                    <a:pt x="5" y="77"/>
                    <a:pt x="5" y="78"/>
                    <a:pt x="4" y="79"/>
                  </a:cubicBezTo>
                  <a:cubicBezTo>
                    <a:pt x="4" y="80"/>
                    <a:pt x="4" y="81"/>
                    <a:pt x="3" y="81"/>
                  </a:cubicBezTo>
                  <a:cubicBezTo>
                    <a:pt x="2" y="84"/>
                    <a:pt x="5" y="85"/>
                    <a:pt x="7" y="84"/>
                  </a:cubicBezTo>
                  <a:cubicBezTo>
                    <a:pt x="8" y="83"/>
                    <a:pt x="10" y="83"/>
                    <a:pt x="11" y="84"/>
                  </a:cubicBezTo>
                  <a:cubicBezTo>
                    <a:pt x="12" y="84"/>
                    <a:pt x="13" y="85"/>
                    <a:pt x="14" y="84"/>
                  </a:cubicBezTo>
                  <a:cubicBezTo>
                    <a:pt x="16" y="82"/>
                    <a:pt x="17" y="80"/>
                    <a:pt x="20" y="78"/>
                  </a:cubicBezTo>
                  <a:cubicBezTo>
                    <a:pt x="22" y="77"/>
                    <a:pt x="22" y="75"/>
                    <a:pt x="23" y="73"/>
                  </a:cubicBezTo>
                  <a:cubicBezTo>
                    <a:pt x="23" y="72"/>
                    <a:pt x="23" y="71"/>
                    <a:pt x="24" y="71"/>
                  </a:cubicBezTo>
                  <a:cubicBezTo>
                    <a:pt x="25" y="71"/>
                    <a:pt x="25" y="70"/>
                    <a:pt x="26" y="70"/>
                  </a:cubicBezTo>
                  <a:cubicBezTo>
                    <a:pt x="27" y="69"/>
                    <a:pt x="27" y="69"/>
                    <a:pt x="28" y="70"/>
                  </a:cubicBezTo>
                  <a:cubicBezTo>
                    <a:pt x="28" y="70"/>
                    <a:pt x="29" y="71"/>
                    <a:pt x="29" y="71"/>
                  </a:cubicBezTo>
                  <a:cubicBezTo>
                    <a:pt x="31" y="72"/>
                    <a:pt x="31" y="74"/>
                    <a:pt x="33" y="74"/>
                  </a:cubicBezTo>
                  <a:cubicBezTo>
                    <a:pt x="35" y="75"/>
                    <a:pt x="36" y="76"/>
                    <a:pt x="38" y="75"/>
                  </a:cubicBezTo>
                  <a:cubicBezTo>
                    <a:pt x="39" y="75"/>
                    <a:pt x="39" y="74"/>
                    <a:pt x="40" y="74"/>
                  </a:cubicBezTo>
                  <a:cubicBezTo>
                    <a:pt x="42" y="73"/>
                    <a:pt x="43" y="72"/>
                    <a:pt x="44" y="70"/>
                  </a:cubicBezTo>
                  <a:cubicBezTo>
                    <a:pt x="44" y="70"/>
                    <a:pt x="44" y="69"/>
                    <a:pt x="45" y="68"/>
                  </a:cubicBezTo>
                  <a:cubicBezTo>
                    <a:pt x="46" y="66"/>
                    <a:pt x="46" y="64"/>
                    <a:pt x="48" y="63"/>
                  </a:cubicBezTo>
                  <a:cubicBezTo>
                    <a:pt x="50" y="62"/>
                    <a:pt x="52" y="62"/>
                    <a:pt x="52" y="60"/>
                  </a:cubicBezTo>
                  <a:cubicBezTo>
                    <a:pt x="53" y="58"/>
                    <a:pt x="53" y="56"/>
                    <a:pt x="54" y="55"/>
                  </a:cubicBezTo>
                  <a:cubicBezTo>
                    <a:pt x="56" y="53"/>
                    <a:pt x="57" y="51"/>
                    <a:pt x="60" y="50"/>
                  </a:cubicBezTo>
                  <a:cubicBezTo>
                    <a:pt x="60" y="50"/>
                    <a:pt x="60" y="50"/>
                    <a:pt x="61" y="50"/>
                  </a:cubicBezTo>
                  <a:cubicBezTo>
                    <a:pt x="63" y="48"/>
                    <a:pt x="65" y="47"/>
                    <a:pt x="67" y="45"/>
                  </a:cubicBezTo>
                  <a:cubicBezTo>
                    <a:pt x="68" y="44"/>
                    <a:pt x="69" y="43"/>
                    <a:pt x="70" y="43"/>
                  </a:cubicBezTo>
                  <a:cubicBezTo>
                    <a:pt x="71" y="43"/>
                    <a:pt x="72" y="42"/>
                    <a:pt x="73" y="42"/>
                  </a:cubicBezTo>
                  <a:lnTo>
                    <a:pt x="73" y="41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2" name="Freeform 394"/>
            <p:cNvSpPr>
              <a:spLocks/>
            </p:cNvSpPr>
            <p:nvPr/>
          </p:nvSpPr>
          <p:spPr bwMode="auto">
            <a:xfrm>
              <a:off x="7320957" y="5445998"/>
              <a:ext cx="80471" cy="135976"/>
            </a:xfrm>
            <a:custGeom>
              <a:avLst/>
              <a:gdLst>
                <a:gd name="T0" fmla="*/ 1054544 w 60"/>
                <a:gd name="T1" fmla="*/ 3978889 h 126"/>
                <a:gd name="T2" fmla="*/ 1300018 w 60"/>
                <a:gd name="T3" fmla="*/ 3199304 h 126"/>
                <a:gd name="T4" fmla="*/ 1399113 w 60"/>
                <a:gd name="T5" fmla="*/ 2753417 h 126"/>
                <a:gd name="T6" fmla="*/ 1526242 w 60"/>
                <a:gd name="T7" fmla="*/ 2371061 h 126"/>
                <a:gd name="T8" fmla="*/ 1624578 w 60"/>
                <a:gd name="T9" fmla="*/ 2017917 h 126"/>
                <a:gd name="T10" fmla="*/ 1696929 w 60"/>
                <a:gd name="T11" fmla="*/ 1819815 h 126"/>
                <a:gd name="T12" fmla="*/ 1772271 w 60"/>
                <a:gd name="T13" fmla="*/ 1534833 h 126"/>
                <a:gd name="T14" fmla="*/ 1793950 w 60"/>
                <a:gd name="T15" fmla="*/ 1088547 h 126"/>
                <a:gd name="T16" fmla="*/ 1850751 w 60"/>
                <a:gd name="T17" fmla="*/ 1234519 h 126"/>
                <a:gd name="T18" fmla="*/ 1959625 w 60"/>
                <a:gd name="T19" fmla="*/ 1067620 h 126"/>
                <a:gd name="T20" fmla="*/ 1959625 w 60"/>
                <a:gd name="T21" fmla="*/ 968010 h 126"/>
                <a:gd name="T22" fmla="*/ 1890278 w 60"/>
                <a:gd name="T23" fmla="*/ 484334 h 126"/>
                <a:gd name="T24" fmla="*/ 1850751 w 60"/>
                <a:gd name="T25" fmla="*/ 334663 h 126"/>
                <a:gd name="T26" fmla="*/ 1772271 w 60"/>
                <a:gd name="T27" fmla="*/ 232157 h 126"/>
                <a:gd name="T28" fmla="*/ 1696929 w 60"/>
                <a:gd name="T29" fmla="*/ 38342 h 126"/>
                <a:gd name="T30" fmla="*/ 1526242 w 60"/>
                <a:gd name="T31" fmla="*/ 174246 h 126"/>
                <a:gd name="T32" fmla="*/ 1489745 w 60"/>
                <a:gd name="T33" fmla="*/ 484334 h 126"/>
                <a:gd name="T34" fmla="*/ 1337341 w 60"/>
                <a:gd name="T35" fmla="*/ 555868 h 126"/>
                <a:gd name="T36" fmla="*/ 1300018 w 60"/>
                <a:gd name="T37" fmla="*/ 678251 h 126"/>
                <a:gd name="T38" fmla="*/ 1263227 w 60"/>
                <a:gd name="T39" fmla="*/ 818181 h 126"/>
                <a:gd name="T40" fmla="*/ 1094009 w 60"/>
                <a:gd name="T41" fmla="*/ 968010 h 126"/>
                <a:gd name="T42" fmla="*/ 1022413 w 60"/>
                <a:gd name="T43" fmla="*/ 1002078 h 126"/>
                <a:gd name="T44" fmla="*/ 935974 w 60"/>
                <a:gd name="T45" fmla="*/ 1067620 h 126"/>
                <a:gd name="T46" fmla="*/ 903737 w 60"/>
                <a:gd name="T47" fmla="*/ 1198740 h 126"/>
                <a:gd name="T48" fmla="*/ 622284 w 60"/>
                <a:gd name="T49" fmla="*/ 1234519 h 126"/>
                <a:gd name="T50" fmla="*/ 432174 w 60"/>
                <a:gd name="T51" fmla="*/ 1302673 h 126"/>
                <a:gd name="T52" fmla="*/ 364040 w 60"/>
                <a:gd name="T53" fmla="*/ 1340734 h 126"/>
                <a:gd name="T54" fmla="*/ 324670 w 60"/>
                <a:gd name="T55" fmla="*/ 1534833 h 126"/>
                <a:gd name="T56" fmla="*/ 225482 w 60"/>
                <a:gd name="T57" fmla="*/ 1786630 h 126"/>
                <a:gd name="T58" fmla="*/ 262850 w 60"/>
                <a:gd name="T59" fmla="*/ 1924626 h 126"/>
                <a:gd name="T60" fmla="*/ 324670 w 60"/>
                <a:gd name="T61" fmla="*/ 2371061 h 126"/>
                <a:gd name="T62" fmla="*/ 364040 w 60"/>
                <a:gd name="T63" fmla="*/ 2534551 h 126"/>
                <a:gd name="T64" fmla="*/ 225482 w 60"/>
                <a:gd name="T65" fmla="*/ 2753417 h 126"/>
                <a:gd name="T66" fmla="*/ 169393 w 60"/>
                <a:gd name="T67" fmla="*/ 2906912 h 126"/>
                <a:gd name="T68" fmla="*/ 0 w 60"/>
                <a:gd name="T69" fmla="*/ 3159085 h 126"/>
                <a:gd name="T70" fmla="*/ 37331 w 60"/>
                <a:gd name="T71" fmla="*/ 3281470 h 126"/>
                <a:gd name="T72" fmla="*/ 107843 w 60"/>
                <a:gd name="T73" fmla="*/ 3938279 h 126"/>
                <a:gd name="T74" fmla="*/ 169393 w 60"/>
                <a:gd name="T75" fmla="*/ 4089363 h 126"/>
                <a:gd name="T76" fmla="*/ 206699 w 60"/>
                <a:gd name="T77" fmla="*/ 4146802 h 126"/>
                <a:gd name="T78" fmla="*/ 364040 w 60"/>
                <a:gd name="T79" fmla="*/ 4209737 h 126"/>
                <a:gd name="T80" fmla="*/ 471515 w 60"/>
                <a:gd name="T81" fmla="*/ 4283228 h 126"/>
                <a:gd name="T82" fmla="*/ 697743 w 60"/>
                <a:gd name="T83" fmla="*/ 4209737 h 126"/>
                <a:gd name="T84" fmla="*/ 1002940 w 60"/>
                <a:gd name="T85" fmla="*/ 4089363 h 126"/>
                <a:gd name="T86" fmla="*/ 1022413 w 60"/>
                <a:gd name="T87" fmla="*/ 4051069 h 12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0"/>
                <a:gd name="T133" fmla="*/ 0 h 126"/>
                <a:gd name="T134" fmla="*/ 60 w 60"/>
                <a:gd name="T135" fmla="*/ 126 h 12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0" h="126">
                  <a:moveTo>
                    <a:pt x="31" y="118"/>
                  </a:moveTo>
                  <a:cubicBezTo>
                    <a:pt x="32" y="117"/>
                    <a:pt x="32" y="116"/>
                    <a:pt x="32" y="116"/>
                  </a:cubicBezTo>
                  <a:cubicBezTo>
                    <a:pt x="34" y="110"/>
                    <a:pt x="35" y="104"/>
                    <a:pt x="36" y="98"/>
                  </a:cubicBezTo>
                  <a:cubicBezTo>
                    <a:pt x="37" y="97"/>
                    <a:pt x="38" y="95"/>
                    <a:pt x="39" y="93"/>
                  </a:cubicBezTo>
                  <a:cubicBezTo>
                    <a:pt x="40" y="91"/>
                    <a:pt x="40" y="90"/>
                    <a:pt x="40" y="88"/>
                  </a:cubicBezTo>
                  <a:cubicBezTo>
                    <a:pt x="41" y="85"/>
                    <a:pt x="41" y="83"/>
                    <a:pt x="42" y="80"/>
                  </a:cubicBezTo>
                  <a:cubicBezTo>
                    <a:pt x="43" y="78"/>
                    <a:pt x="43" y="76"/>
                    <a:pt x="44" y="74"/>
                  </a:cubicBezTo>
                  <a:cubicBezTo>
                    <a:pt x="44" y="72"/>
                    <a:pt x="45" y="70"/>
                    <a:pt x="46" y="69"/>
                  </a:cubicBezTo>
                  <a:cubicBezTo>
                    <a:pt x="46" y="67"/>
                    <a:pt x="46" y="66"/>
                    <a:pt x="47" y="65"/>
                  </a:cubicBezTo>
                  <a:cubicBezTo>
                    <a:pt x="47" y="63"/>
                    <a:pt x="48" y="61"/>
                    <a:pt x="49" y="59"/>
                  </a:cubicBezTo>
                  <a:cubicBezTo>
                    <a:pt x="49" y="58"/>
                    <a:pt x="50" y="57"/>
                    <a:pt x="50" y="56"/>
                  </a:cubicBezTo>
                  <a:cubicBezTo>
                    <a:pt x="51" y="55"/>
                    <a:pt x="51" y="54"/>
                    <a:pt x="51" y="53"/>
                  </a:cubicBezTo>
                  <a:cubicBezTo>
                    <a:pt x="51" y="51"/>
                    <a:pt x="51" y="50"/>
                    <a:pt x="51" y="48"/>
                  </a:cubicBezTo>
                  <a:cubicBezTo>
                    <a:pt x="52" y="47"/>
                    <a:pt x="52" y="46"/>
                    <a:pt x="53" y="45"/>
                  </a:cubicBezTo>
                  <a:cubicBezTo>
                    <a:pt x="54" y="44"/>
                    <a:pt x="53" y="42"/>
                    <a:pt x="54" y="40"/>
                  </a:cubicBezTo>
                  <a:cubicBezTo>
                    <a:pt x="54" y="38"/>
                    <a:pt x="54" y="35"/>
                    <a:pt x="54" y="32"/>
                  </a:cubicBezTo>
                  <a:cubicBezTo>
                    <a:pt x="54" y="31"/>
                    <a:pt x="55" y="30"/>
                    <a:pt x="55" y="31"/>
                  </a:cubicBezTo>
                  <a:cubicBezTo>
                    <a:pt x="56" y="32"/>
                    <a:pt x="55" y="34"/>
                    <a:pt x="56" y="36"/>
                  </a:cubicBezTo>
                  <a:cubicBezTo>
                    <a:pt x="56" y="36"/>
                    <a:pt x="57" y="36"/>
                    <a:pt x="57" y="36"/>
                  </a:cubicBezTo>
                  <a:cubicBezTo>
                    <a:pt x="58" y="35"/>
                    <a:pt x="58" y="33"/>
                    <a:pt x="59" y="31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60" y="29"/>
                    <a:pt x="60" y="28"/>
                    <a:pt x="59" y="28"/>
                  </a:cubicBezTo>
                  <a:cubicBezTo>
                    <a:pt x="57" y="25"/>
                    <a:pt x="57" y="22"/>
                    <a:pt x="57" y="19"/>
                  </a:cubicBezTo>
                  <a:cubicBezTo>
                    <a:pt x="58" y="17"/>
                    <a:pt x="58" y="16"/>
                    <a:pt x="57" y="14"/>
                  </a:cubicBezTo>
                  <a:cubicBezTo>
                    <a:pt x="57" y="13"/>
                    <a:pt x="57" y="12"/>
                    <a:pt x="57" y="10"/>
                  </a:cubicBezTo>
                  <a:cubicBezTo>
                    <a:pt x="57" y="10"/>
                    <a:pt x="56" y="10"/>
                    <a:pt x="56" y="10"/>
                  </a:cubicBezTo>
                  <a:cubicBezTo>
                    <a:pt x="56" y="9"/>
                    <a:pt x="56" y="8"/>
                    <a:pt x="55" y="7"/>
                  </a:cubicBezTo>
                  <a:cubicBezTo>
                    <a:pt x="55" y="7"/>
                    <a:pt x="54" y="7"/>
                    <a:pt x="53" y="7"/>
                  </a:cubicBezTo>
                  <a:cubicBezTo>
                    <a:pt x="53" y="7"/>
                    <a:pt x="53" y="6"/>
                    <a:pt x="53" y="6"/>
                  </a:cubicBezTo>
                  <a:cubicBezTo>
                    <a:pt x="53" y="4"/>
                    <a:pt x="52" y="2"/>
                    <a:pt x="51" y="1"/>
                  </a:cubicBezTo>
                  <a:cubicBezTo>
                    <a:pt x="51" y="0"/>
                    <a:pt x="50" y="0"/>
                    <a:pt x="50" y="0"/>
                  </a:cubicBezTo>
                  <a:cubicBezTo>
                    <a:pt x="49" y="2"/>
                    <a:pt x="46" y="3"/>
                    <a:pt x="46" y="5"/>
                  </a:cubicBezTo>
                  <a:cubicBezTo>
                    <a:pt x="45" y="6"/>
                    <a:pt x="47" y="9"/>
                    <a:pt x="46" y="11"/>
                  </a:cubicBezTo>
                  <a:cubicBezTo>
                    <a:pt x="46" y="12"/>
                    <a:pt x="45" y="13"/>
                    <a:pt x="45" y="14"/>
                  </a:cubicBezTo>
                  <a:cubicBezTo>
                    <a:pt x="44" y="15"/>
                    <a:pt x="42" y="15"/>
                    <a:pt x="41" y="15"/>
                  </a:cubicBezTo>
                  <a:cubicBezTo>
                    <a:pt x="40" y="15"/>
                    <a:pt x="40" y="15"/>
                    <a:pt x="40" y="16"/>
                  </a:cubicBezTo>
                  <a:cubicBezTo>
                    <a:pt x="39" y="17"/>
                    <a:pt x="41" y="19"/>
                    <a:pt x="40" y="20"/>
                  </a:cubicBezTo>
                  <a:cubicBezTo>
                    <a:pt x="40" y="20"/>
                    <a:pt x="39" y="20"/>
                    <a:pt x="39" y="20"/>
                  </a:cubicBezTo>
                  <a:cubicBezTo>
                    <a:pt x="39" y="20"/>
                    <a:pt x="39" y="20"/>
                    <a:pt x="38" y="21"/>
                  </a:cubicBezTo>
                  <a:cubicBezTo>
                    <a:pt x="38" y="22"/>
                    <a:pt x="39" y="23"/>
                    <a:pt x="38" y="24"/>
                  </a:cubicBezTo>
                  <a:cubicBezTo>
                    <a:pt x="38" y="25"/>
                    <a:pt x="36" y="25"/>
                    <a:pt x="35" y="26"/>
                  </a:cubicBezTo>
                  <a:cubicBezTo>
                    <a:pt x="34" y="26"/>
                    <a:pt x="33" y="27"/>
                    <a:pt x="33" y="28"/>
                  </a:cubicBezTo>
                  <a:cubicBezTo>
                    <a:pt x="33" y="28"/>
                    <a:pt x="33" y="30"/>
                    <a:pt x="33" y="30"/>
                  </a:cubicBezTo>
                  <a:cubicBezTo>
                    <a:pt x="32" y="31"/>
                    <a:pt x="32" y="29"/>
                    <a:pt x="31" y="29"/>
                  </a:cubicBezTo>
                  <a:cubicBezTo>
                    <a:pt x="31" y="29"/>
                    <a:pt x="30" y="29"/>
                    <a:pt x="30" y="29"/>
                  </a:cubicBezTo>
                  <a:cubicBezTo>
                    <a:pt x="29" y="30"/>
                    <a:pt x="28" y="31"/>
                    <a:pt x="28" y="31"/>
                  </a:cubicBezTo>
                  <a:cubicBezTo>
                    <a:pt x="28" y="33"/>
                    <a:pt x="28" y="34"/>
                    <a:pt x="28" y="35"/>
                  </a:cubicBezTo>
                  <a:cubicBezTo>
                    <a:pt x="28" y="36"/>
                    <a:pt x="27" y="36"/>
                    <a:pt x="27" y="35"/>
                  </a:cubicBezTo>
                  <a:cubicBezTo>
                    <a:pt x="26" y="34"/>
                    <a:pt x="25" y="33"/>
                    <a:pt x="23" y="34"/>
                  </a:cubicBezTo>
                  <a:cubicBezTo>
                    <a:pt x="22" y="34"/>
                    <a:pt x="20" y="35"/>
                    <a:pt x="19" y="36"/>
                  </a:cubicBezTo>
                  <a:cubicBezTo>
                    <a:pt x="19" y="36"/>
                    <a:pt x="18" y="36"/>
                    <a:pt x="18" y="37"/>
                  </a:cubicBezTo>
                  <a:cubicBezTo>
                    <a:pt x="16" y="38"/>
                    <a:pt x="15" y="37"/>
                    <a:pt x="13" y="38"/>
                  </a:cubicBezTo>
                  <a:cubicBezTo>
                    <a:pt x="12" y="38"/>
                    <a:pt x="12" y="38"/>
                    <a:pt x="11" y="38"/>
                  </a:cubicBezTo>
                  <a:cubicBezTo>
                    <a:pt x="11" y="38"/>
                    <a:pt x="11" y="39"/>
                    <a:pt x="11" y="39"/>
                  </a:cubicBezTo>
                  <a:cubicBezTo>
                    <a:pt x="11" y="41"/>
                    <a:pt x="11" y="42"/>
                    <a:pt x="11" y="44"/>
                  </a:cubicBezTo>
                  <a:cubicBezTo>
                    <a:pt x="11" y="44"/>
                    <a:pt x="10" y="45"/>
                    <a:pt x="10" y="45"/>
                  </a:cubicBezTo>
                  <a:cubicBezTo>
                    <a:pt x="10" y="46"/>
                    <a:pt x="9" y="47"/>
                    <a:pt x="8" y="48"/>
                  </a:cubicBezTo>
                  <a:cubicBezTo>
                    <a:pt x="7" y="49"/>
                    <a:pt x="6" y="50"/>
                    <a:pt x="7" y="52"/>
                  </a:cubicBezTo>
                  <a:cubicBezTo>
                    <a:pt x="7" y="52"/>
                    <a:pt x="8" y="53"/>
                    <a:pt x="8" y="53"/>
                  </a:cubicBezTo>
                  <a:cubicBezTo>
                    <a:pt x="8" y="54"/>
                    <a:pt x="8" y="55"/>
                    <a:pt x="8" y="56"/>
                  </a:cubicBezTo>
                  <a:cubicBezTo>
                    <a:pt x="7" y="58"/>
                    <a:pt x="7" y="59"/>
                    <a:pt x="7" y="60"/>
                  </a:cubicBezTo>
                  <a:cubicBezTo>
                    <a:pt x="10" y="62"/>
                    <a:pt x="9" y="66"/>
                    <a:pt x="10" y="69"/>
                  </a:cubicBezTo>
                  <a:cubicBezTo>
                    <a:pt x="10" y="69"/>
                    <a:pt x="11" y="70"/>
                    <a:pt x="11" y="71"/>
                  </a:cubicBezTo>
                  <a:cubicBezTo>
                    <a:pt x="11" y="72"/>
                    <a:pt x="11" y="73"/>
                    <a:pt x="11" y="74"/>
                  </a:cubicBezTo>
                  <a:cubicBezTo>
                    <a:pt x="10" y="75"/>
                    <a:pt x="9" y="76"/>
                    <a:pt x="8" y="77"/>
                  </a:cubicBezTo>
                  <a:cubicBezTo>
                    <a:pt x="7" y="78"/>
                    <a:pt x="7" y="79"/>
                    <a:pt x="7" y="80"/>
                  </a:cubicBezTo>
                  <a:cubicBezTo>
                    <a:pt x="6" y="81"/>
                    <a:pt x="5" y="81"/>
                    <a:pt x="5" y="82"/>
                  </a:cubicBezTo>
                  <a:cubicBezTo>
                    <a:pt x="5" y="83"/>
                    <a:pt x="5" y="84"/>
                    <a:pt x="5" y="85"/>
                  </a:cubicBezTo>
                  <a:cubicBezTo>
                    <a:pt x="4" y="87"/>
                    <a:pt x="2" y="88"/>
                    <a:pt x="1" y="91"/>
                  </a:cubicBezTo>
                  <a:cubicBezTo>
                    <a:pt x="1" y="91"/>
                    <a:pt x="1" y="92"/>
                    <a:pt x="0" y="92"/>
                  </a:cubicBezTo>
                  <a:cubicBezTo>
                    <a:pt x="0" y="93"/>
                    <a:pt x="0" y="94"/>
                    <a:pt x="0" y="95"/>
                  </a:cubicBezTo>
                  <a:cubicBezTo>
                    <a:pt x="0" y="95"/>
                    <a:pt x="1" y="95"/>
                    <a:pt x="1" y="96"/>
                  </a:cubicBezTo>
                  <a:cubicBezTo>
                    <a:pt x="1" y="97"/>
                    <a:pt x="2" y="98"/>
                    <a:pt x="2" y="98"/>
                  </a:cubicBezTo>
                  <a:cubicBezTo>
                    <a:pt x="3" y="104"/>
                    <a:pt x="2" y="109"/>
                    <a:pt x="3" y="115"/>
                  </a:cubicBezTo>
                  <a:cubicBezTo>
                    <a:pt x="3" y="115"/>
                    <a:pt x="3" y="116"/>
                    <a:pt x="3" y="116"/>
                  </a:cubicBezTo>
                  <a:cubicBezTo>
                    <a:pt x="4" y="117"/>
                    <a:pt x="4" y="118"/>
                    <a:pt x="5" y="119"/>
                  </a:cubicBezTo>
                  <a:cubicBezTo>
                    <a:pt x="5" y="119"/>
                    <a:pt x="5" y="120"/>
                    <a:pt x="5" y="120"/>
                  </a:cubicBezTo>
                  <a:cubicBezTo>
                    <a:pt x="6" y="120"/>
                    <a:pt x="6" y="120"/>
                    <a:pt x="6" y="121"/>
                  </a:cubicBezTo>
                  <a:cubicBezTo>
                    <a:pt x="7" y="122"/>
                    <a:pt x="8" y="122"/>
                    <a:pt x="10" y="123"/>
                  </a:cubicBezTo>
                  <a:cubicBezTo>
                    <a:pt x="10" y="123"/>
                    <a:pt x="10" y="123"/>
                    <a:pt x="11" y="123"/>
                  </a:cubicBezTo>
                  <a:cubicBezTo>
                    <a:pt x="11" y="124"/>
                    <a:pt x="12" y="123"/>
                    <a:pt x="12" y="124"/>
                  </a:cubicBezTo>
                  <a:cubicBezTo>
                    <a:pt x="13" y="124"/>
                    <a:pt x="14" y="125"/>
                    <a:pt x="14" y="125"/>
                  </a:cubicBezTo>
                  <a:cubicBezTo>
                    <a:pt x="15" y="126"/>
                    <a:pt x="16" y="126"/>
                    <a:pt x="17" y="126"/>
                  </a:cubicBezTo>
                  <a:cubicBezTo>
                    <a:pt x="19" y="125"/>
                    <a:pt x="19" y="124"/>
                    <a:pt x="21" y="123"/>
                  </a:cubicBezTo>
                  <a:cubicBezTo>
                    <a:pt x="23" y="123"/>
                    <a:pt x="25" y="123"/>
                    <a:pt x="27" y="122"/>
                  </a:cubicBezTo>
                  <a:cubicBezTo>
                    <a:pt x="28" y="121"/>
                    <a:pt x="29" y="120"/>
                    <a:pt x="30" y="119"/>
                  </a:cubicBezTo>
                  <a:cubicBezTo>
                    <a:pt x="30" y="119"/>
                    <a:pt x="30" y="118"/>
                    <a:pt x="31" y="118"/>
                  </a:cubicBezTo>
                  <a:cubicBezTo>
                    <a:pt x="31" y="118"/>
                    <a:pt x="31" y="118"/>
                    <a:pt x="31" y="118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3" name="Freeform 395"/>
            <p:cNvSpPr>
              <a:spLocks/>
            </p:cNvSpPr>
            <p:nvPr/>
          </p:nvSpPr>
          <p:spPr bwMode="auto">
            <a:xfrm>
              <a:off x="7283258" y="5383148"/>
              <a:ext cx="4350" cy="4834"/>
            </a:xfrm>
            <a:custGeom>
              <a:avLst/>
              <a:gdLst>
                <a:gd name="T0" fmla="*/ 196608 w 3"/>
                <a:gd name="T1" fmla="*/ 131072 h 5"/>
                <a:gd name="T2" fmla="*/ 65536 w 3"/>
                <a:gd name="T3" fmla="*/ 65536 h 5"/>
                <a:gd name="T4" fmla="*/ 65536 w 3"/>
                <a:gd name="T5" fmla="*/ 131072 h 5"/>
                <a:gd name="T6" fmla="*/ 196608 w 3"/>
                <a:gd name="T7" fmla="*/ 262144 h 5"/>
                <a:gd name="T8" fmla="*/ 196608 w 3"/>
                <a:gd name="T9" fmla="*/ 131072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3"/>
                    <a:pt x="2" y="5"/>
                    <a:pt x="3" y="4"/>
                  </a:cubicBezTo>
                  <a:cubicBezTo>
                    <a:pt x="3" y="4"/>
                    <a:pt x="3" y="3"/>
                    <a:pt x="3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4" name="Freeform 396"/>
            <p:cNvSpPr>
              <a:spLocks/>
            </p:cNvSpPr>
            <p:nvPr/>
          </p:nvSpPr>
          <p:spPr bwMode="auto">
            <a:xfrm>
              <a:off x="7286161" y="5374082"/>
              <a:ext cx="3624" cy="6044"/>
            </a:xfrm>
            <a:custGeom>
              <a:avLst/>
              <a:gdLst>
                <a:gd name="T0" fmla="*/ 3688 w 3"/>
                <a:gd name="T1" fmla="*/ 0 h 5"/>
                <a:gd name="T2" fmla="*/ 0 w 3"/>
                <a:gd name="T3" fmla="*/ 262144 h 5"/>
                <a:gd name="T4" fmla="*/ 0 w 3"/>
                <a:gd name="T5" fmla="*/ 262144 h 5"/>
                <a:gd name="T6" fmla="*/ 3688 w 3"/>
                <a:gd name="T7" fmla="*/ 262144 h 5"/>
                <a:gd name="T8" fmla="*/ 6147 w 3"/>
                <a:gd name="T9" fmla="*/ 0 h 5"/>
                <a:gd name="T10" fmla="*/ 3688 w 3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1" y="0"/>
                  </a:moveTo>
                  <a:cubicBezTo>
                    <a:pt x="1" y="1"/>
                    <a:pt x="1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2" y="3"/>
                    <a:pt x="3" y="2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5" name="Freeform 397"/>
            <p:cNvSpPr>
              <a:spLocks/>
            </p:cNvSpPr>
            <p:nvPr/>
          </p:nvSpPr>
          <p:spPr bwMode="auto">
            <a:xfrm>
              <a:off x="7033148" y="5547527"/>
              <a:ext cx="176167" cy="132351"/>
            </a:xfrm>
            <a:custGeom>
              <a:avLst/>
              <a:gdLst>
                <a:gd name="T0" fmla="*/ 4815010 w 130"/>
                <a:gd name="T1" fmla="*/ 1693204 h 122"/>
                <a:gd name="T2" fmla="*/ 4694101 w 130"/>
                <a:gd name="T3" fmla="*/ 2050635 h 122"/>
                <a:gd name="T4" fmla="*/ 4481663 w 130"/>
                <a:gd name="T5" fmla="*/ 2371934 h 122"/>
                <a:gd name="T6" fmla="*/ 4363534 w 130"/>
                <a:gd name="T7" fmla="*/ 2518233 h 122"/>
                <a:gd name="T8" fmla="*/ 4253403 w 130"/>
                <a:gd name="T9" fmla="*/ 2684602 h 122"/>
                <a:gd name="T10" fmla="*/ 4169975 w 130"/>
                <a:gd name="T11" fmla="*/ 2875262 h 122"/>
                <a:gd name="T12" fmla="*/ 4051870 w 130"/>
                <a:gd name="T13" fmla="*/ 3021611 h 122"/>
                <a:gd name="T14" fmla="*/ 3763047 w 130"/>
                <a:gd name="T15" fmla="*/ 3376989 h 122"/>
                <a:gd name="T16" fmla="*/ 3491689 w 130"/>
                <a:gd name="T17" fmla="*/ 3563835 h 122"/>
                <a:gd name="T18" fmla="*/ 3172091 w 130"/>
                <a:gd name="T19" fmla="*/ 3879559 h 122"/>
                <a:gd name="T20" fmla="*/ 3010679 w 130"/>
                <a:gd name="T21" fmla="*/ 3949994 h 122"/>
                <a:gd name="T22" fmla="*/ 2678896 w 130"/>
                <a:gd name="T23" fmla="*/ 4065347 h 122"/>
                <a:gd name="T24" fmla="*/ 2450642 w 130"/>
                <a:gd name="T25" fmla="*/ 4160965 h 122"/>
                <a:gd name="T26" fmla="*/ 2280986 w 130"/>
                <a:gd name="T27" fmla="*/ 4140524 h 122"/>
                <a:gd name="T28" fmla="*/ 2053549 w 130"/>
                <a:gd name="T29" fmla="*/ 4106657 h 122"/>
                <a:gd name="T30" fmla="*/ 1761135 w 130"/>
                <a:gd name="T31" fmla="*/ 4106657 h 122"/>
                <a:gd name="T32" fmla="*/ 1559316 w 130"/>
                <a:gd name="T33" fmla="*/ 4190975 h 122"/>
                <a:gd name="T34" fmla="*/ 1452709 w 130"/>
                <a:gd name="T35" fmla="*/ 4265867 h 122"/>
                <a:gd name="T36" fmla="*/ 1269257 w 130"/>
                <a:gd name="T37" fmla="*/ 4231892 h 122"/>
                <a:gd name="T38" fmla="*/ 891229 w 130"/>
                <a:gd name="T39" fmla="*/ 4346530 h 122"/>
                <a:gd name="T40" fmla="*/ 678316 w 130"/>
                <a:gd name="T41" fmla="*/ 4190975 h 122"/>
                <a:gd name="T42" fmla="*/ 518319 w 130"/>
                <a:gd name="T43" fmla="*/ 4106657 h 122"/>
                <a:gd name="T44" fmla="*/ 518319 w 130"/>
                <a:gd name="T45" fmla="*/ 3919047 h 122"/>
                <a:gd name="T46" fmla="*/ 410613 w 130"/>
                <a:gd name="T47" fmla="*/ 3658794 h 122"/>
                <a:gd name="T48" fmla="*/ 483617 w 130"/>
                <a:gd name="T49" fmla="*/ 3603149 h 122"/>
                <a:gd name="T50" fmla="*/ 410613 w 130"/>
                <a:gd name="T51" fmla="*/ 3135532 h 122"/>
                <a:gd name="T52" fmla="*/ 331778 w 130"/>
                <a:gd name="T53" fmla="*/ 2946546 h 122"/>
                <a:gd name="T54" fmla="*/ 228257 w 130"/>
                <a:gd name="T55" fmla="*/ 2633614 h 122"/>
                <a:gd name="T56" fmla="*/ 40413 w 130"/>
                <a:gd name="T57" fmla="*/ 2214621 h 122"/>
                <a:gd name="T58" fmla="*/ 40413 w 130"/>
                <a:gd name="T59" fmla="*/ 2160161 h 122"/>
                <a:gd name="T60" fmla="*/ 268452 w 130"/>
                <a:gd name="T61" fmla="*/ 2050635 h 122"/>
                <a:gd name="T62" fmla="*/ 331778 w 130"/>
                <a:gd name="T63" fmla="*/ 2256497 h 122"/>
                <a:gd name="T64" fmla="*/ 712280 w 130"/>
                <a:gd name="T65" fmla="*/ 2256497 h 122"/>
                <a:gd name="T66" fmla="*/ 969134 w 130"/>
                <a:gd name="T67" fmla="*/ 2196983 h 122"/>
                <a:gd name="T68" fmla="*/ 1084355 w 130"/>
                <a:gd name="T69" fmla="*/ 2131967 h 122"/>
                <a:gd name="T70" fmla="*/ 1202205 w 130"/>
                <a:gd name="T71" fmla="*/ 928982 h 122"/>
                <a:gd name="T72" fmla="*/ 1269257 w 130"/>
                <a:gd name="T73" fmla="*/ 1149718 h 122"/>
                <a:gd name="T74" fmla="*/ 1309672 w 130"/>
                <a:gd name="T75" fmla="*/ 1247409 h 122"/>
                <a:gd name="T76" fmla="*/ 1236826 w 130"/>
                <a:gd name="T77" fmla="*/ 1433130 h 122"/>
                <a:gd name="T78" fmla="*/ 1530712 w 130"/>
                <a:gd name="T79" fmla="*/ 1547113 h 122"/>
                <a:gd name="T80" fmla="*/ 1871174 w 130"/>
                <a:gd name="T81" fmla="*/ 1327748 h 122"/>
                <a:gd name="T82" fmla="*/ 2010245 w 130"/>
                <a:gd name="T83" fmla="*/ 1085043 h 122"/>
                <a:gd name="T84" fmla="*/ 2159749 w 130"/>
                <a:gd name="T85" fmla="*/ 1045602 h 122"/>
                <a:gd name="T86" fmla="*/ 2361535 w 130"/>
                <a:gd name="T87" fmla="*/ 1191897 h 122"/>
                <a:gd name="T88" fmla="*/ 2612051 w 130"/>
                <a:gd name="T89" fmla="*/ 1191897 h 122"/>
                <a:gd name="T90" fmla="*/ 2804845 w 130"/>
                <a:gd name="T91" fmla="*/ 971105 h 122"/>
                <a:gd name="T92" fmla="*/ 3051186 w 130"/>
                <a:gd name="T93" fmla="*/ 689299 h 122"/>
                <a:gd name="T94" fmla="*/ 3363060 w 130"/>
                <a:gd name="T95" fmla="*/ 321235 h 122"/>
                <a:gd name="T96" fmla="*/ 3612804 w 130"/>
                <a:gd name="T97" fmla="*/ 146299 h 122"/>
                <a:gd name="T98" fmla="*/ 3841066 w 130"/>
                <a:gd name="T99" fmla="*/ 39430 h 122"/>
                <a:gd name="T100" fmla="*/ 4524962 w 130"/>
                <a:gd name="T101" fmla="*/ 357849 h 122"/>
                <a:gd name="T102" fmla="*/ 4653590 w 130"/>
                <a:gd name="T103" fmla="*/ 971105 h 122"/>
                <a:gd name="T104" fmla="*/ 4610723 w 130"/>
                <a:gd name="T105" fmla="*/ 1286860 h 122"/>
                <a:gd name="T106" fmla="*/ 4363534 w 130"/>
                <a:gd name="T107" fmla="*/ 1247409 h 122"/>
                <a:gd name="T108" fmla="*/ 4253403 w 130"/>
                <a:gd name="T109" fmla="*/ 1433130 h 122"/>
                <a:gd name="T110" fmla="*/ 4290687 w 130"/>
                <a:gd name="T111" fmla="*/ 1547113 h 122"/>
                <a:gd name="T112" fmla="*/ 4441356 w 130"/>
                <a:gd name="T113" fmla="*/ 1753160 h 122"/>
                <a:gd name="T114" fmla="*/ 4610723 w 130"/>
                <a:gd name="T115" fmla="*/ 1627808 h 122"/>
                <a:gd name="T116" fmla="*/ 4653590 w 130"/>
                <a:gd name="T117" fmla="*/ 1588425 h 122"/>
                <a:gd name="T118" fmla="*/ 4849737 w 130"/>
                <a:gd name="T119" fmla="*/ 1588425 h 12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0"/>
                <a:gd name="T181" fmla="*/ 0 h 122"/>
                <a:gd name="T182" fmla="*/ 130 w 130"/>
                <a:gd name="T183" fmla="*/ 122 h 12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30" h="122">
                  <a:moveTo>
                    <a:pt x="130" y="44"/>
                  </a:moveTo>
                  <a:cubicBezTo>
                    <a:pt x="130" y="45"/>
                    <a:pt x="130" y="46"/>
                    <a:pt x="129" y="47"/>
                  </a:cubicBezTo>
                  <a:cubicBezTo>
                    <a:pt x="128" y="50"/>
                    <a:pt x="129" y="52"/>
                    <a:pt x="129" y="54"/>
                  </a:cubicBezTo>
                  <a:cubicBezTo>
                    <a:pt x="129" y="56"/>
                    <a:pt x="127" y="56"/>
                    <a:pt x="126" y="57"/>
                  </a:cubicBezTo>
                  <a:cubicBezTo>
                    <a:pt x="126" y="58"/>
                    <a:pt x="127" y="61"/>
                    <a:pt x="125" y="62"/>
                  </a:cubicBezTo>
                  <a:cubicBezTo>
                    <a:pt x="123" y="63"/>
                    <a:pt x="122" y="65"/>
                    <a:pt x="120" y="66"/>
                  </a:cubicBezTo>
                  <a:cubicBezTo>
                    <a:pt x="120" y="67"/>
                    <a:pt x="119" y="67"/>
                    <a:pt x="118" y="68"/>
                  </a:cubicBezTo>
                  <a:cubicBezTo>
                    <a:pt x="118" y="68"/>
                    <a:pt x="118" y="69"/>
                    <a:pt x="117" y="70"/>
                  </a:cubicBezTo>
                  <a:cubicBezTo>
                    <a:pt x="116" y="71"/>
                    <a:pt x="115" y="71"/>
                    <a:pt x="115" y="72"/>
                  </a:cubicBezTo>
                  <a:cubicBezTo>
                    <a:pt x="115" y="73"/>
                    <a:pt x="115" y="74"/>
                    <a:pt x="114" y="75"/>
                  </a:cubicBezTo>
                  <a:cubicBezTo>
                    <a:pt x="114" y="75"/>
                    <a:pt x="114" y="76"/>
                    <a:pt x="114" y="76"/>
                  </a:cubicBezTo>
                  <a:cubicBezTo>
                    <a:pt x="112" y="77"/>
                    <a:pt x="113" y="78"/>
                    <a:pt x="112" y="80"/>
                  </a:cubicBezTo>
                  <a:cubicBezTo>
                    <a:pt x="111" y="81"/>
                    <a:pt x="110" y="83"/>
                    <a:pt x="108" y="84"/>
                  </a:cubicBezTo>
                  <a:cubicBezTo>
                    <a:pt x="108" y="84"/>
                    <a:pt x="108" y="84"/>
                    <a:pt x="109" y="84"/>
                  </a:cubicBezTo>
                  <a:cubicBezTo>
                    <a:pt x="107" y="86"/>
                    <a:pt x="105" y="87"/>
                    <a:pt x="103" y="90"/>
                  </a:cubicBezTo>
                  <a:cubicBezTo>
                    <a:pt x="102" y="91"/>
                    <a:pt x="101" y="93"/>
                    <a:pt x="101" y="94"/>
                  </a:cubicBezTo>
                  <a:cubicBezTo>
                    <a:pt x="100" y="95"/>
                    <a:pt x="99" y="96"/>
                    <a:pt x="97" y="97"/>
                  </a:cubicBezTo>
                  <a:cubicBezTo>
                    <a:pt x="96" y="97"/>
                    <a:pt x="95" y="98"/>
                    <a:pt x="94" y="99"/>
                  </a:cubicBezTo>
                  <a:cubicBezTo>
                    <a:pt x="93" y="101"/>
                    <a:pt x="92" y="103"/>
                    <a:pt x="90" y="105"/>
                  </a:cubicBezTo>
                  <a:cubicBezTo>
                    <a:pt x="88" y="106"/>
                    <a:pt x="86" y="107"/>
                    <a:pt x="85" y="108"/>
                  </a:cubicBezTo>
                  <a:cubicBezTo>
                    <a:pt x="84" y="108"/>
                    <a:pt x="84" y="108"/>
                    <a:pt x="83" y="108"/>
                  </a:cubicBezTo>
                  <a:cubicBezTo>
                    <a:pt x="82" y="109"/>
                    <a:pt x="81" y="110"/>
                    <a:pt x="81" y="110"/>
                  </a:cubicBezTo>
                  <a:cubicBezTo>
                    <a:pt x="78" y="111"/>
                    <a:pt x="76" y="110"/>
                    <a:pt x="74" y="111"/>
                  </a:cubicBezTo>
                  <a:cubicBezTo>
                    <a:pt x="73" y="112"/>
                    <a:pt x="73" y="113"/>
                    <a:pt x="72" y="113"/>
                  </a:cubicBezTo>
                  <a:cubicBezTo>
                    <a:pt x="71" y="114"/>
                    <a:pt x="69" y="113"/>
                    <a:pt x="67" y="114"/>
                  </a:cubicBezTo>
                  <a:cubicBezTo>
                    <a:pt x="66" y="114"/>
                    <a:pt x="66" y="115"/>
                    <a:pt x="66" y="116"/>
                  </a:cubicBezTo>
                  <a:cubicBezTo>
                    <a:pt x="65" y="116"/>
                    <a:pt x="63" y="116"/>
                    <a:pt x="62" y="116"/>
                  </a:cubicBezTo>
                  <a:cubicBezTo>
                    <a:pt x="61" y="116"/>
                    <a:pt x="61" y="115"/>
                    <a:pt x="61" y="115"/>
                  </a:cubicBezTo>
                  <a:cubicBezTo>
                    <a:pt x="60" y="115"/>
                    <a:pt x="59" y="114"/>
                    <a:pt x="58" y="114"/>
                  </a:cubicBezTo>
                  <a:cubicBezTo>
                    <a:pt x="57" y="114"/>
                    <a:pt x="56" y="114"/>
                    <a:pt x="55" y="114"/>
                  </a:cubicBezTo>
                  <a:cubicBezTo>
                    <a:pt x="54" y="116"/>
                    <a:pt x="52" y="115"/>
                    <a:pt x="50" y="115"/>
                  </a:cubicBezTo>
                  <a:cubicBezTo>
                    <a:pt x="49" y="114"/>
                    <a:pt x="48" y="114"/>
                    <a:pt x="47" y="114"/>
                  </a:cubicBezTo>
                  <a:cubicBezTo>
                    <a:pt x="47" y="114"/>
                    <a:pt x="47" y="115"/>
                    <a:pt x="46" y="115"/>
                  </a:cubicBezTo>
                  <a:cubicBezTo>
                    <a:pt x="45" y="115"/>
                    <a:pt x="43" y="115"/>
                    <a:pt x="42" y="117"/>
                  </a:cubicBezTo>
                  <a:cubicBezTo>
                    <a:pt x="42" y="118"/>
                    <a:pt x="41" y="118"/>
                    <a:pt x="40" y="118"/>
                  </a:cubicBezTo>
                  <a:cubicBezTo>
                    <a:pt x="40" y="118"/>
                    <a:pt x="40" y="119"/>
                    <a:pt x="39" y="119"/>
                  </a:cubicBezTo>
                  <a:cubicBezTo>
                    <a:pt x="39" y="119"/>
                    <a:pt x="38" y="119"/>
                    <a:pt x="37" y="118"/>
                  </a:cubicBezTo>
                  <a:cubicBezTo>
                    <a:pt x="36" y="118"/>
                    <a:pt x="35" y="118"/>
                    <a:pt x="34" y="118"/>
                  </a:cubicBezTo>
                  <a:cubicBezTo>
                    <a:pt x="32" y="119"/>
                    <a:pt x="30" y="120"/>
                    <a:pt x="28" y="121"/>
                  </a:cubicBezTo>
                  <a:cubicBezTo>
                    <a:pt x="27" y="121"/>
                    <a:pt x="25" y="122"/>
                    <a:pt x="24" y="121"/>
                  </a:cubicBezTo>
                  <a:cubicBezTo>
                    <a:pt x="22" y="120"/>
                    <a:pt x="23" y="118"/>
                    <a:pt x="22" y="117"/>
                  </a:cubicBezTo>
                  <a:cubicBezTo>
                    <a:pt x="21" y="117"/>
                    <a:pt x="19" y="118"/>
                    <a:pt x="18" y="117"/>
                  </a:cubicBezTo>
                  <a:cubicBezTo>
                    <a:pt x="17" y="116"/>
                    <a:pt x="17" y="115"/>
                    <a:pt x="17" y="114"/>
                  </a:cubicBezTo>
                  <a:cubicBezTo>
                    <a:pt x="16" y="114"/>
                    <a:pt x="15" y="115"/>
                    <a:pt x="14" y="114"/>
                  </a:cubicBezTo>
                  <a:cubicBezTo>
                    <a:pt x="14" y="114"/>
                    <a:pt x="15" y="113"/>
                    <a:pt x="15" y="113"/>
                  </a:cubicBezTo>
                  <a:cubicBezTo>
                    <a:pt x="15" y="112"/>
                    <a:pt x="15" y="109"/>
                    <a:pt x="14" y="109"/>
                  </a:cubicBezTo>
                  <a:cubicBezTo>
                    <a:pt x="13" y="109"/>
                    <a:pt x="12" y="108"/>
                    <a:pt x="11" y="107"/>
                  </a:cubicBezTo>
                  <a:cubicBezTo>
                    <a:pt x="11" y="106"/>
                    <a:pt x="11" y="104"/>
                    <a:pt x="11" y="102"/>
                  </a:cubicBezTo>
                  <a:cubicBezTo>
                    <a:pt x="11" y="102"/>
                    <a:pt x="11" y="101"/>
                    <a:pt x="12" y="101"/>
                  </a:cubicBezTo>
                  <a:cubicBezTo>
                    <a:pt x="12" y="101"/>
                    <a:pt x="13" y="101"/>
                    <a:pt x="13" y="100"/>
                  </a:cubicBezTo>
                  <a:cubicBezTo>
                    <a:pt x="14" y="97"/>
                    <a:pt x="14" y="93"/>
                    <a:pt x="13" y="90"/>
                  </a:cubicBezTo>
                  <a:cubicBezTo>
                    <a:pt x="12" y="89"/>
                    <a:pt x="11" y="88"/>
                    <a:pt x="11" y="87"/>
                  </a:cubicBezTo>
                  <a:cubicBezTo>
                    <a:pt x="10" y="86"/>
                    <a:pt x="10" y="85"/>
                    <a:pt x="10" y="84"/>
                  </a:cubicBezTo>
                  <a:cubicBezTo>
                    <a:pt x="10" y="83"/>
                    <a:pt x="9" y="82"/>
                    <a:pt x="9" y="82"/>
                  </a:cubicBezTo>
                  <a:cubicBezTo>
                    <a:pt x="8" y="80"/>
                    <a:pt x="7" y="78"/>
                    <a:pt x="7" y="76"/>
                  </a:cubicBezTo>
                  <a:cubicBezTo>
                    <a:pt x="6" y="75"/>
                    <a:pt x="6" y="74"/>
                    <a:pt x="6" y="73"/>
                  </a:cubicBezTo>
                  <a:cubicBezTo>
                    <a:pt x="5" y="71"/>
                    <a:pt x="4" y="68"/>
                    <a:pt x="3" y="65"/>
                  </a:cubicBezTo>
                  <a:cubicBezTo>
                    <a:pt x="3" y="64"/>
                    <a:pt x="2" y="63"/>
                    <a:pt x="1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2" y="59"/>
                    <a:pt x="4" y="58"/>
                    <a:pt x="5" y="56"/>
                  </a:cubicBezTo>
                  <a:cubicBezTo>
                    <a:pt x="6" y="56"/>
                    <a:pt x="7" y="56"/>
                    <a:pt x="7" y="57"/>
                  </a:cubicBezTo>
                  <a:cubicBezTo>
                    <a:pt x="8" y="58"/>
                    <a:pt x="7" y="60"/>
                    <a:pt x="8" y="61"/>
                  </a:cubicBezTo>
                  <a:cubicBezTo>
                    <a:pt x="8" y="62"/>
                    <a:pt x="9" y="62"/>
                    <a:pt x="9" y="63"/>
                  </a:cubicBezTo>
                  <a:cubicBezTo>
                    <a:pt x="11" y="64"/>
                    <a:pt x="14" y="64"/>
                    <a:pt x="16" y="63"/>
                  </a:cubicBezTo>
                  <a:cubicBezTo>
                    <a:pt x="17" y="63"/>
                    <a:pt x="18" y="62"/>
                    <a:pt x="19" y="63"/>
                  </a:cubicBezTo>
                  <a:cubicBezTo>
                    <a:pt x="20" y="64"/>
                    <a:pt x="22" y="64"/>
                    <a:pt x="24" y="64"/>
                  </a:cubicBezTo>
                  <a:cubicBezTo>
                    <a:pt x="25" y="63"/>
                    <a:pt x="25" y="62"/>
                    <a:pt x="26" y="61"/>
                  </a:cubicBezTo>
                  <a:cubicBezTo>
                    <a:pt x="27" y="60"/>
                    <a:pt x="28" y="61"/>
                    <a:pt x="28" y="60"/>
                  </a:cubicBezTo>
                  <a:cubicBezTo>
                    <a:pt x="28" y="60"/>
                    <a:pt x="29" y="60"/>
                    <a:pt x="29" y="59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6"/>
                    <a:pt x="31" y="26"/>
                    <a:pt x="32" y="26"/>
                  </a:cubicBezTo>
                  <a:cubicBezTo>
                    <a:pt x="33" y="27"/>
                    <a:pt x="33" y="29"/>
                    <a:pt x="33" y="31"/>
                  </a:cubicBezTo>
                  <a:cubicBezTo>
                    <a:pt x="34" y="31"/>
                    <a:pt x="34" y="31"/>
                    <a:pt x="34" y="32"/>
                  </a:cubicBezTo>
                  <a:cubicBezTo>
                    <a:pt x="34" y="33"/>
                    <a:pt x="34" y="33"/>
                    <a:pt x="34" y="34"/>
                  </a:cubicBezTo>
                  <a:cubicBezTo>
                    <a:pt x="34" y="34"/>
                    <a:pt x="34" y="35"/>
                    <a:pt x="35" y="35"/>
                  </a:cubicBezTo>
                  <a:cubicBezTo>
                    <a:pt x="35" y="36"/>
                    <a:pt x="35" y="37"/>
                    <a:pt x="34" y="38"/>
                  </a:cubicBezTo>
                  <a:cubicBezTo>
                    <a:pt x="34" y="39"/>
                    <a:pt x="34" y="40"/>
                    <a:pt x="33" y="40"/>
                  </a:cubicBezTo>
                  <a:cubicBezTo>
                    <a:pt x="32" y="43"/>
                    <a:pt x="35" y="44"/>
                    <a:pt x="37" y="43"/>
                  </a:cubicBezTo>
                  <a:cubicBezTo>
                    <a:pt x="38" y="42"/>
                    <a:pt x="40" y="42"/>
                    <a:pt x="41" y="43"/>
                  </a:cubicBezTo>
                  <a:cubicBezTo>
                    <a:pt x="42" y="43"/>
                    <a:pt x="43" y="44"/>
                    <a:pt x="44" y="43"/>
                  </a:cubicBezTo>
                  <a:cubicBezTo>
                    <a:pt x="46" y="41"/>
                    <a:pt x="47" y="39"/>
                    <a:pt x="50" y="37"/>
                  </a:cubicBezTo>
                  <a:cubicBezTo>
                    <a:pt x="52" y="36"/>
                    <a:pt x="52" y="34"/>
                    <a:pt x="53" y="32"/>
                  </a:cubicBezTo>
                  <a:cubicBezTo>
                    <a:pt x="53" y="31"/>
                    <a:pt x="53" y="30"/>
                    <a:pt x="54" y="30"/>
                  </a:cubicBezTo>
                  <a:cubicBezTo>
                    <a:pt x="55" y="30"/>
                    <a:pt x="55" y="29"/>
                    <a:pt x="56" y="29"/>
                  </a:cubicBezTo>
                  <a:cubicBezTo>
                    <a:pt x="57" y="28"/>
                    <a:pt x="57" y="28"/>
                    <a:pt x="58" y="29"/>
                  </a:cubicBezTo>
                  <a:cubicBezTo>
                    <a:pt x="58" y="29"/>
                    <a:pt x="59" y="30"/>
                    <a:pt x="59" y="30"/>
                  </a:cubicBezTo>
                  <a:cubicBezTo>
                    <a:pt x="61" y="31"/>
                    <a:pt x="61" y="33"/>
                    <a:pt x="63" y="33"/>
                  </a:cubicBezTo>
                  <a:cubicBezTo>
                    <a:pt x="65" y="34"/>
                    <a:pt x="66" y="35"/>
                    <a:pt x="68" y="34"/>
                  </a:cubicBezTo>
                  <a:cubicBezTo>
                    <a:pt x="69" y="34"/>
                    <a:pt x="69" y="33"/>
                    <a:pt x="70" y="33"/>
                  </a:cubicBezTo>
                  <a:cubicBezTo>
                    <a:pt x="72" y="32"/>
                    <a:pt x="73" y="31"/>
                    <a:pt x="74" y="29"/>
                  </a:cubicBezTo>
                  <a:cubicBezTo>
                    <a:pt x="74" y="29"/>
                    <a:pt x="74" y="28"/>
                    <a:pt x="75" y="27"/>
                  </a:cubicBezTo>
                  <a:cubicBezTo>
                    <a:pt x="76" y="25"/>
                    <a:pt x="76" y="23"/>
                    <a:pt x="78" y="22"/>
                  </a:cubicBezTo>
                  <a:cubicBezTo>
                    <a:pt x="80" y="21"/>
                    <a:pt x="82" y="21"/>
                    <a:pt x="82" y="19"/>
                  </a:cubicBezTo>
                  <a:cubicBezTo>
                    <a:pt x="83" y="17"/>
                    <a:pt x="83" y="15"/>
                    <a:pt x="84" y="14"/>
                  </a:cubicBezTo>
                  <a:cubicBezTo>
                    <a:pt x="86" y="12"/>
                    <a:pt x="87" y="10"/>
                    <a:pt x="90" y="9"/>
                  </a:cubicBezTo>
                  <a:cubicBezTo>
                    <a:pt x="90" y="9"/>
                    <a:pt x="90" y="9"/>
                    <a:pt x="91" y="9"/>
                  </a:cubicBezTo>
                  <a:cubicBezTo>
                    <a:pt x="93" y="7"/>
                    <a:pt x="95" y="6"/>
                    <a:pt x="97" y="4"/>
                  </a:cubicBezTo>
                  <a:cubicBezTo>
                    <a:pt x="98" y="3"/>
                    <a:pt x="99" y="2"/>
                    <a:pt x="100" y="2"/>
                  </a:cubicBezTo>
                  <a:cubicBezTo>
                    <a:pt x="101" y="1"/>
                    <a:pt x="102" y="1"/>
                    <a:pt x="103" y="1"/>
                  </a:cubicBezTo>
                  <a:cubicBezTo>
                    <a:pt x="108" y="0"/>
                    <a:pt x="114" y="1"/>
                    <a:pt x="118" y="1"/>
                  </a:cubicBezTo>
                  <a:cubicBezTo>
                    <a:pt x="119" y="4"/>
                    <a:pt x="120" y="7"/>
                    <a:pt x="121" y="10"/>
                  </a:cubicBezTo>
                  <a:cubicBezTo>
                    <a:pt x="121" y="11"/>
                    <a:pt x="121" y="12"/>
                    <a:pt x="121" y="13"/>
                  </a:cubicBezTo>
                  <a:cubicBezTo>
                    <a:pt x="123" y="17"/>
                    <a:pt x="126" y="21"/>
                    <a:pt x="125" y="27"/>
                  </a:cubicBezTo>
                  <a:cubicBezTo>
                    <a:pt x="125" y="27"/>
                    <a:pt x="124" y="28"/>
                    <a:pt x="124" y="28"/>
                  </a:cubicBezTo>
                  <a:cubicBezTo>
                    <a:pt x="124" y="30"/>
                    <a:pt x="124" y="34"/>
                    <a:pt x="124" y="36"/>
                  </a:cubicBezTo>
                  <a:cubicBezTo>
                    <a:pt x="122" y="36"/>
                    <a:pt x="121" y="35"/>
                    <a:pt x="120" y="34"/>
                  </a:cubicBezTo>
                  <a:cubicBezTo>
                    <a:pt x="119" y="34"/>
                    <a:pt x="118" y="34"/>
                    <a:pt x="117" y="35"/>
                  </a:cubicBezTo>
                  <a:cubicBezTo>
                    <a:pt x="117" y="36"/>
                    <a:pt x="117" y="36"/>
                    <a:pt x="117" y="37"/>
                  </a:cubicBezTo>
                  <a:cubicBezTo>
                    <a:pt x="116" y="38"/>
                    <a:pt x="115" y="38"/>
                    <a:pt x="114" y="40"/>
                  </a:cubicBezTo>
                  <a:cubicBezTo>
                    <a:pt x="114" y="40"/>
                    <a:pt x="114" y="41"/>
                    <a:pt x="114" y="42"/>
                  </a:cubicBezTo>
                  <a:cubicBezTo>
                    <a:pt x="114" y="43"/>
                    <a:pt x="115" y="43"/>
                    <a:pt x="115" y="43"/>
                  </a:cubicBezTo>
                  <a:cubicBezTo>
                    <a:pt x="115" y="44"/>
                    <a:pt x="116" y="45"/>
                    <a:pt x="116" y="46"/>
                  </a:cubicBezTo>
                  <a:cubicBezTo>
                    <a:pt x="117" y="47"/>
                    <a:pt x="118" y="48"/>
                    <a:pt x="119" y="49"/>
                  </a:cubicBezTo>
                  <a:cubicBezTo>
                    <a:pt x="119" y="49"/>
                    <a:pt x="120" y="49"/>
                    <a:pt x="121" y="49"/>
                  </a:cubicBezTo>
                  <a:cubicBezTo>
                    <a:pt x="122" y="48"/>
                    <a:pt x="123" y="46"/>
                    <a:pt x="124" y="45"/>
                  </a:cubicBezTo>
                  <a:cubicBezTo>
                    <a:pt x="124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7" y="44"/>
                    <a:pt x="128" y="44"/>
                    <a:pt x="129" y="44"/>
                  </a:cubicBezTo>
                  <a:lnTo>
                    <a:pt x="130" y="4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6" name="Freeform 399"/>
            <p:cNvSpPr>
              <a:spLocks/>
            </p:cNvSpPr>
            <p:nvPr/>
          </p:nvSpPr>
          <p:spPr bwMode="auto">
            <a:xfrm>
              <a:off x="5994276" y="5209096"/>
              <a:ext cx="129044" cy="160149"/>
            </a:xfrm>
            <a:custGeom>
              <a:avLst/>
              <a:gdLst>
                <a:gd name="T0" fmla="*/ 54475878 w 96"/>
                <a:gd name="T1" fmla="*/ 7395583 h 148"/>
                <a:gd name="T2" fmla="*/ 60988544 w 96"/>
                <a:gd name="T3" fmla="*/ 3487682 h 148"/>
                <a:gd name="T4" fmla="*/ 57436032 w 96"/>
                <a:gd name="T5" fmla="*/ 829981 h 148"/>
                <a:gd name="T6" fmla="*/ 50561756 w 96"/>
                <a:gd name="T7" fmla="*/ 7395583 h 148"/>
                <a:gd name="T8" fmla="*/ 39967631 w 96"/>
                <a:gd name="T9" fmla="*/ 10053766 h 148"/>
                <a:gd name="T10" fmla="*/ 37213394 w 96"/>
                <a:gd name="T11" fmla="*/ 12824269 h 148"/>
                <a:gd name="T12" fmla="*/ 26672936 w 96"/>
                <a:gd name="T13" fmla="*/ 19393851 h 148"/>
                <a:gd name="T14" fmla="*/ 18152905 w 96"/>
                <a:gd name="T15" fmla="*/ 30240998 h 148"/>
                <a:gd name="T16" fmla="*/ 17415099 w 96"/>
                <a:gd name="T17" fmla="*/ 38290651 h 148"/>
                <a:gd name="T18" fmla="*/ 16257796 w 96"/>
                <a:gd name="T19" fmla="*/ 37636550 h 148"/>
                <a:gd name="T20" fmla="*/ 12497807 w 96"/>
                <a:gd name="T21" fmla="*/ 33675383 h 148"/>
                <a:gd name="T22" fmla="*/ 13294331 w 96"/>
                <a:gd name="T23" fmla="*/ 37636550 h 148"/>
                <a:gd name="T24" fmla="*/ 8529993 w 96"/>
                <a:gd name="T25" fmla="*/ 41884529 h 148"/>
                <a:gd name="T26" fmla="*/ 10415159 w 96"/>
                <a:gd name="T27" fmla="*/ 46499477 h 148"/>
                <a:gd name="T28" fmla="*/ 12497807 w 96"/>
                <a:gd name="T29" fmla="*/ 51086882 h 148"/>
                <a:gd name="T30" fmla="*/ 13294331 w 96"/>
                <a:gd name="T31" fmla="*/ 56532110 h 148"/>
                <a:gd name="T32" fmla="*/ 11280189 w 96"/>
                <a:gd name="T33" fmla="*/ 63151977 h 148"/>
                <a:gd name="T34" fmla="*/ 12497807 w 96"/>
                <a:gd name="T35" fmla="*/ 73969576 h 148"/>
                <a:gd name="T36" fmla="*/ 8529993 w 96"/>
                <a:gd name="T37" fmla="*/ 81364393 h 148"/>
                <a:gd name="T38" fmla="*/ 2017470 w 96"/>
                <a:gd name="T39" fmla="*/ 88751041 h 148"/>
                <a:gd name="T40" fmla="*/ 0 w 96"/>
                <a:gd name="T41" fmla="*/ 92239153 h 148"/>
                <a:gd name="T42" fmla="*/ 4770476 w 96"/>
                <a:gd name="T43" fmla="*/ 95018550 h 148"/>
                <a:gd name="T44" fmla="*/ 9743062 w 96"/>
                <a:gd name="T45" fmla="*/ 97676382 h 148"/>
                <a:gd name="T46" fmla="*/ 10415159 w 96"/>
                <a:gd name="T47" fmla="*/ 100463400 h 148"/>
                <a:gd name="T48" fmla="*/ 23038270 w 96"/>
                <a:gd name="T49" fmla="*/ 102404292 h 148"/>
                <a:gd name="T50" fmla="*/ 26672936 w 96"/>
                <a:gd name="T51" fmla="*/ 105071783 h 148"/>
                <a:gd name="T52" fmla="*/ 32288687 w 96"/>
                <a:gd name="T53" fmla="*/ 108974922 h 148"/>
                <a:gd name="T54" fmla="*/ 44060743 w 96"/>
                <a:gd name="T55" fmla="*/ 118992086 h 148"/>
                <a:gd name="T56" fmla="*/ 49711565 w 96"/>
                <a:gd name="T57" fmla="*/ 123313798 h 148"/>
                <a:gd name="T58" fmla="*/ 57436032 w 96"/>
                <a:gd name="T59" fmla="*/ 123313798 h 148"/>
                <a:gd name="T60" fmla="*/ 62201631 w 96"/>
                <a:gd name="T61" fmla="*/ 122488574 h 148"/>
                <a:gd name="T62" fmla="*/ 67126243 w 96"/>
                <a:gd name="T63" fmla="*/ 125297702 h 148"/>
                <a:gd name="T64" fmla="*/ 65080671 w 96"/>
                <a:gd name="T65" fmla="*/ 131831507 h 148"/>
                <a:gd name="T66" fmla="*/ 67823890 w 96"/>
                <a:gd name="T67" fmla="*/ 134482925 h 148"/>
                <a:gd name="T68" fmla="*/ 67823890 w 96"/>
                <a:gd name="T69" fmla="*/ 134482925 h 148"/>
                <a:gd name="T70" fmla="*/ 71583879 w 96"/>
                <a:gd name="T71" fmla="*/ 125297702 h 148"/>
                <a:gd name="T72" fmla="*/ 71583879 w 96"/>
                <a:gd name="T73" fmla="*/ 112458054 h 148"/>
                <a:gd name="T74" fmla="*/ 67823890 w 96"/>
                <a:gd name="T75" fmla="*/ 108974922 h 148"/>
                <a:gd name="T76" fmla="*/ 67823890 w 96"/>
                <a:gd name="T77" fmla="*/ 98768204 h 148"/>
                <a:gd name="T78" fmla="*/ 73481749 w 96"/>
                <a:gd name="T79" fmla="*/ 96975741 h 148"/>
                <a:gd name="T80" fmla="*/ 69878353 w 96"/>
                <a:gd name="T81" fmla="*/ 92239153 h 148"/>
                <a:gd name="T82" fmla="*/ 72748842 w 96"/>
                <a:gd name="T83" fmla="*/ 90293431 h 148"/>
                <a:gd name="T84" fmla="*/ 84879397 w 96"/>
                <a:gd name="T85" fmla="*/ 88751041 h 148"/>
                <a:gd name="T86" fmla="*/ 88847204 w 96"/>
                <a:gd name="T87" fmla="*/ 93366366 h 148"/>
                <a:gd name="T88" fmla="*/ 91753636 w 96"/>
                <a:gd name="T89" fmla="*/ 91537229 h 148"/>
                <a:gd name="T90" fmla="*/ 84879397 w 96"/>
                <a:gd name="T91" fmla="*/ 84136244 h 148"/>
                <a:gd name="T92" fmla="*/ 86764404 w 96"/>
                <a:gd name="T93" fmla="*/ 77605777 h 148"/>
                <a:gd name="T94" fmla="*/ 86131301 w 96"/>
                <a:gd name="T95" fmla="*/ 72163643 h 148"/>
                <a:gd name="T96" fmla="*/ 84879397 w 96"/>
                <a:gd name="T97" fmla="*/ 68526386 h 148"/>
                <a:gd name="T98" fmla="*/ 86131301 w 96"/>
                <a:gd name="T99" fmla="*/ 63151977 h 148"/>
                <a:gd name="T100" fmla="*/ 88847204 w 96"/>
                <a:gd name="T101" fmla="*/ 53899104 h 148"/>
                <a:gd name="T102" fmla="*/ 80474690 w 96"/>
                <a:gd name="T103" fmla="*/ 53134851 h 148"/>
                <a:gd name="T104" fmla="*/ 67823890 w 96"/>
                <a:gd name="T105" fmla="*/ 46499477 h 148"/>
                <a:gd name="T106" fmla="*/ 53311936 w 96"/>
                <a:gd name="T107" fmla="*/ 43728644 h 148"/>
                <a:gd name="T108" fmla="*/ 50561756 w 96"/>
                <a:gd name="T109" fmla="*/ 40294410 h 148"/>
                <a:gd name="T110" fmla="*/ 48830692 w 96"/>
                <a:gd name="T111" fmla="*/ 30240998 h 148"/>
                <a:gd name="T112" fmla="*/ 44786499 w 96"/>
                <a:gd name="T113" fmla="*/ 26279831 h 148"/>
                <a:gd name="T114" fmla="*/ 48830692 w 96"/>
                <a:gd name="T115" fmla="*/ 18266572 h 148"/>
                <a:gd name="T116" fmla="*/ 54475878 w 96"/>
                <a:gd name="T117" fmla="*/ 10053766 h 14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6"/>
                <a:gd name="T178" fmla="*/ 0 h 148"/>
                <a:gd name="T179" fmla="*/ 96 w 96"/>
                <a:gd name="T180" fmla="*/ 148 h 14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6" h="148">
                  <a:moveTo>
                    <a:pt x="57" y="11"/>
                  </a:moveTo>
                  <a:cubicBezTo>
                    <a:pt x="56" y="11"/>
                    <a:pt x="56" y="9"/>
                    <a:pt x="57" y="8"/>
                  </a:cubicBezTo>
                  <a:cubicBezTo>
                    <a:pt x="58" y="6"/>
                    <a:pt x="61" y="6"/>
                    <a:pt x="63" y="5"/>
                  </a:cubicBezTo>
                  <a:cubicBezTo>
                    <a:pt x="63" y="5"/>
                    <a:pt x="64" y="4"/>
                    <a:pt x="64" y="4"/>
                  </a:cubicBezTo>
                  <a:cubicBezTo>
                    <a:pt x="65" y="3"/>
                    <a:pt x="65" y="2"/>
                    <a:pt x="64" y="2"/>
                  </a:cubicBezTo>
                  <a:cubicBezTo>
                    <a:pt x="63" y="0"/>
                    <a:pt x="61" y="0"/>
                    <a:pt x="60" y="1"/>
                  </a:cubicBezTo>
                  <a:cubicBezTo>
                    <a:pt x="59" y="1"/>
                    <a:pt x="57" y="2"/>
                    <a:pt x="56" y="3"/>
                  </a:cubicBezTo>
                  <a:cubicBezTo>
                    <a:pt x="56" y="5"/>
                    <a:pt x="54" y="7"/>
                    <a:pt x="53" y="8"/>
                  </a:cubicBezTo>
                  <a:cubicBezTo>
                    <a:pt x="50" y="9"/>
                    <a:pt x="48" y="10"/>
                    <a:pt x="46" y="10"/>
                  </a:cubicBezTo>
                  <a:cubicBezTo>
                    <a:pt x="45" y="11"/>
                    <a:pt x="44" y="11"/>
                    <a:pt x="42" y="11"/>
                  </a:cubicBezTo>
                  <a:cubicBezTo>
                    <a:pt x="42" y="11"/>
                    <a:pt x="40" y="10"/>
                    <a:pt x="40" y="11"/>
                  </a:cubicBezTo>
                  <a:cubicBezTo>
                    <a:pt x="40" y="12"/>
                    <a:pt x="40" y="13"/>
                    <a:pt x="39" y="14"/>
                  </a:cubicBezTo>
                  <a:cubicBezTo>
                    <a:pt x="37" y="15"/>
                    <a:pt x="34" y="13"/>
                    <a:pt x="32" y="14"/>
                  </a:cubicBezTo>
                  <a:cubicBezTo>
                    <a:pt x="30" y="15"/>
                    <a:pt x="29" y="19"/>
                    <a:pt x="28" y="21"/>
                  </a:cubicBezTo>
                  <a:cubicBezTo>
                    <a:pt x="27" y="23"/>
                    <a:pt x="27" y="25"/>
                    <a:pt x="27" y="27"/>
                  </a:cubicBezTo>
                  <a:cubicBezTo>
                    <a:pt x="24" y="28"/>
                    <a:pt x="22" y="31"/>
                    <a:pt x="19" y="33"/>
                  </a:cubicBezTo>
                  <a:cubicBezTo>
                    <a:pt x="19" y="33"/>
                    <a:pt x="19" y="34"/>
                    <a:pt x="19" y="34"/>
                  </a:cubicBezTo>
                  <a:cubicBezTo>
                    <a:pt x="18" y="37"/>
                    <a:pt x="19" y="39"/>
                    <a:pt x="18" y="42"/>
                  </a:cubicBezTo>
                  <a:cubicBezTo>
                    <a:pt x="18" y="42"/>
                    <a:pt x="18" y="42"/>
                    <a:pt x="17" y="42"/>
                  </a:cubicBezTo>
                  <a:cubicBezTo>
                    <a:pt x="17" y="41"/>
                    <a:pt x="18" y="41"/>
                    <a:pt x="17" y="41"/>
                  </a:cubicBezTo>
                  <a:cubicBezTo>
                    <a:pt x="16" y="39"/>
                    <a:pt x="15" y="38"/>
                    <a:pt x="15" y="36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2" y="38"/>
                    <a:pt x="13" y="38"/>
                    <a:pt x="13" y="39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3" y="43"/>
                    <a:pt x="14" y="41"/>
                    <a:pt x="13" y="44"/>
                  </a:cubicBezTo>
                  <a:cubicBezTo>
                    <a:pt x="13" y="45"/>
                    <a:pt x="11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10" y="48"/>
                    <a:pt x="11" y="49"/>
                    <a:pt x="11" y="51"/>
                  </a:cubicBezTo>
                  <a:cubicBezTo>
                    <a:pt x="11" y="52"/>
                    <a:pt x="12" y="53"/>
                    <a:pt x="13" y="53"/>
                  </a:cubicBezTo>
                  <a:cubicBezTo>
                    <a:pt x="14" y="54"/>
                    <a:pt x="14" y="56"/>
                    <a:pt x="13" y="56"/>
                  </a:cubicBezTo>
                  <a:cubicBezTo>
                    <a:pt x="13" y="57"/>
                    <a:pt x="12" y="58"/>
                    <a:pt x="13" y="59"/>
                  </a:cubicBezTo>
                  <a:cubicBezTo>
                    <a:pt x="13" y="60"/>
                    <a:pt x="15" y="61"/>
                    <a:pt x="14" y="62"/>
                  </a:cubicBezTo>
                  <a:cubicBezTo>
                    <a:pt x="12" y="64"/>
                    <a:pt x="10" y="65"/>
                    <a:pt x="11" y="67"/>
                  </a:cubicBezTo>
                  <a:cubicBezTo>
                    <a:pt x="12" y="68"/>
                    <a:pt x="12" y="69"/>
                    <a:pt x="12" y="69"/>
                  </a:cubicBezTo>
                  <a:cubicBezTo>
                    <a:pt x="13" y="72"/>
                    <a:pt x="12" y="75"/>
                    <a:pt x="13" y="78"/>
                  </a:cubicBezTo>
                  <a:cubicBezTo>
                    <a:pt x="13" y="79"/>
                    <a:pt x="14" y="80"/>
                    <a:pt x="13" y="81"/>
                  </a:cubicBezTo>
                  <a:cubicBezTo>
                    <a:pt x="12" y="82"/>
                    <a:pt x="11" y="84"/>
                    <a:pt x="10" y="85"/>
                  </a:cubicBezTo>
                  <a:cubicBezTo>
                    <a:pt x="9" y="86"/>
                    <a:pt x="10" y="88"/>
                    <a:pt x="9" y="89"/>
                  </a:cubicBezTo>
                  <a:cubicBezTo>
                    <a:pt x="8" y="91"/>
                    <a:pt x="5" y="91"/>
                    <a:pt x="3" y="92"/>
                  </a:cubicBezTo>
                  <a:cubicBezTo>
                    <a:pt x="2" y="93"/>
                    <a:pt x="3" y="95"/>
                    <a:pt x="2" y="97"/>
                  </a:cubicBezTo>
                  <a:cubicBezTo>
                    <a:pt x="2" y="97"/>
                    <a:pt x="1" y="97"/>
                    <a:pt x="1" y="98"/>
                  </a:cubicBezTo>
                  <a:cubicBezTo>
                    <a:pt x="0" y="99"/>
                    <a:pt x="0" y="100"/>
                    <a:pt x="0" y="101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2" y="102"/>
                    <a:pt x="4" y="103"/>
                    <a:pt x="5" y="104"/>
                  </a:cubicBezTo>
                  <a:cubicBezTo>
                    <a:pt x="5" y="105"/>
                    <a:pt x="7" y="105"/>
                    <a:pt x="8" y="106"/>
                  </a:cubicBezTo>
                  <a:cubicBezTo>
                    <a:pt x="9" y="106"/>
                    <a:pt x="9" y="106"/>
                    <a:pt x="10" y="107"/>
                  </a:cubicBezTo>
                  <a:cubicBezTo>
                    <a:pt x="10" y="107"/>
                    <a:pt x="10" y="108"/>
                    <a:pt x="10" y="109"/>
                  </a:cubicBezTo>
                  <a:cubicBezTo>
                    <a:pt x="10" y="109"/>
                    <a:pt x="11" y="110"/>
                    <a:pt x="11" y="110"/>
                  </a:cubicBezTo>
                  <a:cubicBezTo>
                    <a:pt x="15" y="111"/>
                    <a:pt x="18" y="109"/>
                    <a:pt x="22" y="110"/>
                  </a:cubicBezTo>
                  <a:cubicBezTo>
                    <a:pt x="23" y="111"/>
                    <a:pt x="23" y="112"/>
                    <a:pt x="24" y="112"/>
                  </a:cubicBezTo>
                  <a:cubicBezTo>
                    <a:pt x="25" y="113"/>
                    <a:pt x="26" y="114"/>
                    <a:pt x="28" y="115"/>
                  </a:cubicBezTo>
                  <a:cubicBezTo>
                    <a:pt x="28" y="115"/>
                    <a:pt x="28" y="115"/>
                    <a:pt x="28" y="115"/>
                  </a:cubicBezTo>
                  <a:cubicBezTo>
                    <a:pt x="30" y="115"/>
                    <a:pt x="31" y="117"/>
                    <a:pt x="33" y="118"/>
                  </a:cubicBezTo>
                  <a:cubicBezTo>
                    <a:pt x="34" y="118"/>
                    <a:pt x="34" y="119"/>
                    <a:pt x="34" y="119"/>
                  </a:cubicBezTo>
                  <a:cubicBezTo>
                    <a:pt x="35" y="120"/>
                    <a:pt x="36" y="121"/>
                    <a:pt x="37" y="123"/>
                  </a:cubicBezTo>
                  <a:cubicBezTo>
                    <a:pt x="40" y="124"/>
                    <a:pt x="44" y="127"/>
                    <a:pt x="46" y="130"/>
                  </a:cubicBezTo>
                  <a:cubicBezTo>
                    <a:pt x="46" y="132"/>
                    <a:pt x="46" y="134"/>
                    <a:pt x="47" y="135"/>
                  </a:cubicBezTo>
                  <a:cubicBezTo>
                    <a:pt x="48" y="135"/>
                    <a:pt x="50" y="135"/>
                    <a:pt x="52" y="135"/>
                  </a:cubicBezTo>
                  <a:cubicBezTo>
                    <a:pt x="53" y="134"/>
                    <a:pt x="54" y="134"/>
                    <a:pt x="55" y="133"/>
                  </a:cubicBezTo>
                  <a:cubicBezTo>
                    <a:pt x="57" y="132"/>
                    <a:pt x="59" y="134"/>
                    <a:pt x="60" y="135"/>
                  </a:cubicBezTo>
                  <a:cubicBezTo>
                    <a:pt x="61" y="135"/>
                    <a:pt x="62" y="135"/>
                    <a:pt x="63" y="135"/>
                  </a:cubicBezTo>
                  <a:cubicBezTo>
                    <a:pt x="64" y="135"/>
                    <a:pt x="64" y="134"/>
                    <a:pt x="65" y="134"/>
                  </a:cubicBezTo>
                  <a:cubicBezTo>
                    <a:pt x="66" y="133"/>
                    <a:pt x="67" y="133"/>
                    <a:pt x="67" y="134"/>
                  </a:cubicBezTo>
                  <a:cubicBezTo>
                    <a:pt x="69" y="135"/>
                    <a:pt x="70" y="136"/>
                    <a:pt x="70" y="137"/>
                  </a:cubicBezTo>
                  <a:cubicBezTo>
                    <a:pt x="71" y="139"/>
                    <a:pt x="71" y="141"/>
                    <a:pt x="70" y="142"/>
                  </a:cubicBezTo>
                  <a:cubicBezTo>
                    <a:pt x="69" y="142"/>
                    <a:pt x="68" y="143"/>
                    <a:pt x="68" y="144"/>
                  </a:cubicBezTo>
                  <a:cubicBezTo>
                    <a:pt x="68" y="145"/>
                    <a:pt x="67" y="147"/>
                    <a:pt x="68" y="147"/>
                  </a:cubicBezTo>
                  <a:cubicBezTo>
                    <a:pt x="69" y="146"/>
                    <a:pt x="70" y="147"/>
                    <a:pt x="71" y="147"/>
                  </a:cubicBezTo>
                  <a:cubicBezTo>
                    <a:pt x="71" y="148"/>
                    <a:pt x="71" y="148"/>
                    <a:pt x="71" y="148"/>
                  </a:cubicBezTo>
                  <a:cubicBezTo>
                    <a:pt x="71" y="148"/>
                    <a:pt x="71" y="148"/>
                    <a:pt x="71" y="147"/>
                  </a:cubicBezTo>
                  <a:cubicBezTo>
                    <a:pt x="72" y="147"/>
                    <a:pt x="72" y="146"/>
                    <a:pt x="72" y="145"/>
                  </a:cubicBezTo>
                  <a:cubicBezTo>
                    <a:pt x="73" y="143"/>
                    <a:pt x="74" y="140"/>
                    <a:pt x="75" y="137"/>
                  </a:cubicBezTo>
                  <a:cubicBezTo>
                    <a:pt x="75" y="134"/>
                    <a:pt x="74" y="132"/>
                    <a:pt x="75" y="129"/>
                  </a:cubicBezTo>
                  <a:cubicBezTo>
                    <a:pt x="75" y="127"/>
                    <a:pt x="75" y="125"/>
                    <a:pt x="75" y="123"/>
                  </a:cubicBezTo>
                  <a:cubicBezTo>
                    <a:pt x="75" y="123"/>
                    <a:pt x="75" y="122"/>
                    <a:pt x="74" y="121"/>
                  </a:cubicBezTo>
                  <a:cubicBezTo>
                    <a:pt x="73" y="120"/>
                    <a:pt x="72" y="120"/>
                    <a:pt x="71" y="119"/>
                  </a:cubicBezTo>
                  <a:cubicBezTo>
                    <a:pt x="70" y="116"/>
                    <a:pt x="71" y="113"/>
                    <a:pt x="70" y="110"/>
                  </a:cubicBezTo>
                  <a:cubicBezTo>
                    <a:pt x="70" y="109"/>
                    <a:pt x="70" y="109"/>
                    <a:pt x="71" y="108"/>
                  </a:cubicBezTo>
                  <a:cubicBezTo>
                    <a:pt x="73" y="108"/>
                    <a:pt x="75" y="109"/>
                    <a:pt x="76" y="108"/>
                  </a:cubicBezTo>
                  <a:cubicBezTo>
                    <a:pt x="77" y="107"/>
                    <a:pt x="77" y="106"/>
                    <a:pt x="77" y="106"/>
                  </a:cubicBezTo>
                  <a:cubicBezTo>
                    <a:pt x="76" y="105"/>
                    <a:pt x="74" y="105"/>
                    <a:pt x="73" y="104"/>
                  </a:cubicBezTo>
                  <a:cubicBezTo>
                    <a:pt x="73" y="103"/>
                    <a:pt x="74" y="102"/>
                    <a:pt x="73" y="101"/>
                  </a:cubicBezTo>
                  <a:cubicBezTo>
                    <a:pt x="73" y="101"/>
                    <a:pt x="73" y="100"/>
                    <a:pt x="73" y="100"/>
                  </a:cubicBezTo>
                  <a:cubicBezTo>
                    <a:pt x="74" y="99"/>
                    <a:pt x="75" y="100"/>
                    <a:pt x="76" y="99"/>
                  </a:cubicBezTo>
                  <a:cubicBezTo>
                    <a:pt x="77" y="99"/>
                    <a:pt x="78" y="98"/>
                    <a:pt x="78" y="98"/>
                  </a:cubicBezTo>
                  <a:cubicBezTo>
                    <a:pt x="82" y="98"/>
                    <a:pt x="86" y="98"/>
                    <a:pt x="89" y="97"/>
                  </a:cubicBezTo>
                  <a:cubicBezTo>
                    <a:pt x="89" y="96"/>
                    <a:pt x="90" y="96"/>
                    <a:pt x="90" y="97"/>
                  </a:cubicBezTo>
                  <a:cubicBezTo>
                    <a:pt x="92" y="98"/>
                    <a:pt x="92" y="100"/>
                    <a:pt x="93" y="102"/>
                  </a:cubicBezTo>
                  <a:cubicBezTo>
                    <a:pt x="94" y="103"/>
                    <a:pt x="95" y="103"/>
                    <a:pt x="96" y="103"/>
                  </a:cubicBezTo>
                  <a:cubicBezTo>
                    <a:pt x="96" y="102"/>
                    <a:pt x="96" y="101"/>
                    <a:pt x="96" y="100"/>
                  </a:cubicBezTo>
                  <a:cubicBezTo>
                    <a:pt x="95" y="98"/>
                    <a:pt x="94" y="96"/>
                    <a:pt x="92" y="93"/>
                  </a:cubicBezTo>
                  <a:cubicBezTo>
                    <a:pt x="92" y="92"/>
                    <a:pt x="90" y="93"/>
                    <a:pt x="89" y="92"/>
                  </a:cubicBezTo>
                  <a:cubicBezTo>
                    <a:pt x="88" y="91"/>
                    <a:pt x="88" y="89"/>
                    <a:pt x="88" y="88"/>
                  </a:cubicBezTo>
                  <a:cubicBezTo>
                    <a:pt x="89" y="87"/>
                    <a:pt x="90" y="86"/>
                    <a:pt x="91" y="85"/>
                  </a:cubicBezTo>
                  <a:cubicBezTo>
                    <a:pt x="92" y="84"/>
                    <a:pt x="92" y="83"/>
                    <a:pt x="92" y="82"/>
                  </a:cubicBezTo>
                  <a:cubicBezTo>
                    <a:pt x="91" y="81"/>
                    <a:pt x="90" y="80"/>
                    <a:pt x="90" y="79"/>
                  </a:cubicBezTo>
                  <a:cubicBezTo>
                    <a:pt x="90" y="78"/>
                    <a:pt x="90" y="77"/>
                    <a:pt x="90" y="76"/>
                  </a:cubicBezTo>
                  <a:cubicBezTo>
                    <a:pt x="90" y="76"/>
                    <a:pt x="89" y="75"/>
                    <a:pt x="89" y="75"/>
                  </a:cubicBezTo>
                  <a:cubicBezTo>
                    <a:pt x="89" y="73"/>
                    <a:pt x="89" y="72"/>
                    <a:pt x="89" y="71"/>
                  </a:cubicBezTo>
                  <a:cubicBezTo>
                    <a:pt x="90" y="70"/>
                    <a:pt x="90" y="70"/>
                    <a:pt x="90" y="69"/>
                  </a:cubicBezTo>
                  <a:cubicBezTo>
                    <a:pt x="90" y="66"/>
                    <a:pt x="90" y="63"/>
                    <a:pt x="92" y="62"/>
                  </a:cubicBezTo>
                  <a:cubicBezTo>
                    <a:pt x="93" y="61"/>
                    <a:pt x="94" y="59"/>
                    <a:pt x="93" y="59"/>
                  </a:cubicBezTo>
                  <a:cubicBezTo>
                    <a:pt x="92" y="58"/>
                    <a:pt x="91" y="58"/>
                    <a:pt x="89" y="58"/>
                  </a:cubicBezTo>
                  <a:cubicBezTo>
                    <a:pt x="87" y="59"/>
                    <a:pt x="86" y="59"/>
                    <a:pt x="84" y="58"/>
                  </a:cubicBezTo>
                  <a:cubicBezTo>
                    <a:pt x="85" y="59"/>
                    <a:pt x="77" y="58"/>
                    <a:pt x="77" y="58"/>
                  </a:cubicBezTo>
                  <a:cubicBezTo>
                    <a:pt x="75" y="56"/>
                    <a:pt x="73" y="53"/>
                    <a:pt x="71" y="51"/>
                  </a:cubicBezTo>
                  <a:cubicBezTo>
                    <a:pt x="67" y="50"/>
                    <a:pt x="64" y="50"/>
                    <a:pt x="61" y="50"/>
                  </a:cubicBezTo>
                  <a:cubicBezTo>
                    <a:pt x="59" y="50"/>
                    <a:pt x="58" y="49"/>
                    <a:pt x="56" y="48"/>
                  </a:cubicBezTo>
                  <a:cubicBezTo>
                    <a:pt x="55" y="48"/>
                    <a:pt x="54" y="48"/>
                    <a:pt x="53" y="47"/>
                  </a:cubicBezTo>
                  <a:cubicBezTo>
                    <a:pt x="52" y="46"/>
                    <a:pt x="52" y="45"/>
                    <a:pt x="53" y="44"/>
                  </a:cubicBezTo>
                  <a:cubicBezTo>
                    <a:pt x="55" y="42"/>
                    <a:pt x="54" y="39"/>
                    <a:pt x="53" y="37"/>
                  </a:cubicBezTo>
                  <a:cubicBezTo>
                    <a:pt x="53" y="36"/>
                    <a:pt x="52" y="34"/>
                    <a:pt x="51" y="33"/>
                  </a:cubicBezTo>
                  <a:cubicBezTo>
                    <a:pt x="51" y="32"/>
                    <a:pt x="49" y="32"/>
                    <a:pt x="47" y="32"/>
                  </a:cubicBezTo>
                  <a:cubicBezTo>
                    <a:pt x="46" y="31"/>
                    <a:pt x="46" y="30"/>
                    <a:pt x="47" y="29"/>
                  </a:cubicBezTo>
                  <a:cubicBezTo>
                    <a:pt x="49" y="26"/>
                    <a:pt x="51" y="23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16"/>
                    <a:pt x="54" y="14"/>
                    <a:pt x="56" y="12"/>
                  </a:cubicBezTo>
                  <a:lnTo>
                    <a:pt x="57" y="11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7" name="Freeform 400"/>
            <p:cNvSpPr>
              <a:spLocks/>
            </p:cNvSpPr>
            <p:nvPr/>
          </p:nvSpPr>
          <p:spPr bwMode="auto">
            <a:xfrm>
              <a:off x="6055899" y="5212724"/>
              <a:ext cx="144268" cy="113012"/>
            </a:xfrm>
            <a:custGeom>
              <a:avLst/>
              <a:gdLst>
                <a:gd name="T0" fmla="*/ 100065888 w 107"/>
                <a:gd name="T1" fmla="*/ 31736574 h 105"/>
                <a:gd name="T2" fmla="*/ 94446358 w 107"/>
                <a:gd name="T3" fmla="*/ 24210565 h 105"/>
                <a:gd name="T4" fmla="*/ 87952309 w 107"/>
                <a:gd name="T5" fmla="*/ 19855101 h 105"/>
                <a:gd name="T6" fmla="*/ 83976871 w 107"/>
                <a:gd name="T7" fmla="*/ 20708334 h 105"/>
                <a:gd name="T8" fmla="*/ 83189214 w 107"/>
                <a:gd name="T9" fmla="*/ 17785426 h 105"/>
                <a:gd name="T10" fmla="*/ 86056105 w 107"/>
                <a:gd name="T11" fmla="*/ 12237937 h 105"/>
                <a:gd name="T12" fmla="*/ 80435364 w 107"/>
                <a:gd name="T13" fmla="*/ 12237937 h 105"/>
                <a:gd name="T14" fmla="*/ 67791969 w 107"/>
                <a:gd name="T15" fmla="*/ 15797062 h 105"/>
                <a:gd name="T16" fmla="*/ 60959023 w 107"/>
                <a:gd name="T17" fmla="*/ 17785426 h 105"/>
                <a:gd name="T18" fmla="*/ 54454040 w 107"/>
                <a:gd name="T19" fmla="*/ 13961002 h 105"/>
                <a:gd name="T20" fmla="*/ 44042246 w 107"/>
                <a:gd name="T21" fmla="*/ 13961002 h 105"/>
                <a:gd name="T22" fmla="*/ 39054497 w 107"/>
                <a:gd name="T23" fmla="*/ 9612447 h 105"/>
                <a:gd name="T24" fmla="*/ 34290740 w 107"/>
                <a:gd name="T25" fmla="*/ 6688272 h 105"/>
                <a:gd name="T26" fmla="*/ 28670926 w 107"/>
                <a:gd name="T27" fmla="*/ 4694281 h 105"/>
                <a:gd name="T28" fmla="*/ 26633004 w 107"/>
                <a:gd name="T29" fmla="*/ 0 h 105"/>
                <a:gd name="T30" fmla="*/ 23907169 w 107"/>
                <a:gd name="T31" fmla="*/ 2831728 h 105"/>
                <a:gd name="T32" fmla="*/ 20160349 w 107"/>
                <a:gd name="T33" fmla="*/ 8406392 h 105"/>
                <a:gd name="T34" fmla="*/ 10383765 w 107"/>
                <a:gd name="T35" fmla="*/ 7530121 h 105"/>
                <a:gd name="T36" fmla="*/ 4763725 w 107"/>
                <a:gd name="T37" fmla="*/ 15797062 h 105"/>
                <a:gd name="T38" fmla="*/ 852066 w 107"/>
                <a:gd name="T39" fmla="*/ 24210565 h 105"/>
                <a:gd name="T40" fmla="*/ 4763725 w 107"/>
                <a:gd name="T41" fmla="*/ 28266805 h 105"/>
                <a:gd name="T42" fmla="*/ 6872275 w 107"/>
                <a:gd name="T43" fmla="*/ 38528655 h 105"/>
                <a:gd name="T44" fmla="*/ 9739956 w 107"/>
                <a:gd name="T45" fmla="*/ 42007484 h 105"/>
                <a:gd name="T46" fmla="*/ 23907169 w 107"/>
                <a:gd name="T47" fmla="*/ 44908167 h 105"/>
                <a:gd name="T48" fmla="*/ 36395283 w 107"/>
                <a:gd name="T49" fmla="*/ 51608417 h 105"/>
                <a:gd name="T50" fmla="*/ 44714101 w 107"/>
                <a:gd name="T51" fmla="*/ 52473176 h 105"/>
                <a:gd name="T52" fmla="*/ 42025397 w 107"/>
                <a:gd name="T53" fmla="*/ 61852316 h 105"/>
                <a:gd name="T54" fmla="*/ 41163854 w 107"/>
                <a:gd name="T55" fmla="*/ 67547906 h 105"/>
                <a:gd name="T56" fmla="*/ 42025397 w 107"/>
                <a:gd name="T57" fmla="*/ 71463414 h 105"/>
                <a:gd name="T58" fmla="*/ 42812979 w 107"/>
                <a:gd name="T59" fmla="*/ 77038074 h 105"/>
                <a:gd name="T60" fmla="*/ 41163854 w 107"/>
                <a:gd name="T61" fmla="*/ 83432391 h 105"/>
                <a:gd name="T62" fmla="*/ 47668837 w 107"/>
                <a:gd name="T63" fmla="*/ 91000990 h 105"/>
                <a:gd name="T64" fmla="*/ 47668837 w 107"/>
                <a:gd name="T65" fmla="*/ 93679956 h 105"/>
                <a:gd name="T66" fmla="*/ 55303893 w 107"/>
                <a:gd name="T67" fmla="*/ 97682949 h 105"/>
                <a:gd name="T68" fmla="*/ 58053467 w 107"/>
                <a:gd name="T69" fmla="*/ 96538880 h 105"/>
                <a:gd name="T70" fmla="*/ 65042583 w 107"/>
                <a:gd name="T71" fmla="*/ 91842583 h 105"/>
                <a:gd name="T72" fmla="*/ 68681886 w 107"/>
                <a:gd name="T73" fmla="*/ 87411954 h 105"/>
                <a:gd name="T74" fmla="*/ 67791969 w 107"/>
                <a:gd name="T75" fmla="*/ 82587623 h 105"/>
                <a:gd name="T76" fmla="*/ 67791969 w 107"/>
                <a:gd name="T77" fmla="*/ 78672134 h 105"/>
                <a:gd name="T78" fmla="*/ 65715686 w 107"/>
                <a:gd name="T79" fmla="*/ 69405383 h 105"/>
                <a:gd name="T80" fmla="*/ 78332655 w 107"/>
                <a:gd name="T81" fmla="*/ 72345065 h 105"/>
                <a:gd name="T82" fmla="*/ 91710667 w 107"/>
                <a:gd name="T83" fmla="*/ 66763489 h 105"/>
                <a:gd name="T84" fmla="*/ 95249299 w 107"/>
                <a:gd name="T85" fmla="*/ 62720816 h 105"/>
                <a:gd name="T86" fmla="*/ 92343820 w 107"/>
                <a:gd name="T87" fmla="*/ 56302673 h 105"/>
                <a:gd name="T88" fmla="*/ 92343820 w 107"/>
                <a:gd name="T89" fmla="*/ 56302673 h 105"/>
                <a:gd name="T90" fmla="*/ 90846893 w 107"/>
                <a:gd name="T91" fmla="*/ 51608417 h 105"/>
                <a:gd name="T92" fmla="*/ 96462867 w 107"/>
                <a:gd name="T93" fmla="*/ 46054012 h 105"/>
                <a:gd name="T94" fmla="*/ 95249299 w 107"/>
                <a:gd name="T95" fmla="*/ 43222032 h 105"/>
                <a:gd name="T96" fmla="*/ 99368422 w 107"/>
                <a:gd name="T97" fmla="*/ 35811350 h 105"/>
                <a:gd name="T98" fmla="*/ 102083608 w 107"/>
                <a:gd name="T99" fmla="*/ 31736574 h 10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07"/>
                <a:gd name="T151" fmla="*/ 0 h 105"/>
                <a:gd name="T152" fmla="*/ 107 w 107"/>
                <a:gd name="T153" fmla="*/ 105 h 10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07" h="105">
                  <a:moveTo>
                    <a:pt x="107" y="34"/>
                  </a:moveTo>
                  <a:cubicBezTo>
                    <a:pt x="106" y="34"/>
                    <a:pt x="106" y="34"/>
                    <a:pt x="105" y="34"/>
                  </a:cubicBezTo>
                  <a:cubicBezTo>
                    <a:pt x="104" y="33"/>
                    <a:pt x="102" y="33"/>
                    <a:pt x="100" y="33"/>
                  </a:cubicBezTo>
                  <a:cubicBezTo>
                    <a:pt x="98" y="31"/>
                    <a:pt x="100" y="28"/>
                    <a:pt x="99" y="26"/>
                  </a:cubicBezTo>
                  <a:cubicBezTo>
                    <a:pt x="98" y="24"/>
                    <a:pt x="96" y="23"/>
                    <a:pt x="94" y="22"/>
                  </a:cubicBezTo>
                  <a:cubicBezTo>
                    <a:pt x="93" y="22"/>
                    <a:pt x="93" y="21"/>
                    <a:pt x="92" y="21"/>
                  </a:cubicBezTo>
                  <a:cubicBezTo>
                    <a:pt x="92" y="21"/>
                    <a:pt x="90" y="21"/>
                    <a:pt x="90" y="21"/>
                  </a:cubicBezTo>
                  <a:cubicBezTo>
                    <a:pt x="89" y="22"/>
                    <a:pt x="88" y="22"/>
                    <a:pt x="88" y="22"/>
                  </a:cubicBezTo>
                  <a:cubicBezTo>
                    <a:pt x="87" y="21"/>
                    <a:pt x="87" y="20"/>
                    <a:pt x="87" y="20"/>
                  </a:cubicBezTo>
                  <a:cubicBezTo>
                    <a:pt x="87" y="20"/>
                    <a:pt x="87" y="19"/>
                    <a:pt x="87" y="19"/>
                  </a:cubicBezTo>
                  <a:cubicBezTo>
                    <a:pt x="86" y="18"/>
                    <a:pt x="85" y="17"/>
                    <a:pt x="85" y="15"/>
                  </a:cubicBezTo>
                  <a:cubicBezTo>
                    <a:pt x="87" y="15"/>
                    <a:pt x="90" y="15"/>
                    <a:pt x="90" y="13"/>
                  </a:cubicBezTo>
                  <a:cubicBezTo>
                    <a:pt x="88" y="13"/>
                    <a:pt x="86" y="13"/>
                    <a:pt x="84" y="13"/>
                  </a:cubicBezTo>
                  <a:cubicBezTo>
                    <a:pt x="84" y="13"/>
                    <a:pt x="84" y="13"/>
                    <a:pt x="84" y="13"/>
                  </a:cubicBezTo>
                  <a:cubicBezTo>
                    <a:pt x="81" y="14"/>
                    <a:pt x="79" y="14"/>
                    <a:pt x="76" y="15"/>
                  </a:cubicBezTo>
                  <a:cubicBezTo>
                    <a:pt x="74" y="15"/>
                    <a:pt x="73" y="16"/>
                    <a:pt x="71" y="17"/>
                  </a:cubicBezTo>
                  <a:cubicBezTo>
                    <a:pt x="70" y="18"/>
                    <a:pt x="69" y="19"/>
                    <a:pt x="67" y="19"/>
                  </a:cubicBezTo>
                  <a:cubicBezTo>
                    <a:pt x="66" y="20"/>
                    <a:pt x="65" y="20"/>
                    <a:pt x="64" y="19"/>
                  </a:cubicBezTo>
                  <a:cubicBezTo>
                    <a:pt x="63" y="19"/>
                    <a:pt x="62" y="19"/>
                    <a:pt x="60" y="18"/>
                  </a:cubicBezTo>
                  <a:cubicBezTo>
                    <a:pt x="59" y="17"/>
                    <a:pt x="58" y="16"/>
                    <a:pt x="57" y="15"/>
                  </a:cubicBezTo>
                  <a:cubicBezTo>
                    <a:pt x="56" y="14"/>
                    <a:pt x="54" y="14"/>
                    <a:pt x="53" y="14"/>
                  </a:cubicBezTo>
                  <a:cubicBezTo>
                    <a:pt x="51" y="14"/>
                    <a:pt x="48" y="14"/>
                    <a:pt x="46" y="15"/>
                  </a:cubicBezTo>
                  <a:cubicBezTo>
                    <a:pt x="45" y="15"/>
                    <a:pt x="43" y="16"/>
                    <a:pt x="42" y="15"/>
                  </a:cubicBezTo>
                  <a:cubicBezTo>
                    <a:pt x="41" y="13"/>
                    <a:pt x="42" y="12"/>
                    <a:pt x="41" y="10"/>
                  </a:cubicBezTo>
                  <a:cubicBezTo>
                    <a:pt x="41" y="10"/>
                    <a:pt x="40" y="9"/>
                    <a:pt x="40" y="9"/>
                  </a:cubicBezTo>
                  <a:cubicBezTo>
                    <a:pt x="38" y="9"/>
                    <a:pt x="37" y="8"/>
                    <a:pt x="36" y="7"/>
                  </a:cubicBezTo>
                  <a:cubicBezTo>
                    <a:pt x="34" y="7"/>
                    <a:pt x="33" y="7"/>
                    <a:pt x="31" y="7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30" y="4"/>
                    <a:pt x="30" y="3"/>
                    <a:pt x="30" y="2"/>
                  </a:cubicBezTo>
                  <a:cubicBezTo>
                    <a:pt x="30" y="2"/>
                    <a:pt x="29" y="1"/>
                    <a:pt x="28" y="0"/>
                  </a:cubicBezTo>
                  <a:cubicBezTo>
                    <a:pt x="28" y="0"/>
                    <a:pt x="27" y="0"/>
                    <a:pt x="26" y="0"/>
                  </a:cubicBezTo>
                  <a:cubicBezTo>
                    <a:pt x="25" y="0"/>
                    <a:pt x="25" y="2"/>
                    <a:pt x="25" y="3"/>
                  </a:cubicBezTo>
                  <a:cubicBezTo>
                    <a:pt x="26" y="5"/>
                    <a:pt x="28" y="6"/>
                    <a:pt x="27" y="8"/>
                  </a:cubicBezTo>
                  <a:cubicBezTo>
                    <a:pt x="25" y="9"/>
                    <a:pt x="23" y="8"/>
                    <a:pt x="21" y="9"/>
                  </a:cubicBezTo>
                  <a:cubicBezTo>
                    <a:pt x="19" y="10"/>
                    <a:pt x="17" y="12"/>
                    <a:pt x="15" y="11"/>
                  </a:cubicBezTo>
                  <a:cubicBezTo>
                    <a:pt x="14" y="10"/>
                    <a:pt x="13" y="9"/>
                    <a:pt x="11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8" y="11"/>
                    <a:pt x="5" y="13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20"/>
                    <a:pt x="3" y="23"/>
                    <a:pt x="1" y="26"/>
                  </a:cubicBezTo>
                  <a:cubicBezTo>
                    <a:pt x="0" y="27"/>
                    <a:pt x="0" y="28"/>
                    <a:pt x="1" y="29"/>
                  </a:cubicBezTo>
                  <a:cubicBezTo>
                    <a:pt x="3" y="29"/>
                    <a:pt x="5" y="29"/>
                    <a:pt x="5" y="30"/>
                  </a:cubicBezTo>
                  <a:cubicBezTo>
                    <a:pt x="6" y="31"/>
                    <a:pt x="7" y="33"/>
                    <a:pt x="7" y="34"/>
                  </a:cubicBezTo>
                  <a:cubicBezTo>
                    <a:pt x="8" y="36"/>
                    <a:pt x="9" y="39"/>
                    <a:pt x="7" y="41"/>
                  </a:cubicBezTo>
                  <a:cubicBezTo>
                    <a:pt x="6" y="42"/>
                    <a:pt x="6" y="43"/>
                    <a:pt x="7" y="44"/>
                  </a:cubicBezTo>
                  <a:cubicBezTo>
                    <a:pt x="8" y="45"/>
                    <a:pt x="9" y="45"/>
                    <a:pt x="10" y="45"/>
                  </a:cubicBezTo>
                  <a:cubicBezTo>
                    <a:pt x="12" y="46"/>
                    <a:pt x="13" y="47"/>
                    <a:pt x="15" y="47"/>
                  </a:cubicBezTo>
                  <a:cubicBezTo>
                    <a:pt x="18" y="47"/>
                    <a:pt x="21" y="47"/>
                    <a:pt x="25" y="48"/>
                  </a:cubicBezTo>
                  <a:cubicBezTo>
                    <a:pt x="27" y="50"/>
                    <a:pt x="29" y="53"/>
                    <a:pt x="31" y="55"/>
                  </a:cubicBezTo>
                  <a:cubicBezTo>
                    <a:pt x="31" y="55"/>
                    <a:pt x="39" y="56"/>
                    <a:pt x="38" y="55"/>
                  </a:cubicBezTo>
                  <a:cubicBezTo>
                    <a:pt x="40" y="56"/>
                    <a:pt x="41" y="56"/>
                    <a:pt x="43" y="55"/>
                  </a:cubicBezTo>
                  <a:cubicBezTo>
                    <a:pt x="45" y="55"/>
                    <a:pt x="46" y="55"/>
                    <a:pt x="47" y="56"/>
                  </a:cubicBezTo>
                  <a:cubicBezTo>
                    <a:pt x="48" y="56"/>
                    <a:pt x="47" y="58"/>
                    <a:pt x="46" y="59"/>
                  </a:cubicBezTo>
                  <a:cubicBezTo>
                    <a:pt x="44" y="60"/>
                    <a:pt x="44" y="63"/>
                    <a:pt x="44" y="66"/>
                  </a:cubicBezTo>
                  <a:cubicBezTo>
                    <a:pt x="44" y="67"/>
                    <a:pt x="44" y="67"/>
                    <a:pt x="43" y="68"/>
                  </a:cubicBezTo>
                  <a:cubicBezTo>
                    <a:pt x="43" y="69"/>
                    <a:pt x="43" y="70"/>
                    <a:pt x="43" y="72"/>
                  </a:cubicBezTo>
                  <a:cubicBezTo>
                    <a:pt x="43" y="72"/>
                    <a:pt x="44" y="73"/>
                    <a:pt x="44" y="73"/>
                  </a:cubicBezTo>
                  <a:cubicBezTo>
                    <a:pt x="44" y="74"/>
                    <a:pt x="44" y="75"/>
                    <a:pt x="44" y="76"/>
                  </a:cubicBezTo>
                  <a:cubicBezTo>
                    <a:pt x="44" y="77"/>
                    <a:pt x="45" y="78"/>
                    <a:pt x="46" y="79"/>
                  </a:cubicBezTo>
                  <a:cubicBezTo>
                    <a:pt x="46" y="80"/>
                    <a:pt x="46" y="81"/>
                    <a:pt x="45" y="82"/>
                  </a:cubicBezTo>
                  <a:cubicBezTo>
                    <a:pt x="44" y="83"/>
                    <a:pt x="43" y="84"/>
                    <a:pt x="42" y="85"/>
                  </a:cubicBezTo>
                  <a:cubicBezTo>
                    <a:pt x="42" y="86"/>
                    <a:pt x="42" y="88"/>
                    <a:pt x="43" y="89"/>
                  </a:cubicBezTo>
                  <a:cubicBezTo>
                    <a:pt x="44" y="90"/>
                    <a:pt x="46" y="89"/>
                    <a:pt x="46" y="90"/>
                  </a:cubicBezTo>
                  <a:cubicBezTo>
                    <a:pt x="48" y="93"/>
                    <a:pt x="49" y="95"/>
                    <a:pt x="50" y="97"/>
                  </a:cubicBezTo>
                  <a:cubicBezTo>
                    <a:pt x="50" y="98"/>
                    <a:pt x="50" y="99"/>
                    <a:pt x="50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51" y="102"/>
                    <a:pt x="53" y="104"/>
                    <a:pt x="55" y="104"/>
                  </a:cubicBezTo>
                  <a:cubicBezTo>
                    <a:pt x="56" y="105"/>
                    <a:pt x="57" y="105"/>
                    <a:pt x="58" y="104"/>
                  </a:cubicBezTo>
                  <a:cubicBezTo>
                    <a:pt x="58" y="104"/>
                    <a:pt x="59" y="103"/>
                    <a:pt x="60" y="103"/>
                  </a:cubicBezTo>
                  <a:cubicBezTo>
                    <a:pt x="60" y="103"/>
                    <a:pt x="60" y="103"/>
                    <a:pt x="61" y="103"/>
                  </a:cubicBezTo>
                  <a:cubicBezTo>
                    <a:pt x="62" y="102"/>
                    <a:pt x="63" y="101"/>
                    <a:pt x="64" y="100"/>
                  </a:cubicBezTo>
                  <a:cubicBezTo>
                    <a:pt x="65" y="99"/>
                    <a:pt x="67" y="99"/>
                    <a:pt x="68" y="98"/>
                  </a:cubicBezTo>
                  <a:cubicBezTo>
                    <a:pt x="70" y="97"/>
                    <a:pt x="70" y="95"/>
                    <a:pt x="71" y="94"/>
                  </a:cubicBezTo>
                  <a:cubicBezTo>
                    <a:pt x="71" y="93"/>
                    <a:pt x="72" y="93"/>
                    <a:pt x="72" y="93"/>
                  </a:cubicBezTo>
                  <a:cubicBezTo>
                    <a:pt x="74" y="92"/>
                    <a:pt x="77" y="92"/>
                    <a:pt x="77" y="90"/>
                  </a:cubicBezTo>
                  <a:cubicBezTo>
                    <a:pt x="75" y="89"/>
                    <a:pt x="73" y="88"/>
                    <a:pt x="71" y="88"/>
                  </a:cubicBezTo>
                  <a:cubicBezTo>
                    <a:pt x="71" y="88"/>
                    <a:pt x="71" y="88"/>
                    <a:pt x="71" y="87"/>
                  </a:cubicBezTo>
                  <a:cubicBezTo>
                    <a:pt x="71" y="86"/>
                    <a:pt x="71" y="85"/>
                    <a:pt x="71" y="84"/>
                  </a:cubicBezTo>
                  <a:cubicBezTo>
                    <a:pt x="72" y="82"/>
                    <a:pt x="72" y="80"/>
                    <a:pt x="71" y="79"/>
                  </a:cubicBezTo>
                  <a:cubicBezTo>
                    <a:pt x="71" y="77"/>
                    <a:pt x="69" y="75"/>
                    <a:pt x="69" y="74"/>
                  </a:cubicBezTo>
                  <a:cubicBezTo>
                    <a:pt x="69" y="73"/>
                    <a:pt x="70" y="73"/>
                    <a:pt x="70" y="74"/>
                  </a:cubicBezTo>
                  <a:cubicBezTo>
                    <a:pt x="74" y="75"/>
                    <a:pt x="78" y="77"/>
                    <a:pt x="82" y="77"/>
                  </a:cubicBezTo>
                  <a:cubicBezTo>
                    <a:pt x="81" y="76"/>
                    <a:pt x="83" y="74"/>
                    <a:pt x="85" y="74"/>
                  </a:cubicBezTo>
                  <a:cubicBezTo>
                    <a:pt x="88" y="74"/>
                    <a:pt x="93" y="74"/>
                    <a:pt x="96" y="71"/>
                  </a:cubicBezTo>
                  <a:cubicBezTo>
                    <a:pt x="97" y="70"/>
                    <a:pt x="99" y="70"/>
                    <a:pt x="99" y="69"/>
                  </a:cubicBezTo>
                  <a:cubicBezTo>
                    <a:pt x="100" y="68"/>
                    <a:pt x="100" y="68"/>
                    <a:pt x="100" y="67"/>
                  </a:cubicBezTo>
                  <a:cubicBezTo>
                    <a:pt x="100" y="66"/>
                    <a:pt x="101" y="65"/>
                    <a:pt x="100" y="64"/>
                  </a:cubicBezTo>
                  <a:cubicBezTo>
                    <a:pt x="99" y="63"/>
                    <a:pt x="98" y="62"/>
                    <a:pt x="97" y="60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6" y="59"/>
                    <a:pt x="95" y="58"/>
                    <a:pt x="95" y="57"/>
                  </a:cubicBezTo>
                  <a:cubicBezTo>
                    <a:pt x="94" y="56"/>
                    <a:pt x="95" y="56"/>
                    <a:pt x="95" y="55"/>
                  </a:cubicBezTo>
                  <a:cubicBezTo>
                    <a:pt x="95" y="53"/>
                    <a:pt x="96" y="52"/>
                    <a:pt x="97" y="51"/>
                  </a:cubicBezTo>
                  <a:cubicBezTo>
                    <a:pt x="98" y="50"/>
                    <a:pt x="100" y="50"/>
                    <a:pt x="101" y="49"/>
                  </a:cubicBezTo>
                  <a:cubicBezTo>
                    <a:pt x="102" y="49"/>
                    <a:pt x="102" y="48"/>
                    <a:pt x="102" y="47"/>
                  </a:cubicBezTo>
                  <a:cubicBezTo>
                    <a:pt x="102" y="46"/>
                    <a:pt x="101" y="46"/>
                    <a:pt x="100" y="46"/>
                  </a:cubicBezTo>
                  <a:cubicBezTo>
                    <a:pt x="100" y="45"/>
                    <a:pt x="100" y="44"/>
                    <a:pt x="101" y="43"/>
                  </a:cubicBezTo>
                  <a:cubicBezTo>
                    <a:pt x="101" y="41"/>
                    <a:pt x="102" y="40"/>
                    <a:pt x="104" y="38"/>
                  </a:cubicBezTo>
                  <a:cubicBezTo>
                    <a:pt x="105" y="38"/>
                    <a:pt x="105" y="36"/>
                    <a:pt x="106" y="36"/>
                  </a:cubicBezTo>
                  <a:lnTo>
                    <a:pt x="107" y="3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8" name="Freeform 401"/>
            <p:cNvSpPr>
              <a:spLocks/>
            </p:cNvSpPr>
            <p:nvPr/>
          </p:nvSpPr>
          <p:spPr bwMode="auto">
            <a:xfrm>
              <a:off x="6049374" y="5281013"/>
              <a:ext cx="420478" cy="392216"/>
            </a:xfrm>
            <a:custGeom>
              <a:avLst/>
              <a:gdLst>
                <a:gd name="T0" fmla="*/ 161478451 w 312"/>
                <a:gd name="T1" fmla="*/ 338095197 h 363"/>
                <a:gd name="T2" fmla="*/ 171739755 w 312"/>
                <a:gd name="T3" fmla="*/ 314026528 h 363"/>
                <a:gd name="T4" fmla="*/ 175817971 w 312"/>
                <a:gd name="T5" fmla="*/ 314867077 h 363"/>
                <a:gd name="T6" fmla="*/ 180519198 w 312"/>
                <a:gd name="T7" fmla="*/ 312049130 h 363"/>
                <a:gd name="T8" fmla="*/ 193706126 w 312"/>
                <a:gd name="T9" fmla="*/ 286141240 h 363"/>
                <a:gd name="T10" fmla="*/ 206839687 w 312"/>
                <a:gd name="T11" fmla="*/ 251351906 h 363"/>
                <a:gd name="T12" fmla="*/ 217945177 w 312"/>
                <a:gd name="T13" fmla="*/ 245841874 h 363"/>
                <a:gd name="T14" fmla="*/ 240701611 w 312"/>
                <a:gd name="T15" fmla="*/ 240318244 h 363"/>
                <a:gd name="T16" fmla="*/ 247035878 w 312"/>
                <a:gd name="T17" fmla="*/ 230005615 h 363"/>
                <a:gd name="T18" fmla="*/ 256669636 w 312"/>
                <a:gd name="T19" fmla="*/ 208739859 h 363"/>
                <a:gd name="T20" fmla="*/ 262229260 w 312"/>
                <a:gd name="T21" fmla="*/ 169625240 h 363"/>
                <a:gd name="T22" fmla="*/ 262229260 w 312"/>
                <a:gd name="T23" fmla="*/ 156580675 h 363"/>
                <a:gd name="T24" fmla="*/ 275352390 w 312"/>
                <a:gd name="T25" fmla="*/ 136906795 h 363"/>
                <a:gd name="T26" fmla="*/ 292368844 w 312"/>
                <a:gd name="T27" fmla="*/ 110160849 h 363"/>
                <a:gd name="T28" fmla="*/ 280912013 w 312"/>
                <a:gd name="T29" fmla="*/ 88416117 h 363"/>
                <a:gd name="T30" fmla="*/ 265782883 w 312"/>
                <a:gd name="T31" fmla="*/ 78083033 h 363"/>
                <a:gd name="T32" fmla="*/ 239499584 w 312"/>
                <a:gd name="T33" fmla="*/ 67045670 h 363"/>
                <a:gd name="T34" fmla="*/ 214391100 w 312"/>
                <a:gd name="T35" fmla="*/ 56844286 h 363"/>
                <a:gd name="T36" fmla="*/ 192507122 w 312"/>
                <a:gd name="T37" fmla="*/ 53316677 h 363"/>
                <a:gd name="T38" fmla="*/ 188941555 w 312"/>
                <a:gd name="T39" fmla="*/ 49265783 h 363"/>
                <a:gd name="T40" fmla="*/ 179367664 w 312"/>
                <a:gd name="T41" fmla="*/ 48490734 h 363"/>
                <a:gd name="T42" fmla="*/ 166183911 w 312"/>
                <a:gd name="T43" fmla="*/ 56844286 h 363"/>
                <a:gd name="T44" fmla="*/ 178680402 w 312"/>
                <a:gd name="T45" fmla="*/ 35472942 h 363"/>
                <a:gd name="T46" fmla="*/ 169106511 w 312"/>
                <a:gd name="T47" fmla="*/ 12179156 h 363"/>
                <a:gd name="T48" fmla="*/ 158849441 w 312"/>
                <a:gd name="T49" fmla="*/ 21232203 h 363"/>
                <a:gd name="T50" fmla="*/ 145662626 w 312"/>
                <a:gd name="T51" fmla="*/ 26896787 h 363"/>
                <a:gd name="T52" fmla="*/ 133189492 w 312"/>
                <a:gd name="T53" fmla="*/ 28753535 h 363"/>
                <a:gd name="T54" fmla="*/ 115721918 w 312"/>
                <a:gd name="T55" fmla="*/ 31571879 h 363"/>
                <a:gd name="T56" fmla="*/ 103368065 w 312"/>
                <a:gd name="T57" fmla="*/ 24077575 h 363"/>
                <a:gd name="T58" fmla="*/ 105452149 w 312"/>
                <a:gd name="T59" fmla="*/ 7494335 h 363"/>
                <a:gd name="T60" fmla="*/ 97823786 w 312"/>
                <a:gd name="T61" fmla="*/ 5514075 h 363"/>
                <a:gd name="T62" fmla="*/ 71589223 w 312"/>
                <a:gd name="T63" fmla="*/ 15025301 h 363"/>
                <a:gd name="T64" fmla="*/ 71589223 w 312"/>
                <a:gd name="T65" fmla="*/ 28753535 h 363"/>
                <a:gd name="T66" fmla="*/ 56384163 w 312"/>
                <a:gd name="T67" fmla="*/ 38292192 h 363"/>
                <a:gd name="T68" fmla="*/ 34715058 w 312"/>
                <a:gd name="T69" fmla="*/ 29959114 h 363"/>
                <a:gd name="T70" fmla="*/ 33017899 w 312"/>
                <a:gd name="T71" fmla="*/ 39066089 h 363"/>
                <a:gd name="T72" fmla="*/ 31815833 w 312"/>
                <a:gd name="T73" fmla="*/ 58831430 h 363"/>
                <a:gd name="T74" fmla="*/ 28939361 w 312"/>
                <a:gd name="T75" fmla="*/ 78083033 h 363"/>
                <a:gd name="T76" fmla="*/ 13132319 w 312"/>
                <a:gd name="T77" fmla="*/ 83747391 h 363"/>
                <a:gd name="T78" fmla="*/ 0 w 312"/>
                <a:gd name="T79" fmla="*/ 101435714 h 363"/>
                <a:gd name="T80" fmla="*/ 15178022 w 312"/>
                <a:gd name="T81" fmla="*/ 129312465 h 363"/>
                <a:gd name="T82" fmla="*/ 23393571 w 312"/>
                <a:gd name="T83" fmla="*/ 128692667 h 363"/>
                <a:gd name="T84" fmla="*/ 38573100 w 312"/>
                <a:gd name="T85" fmla="*/ 138894014 h 363"/>
                <a:gd name="T86" fmla="*/ 62811972 w 312"/>
                <a:gd name="T87" fmla="*/ 134202547 h 363"/>
                <a:gd name="T88" fmla="*/ 82694656 w 312"/>
                <a:gd name="T89" fmla="*/ 153901208 h 363"/>
                <a:gd name="T90" fmla="*/ 96672252 w 312"/>
                <a:gd name="T91" fmla="*/ 159426840 h 363"/>
                <a:gd name="T92" fmla="*/ 103368065 w 312"/>
                <a:gd name="T93" fmla="*/ 182629651 h 363"/>
                <a:gd name="T94" fmla="*/ 117345737 w 312"/>
                <a:gd name="T95" fmla="*/ 189019214 h 363"/>
                <a:gd name="T96" fmla="*/ 122111139 w 312"/>
                <a:gd name="T97" fmla="*/ 207552695 h 363"/>
                <a:gd name="T98" fmla="*/ 126136216 w 312"/>
                <a:gd name="T99" fmla="*/ 234804738 h 363"/>
                <a:gd name="T100" fmla="*/ 141941345 w 312"/>
                <a:gd name="T101" fmla="*/ 247822143 h 363"/>
                <a:gd name="T102" fmla="*/ 149584976 w 312"/>
                <a:gd name="T103" fmla="*/ 260867350 h 363"/>
                <a:gd name="T104" fmla="*/ 150363475 w 312"/>
                <a:gd name="T105" fmla="*/ 279394183 h 363"/>
                <a:gd name="T106" fmla="*/ 129690142 w 312"/>
                <a:gd name="T107" fmla="*/ 306523535 h 363"/>
                <a:gd name="T108" fmla="*/ 147500741 w 312"/>
                <a:gd name="T109" fmla="*/ 315733917 h 36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12"/>
                <a:gd name="T166" fmla="*/ 0 h 363"/>
                <a:gd name="T167" fmla="*/ 312 w 312"/>
                <a:gd name="T168" fmla="*/ 363 h 36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12" h="363">
                  <a:moveTo>
                    <a:pt x="173" y="352"/>
                  </a:moveTo>
                  <a:cubicBezTo>
                    <a:pt x="173" y="351"/>
                    <a:pt x="174" y="350"/>
                    <a:pt x="175" y="350"/>
                  </a:cubicBezTo>
                  <a:cubicBezTo>
                    <a:pt x="175" y="349"/>
                    <a:pt x="175" y="349"/>
                    <a:pt x="175" y="349"/>
                  </a:cubicBezTo>
                  <a:cubicBezTo>
                    <a:pt x="176" y="350"/>
                    <a:pt x="176" y="351"/>
                    <a:pt x="176" y="351"/>
                  </a:cubicBezTo>
                  <a:cubicBezTo>
                    <a:pt x="175" y="354"/>
                    <a:pt x="172" y="355"/>
                    <a:pt x="171" y="358"/>
                  </a:cubicBezTo>
                  <a:cubicBezTo>
                    <a:pt x="171" y="360"/>
                    <a:pt x="172" y="361"/>
                    <a:pt x="172" y="363"/>
                  </a:cubicBezTo>
                  <a:cubicBezTo>
                    <a:pt x="173" y="363"/>
                    <a:pt x="174" y="362"/>
                    <a:pt x="175" y="361"/>
                  </a:cubicBezTo>
                  <a:cubicBezTo>
                    <a:pt x="175" y="361"/>
                    <a:pt x="175" y="360"/>
                    <a:pt x="176" y="359"/>
                  </a:cubicBezTo>
                  <a:cubicBezTo>
                    <a:pt x="176" y="358"/>
                    <a:pt x="177" y="356"/>
                    <a:pt x="178" y="355"/>
                  </a:cubicBezTo>
                  <a:cubicBezTo>
                    <a:pt x="179" y="353"/>
                    <a:pt x="180" y="350"/>
                    <a:pt x="180" y="348"/>
                  </a:cubicBezTo>
                  <a:cubicBezTo>
                    <a:pt x="181" y="346"/>
                    <a:pt x="179" y="345"/>
                    <a:pt x="180" y="344"/>
                  </a:cubicBezTo>
                  <a:cubicBezTo>
                    <a:pt x="181" y="342"/>
                    <a:pt x="182" y="340"/>
                    <a:pt x="183" y="337"/>
                  </a:cubicBezTo>
                  <a:cubicBezTo>
                    <a:pt x="183" y="337"/>
                    <a:pt x="184" y="336"/>
                    <a:pt x="184" y="336"/>
                  </a:cubicBezTo>
                  <a:cubicBezTo>
                    <a:pt x="187" y="335"/>
                    <a:pt x="185" y="331"/>
                    <a:pt x="187" y="328"/>
                  </a:cubicBezTo>
                  <a:cubicBezTo>
                    <a:pt x="187" y="328"/>
                    <a:pt x="187" y="327"/>
                    <a:pt x="187" y="328"/>
                  </a:cubicBezTo>
                  <a:cubicBezTo>
                    <a:pt x="187" y="328"/>
                    <a:pt x="187" y="329"/>
                    <a:pt x="187" y="329"/>
                  </a:cubicBezTo>
                  <a:cubicBezTo>
                    <a:pt x="189" y="330"/>
                    <a:pt x="192" y="331"/>
                    <a:pt x="191" y="333"/>
                  </a:cubicBezTo>
                  <a:cubicBezTo>
                    <a:pt x="190" y="335"/>
                    <a:pt x="188" y="336"/>
                    <a:pt x="187" y="338"/>
                  </a:cubicBezTo>
                  <a:cubicBezTo>
                    <a:pt x="187" y="338"/>
                    <a:pt x="187" y="339"/>
                    <a:pt x="187" y="340"/>
                  </a:cubicBezTo>
                  <a:cubicBezTo>
                    <a:pt x="186" y="342"/>
                    <a:pt x="183" y="343"/>
                    <a:pt x="182" y="345"/>
                  </a:cubicBezTo>
                  <a:cubicBezTo>
                    <a:pt x="182" y="345"/>
                    <a:pt x="182" y="346"/>
                    <a:pt x="182" y="346"/>
                  </a:cubicBezTo>
                  <a:cubicBezTo>
                    <a:pt x="182" y="346"/>
                    <a:pt x="183" y="346"/>
                    <a:pt x="183" y="346"/>
                  </a:cubicBezTo>
                  <a:cubicBezTo>
                    <a:pt x="186" y="343"/>
                    <a:pt x="189" y="341"/>
                    <a:pt x="191" y="336"/>
                  </a:cubicBezTo>
                  <a:cubicBezTo>
                    <a:pt x="191" y="336"/>
                    <a:pt x="192" y="336"/>
                    <a:pt x="192" y="335"/>
                  </a:cubicBezTo>
                  <a:cubicBezTo>
                    <a:pt x="193" y="333"/>
                    <a:pt x="192" y="331"/>
                    <a:pt x="193" y="329"/>
                  </a:cubicBezTo>
                  <a:cubicBezTo>
                    <a:pt x="194" y="327"/>
                    <a:pt x="196" y="325"/>
                    <a:pt x="197" y="323"/>
                  </a:cubicBezTo>
                  <a:cubicBezTo>
                    <a:pt x="198" y="321"/>
                    <a:pt x="199" y="319"/>
                    <a:pt x="200" y="318"/>
                  </a:cubicBezTo>
                  <a:cubicBezTo>
                    <a:pt x="201" y="317"/>
                    <a:pt x="202" y="316"/>
                    <a:pt x="203" y="314"/>
                  </a:cubicBezTo>
                  <a:cubicBezTo>
                    <a:pt x="203" y="314"/>
                    <a:pt x="204" y="313"/>
                    <a:pt x="204" y="313"/>
                  </a:cubicBezTo>
                  <a:cubicBezTo>
                    <a:pt x="204" y="311"/>
                    <a:pt x="205" y="309"/>
                    <a:pt x="206" y="307"/>
                  </a:cubicBezTo>
                  <a:cubicBezTo>
                    <a:pt x="206" y="303"/>
                    <a:pt x="207" y="298"/>
                    <a:pt x="204" y="294"/>
                  </a:cubicBezTo>
                  <a:cubicBezTo>
                    <a:pt x="204" y="291"/>
                    <a:pt x="205" y="288"/>
                    <a:pt x="205" y="285"/>
                  </a:cubicBezTo>
                  <a:cubicBezTo>
                    <a:pt x="206" y="283"/>
                    <a:pt x="209" y="282"/>
                    <a:pt x="210" y="280"/>
                  </a:cubicBezTo>
                  <a:cubicBezTo>
                    <a:pt x="211" y="279"/>
                    <a:pt x="211" y="278"/>
                    <a:pt x="212" y="278"/>
                  </a:cubicBezTo>
                  <a:cubicBezTo>
                    <a:pt x="212" y="276"/>
                    <a:pt x="213" y="275"/>
                    <a:pt x="214" y="274"/>
                  </a:cubicBezTo>
                  <a:cubicBezTo>
                    <a:pt x="216" y="273"/>
                    <a:pt x="218" y="272"/>
                    <a:pt x="220" y="270"/>
                  </a:cubicBezTo>
                  <a:cubicBezTo>
                    <a:pt x="220" y="270"/>
                    <a:pt x="221" y="270"/>
                    <a:pt x="221" y="270"/>
                  </a:cubicBezTo>
                  <a:cubicBezTo>
                    <a:pt x="222" y="269"/>
                    <a:pt x="223" y="268"/>
                    <a:pt x="224" y="268"/>
                  </a:cubicBezTo>
                  <a:cubicBezTo>
                    <a:pt x="225" y="267"/>
                    <a:pt x="227" y="267"/>
                    <a:pt x="228" y="267"/>
                  </a:cubicBezTo>
                  <a:cubicBezTo>
                    <a:pt x="228" y="267"/>
                    <a:pt x="228" y="267"/>
                    <a:pt x="228" y="267"/>
                  </a:cubicBezTo>
                  <a:cubicBezTo>
                    <a:pt x="228" y="267"/>
                    <a:pt x="229" y="268"/>
                    <a:pt x="230" y="267"/>
                  </a:cubicBezTo>
                  <a:cubicBezTo>
                    <a:pt x="230" y="266"/>
                    <a:pt x="231" y="265"/>
                    <a:pt x="232" y="264"/>
                  </a:cubicBezTo>
                  <a:cubicBezTo>
                    <a:pt x="233" y="264"/>
                    <a:pt x="234" y="264"/>
                    <a:pt x="235" y="264"/>
                  </a:cubicBezTo>
                  <a:cubicBezTo>
                    <a:pt x="236" y="263"/>
                    <a:pt x="236" y="261"/>
                    <a:pt x="237" y="260"/>
                  </a:cubicBezTo>
                  <a:cubicBezTo>
                    <a:pt x="238" y="258"/>
                    <a:pt x="241" y="259"/>
                    <a:pt x="243" y="259"/>
                  </a:cubicBezTo>
                  <a:cubicBezTo>
                    <a:pt x="244" y="260"/>
                    <a:pt x="246" y="260"/>
                    <a:pt x="248" y="260"/>
                  </a:cubicBezTo>
                  <a:cubicBezTo>
                    <a:pt x="249" y="260"/>
                    <a:pt x="249" y="259"/>
                    <a:pt x="250" y="259"/>
                  </a:cubicBezTo>
                  <a:cubicBezTo>
                    <a:pt x="251" y="258"/>
                    <a:pt x="254" y="259"/>
                    <a:pt x="256" y="258"/>
                  </a:cubicBezTo>
                  <a:cubicBezTo>
                    <a:pt x="257" y="257"/>
                    <a:pt x="256" y="256"/>
                    <a:pt x="257" y="255"/>
                  </a:cubicBezTo>
                  <a:cubicBezTo>
                    <a:pt x="257" y="255"/>
                    <a:pt x="257" y="254"/>
                    <a:pt x="257" y="254"/>
                  </a:cubicBezTo>
                  <a:cubicBezTo>
                    <a:pt x="258" y="254"/>
                    <a:pt x="260" y="253"/>
                    <a:pt x="261" y="253"/>
                  </a:cubicBezTo>
                  <a:cubicBezTo>
                    <a:pt x="262" y="253"/>
                    <a:pt x="263" y="252"/>
                    <a:pt x="263" y="251"/>
                  </a:cubicBezTo>
                  <a:cubicBezTo>
                    <a:pt x="264" y="250"/>
                    <a:pt x="265" y="249"/>
                    <a:pt x="264" y="248"/>
                  </a:cubicBezTo>
                  <a:cubicBezTo>
                    <a:pt x="264" y="247"/>
                    <a:pt x="263" y="247"/>
                    <a:pt x="263" y="247"/>
                  </a:cubicBezTo>
                  <a:cubicBezTo>
                    <a:pt x="262" y="246"/>
                    <a:pt x="262" y="246"/>
                    <a:pt x="263" y="245"/>
                  </a:cubicBezTo>
                  <a:cubicBezTo>
                    <a:pt x="263" y="245"/>
                    <a:pt x="263" y="244"/>
                    <a:pt x="263" y="244"/>
                  </a:cubicBezTo>
                  <a:cubicBezTo>
                    <a:pt x="264" y="241"/>
                    <a:pt x="265" y="239"/>
                    <a:pt x="268" y="237"/>
                  </a:cubicBezTo>
                  <a:cubicBezTo>
                    <a:pt x="268" y="237"/>
                    <a:pt x="268" y="236"/>
                    <a:pt x="268" y="236"/>
                  </a:cubicBezTo>
                  <a:cubicBezTo>
                    <a:pt x="269" y="232"/>
                    <a:pt x="271" y="230"/>
                    <a:pt x="272" y="226"/>
                  </a:cubicBezTo>
                  <a:cubicBezTo>
                    <a:pt x="273" y="226"/>
                    <a:pt x="273" y="225"/>
                    <a:pt x="273" y="224"/>
                  </a:cubicBezTo>
                  <a:cubicBezTo>
                    <a:pt x="273" y="223"/>
                    <a:pt x="273" y="221"/>
                    <a:pt x="273" y="220"/>
                  </a:cubicBezTo>
                  <a:cubicBezTo>
                    <a:pt x="274" y="217"/>
                    <a:pt x="274" y="213"/>
                    <a:pt x="276" y="211"/>
                  </a:cubicBezTo>
                  <a:cubicBezTo>
                    <a:pt x="277" y="211"/>
                    <a:pt x="277" y="210"/>
                    <a:pt x="277" y="210"/>
                  </a:cubicBezTo>
                  <a:cubicBezTo>
                    <a:pt x="277" y="206"/>
                    <a:pt x="276" y="201"/>
                    <a:pt x="277" y="197"/>
                  </a:cubicBezTo>
                  <a:cubicBezTo>
                    <a:pt x="278" y="195"/>
                    <a:pt x="278" y="194"/>
                    <a:pt x="279" y="192"/>
                  </a:cubicBezTo>
                  <a:cubicBezTo>
                    <a:pt x="280" y="189"/>
                    <a:pt x="279" y="186"/>
                    <a:pt x="279" y="182"/>
                  </a:cubicBezTo>
                  <a:cubicBezTo>
                    <a:pt x="278" y="180"/>
                    <a:pt x="279" y="178"/>
                    <a:pt x="278" y="176"/>
                  </a:cubicBezTo>
                  <a:cubicBezTo>
                    <a:pt x="278" y="176"/>
                    <a:pt x="278" y="176"/>
                    <a:pt x="277" y="175"/>
                  </a:cubicBezTo>
                  <a:cubicBezTo>
                    <a:pt x="277" y="175"/>
                    <a:pt x="276" y="174"/>
                    <a:pt x="277" y="173"/>
                  </a:cubicBezTo>
                  <a:cubicBezTo>
                    <a:pt x="277" y="173"/>
                    <a:pt x="278" y="172"/>
                    <a:pt x="278" y="172"/>
                  </a:cubicBezTo>
                  <a:cubicBezTo>
                    <a:pt x="278" y="172"/>
                    <a:pt x="279" y="171"/>
                    <a:pt x="279" y="171"/>
                  </a:cubicBezTo>
                  <a:cubicBezTo>
                    <a:pt x="279" y="170"/>
                    <a:pt x="278" y="169"/>
                    <a:pt x="279" y="168"/>
                  </a:cubicBezTo>
                  <a:cubicBezTo>
                    <a:pt x="280" y="166"/>
                    <a:pt x="280" y="164"/>
                    <a:pt x="281" y="163"/>
                  </a:cubicBezTo>
                  <a:cubicBezTo>
                    <a:pt x="282" y="162"/>
                    <a:pt x="284" y="163"/>
                    <a:pt x="284" y="162"/>
                  </a:cubicBezTo>
                  <a:cubicBezTo>
                    <a:pt x="285" y="161"/>
                    <a:pt x="286" y="160"/>
                    <a:pt x="287" y="159"/>
                  </a:cubicBezTo>
                  <a:cubicBezTo>
                    <a:pt x="287" y="158"/>
                    <a:pt x="287" y="158"/>
                    <a:pt x="288" y="157"/>
                  </a:cubicBezTo>
                  <a:cubicBezTo>
                    <a:pt x="288" y="157"/>
                    <a:pt x="289" y="156"/>
                    <a:pt x="289" y="155"/>
                  </a:cubicBezTo>
                  <a:cubicBezTo>
                    <a:pt x="290" y="152"/>
                    <a:pt x="291" y="149"/>
                    <a:pt x="293" y="147"/>
                  </a:cubicBezTo>
                  <a:cubicBezTo>
                    <a:pt x="295" y="145"/>
                    <a:pt x="297" y="144"/>
                    <a:pt x="298" y="142"/>
                  </a:cubicBezTo>
                  <a:cubicBezTo>
                    <a:pt x="299" y="141"/>
                    <a:pt x="300" y="140"/>
                    <a:pt x="301" y="138"/>
                  </a:cubicBezTo>
                  <a:cubicBezTo>
                    <a:pt x="302" y="136"/>
                    <a:pt x="304" y="135"/>
                    <a:pt x="305" y="133"/>
                  </a:cubicBezTo>
                  <a:cubicBezTo>
                    <a:pt x="306" y="130"/>
                    <a:pt x="307" y="128"/>
                    <a:pt x="308" y="126"/>
                  </a:cubicBezTo>
                  <a:cubicBezTo>
                    <a:pt x="309" y="125"/>
                    <a:pt x="309" y="125"/>
                    <a:pt x="310" y="124"/>
                  </a:cubicBezTo>
                  <a:cubicBezTo>
                    <a:pt x="310" y="122"/>
                    <a:pt x="310" y="120"/>
                    <a:pt x="311" y="118"/>
                  </a:cubicBezTo>
                  <a:cubicBezTo>
                    <a:pt x="311" y="117"/>
                    <a:pt x="312" y="115"/>
                    <a:pt x="312" y="114"/>
                  </a:cubicBezTo>
                  <a:cubicBezTo>
                    <a:pt x="310" y="111"/>
                    <a:pt x="309" y="107"/>
                    <a:pt x="308" y="104"/>
                  </a:cubicBezTo>
                  <a:cubicBezTo>
                    <a:pt x="307" y="102"/>
                    <a:pt x="309" y="99"/>
                    <a:pt x="307" y="97"/>
                  </a:cubicBezTo>
                  <a:cubicBezTo>
                    <a:pt x="306" y="96"/>
                    <a:pt x="306" y="95"/>
                    <a:pt x="304" y="95"/>
                  </a:cubicBezTo>
                  <a:cubicBezTo>
                    <a:pt x="303" y="94"/>
                    <a:pt x="302" y="94"/>
                    <a:pt x="301" y="94"/>
                  </a:cubicBezTo>
                  <a:cubicBezTo>
                    <a:pt x="300" y="95"/>
                    <a:pt x="299" y="95"/>
                    <a:pt x="299" y="95"/>
                  </a:cubicBezTo>
                  <a:cubicBezTo>
                    <a:pt x="298" y="96"/>
                    <a:pt x="297" y="96"/>
                    <a:pt x="297" y="95"/>
                  </a:cubicBezTo>
                  <a:cubicBezTo>
                    <a:pt x="295" y="94"/>
                    <a:pt x="294" y="93"/>
                    <a:pt x="293" y="92"/>
                  </a:cubicBezTo>
                  <a:cubicBezTo>
                    <a:pt x="291" y="91"/>
                    <a:pt x="291" y="90"/>
                    <a:pt x="289" y="89"/>
                  </a:cubicBezTo>
                  <a:cubicBezTo>
                    <a:pt x="288" y="89"/>
                    <a:pt x="287" y="88"/>
                    <a:pt x="286" y="88"/>
                  </a:cubicBezTo>
                  <a:cubicBezTo>
                    <a:pt x="285" y="88"/>
                    <a:pt x="284" y="87"/>
                    <a:pt x="284" y="86"/>
                  </a:cubicBezTo>
                  <a:cubicBezTo>
                    <a:pt x="284" y="86"/>
                    <a:pt x="284" y="85"/>
                    <a:pt x="283" y="84"/>
                  </a:cubicBezTo>
                  <a:cubicBezTo>
                    <a:pt x="281" y="82"/>
                    <a:pt x="279" y="79"/>
                    <a:pt x="276" y="78"/>
                  </a:cubicBezTo>
                  <a:cubicBezTo>
                    <a:pt x="275" y="77"/>
                    <a:pt x="275" y="77"/>
                    <a:pt x="274" y="76"/>
                  </a:cubicBezTo>
                  <a:cubicBezTo>
                    <a:pt x="273" y="76"/>
                    <a:pt x="272" y="76"/>
                    <a:pt x="271" y="76"/>
                  </a:cubicBezTo>
                  <a:cubicBezTo>
                    <a:pt x="270" y="75"/>
                    <a:pt x="269" y="75"/>
                    <a:pt x="269" y="74"/>
                  </a:cubicBezTo>
                  <a:cubicBezTo>
                    <a:pt x="269" y="74"/>
                    <a:pt x="268" y="73"/>
                    <a:pt x="268" y="73"/>
                  </a:cubicBezTo>
                  <a:cubicBezTo>
                    <a:pt x="263" y="72"/>
                    <a:pt x="259" y="74"/>
                    <a:pt x="255" y="72"/>
                  </a:cubicBezTo>
                  <a:cubicBezTo>
                    <a:pt x="252" y="72"/>
                    <a:pt x="250" y="71"/>
                    <a:pt x="248" y="71"/>
                  </a:cubicBezTo>
                  <a:cubicBezTo>
                    <a:pt x="246" y="70"/>
                    <a:pt x="244" y="70"/>
                    <a:pt x="242" y="71"/>
                  </a:cubicBezTo>
                  <a:cubicBezTo>
                    <a:pt x="240" y="71"/>
                    <a:pt x="239" y="72"/>
                    <a:pt x="237" y="72"/>
                  </a:cubicBezTo>
                  <a:cubicBezTo>
                    <a:pt x="236" y="73"/>
                    <a:pt x="235" y="73"/>
                    <a:pt x="234" y="73"/>
                  </a:cubicBezTo>
                  <a:cubicBezTo>
                    <a:pt x="232" y="71"/>
                    <a:pt x="234" y="68"/>
                    <a:pt x="233" y="66"/>
                  </a:cubicBezTo>
                  <a:cubicBezTo>
                    <a:pt x="232" y="64"/>
                    <a:pt x="231" y="62"/>
                    <a:pt x="228" y="61"/>
                  </a:cubicBezTo>
                  <a:cubicBezTo>
                    <a:pt x="227" y="61"/>
                    <a:pt x="226" y="61"/>
                    <a:pt x="225" y="61"/>
                  </a:cubicBezTo>
                  <a:cubicBezTo>
                    <a:pt x="224" y="61"/>
                    <a:pt x="223" y="60"/>
                    <a:pt x="222" y="60"/>
                  </a:cubicBezTo>
                  <a:cubicBezTo>
                    <a:pt x="221" y="59"/>
                    <a:pt x="221" y="58"/>
                    <a:pt x="220" y="58"/>
                  </a:cubicBezTo>
                  <a:cubicBezTo>
                    <a:pt x="219" y="57"/>
                    <a:pt x="219" y="56"/>
                    <a:pt x="218" y="56"/>
                  </a:cubicBezTo>
                  <a:cubicBezTo>
                    <a:pt x="214" y="55"/>
                    <a:pt x="209" y="54"/>
                    <a:pt x="205" y="55"/>
                  </a:cubicBezTo>
                  <a:cubicBezTo>
                    <a:pt x="204" y="55"/>
                    <a:pt x="205" y="57"/>
                    <a:pt x="205" y="57"/>
                  </a:cubicBezTo>
                  <a:cubicBezTo>
                    <a:pt x="205" y="59"/>
                    <a:pt x="203" y="60"/>
                    <a:pt x="201" y="61"/>
                  </a:cubicBezTo>
                  <a:cubicBezTo>
                    <a:pt x="199" y="61"/>
                    <a:pt x="198" y="63"/>
                    <a:pt x="197" y="64"/>
                  </a:cubicBezTo>
                  <a:cubicBezTo>
                    <a:pt x="196" y="65"/>
                    <a:pt x="195" y="64"/>
                    <a:pt x="194" y="64"/>
                  </a:cubicBezTo>
                  <a:cubicBezTo>
                    <a:pt x="194" y="63"/>
                    <a:pt x="196" y="63"/>
                    <a:pt x="197" y="62"/>
                  </a:cubicBezTo>
                  <a:cubicBezTo>
                    <a:pt x="198" y="61"/>
                    <a:pt x="199" y="60"/>
                    <a:pt x="199" y="59"/>
                  </a:cubicBezTo>
                  <a:cubicBezTo>
                    <a:pt x="200" y="57"/>
                    <a:pt x="200" y="55"/>
                    <a:pt x="201" y="53"/>
                  </a:cubicBezTo>
                  <a:cubicBezTo>
                    <a:pt x="202" y="53"/>
                    <a:pt x="202" y="52"/>
                    <a:pt x="201" y="52"/>
                  </a:cubicBezTo>
                  <a:cubicBezTo>
                    <a:pt x="201" y="51"/>
                    <a:pt x="200" y="51"/>
                    <a:pt x="199" y="51"/>
                  </a:cubicBezTo>
                  <a:cubicBezTo>
                    <a:pt x="199" y="51"/>
                    <a:pt x="198" y="52"/>
                    <a:pt x="198" y="52"/>
                  </a:cubicBezTo>
                  <a:cubicBezTo>
                    <a:pt x="197" y="53"/>
                    <a:pt x="197" y="52"/>
                    <a:pt x="196" y="51"/>
                  </a:cubicBezTo>
                  <a:cubicBezTo>
                    <a:pt x="195" y="51"/>
                    <a:pt x="194" y="51"/>
                    <a:pt x="193" y="51"/>
                  </a:cubicBezTo>
                  <a:cubicBezTo>
                    <a:pt x="193" y="52"/>
                    <a:pt x="192" y="53"/>
                    <a:pt x="191" y="52"/>
                  </a:cubicBezTo>
                  <a:cubicBezTo>
                    <a:pt x="191" y="52"/>
                    <a:pt x="190" y="51"/>
                    <a:pt x="190" y="51"/>
                  </a:cubicBezTo>
                  <a:cubicBezTo>
                    <a:pt x="189" y="50"/>
                    <a:pt x="187" y="50"/>
                    <a:pt x="187" y="51"/>
                  </a:cubicBezTo>
                  <a:cubicBezTo>
                    <a:pt x="185" y="51"/>
                    <a:pt x="186" y="53"/>
                    <a:pt x="185" y="54"/>
                  </a:cubicBezTo>
                  <a:cubicBezTo>
                    <a:pt x="184" y="55"/>
                    <a:pt x="183" y="55"/>
                    <a:pt x="182" y="55"/>
                  </a:cubicBezTo>
                  <a:cubicBezTo>
                    <a:pt x="180" y="57"/>
                    <a:pt x="180" y="60"/>
                    <a:pt x="178" y="61"/>
                  </a:cubicBezTo>
                  <a:cubicBezTo>
                    <a:pt x="178" y="61"/>
                    <a:pt x="178" y="61"/>
                    <a:pt x="177" y="61"/>
                  </a:cubicBezTo>
                  <a:cubicBezTo>
                    <a:pt x="176" y="62"/>
                    <a:pt x="176" y="62"/>
                    <a:pt x="175" y="63"/>
                  </a:cubicBezTo>
                  <a:cubicBezTo>
                    <a:pt x="174" y="64"/>
                    <a:pt x="173" y="63"/>
                    <a:pt x="171" y="63"/>
                  </a:cubicBezTo>
                  <a:cubicBezTo>
                    <a:pt x="174" y="62"/>
                    <a:pt x="176" y="59"/>
                    <a:pt x="178" y="56"/>
                  </a:cubicBezTo>
                  <a:cubicBezTo>
                    <a:pt x="177" y="51"/>
                    <a:pt x="182" y="49"/>
                    <a:pt x="185" y="47"/>
                  </a:cubicBezTo>
                  <a:cubicBezTo>
                    <a:pt x="186" y="46"/>
                    <a:pt x="186" y="43"/>
                    <a:pt x="187" y="42"/>
                  </a:cubicBezTo>
                  <a:cubicBezTo>
                    <a:pt x="188" y="40"/>
                    <a:pt x="189" y="39"/>
                    <a:pt x="190" y="38"/>
                  </a:cubicBezTo>
                  <a:cubicBezTo>
                    <a:pt x="190" y="37"/>
                    <a:pt x="190" y="35"/>
                    <a:pt x="190" y="34"/>
                  </a:cubicBezTo>
                  <a:cubicBezTo>
                    <a:pt x="190" y="33"/>
                    <a:pt x="189" y="32"/>
                    <a:pt x="188" y="31"/>
                  </a:cubicBezTo>
                  <a:cubicBezTo>
                    <a:pt x="187" y="30"/>
                    <a:pt x="186" y="30"/>
                    <a:pt x="185" y="29"/>
                  </a:cubicBezTo>
                  <a:cubicBezTo>
                    <a:pt x="185" y="28"/>
                    <a:pt x="186" y="26"/>
                    <a:pt x="185" y="25"/>
                  </a:cubicBezTo>
                  <a:cubicBezTo>
                    <a:pt x="184" y="24"/>
                    <a:pt x="183" y="22"/>
                    <a:pt x="183" y="20"/>
                  </a:cubicBezTo>
                  <a:cubicBezTo>
                    <a:pt x="182" y="18"/>
                    <a:pt x="181" y="15"/>
                    <a:pt x="180" y="13"/>
                  </a:cubicBezTo>
                  <a:cubicBezTo>
                    <a:pt x="180" y="12"/>
                    <a:pt x="180" y="11"/>
                    <a:pt x="179" y="11"/>
                  </a:cubicBezTo>
                  <a:cubicBezTo>
                    <a:pt x="178" y="11"/>
                    <a:pt x="178" y="11"/>
                    <a:pt x="178" y="11"/>
                  </a:cubicBezTo>
                  <a:cubicBezTo>
                    <a:pt x="176" y="13"/>
                    <a:pt x="174" y="14"/>
                    <a:pt x="173" y="16"/>
                  </a:cubicBezTo>
                  <a:cubicBezTo>
                    <a:pt x="172" y="17"/>
                    <a:pt x="171" y="17"/>
                    <a:pt x="171" y="18"/>
                  </a:cubicBezTo>
                  <a:cubicBezTo>
                    <a:pt x="170" y="18"/>
                    <a:pt x="170" y="19"/>
                    <a:pt x="169" y="19"/>
                  </a:cubicBezTo>
                  <a:cubicBezTo>
                    <a:pt x="169" y="21"/>
                    <a:pt x="169" y="22"/>
                    <a:pt x="169" y="23"/>
                  </a:cubicBezTo>
                  <a:cubicBezTo>
                    <a:pt x="169" y="26"/>
                    <a:pt x="167" y="27"/>
                    <a:pt x="165" y="29"/>
                  </a:cubicBezTo>
                  <a:cubicBezTo>
                    <a:pt x="165" y="29"/>
                    <a:pt x="164" y="29"/>
                    <a:pt x="164" y="29"/>
                  </a:cubicBezTo>
                  <a:cubicBezTo>
                    <a:pt x="163" y="29"/>
                    <a:pt x="162" y="28"/>
                    <a:pt x="161" y="27"/>
                  </a:cubicBezTo>
                  <a:cubicBezTo>
                    <a:pt x="161" y="27"/>
                    <a:pt x="160" y="27"/>
                    <a:pt x="159" y="27"/>
                  </a:cubicBezTo>
                  <a:cubicBezTo>
                    <a:pt x="158" y="28"/>
                    <a:pt x="157" y="29"/>
                    <a:pt x="157" y="29"/>
                  </a:cubicBezTo>
                  <a:cubicBezTo>
                    <a:pt x="156" y="30"/>
                    <a:pt x="155" y="30"/>
                    <a:pt x="155" y="29"/>
                  </a:cubicBezTo>
                  <a:cubicBezTo>
                    <a:pt x="154" y="28"/>
                    <a:pt x="153" y="27"/>
                    <a:pt x="153" y="27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49" y="26"/>
                    <a:pt x="146" y="26"/>
                    <a:pt x="142" y="25"/>
                  </a:cubicBezTo>
                  <a:cubicBezTo>
                    <a:pt x="142" y="27"/>
                    <a:pt x="142" y="29"/>
                    <a:pt x="142" y="30"/>
                  </a:cubicBezTo>
                  <a:cubicBezTo>
                    <a:pt x="142" y="30"/>
                    <a:pt x="142" y="31"/>
                    <a:pt x="142" y="31"/>
                  </a:cubicBezTo>
                  <a:cubicBezTo>
                    <a:pt x="140" y="31"/>
                    <a:pt x="138" y="30"/>
                    <a:pt x="136" y="31"/>
                  </a:cubicBezTo>
                  <a:cubicBezTo>
                    <a:pt x="134" y="31"/>
                    <a:pt x="133" y="30"/>
                    <a:pt x="132" y="31"/>
                  </a:cubicBezTo>
                  <a:cubicBezTo>
                    <a:pt x="132" y="31"/>
                    <a:pt x="132" y="32"/>
                    <a:pt x="131" y="32"/>
                  </a:cubicBezTo>
                  <a:cubicBezTo>
                    <a:pt x="130" y="33"/>
                    <a:pt x="129" y="32"/>
                    <a:pt x="127" y="32"/>
                  </a:cubicBezTo>
                  <a:cubicBezTo>
                    <a:pt x="126" y="33"/>
                    <a:pt x="126" y="34"/>
                    <a:pt x="125" y="34"/>
                  </a:cubicBezTo>
                  <a:cubicBezTo>
                    <a:pt x="124" y="34"/>
                    <a:pt x="124" y="34"/>
                    <a:pt x="123" y="34"/>
                  </a:cubicBezTo>
                  <a:cubicBezTo>
                    <a:pt x="122" y="35"/>
                    <a:pt x="121" y="37"/>
                    <a:pt x="120" y="37"/>
                  </a:cubicBezTo>
                  <a:cubicBezTo>
                    <a:pt x="119" y="38"/>
                    <a:pt x="117" y="38"/>
                    <a:pt x="116" y="37"/>
                  </a:cubicBezTo>
                  <a:cubicBezTo>
                    <a:pt x="115" y="36"/>
                    <a:pt x="115" y="34"/>
                    <a:pt x="115" y="33"/>
                  </a:cubicBezTo>
                  <a:cubicBezTo>
                    <a:pt x="114" y="32"/>
                    <a:pt x="113" y="31"/>
                    <a:pt x="112" y="30"/>
                  </a:cubicBezTo>
                  <a:cubicBezTo>
                    <a:pt x="112" y="29"/>
                    <a:pt x="112" y="28"/>
                    <a:pt x="111" y="28"/>
                  </a:cubicBezTo>
                  <a:cubicBezTo>
                    <a:pt x="111" y="27"/>
                    <a:pt x="110" y="26"/>
                    <a:pt x="110" y="26"/>
                  </a:cubicBezTo>
                  <a:cubicBezTo>
                    <a:pt x="110" y="24"/>
                    <a:pt x="110" y="23"/>
                    <a:pt x="111" y="22"/>
                  </a:cubicBezTo>
                  <a:cubicBezTo>
                    <a:pt x="111" y="22"/>
                    <a:pt x="111" y="21"/>
                    <a:pt x="111" y="21"/>
                  </a:cubicBezTo>
                  <a:cubicBezTo>
                    <a:pt x="111" y="18"/>
                    <a:pt x="112" y="16"/>
                    <a:pt x="113" y="14"/>
                  </a:cubicBezTo>
                  <a:cubicBezTo>
                    <a:pt x="114" y="14"/>
                    <a:pt x="114" y="12"/>
                    <a:pt x="113" y="11"/>
                  </a:cubicBezTo>
                  <a:cubicBezTo>
                    <a:pt x="113" y="10"/>
                    <a:pt x="113" y="9"/>
                    <a:pt x="113" y="8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11" y="7"/>
                    <a:pt x="110" y="7"/>
                    <a:pt x="110" y="6"/>
                  </a:cubicBezTo>
                  <a:cubicBezTo>
                    <a:pt x="108" y="5"/>
                    <a:pt x="110" y="3"/>
                    <a:pt x="109" y="1"/>
                  </a:cubicBezTo>
                  <a:cubicBezTo>
                    <a:pt x="108" y="0"/>
                    <a:pt x="106" y="0"/>
                    <a:pt x="104" y="0"/>
                  </a:cubicBezTo>
                  <a:cubicBezTo>
                    <a:pt x="105" y="1"/>
                    <a:pt x="104" y="1"/>
                    <a:pt x="105" y="1"/>
                  </a:cubicBezTo>
                  <a:cubicBezTo>
                    <a:pt x="106" y="2"/>
                    <a:pt x="105" y="3"/>
                    <a:pt x="105" y="4"/>
                  </a:cubicBezTo>
                  <a:cubicBezTo>
                    <a:pt x="105" y="5"/>
                    <a:pt x="105" y="5"/>
                    <a:pt x="104" y="6"/>
                  </a:cubicBezTo>
                  <a:cubicBezTo>
                    <a:pt x="104" y="7"/>
                    <a:pt x="102" y="7"/>
                    <a:pt x="101" y="8"/>
                  </a:cubicBezTo>
                  <a:cubicBezTo>
                    <a:pt x="98" y="11"/>
                    <a:pt x="93" y="11"/>
                    <a:pt x="90" y="11"/>
                  </a:cubicBezTo>
                  <a:cubicBezTo>
                    <a:pt x="88" y="11"/>
                    <a:pt x="86" y="13"/>
                    <a:pt x="87" y="14"/>
                  </a:cubicBezTo>
                  <a:cubicBezTo>
                    <a:pt x="83" y="14"/>
                    <a:pt x="79" y="12"/>
                    <a:pt x="75" y="11"/>
                  </a:cubicBezTo>
                  <a:cubicBezTo>
                    <a:pt x="75" y="10"/>
                    <a:pt x="74" y="10"/>
                    <a:pt x="74" y="11"/>
                  </a:cubicBezTo>
                  <a:cubicBezTo>
                    <a:pt x="74" y="12"/>
                    <a:pt x="76" y="14"/>
                    <a:pt x="76" y="16"/>
                  </a:cubicBezTo>
                  <a:cubicBezTo>
                    <a:pt x="77" y="17"/>
                    <a:pt x="77" y="19"/>
                    <a:pt x="76" y="21"/>
                  </a:cubicBezTo>
                  <a:cubicBezTo>
                    <a:pt x="76" y="22"/>
                    <a:pt x="76" y="23"/>
                    <a:pt x="76" y="24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8" y="25"/>
                    <a:pt x="80" y="26"/>
                    <a:pt x="82" y="27"/>
                  </a:cubicBezTo>
                  <a:cubicBezTo>
                    <a:pt x="82" y="29"/>
                    <a:pt x="79" y="29"/>
                    <a:pt x="77" y="30"/>
                  </a:cubicBezTo>
                  <a:cubicBezTo>
                    <a:pt x="77" y="30"/>
                    <a:pt x="76" y="30"/>
                    <a:pt x="76" y="31"/>
                  </a:cubicBezTo>
                  <a:cubicBezTo>
                    <a:pt x="75" y="32"/>
                    <a:pt x="75" y="34"/>
                    <a:pt x="73" y="35"/>
                  </a:cubicBezTo>
                  <a:cubicBezTo>
                    <a:pt x="72" y="36"/>
                    <a:pt x="70" y="36"/>
                    <a:pt x="69" y="37"/>
                  </a:cubicBezTo>
                  <a:cubicBezTo>
                    <a:pt x="68" y="38"/>
                    <a:pt x="67" y="39"/>
                    <a:pt x="66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4" y="40"/>
                    <a:pt x="63" y="41"/>
                    <a:pt x="63" y="41"/>
                  </a:cubicBezTo>
                  <a:cubicBezTo>
                    <a:pt x="62" y="42"/>
                    <a:pt x="61" y="42"/>
                    <a:pt x="60" y="41"/>
                  </a:cubicBezTo>
                  <a:cubicBezTo>
                    <a:pt x="58" y="41"/>
                    <a:pt x="56" y="39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4" y="37"/>
                    <a:pt x="53" y="37"/>
                    <a:pt x="52" y="36"/>
                  </a:cubicBezTo>
                  <a:cubicBezTo>
                    <a:pt x="51" y="34"/>
                    <a:pt x="51" y="32"/>
                    <a:pt x="49" y="31"/>
                  </a:cubicBezTo>
                  <a:cubicBezTo>
                    <a:pt x="49" y="30"/>
                    <a:pt x="48" y="30"/>
                    <a:pt x="48" y="31"/>
                  </a:cubicBezTo>
                  <a:cubicBezTo>
                    <a:pt x="45" y="32"/>
                    <a:pt x="41" y="32"/>
                    <a:pt x="37" y="32"/>
                  </a:cubicBezTo>
                  <a:cubicBezTo>
                    <a:pt x="37" y="32"/>
                    <a:pt x="36" y="33"/>
                    <a:pt x="35" y="33"/>
                  </a:cubicBezTo>
                  <a:cubicBezTo>
                    <a:pt x="34" y="34"/>
                    <a:pt x="33" y="33"/>
                    <a:pt x="32" y="34"/>
                  </a:cubicBezTo>
                  <a:cubicBezTo>
                    <a:pt x="32" y="34"/>
                    <a:pt x="32" y="35"/>
                    <a:pt x="32" y="35"/>
                  </a:cubicBezTo>
                  <a:cubicBezTo>
                    <a:pt x="33" y="36"/>
                    <a:pt x="32" y="37"/>
                    <a:pt x="32" y="38"/>
                  </a:cubicBezTo>
                  <a:cubicBezTo>
                    <a:pt x="33" y="39"/>
                    <a:pt x="35" y="39"/>
                    <a:pt x="36" y="40"/>
                  </a:cubicBezTo>
                  <a:cubicBezTo>
                    <a:pt x="36" y="40"/>
                    <a:pt x="36" y="41"/>
                    <a:pt x="35" y="42"/>
                  </a:cubicBezTo>
                  <a:cubicBezTo>
                    <a:pt x="34" y="43"/>
                    <a:pt x="32" y="42"/>
                    <a:pt x="30" y="42"/>
                  </a:cubicBezTo>
                  <a:cubicBezTo>
                    <a:pt x="29" y="43"/>
                    <a:pt x="29" y="43"/>
                    <a:pt x="29" y="44"/>
                  </a:cubicBezTo>
                  <a:cubicBezTo>
                    <a:pt x="30" y="47"/>
                    <a:pt x="29" y="50"/>
                    <a:pt x="30" y="53"/>
                  </a:cubicBezTo>
                  <a:cubicBezTo>
                    <a:pt x="31" y="54"/>
                    <a:pt x="32" y="54"/>
                    <a:pt x="33" y="55"/>
                  </a:cubicBezTo>
                  <a:cubicBezTo>
                    <a:pt x="34" y="56"/>
                    <a:pt x="34" y="57"/>
                    <a:pt x="34" y="57"/>
                  </a:cubicBezTo>
                  <a:cubicBezTo>
                    <a:pt x="34" y="59"/>
                    <a:pt x="34" y="61"/>
                    <a:pt x="34" y="63"/>
                  </a:cubicBezTo>
                  <a:cubicBezTo>
                    <a:pt x="33" y="66"/>
                    <a:pt x="34" y="68"/>
                    <a:pt x="34" y="71"/>
                  </a:cubicBezTo>
                  <a:cubicBezTo>
                    <a:pt x="33" y="74"/>
                    <a:pt x="32" y="77"/>
                    <a:pt x="31" y="79"/>
                  </a:cubicBezTo>
                  <a:cubicBezTo>
                    <a:pt x="31" y="80"/>
                    <a:pt x="31" y="81"/>
                    <a:pt x="30" y="8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0" y="83"/>
                    <a:pt x="31" y="83"/>
                    <a:pt x="31" y="84"/>
                  </a:cubicBezTo>
                  <a:cubicBezTo>
                    <a:pt x="31" y="85"/>
                    <a:pt x="31" y="87"/>
                    <a:pt x="31" y="88"/>
                  </a:cubicBezTo>
                  <a:cubicBezTo>
                    <a:pt x="29" y="88"/>
                    <a:pt x="29" y="88"/>
                    <a:pt x="29" y="88"/>
                  </a:cubicBezTo>
                  <a:cubicBezTo>
                    <a:pt x="27" y="88"/>
                    <a:pt x="25" y="88"/>
                    <a:pt x="23" y="89"/>
                  </a:cubicBezTo>
                  <a:cubicBezTo>
                    <a:pt x="22" y="89"/>
                    <a:pt x="21" y="90"/>
                    <a:pt x="20" y="90"/>
                  </a:cubicBezTo>
                  <a:cubicBezTo>
                    <a:pt x="20" y="90"/>
                    <a:pt x="20" y="90"/>
                    <a:pt x="20" y="90"/>
                  </a:cubicBezTo>
                  <a:cubicBezTo>
                    <a:pt x="18" y="90"/>
                    <a:pt x="16" y="89"/>
                    <a:pt x="14" y="90"/>
                  </a:cubicBezTo>
                  <a:cubicBezTo>
                    <a:pt x="12" y="92"/>
                    <a:pt x="9" y="93"/>
                    <a:pt x="8" y="96"/>
                  </a:cubicBezTo>
                  <a:cubicBezTo>
                    <a:pt x="8" y="97"/>
                    <a:pt x="8" y="98"/>
                    <a:pt x="7" y="99"/>
                  </a:cubicBezTo>
                  <a:cubicBezTo>
                    <a:pt x="7" y="100"/>
                    <a:pt x="6" y="101"/>
                    <a:pt x="5" y="101"/>
                  </a:cubicBezTo>
                  <a:cubicBezTo>
                    <a:pt x="5" y="102"/>
                    <a:pt x="5" y="103"/>
                    <a:pt x="5" y="104"/>
                  </a:cubicBezTo>
                  <a:cubicBezTo>
                    <a:pt x="6" y="105"/>
                    <a:pt x="6" y="107"/>
                    <a:pt x="5" y="108"/>
                  </a:cubicBezTo>
                  <a:cubicBezTo>
                    <a:pt x="4" y="108"/>
                    <a:pt x="2" y="108"/>
                    <a:pt x="0" y="109"/>
                  </a:cubicBezTo>
                  <a:cubicBezTo>
                    <a:pt x="1" y="114"/>
                    <a:pt x="0" y="120"/>
                    <a:pt x="1" y="126"/>
                  </a:cubicBezTo>
                  <a:cubicBezTo>
                    <a:pt x="2" y="128"/>
                    <a:pt x="5" y="128"/>
                    <a:pt x="7" y="129"/>
                  </a:cubicBezTo>
                  <a:cubicBezTo>
                    <a:pt x="7" y="130"/>
                    <a:pt x="7" y="131"/>
                    <a:pt x="7" y="131"/>
                  </a:cubicBezTo>
                  <a:cubicBezTo>
                    <a:pt x="8" y="133"/>
                    <a:pt x="9" y="132"/>
                    <a:pt x="10" y="133"/>
                  </a:cubicBezTo>
                  <a:cubicBezTo>
                    <a:pt x="11" y="134"/>
                    <a:pt x="12" y="135"/>
                    <a:pt x="13" y="136"/>
                  </a:cubicBezTo>
                  <a:cubicBezTo>
                    <a:pt x="14" y="137"/>
                    <a:pt x="15" y="138"/>
                    <a:pt x="16" y="139"/>
                  </a:cubicBezTo>
                  <a:cubicBezTo>
                    <a:pt x="17" y="139"/>
                    <a:pt x="17" y="139"/>
                    <a:pt x="18" y="139"/>
                  </a:cubicBezTo>
                  <a:cubicBezTo>
                    <a:pt x="19" y="139"/>
                    <a:pt x="20" y="138"/>
                    <a:pt x="20" y="138"/>
                  </a:cubicBezTo>
                  <a:cubicBezTo>
                    <a:pt x="21" y="137"/>
                    <a:pt x="22" y="136"/>
                    <a:pt x="23" y="135"/>
                  </a:cubicBezTo>
                  <a:cubicBezTo>
                    <a:pt x="24" y="135"/>
                    <a:pt x="25" y="135"/>
                    <a:pt x="25" y="135"/>
                  </a:cubicBezTo>
                  <a:cubicBezTo>
                    <a:pt x="25" y="136"/>
                    <a:pt x="25" y="137"/>
                    <a:pt x="25" y="138"/>
                  </a:cubicBezTo>
                  <a:cubicBezTo>
                    <a:pt x="25" y="138"/>
                    <a:pt x="25" y="138"/>
                    <a:pt x="25" y="138"/>
                  </a:cubicBezTo>
                  <a:cubicBezTo>
                    <a:pt x="25" y="141"/>
                    <a:pt x="25" y="144"/>
                    <a:pt x="26" y="147"/>
                  </a:cubicBezTo>
                  <a:cubicBezTo>
                    <a:pt x="27" y="147"/>
                    <a:pt x="27" y="148"/>
                    <a:pt x="27" y="148"/>
                  </a:cubicBezTo>
                  <a:cubicBezTo>
                    <a:pt x="28" y="148"/>
                    <a:pt x="30" y="148"/>
                    <a:pt x="31" y="148"/>
                  </a:cubicBezTo>
                  <a:cubicBezTo>
                    <a:pt x="32" y="147"/>
                    <a:pt x="33" y="147"/>
                    <a:pt x="34" y="148"/>
                  </a:cubicBezTo>
                  <a:cubicBezTo>
                    <a:pt x="34" y="147"/>
                    <a:pt x="34" y="147"/>
                    <a:pt x="34" y="147"/>
                  </a:cubicBezTo>
                  <a:cubicBezTo>
                    <a:pt x="36" y="146"/>
                    <a:pt x="39" y="147"/>
                    <a:pt x="41" y="149"/>
                  </a:cubicBezTo>
                  <a:cubicBezTo>
                    <a:pt x="42" y="149"/>
                    <a:pt x="43" y="150"/>
                    <a:pt x="44" y="149"/>
                  </a:cubicBezTo>
                  <a:cubicBezTo>
                    <a:pt x="46" y="148"/>
                    <a:pt x="47" y="147"/>
                    <a:pt x="48" y="146"/>
                  </a:cubicBezTo>
                  <a:cubicBezTo>
                    <a:pt x="51" y="145"/>
                    <a:pt x="53" y="144"/>
                    <a:pt x="54" y="142"/>
                  </a:cubicBezTo>
                  <a:cubicBezTo>
                    <a:pt x="55" y="140"/>
                    <a:pt x="57" y="139"/>
                    <a:pt x="59" y="137"/>
                  </a:cubicBezTo>
                  <a:cubicBezTo>
                    <a:pt x="61" y="138"/>
                    <a:pt x="67" y="135"/>
                    <a:pt x="67" y="138"/>
                  </a:cubicBezTo>
                  <a:cubicBezTo>
                    <a:pt x="67" y="140"/>
                    <a:pt x="68" y="142"/>
                    <a:pt x="67" y="144"/>
                  </a:cubicBezTo>
                  <a:cubicBezTo>
                    <a:pt x="68" y="145"/>
                    <a:pt x="68" y="145"/>
                    <a:pt x="68" y="145"/>
                  </a:cubicBezTo>
                  <a:cubicBezTo>
                    <a:pt x="68" y="147"/>
                    <a:pt x="67" y="150"/>
                    <a:pt x="68" y="152"/>
                  </a:cubicBezTo>
                  <a:cubicBezTo>
                    <a:pt x="68" y="153"/>
                    <a:pt x="68" y="154"/>
                    <a:pt x="69" y="155"/>
                  </a:cubicBezTo>
                  <a:cubicBezTo>
                    <a:pt x="70" y="156"/>
                    <a:pt x="70" y="157"/>
                    <a:pt x="71" y="157"/>
                  </a:cubicBezTo>
                  <a:cubicBezTo>
                    <a:pt x="72" y="159"/>
                    <a:pt x="74" y="161"/>
                    <a:pt x="76" y="162"/>
                  </a:cubicBezTo>
                  <a:cubicBezTo>
                    <a:pt x="80" y="164"/>
                    <a:pt x="85" y="161"/>
                    <a:pt x="88" y="165"/>
                  </a:cubicBezTo>
                  <a:cubicBezTo>
                    <a:pt x="88" y="165"/>
                    <a:pt x="89" y="165"/>
                    <a:pt x="89" y="165"/>
                  </a:cubicBezTo>
                  <a:cubicBezTo>
                    <a:pt x="90" y="166"/>
                    <a:pt x="90" y="168"/>
                    <a:pt x="92" y="168"/>
                  </a:cubicBezTo>
                  <a:cubicBezTo>
                    <a:pt x="92" y="169"/>
                    <a:pt x="93" y="168"/>
                    <a:pt x="94" y="169"/>
                  </a:cubicBezTo>
                  <a:cubicBezTo>
                    <a:pt x="95" y="169"/>
                    <a:pt x="95" y="170"/>
                    <a:pt x="96" y="170"/>
                  </a:cubicBezTo>
                  <a:cubicBezTo>
                    <a:pt x="97" y="172"/>
                    <a:pt x="101" y="171"/>
                    <a:pt x="103" y="171"/>
                  </a:cubicBezTo>
                  <a:cubicBezTo>
                    <a:pt x="103" y="171"/>
                    <a:pt x="103" y="171"/>
                    <a:pt x="103" y="171"/>
                  </a:cubicBezTo>
                  <a:cubicBezTo>
                    <a:pt x="105" y="171"/>
                    <a:pt x="107" y="172"/>
                    <a:pt x="107" y="174"/>
                  </a:cubicBezTo>
                  <a:cubicBezTo>
                    <a:pt x="107" y="176"/>
                    <a:pt x="107" y="178"/>
                    <a:pt x="108" y="179"/>
                  </a:cubicBezTo>
                  <a:cubicBezTo>
                    <a:pt x="109" y="181"/>
                    <a:pt x="111" y="182"/>
                    <a:pt x="110" y="184"/>
                  </a:cubicBezTo>
                  <a:cubicBezTo>
                    <a:pt x="109" y="185"/>
                    <a:pt x="108" y="185"/>
                    <a:pt x="107" y="186"/>
                  </a:cubicBezTo>
                  <a:cubicBezTo>
                    <a:pt x="107" y="187"/>
                    <a:pt x="107" y="188"/>
                    <a:pt x="107" y="188"/>
                  </a:cubicBezTo>
                  <a:cubicBezTo>
                    <a:pt x="108" y="191"/>
                    <a:pt x="109" y="193"/>
                    <a:pt x="110" y="196"/>
                  </a:cubicBezTo>
                  <a:cubicBezTo>
                    <a:pt x="111" y="197"/>
                    <a:pt x="113" y="197"/>
                    <a:pt x="114" y="197"/>
                  </a:cubicBezTo>
                  <a:cubicBezTo>
                    <a:pt x="115" y="198"/>
                    <a:pt x="117" y="198"/>
                    <a:pt x="119" y="197"/>
                  </a:cubicBezTo>
                  <a:cubicBezTo>
                    <a:pt x="120" y="197"/>
                    <a:pt x="121" y="197"/>
                    <a:pt x="123" y="196"/>
                  </a:cubicBezTo>
                  <a:cubicBezTo>
                    <a:pt x="123" y="196"/>
                    <a:pt x="124" y="196"/>
                    <a:pt x="125" y="196"/>
                  </a:cubicBezTo>
                  <a:cubicBezTo>
                    <a:pt x="126" y="197"/>
                    <a:pt x="126" y="198"/>
                    <a:pt x="125" y="199"/>
                  </a:cubicBezTo>
                  <a:cubicBezTo>
                    <a:pt x="125" y="200"/>
                    <a:pt x="125" y="202"/>
                    <a:pt x="125" y="203"/>
                  </a:cubicBezTo>
                  <a:cubicBezTo>
                    <a:pt x="125" y="204"/>
                    <a:pt x="126" y="204"/>
                    <a:pt x="127" y="205"/>
                  </a:cubicBezTo>
                  <a:cubicBezTo>
                    <a:pt x="127" y="206"/>
                    <a:pt x="128" y="206"/>
                    <a:pt x="129" y="207"/>
                  </a:cubicBezTo>
                  <a:cubicBezTo>
                    <a:pt x="130" y="208"/>
                    <a:pt x="130" y="209"/>
                    <a:pt x="131" y="210"/>
                  </a:cubicBezTo>
                  <a:cubicBezTo>
                    <a:pt x="131" y="210"/>
                    <a:pt x="131" y="211"/>
                    <a:pt x="131" y="212"/>
                  </a:cubicBezTo>
                  <a:cubicBezTo>
                    <a:pt x="131" y="213"/>
                    <a:pt x="132" y="213"/>
                    <a:pt x="132" y="214"/>
                  </a:cubicBezTo>
                  <a:cubicBezTo>
                    <a:pt x="133" y="217"/>
                    <a:pt x="131" y="220"/>
                    <a:pt x="130" y="223"/>
                  </a:cubicBezTo>
                  <a:cubicBezTo>
                    <a:pt x="129" y="224"/>
                    <a:pt x="128" y="225"/>
                    <a:pt x="128" y="226"/>
                  </a:cubicBezTo>
                  <a:cubicBezTo>
                    <a:pt x="127" y="229"/>
                    <a:pt x="128" y="232"/>
                    <a:pt x="128" y="234"/>
                  </a:cubicBezTo>
                  <a:cubicBezTo>
                    <a:pt x="128" y="235"/>
                    <a:pt x="128" y="235"/>
                    <a:pt x="128" y="235"/>
                  </a:cubicBezTo>
                  <a:cubicBezTo>
                    <a:pt x="129" y="236"/>
                    <a:pt x="130" y="237"/>
                    <a:pt x="130" y="238"/>
                  </a:cubicBezTo>
                  <a:cubicBezTo>
                    <a:pt x="131" y="242"/>
                    <a:pt x="130" y="246"/>
                    <a:pt x="131" y="250"/>
                  </a:cubicBezTo>
                  <a:cubicBezTo>
                    <a:pt x="131" y="251"/>
                    <a:pt x="132" y="252"/>
                    <a:pt x="134" y="252"/>
                  </a:cubicBezTo>
                  <a:cubicBezTo>
                    <a:pt x="135" y="252"/>
                    <a:pt x="136" y="252"/>
                    <a:pt x="137" y="252"/>
                  </a:cubicBezTo>
                  <a:cubicBezTo>
                    <a:pt x="139" y="253"/>
                    <a:pt x="140" y="253"/>
                    <a:pt x="141" y="253"/>
                  </a:cubicBezTo>
                  <a:cubicBezTo>
                    <a:pt x="142" y="251"/>
                    <a:pt x="144" y="251"/>
                    <a:pt x="145" y="251"/>
                  </a:cubicBezTo>
                  <a:cubicBezTo>
                    <a:pt x="146" y="252"/>
                    <a:pt x="147" y="253"/>
                    <a:pt x="148" y="254"/>
                  </a:cubicBezTo>
                  <a:cubicBezTo>
                    <a:pt x="150" y="257"/>
                    <a:pt x="149" y="261"/>
                    <a:pt x="150" y="264"/>
                  </a:cubicBezTo>
                  <a:cubicBezTo>
                    <a:pt x="150" y="265"/>
                    <a:pt x="151" y="265"/>
                    <a:pt x="151" y="266"/>
                  </a:cubicBezTo>
                  <a:cubicBezTo>
                    <a:pt x="151" y="267"/>
                    <a:pt x="152" y="267"/>
                    <a:pt x="152" y="268"/>
                  </a:cubicBezTo>
                  <a:cubicBezTo>
                    <a:pt x="153" y="268"/>
                    <a:pt x="154" y="268"/>
                    <a:pt x="155" y="268"/>
                  </a:cubicBezTo>
                  <a:cubicBezTo>
                    <a:pt x="155" y="267"/>
                    <a:pt x="156" y="267"/>
                    <a:pt x="157" y="267"/>
                  </a:cubicBezTo>
                  <a:cubicBezTo>
                    <a:pt x="158" y="267"/>
                    <a:pt x="160" y="267"/>
                    <a:pt x="160" y="268"/>
                  </a:cubicBezTo>
                  <a:cubicBezTo>
                    <a:pt x="160" y="270"/>
                    <a:pt x="160" y="271"/>
                    <a:pt x="160" y="272"/>
                  </a:cubicBezTo>
                  <a:cubicBezTo>
                    <a:pt x="159" y="275"/>
                    <a:pt x="159" y="278"/>
                    <a:pt x="159" y="280"/>
                  </a:cubicBezTo>
                  <a:cubicBezTo>
                    <a:pt x="158" y="282"/>
                    <a:pt x="158" y="284"/>
                    <a:pt x="158" y="285"/>
                  </a:cubicBezTo>
                  <a:cubicBezTo>
                    <a:pt x="160" y="285"/>
                    <a:pt x="162" y="284"/>
                    <a:pt x="163" y="285"/>
                  </a:cubicBezTo>
                  <a:cubicBezTo>
                    <a:pt x="164" y="286"/>
                    <a:pt x="164" y="287"/>
                    <a:pt x="165" y="289"/>
                  </a:cubicBezTo>
                  <a:cubicBezTo>
                    <a:pt x="165" y="292"/>
                    <a:pt x="165" y="296"/>
                    <a:pt x="164" y="299"/>
                  </a:cubicBezTo>
                  <a:cubicBezTo>
                    <a:pt x="164" y="299"/>
                    <a:pt x="164" y="299"/>
                    <a:pt x="164" y="299"/>
                  </a:cubicBezTo>
                  <a:cubicBezTo>
                    <a:pt x="162" y="300"/>
                    <a:pt x="161" y="299"/>
                    <a:pt x="160" y="300"/>
                  </a:cubicBezTo>
                  <a:cubicBezTo>
                    <a:pt x="157" y="302"/>
                    <a:pt x="156" y="305"/>
                    <a:pt x="154" y="308"/>
                  </a:cubicBezTo>
                  <a:cubicBezTo>
                    <a:pt x="149" y="310"/>
                    <a:pt x="146" y="314"/>
                    <a:pt x="144" y="319"/>
                  </a:cubicBezTo>
                  <a:cubicBezTo>
                    <a:pt x="143" y="320"/>
                    <a:pt x="143" y="322"/>
                    <a:pt x="142" y="323"/>
                  </a:cubicBezTo>
                  <a:cubicBezTo>
                    <a:pt x="142" y="324"/>
                    <a:pt x="141" y="324"/>
                    <a:pt x="141" y="325"/>
                  </a:cubicBezTo>
                  <a:cubicBezTo>
                    <a:pt x="141" y="325"/>
                    <a:pt x="140" y="325"/>
                    <a:pt x="140" y="326"/>
                  </a:cubicBezTo>
                  <a:cubicBezTo>
                    <a:pt x="139" y="327"/>
                    <a:pt x="138" y="328"/>
                    <a:pt x="138" y="329"/>
                  </a:cubicBezTo>
                  <a:cubicBezTo>
                    <a:pt x="137" y="329"/>
                    <a:pt x="137" y="330"/>
                    <a:pt x="137" y="330"/>
                  </a:cubicBezTo>
                  <a:cubicBezTo>
                    <a:pt x="138" y="330"/>
                    <a:pt x="139" y="330"/>
                    <a:pt x="140" y="330"/>
                  </a:cubicBezTo>
                  <a:cubicBezTo>
                    <a:pt x="142" y="329"/>
                    <a:pt x="143" y="328"/>
                    <a:pt x="144" y="328"/>
                  </a:cubicBezTo>
                  <a:cubicBezTo>
                    <a:pt x="146" y="331"/>
                    <a:pt x="147" y="334"/>
                    <a:pt x="149" y="336"/>
                  </a:cubicBezTo>
                  <a:cubicBezTo>
                    <a:pt x="150" y="337"/>
                    <a:pt x="152" y="336"/>
                    <a:pt x="154" y="337"/>
                  </a:cubicBezTo>
                  <a:cubicBezTo>
                    <a:pt x="155" y="337"/>
                    <a:pt x="155" y="339"/>
                    <a:pt x="157" y="339"/>
                  </a:cubicBezTo>
                  <a:cubicBezTo>
                    <a:pt x="158" y="340"/>
                    <a:pt x="160" y="341"/>
                    <a:pt x="161" y="341"/>
                  </a:cubicBezTo>
                  <a:cubicBezTo>
                    <a:pt x="163" y="343"/>
                    <a:pt x="164" y="345"/>
                    <a:pt x="166" y="346"/>
                  </a:cubicBezTo>
                  <a:cubicBezTo>
                    <a:pt x="167" y="347"/>
                    <a:pt x="168" y="347"/>
                    <a:pt x="169" y="348"/>
                  </a:cubicBezTo>
                  <a:cubicBezTo>
                    <a:pt x="170" y="349"/>
                    <a:pt x="170" y="350"/>
                    <a:pt x="171" y="351"/>
                  </a:cubicBezTo>
                  <a:lnTo>
                    <a:pt x="173" y="352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9" name="Freeform 402"/>
            <p:cNvSpPr>
              <a:spLocks/>
            </p:cNvSpPr>
            <p:nvPr/>
          </p:nvSpPr>
          <p:spPr bwMode="auto">
            <a:xfrm>
              <a:off x="5967452" y="5333592"/>
              <a:ext cx="141368" cy="179487"/>
            </a:xfrm>
            <a:custGeom>
              <a:avLst/>
              <a:gdLst>
                <a:gd name="T0" fmla="*/ 83432391 w 105"/>
                <a:gd name="T1" fmla="*/ 153241188 h 166"/>
                <a:gd name="T2" fmla="*/ 71463414 w 105"/>
                <a:gd name="T3" fmla="*/ 142860654 h 166"/>
                <a:gd name="T4" fmla="*/ 57183039 w 105"/>
                <a:gd name="T5" fmla="*/ 133778499 h 166"/>
                <a:gd name="T6" fmla="*/ 47562154 w 105"/>
                <a:gd name="T7" fmla="*/ 127109099 h 166"/>
                <a:gd name="T8" fmla="*/ 40504746 w 105"/>
                <a:gd name="T9" fmla="*/ 119580283 h 166"/>
                <a:gd name="T10" fmla="*/ 41357715 w 105"/>
                <a:gd name="T11" fmla="*/ 113179823 h 166"/>
                <a:gd name="T12" fmla="*/ 38528655 w 105"/>
                <a:gd name="T13" fmla="*/ 109367960 h 166"/>
                <a:gd name="T14" fmla="*/ 38528655 w 105"/>
                <a:gd name="T15" fmla="*/ 109367960 h 166"/>
                <a:gd name="T16" fmla="*/ 31736574 w 105"/>
                <a:gd name="T17" fmla="*/ 98265768 h 166"/>
                <a:gd name="T18" fmla="*/ 25409487 w 105"/>
                <a:gd name="T19" fmla="*/ 84347903 h 166"/>
                <a:gd name="T20" fmla="*/ 23350719 w 105"/>
                <a:gd name="T21" fmla="*/ 77611872 h 166"/>
                <a:gd name="T22" fmla="*/ 18657337 w 105"/>
                <a:gd name="T23" fmla="*/ 67233265 h 166"/>
                <a:gd name="T24" fmla="*/ 17785426 w 105"/>
                <a:gd name="T25" fmla="*/ 64564228 h 166"/>
                <a:gd name="T26" fmla="*/ 13107694 w 105"/>
                <a:gd name="T27" fmla="*/ 56166854 h 166"/>
                <a:gd name="T28" fmla="*/ 6688272 w 105"/>
                <a:gd name="T29" fmla="*/ 52322044 h 166"/>
                <a:gd name="T30" fmla="*/ 2831728 w 105"/>
                <a:gd name="T31" fmla="*/ 47421233 h 166"/>
                <a:gd name="T32" fmla="*/ 2831728 w 105"/>
                <a:gd name="T33" fmla="*/ 43959468 h 166"/>
                <a:gd name="T34" fmla="*/ 1987498 w 105"/>
                <a:gd name="T35" fmla="*/ 33745057 h 166"/>
                <a:gd name="T36" fmla="*/ 6688272 w 105"/>
                <a:gd name="T37" fmla="*/ 28181266 h 166"/>
                <a:gd name="T38" fmla="*/ 10250442 w 105"/>
                <a:gd name="T39" fmla="*/ 26972490 h 166"/>
                <a:gd name="T40" fmla="*/ 7530121 w 105"/>
                <a:gd name="T41" fmla="*/ 32866260 h 166"/>
                <a:gd name="T42" fmla="*/ 15162068 w 105"/>
                <a:gd name="T43" fmla="*/ 36355852 h 166"/>
                <a:gd name="T44" fmla="*/ 18657337 w 105"/>
                <a:gd name="T45" fmla="*/ 39271613 h 166"/>
                <a:gd name="T46" fmla="*/ 22703671 w 105"/>
                <a:gd name="T47" fmla="*/ 28181266 h 166"/>
                <a:gd name="T48" fmla="*/ 30959111 w 105"/>
                <a:gd name="T49" fmla="*/ 22643206 h 166"/>
                <a:gd name="T50" fmla="*/ 40504746 w 105"/>
                <a:gd name="T51" fmla="*/ 17114813 h 166"/>
                <a:gd name="T52" fmla="*/ 46054012 w 105"/>
                <a:gd name="T53" fmla="*/ 2824655 h 166"/>
                <a:gd name="T54" fmla="*/ 44908167 w 105"/>
                <a:gd name="T55" fmla="*/ 0 h 166"/>
                <a:gd name="T56" fmla="*/ 50748192 w 105"/>
                <a:gd name="T57" fmla="*/ 3552753 h 166"/>
                <a:gd name="T58" fmla="*/ 61852316 w 105"/>
                <a:gd name="T59" fmla="*/ 13917860 h 166"/>
                <a:gd name="T60" fmla="*/ 67547906 w 105"/>
                <a:gd name="T61" fmla="*/ 18615502 h 166"/>
                <a:gd name="T62" fmla="*/ 74958729 w 105"/>
                <a:gd name="T63" fmla="*/ 18615502 h 166"/>
                <a:gd name="T64" fmla="*/ 79870337 w 105"/>
                <a:gd name="T65" fmla="*/ 17735618 h 166"/>
                <a:gd name="T66" fmla="*/ 84582959 w 105"/>
                <a:gd name="T67" fmla="*/ 20603616 h 166"/>
                <a:gd name="T68" fmla="*/ 82587623 w 105"/>
                <a:gd name="T69" fmla="*/ 26972490 h 166"/>
                <a:gd name="T70" fmla="*/ 85424477 w 105"/>
                <a:gd name="T71" fmla="*/ 30041632 h 166"/>
                <a:gd name="T72" fmla="*/ 86289199 w 105"/>
                <a:gd name="T73" fmla="*/ 32866260 h 166"/>
                <a:gd name="T74" fmla="*/ 84582959 w 105"/>
                <a:gd name="T75" fmla="*/ 36355852 h 166"/>
                <a:gd name="T76" fmla="*/ 75803346 w 105"/>
                <a:gd name="T77" fmla="*/ 38431241 h 166"/>
                <a:gd name="T78" fmla="*/ 70265720 w 105"/>
                <a:gd name="T79" fmla="*/ 38431241 h 166"/>
                <a:gd name="T80" fmla="*/ 63931623 w 105"/>
                <a:gd name="T81" fmla="*/ 46784097 h 166"/>
                <a:gd name="T82" fmla="*/ 61852316 w 105"/>
                <a:gd name="T83" fmla="*/ 51481672 h 166"/>
                <a:gd name="T84" fmla="*/ 57183039 w 105"/>
                <a:gd name="T85" fmla="*/ 56166854 h 166"/>
                <a:gd name="T86" fmla="*/ 63931623 w 105"/>
                <a:gd name="T87" fmla="*/ 74787055 h 166"/>
                <a:gd name="T88" fmla="*/ 66763489 w 105"/>
                <a:gd name="T89" fmla="*/ 78454171 h 166"/>
                <a:gd name="T90" fmla="*/ 72345065 w 105"/>
                <a:gd name="T91" fmla="*/ 84347903 h 166"/>
                <a:gd name="T92" fmla="*/ 75803346 w 105"/>
                <a:gd name="T93" fmla="*/ 83139977 h 166"/>
                <a:gd name="T94" fmla="*/ 80508391 w 105"/>
                <a:gd name="T95" fmla="*/ 80312893 h 166"/>
                <a:gd name="T96" fmla="*/ 80508391 w 105"/>
                <a:gd name="T97" fmla="*/ 83139977 h 166"/>
                <a:gd name="T98" fmla="*/ 82587623 w 105"/>
                <a:gd name="T99" fmla="*/ 92737720 h 166"/>
                <a:gd name="T100" fmla="*/ 88919566 w 105"/>
                <a:gd name="T101" fmla="*/ 92737720 h 166"/>
                <a:gd name="T102" fmla="*/ 95668339 w 105"/>
                <a:gd name="T103" fmla="*/ 101752621 h 166"/>
                <a:gd name="T104" fmla="*/ 96538880 w 105"/>
                <a:gd name="T105" fmla="*/ 109367960 h 166"/>
                <a:gd name="T106" fmla="*/ 93679956 w 105"/>
                <a:gd name="T107" fmla="*/ 114894497 h 166"/>
                <a:gd name="T108" fmla="*/ 95668339 w 105"/>
                <a:gd name="T109" fmla="*/ 118719508 h 166"/>
                <a:gd name="T110" fmla="*/ 93679956 w 105"/>
                <a:gd name="T111" fmla="*/ 126268122 h 166"/>
                <a:gd name="T112" fmla="*/ 96538880 w 105"/>
                <a:gd name="T113" fmla="*/ 136696943 h 166"/>
                <a:gd name="T114" fmla="*/ 91842583 w 105"/>
                <a:gd name="T115" fmla="*/ 152464896 h 166"/>
                <a:gd name="T116" fmla="*/ 87411954 w 105"/>
                <a:gd name="T117" fmla="*/ 155289487 h 16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"/>
                <a:gd name="T178" fmla="*/ 0 h 166"/>
                <a:gd name="T179" fmla="*/ 105 w 105"/>
                <a:gd name="T180" fmla="*/ 166 h 16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" h="166">
                  <a:moveTo>
                    <a:pt x="92" y="166"/>
                  </a:moveTo>
                  <a:cubicBezTo>
                    <a:pt x="91" y="165"/>
                    <a:pt x="90" y="165"/>
                    <a:pt x="89" y="164"/>
                  </a:cubicBezTo>
                  <a:cubicBezTo>
                    <a:pt x="88" y="164"/>
                    <a:pt x="86" y="163"/>
                    <a:pt x="86" y="162"/>
                  </a:cubicBezTo>
                  <a:cubicBezTo>
                    <a:pt x="83" y="158"/>
                    <a:pt x="80" y="155"/>
                    <a:pt x="76" y="153"/>
                  </a:cubicBezTo>
                  <a:cubicBezTo>
                    <a:pt x="71" y="150"/>
                    <a:pt x="67" y="148"/>
                    <a:pt x="62" y="145"/>
                  </a:cubicBezTo>
                  <a:cubicBezTo>
                    <a:pt x="62" y="145"/>
                    <a:pt x="61" y="144"/>
                    <a:pt x="61" y="143"/>
                  </a:cubicBezTo>
                  <a:cubicBezTo>
                    <a:pt x="59" y="142"/>
                    <a:pt x="57" y="142"/>
                    <a:pt x="55" y="141"/>
                  </a:cubicBezTo>
                  <a:cubicBezTo>
                    <a:pt x="53" y="140"/>
                    <a:pt x="52" y="138"/>
                    <a:pt x="51" y="136"/>
                  </a:cubicBezTo>
                  <a:cubicBezTo>
                    <a:pt x="49" y="134"/>
                    <a:pt x="47" y="133"/>
                    <a:pt x="46" y="132"/>
                  </a:cubicBezTo>
                  <a:cubicBezTo>
                    <a:pt x="45" y="131"/>
                    <a:pt x="44" y="130"/>
                    <a:pt x="43" y="128"/>
                  </a:cubicBezTo>
                  <a:cubicBezTo>
                    <a:pt x="43" y="127"/>
                    <a:pt x="43" y="125"/>
                    <a:pt x="44" y="124"/>
                  </a:cubicBezTo>
                  <a:cubicBezTo>
                    <a:pt x="44" y="123"/>
                    <a:pt x="44" y="122"/>
                    <a:pt x="44" y="121"/>
                  </a:cubicBezTo>
                  <a:cubicBezTo>
                    <a:pt x="44" y="120"/>
                    <a:pt x="43" y="119"/>
                    <a:pt x="43" y="119"/>
                  </a:cubicBezTo>
                  <a:cubicBezTo>
                    <a:pt x="42" y="118"/>
                    <a:pt x="41" y="118"/>
                    <a:pt x="41" y="117"/>
                  </a:cubicBezTo>
                  <a:cubicBezTo>
                    <a:pt x="42" y="117"/>
                    <a:pt x="42" y="118"/>
                    <a:pt x="42" y="118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39" y="114"/>
                    <a:pt x="38" y="112"/>
                    <a:pt x="37" y="109"/>
                  </a:cubicBezTo>
                  <a:cubicBezTo>
                    <a:pt x="37" y="108"/>
                    <a:pt x="35" y="106"/>
                    <a:pt x="34" y="105"/>
                  </a:cubicBezTo>
                  <a:cubicBezTo>
                    <a:pt x="34" y="104"/>
                    <a:pt x="33" y="102"/>
                    <a:pt x="32" y="101"/>
                  </a:cubicBezTo>
                  <a:cubicBezTo>
                    <a:pt x="31" y="97"/>
                    <a:pt x="29" y="94"/>
                    <a:pt x="27" y="90"/>
                  </a:cubicBezTo>
                  <a:cubicBezTo>
                    <a:pt x="27" y="89"/>
                    <a:pt x="27" y="89"/>
                    <a:pt x="27" y="88"/>
                  </a:cubicBezTo>
                  <a:cubicBezTo>
                    <a:pt x="26" y="86"/>
                    <a:pt x="25" y="85"/>
                    <a:pt x="25" y="83"/>
                  </a:cubicBezTo>
                  <a:cubicBezTo>
                    <a:pt x="25" y="82"/>
                    <a:pt x="24" y="80"/>
                    <a:pt x="24" y="79"/>
                  </a:cubicBezTo>
                  <a:cubicBezTo>
                    <a:pt x="23" y="76"/>
                    <a:pt x="21" y="74"/>
                    <a:pt x="20" y="72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0"/>
                    <a:pt x="19" y="69"/>
                    <a:pt x="19" y="69"/>
                  </a:cubicBezTo>
                  <a:cubicBezTo>
                    <a:pt x="19" y="68"/>
                    <a:pt x="18" y="68"/>
                    <a:pt x="18" y="67"/>
                  </a:cubicBezTo>
                  <a:cubicBezTo>
                    <a:pt x="17" y="64"/>
                    <a:pt x="16" y="61"/>
                    <a:pt x="14" y="60"/>
                  </a:cubicBezTo>
                  <a:cubicBezTo>
                    <a:pt x="13" y="59"/>
                    <a:pt x="13" y="59"/>
                    <a:pt x="12" y="59"/>
                  </a:cubicBezTo>
                  <a:cubicBezTo>
                    <a:pt x="10" y="58"/>
                    <a:pt x="8" y="57"/>
                    <a:pt x="7" y="56"/>
                  </a:cubicBezTo>
                  <a:cubicBezTo>
                    <a:pt x="6" y="55"/>
                    <a:pt x="4" y="55"/>
                    <a:pt x="3" y="54"/>
                  </a:cubicBezTo>
                  <a:cubicBezTo>
                    <a:pt x="3" y="53"/>
                    <a:pt x="3" y="52"/>
                    <a:pt x="3" y="51"/>
                  </a:cubicBezTo>
                  <a:cubicBezTo>
                    <a:pt x="4" y="51"/>
                    <a:pt x="5" y="51"/>
                    <a:pt x="5" y="50"/>
                  </a:cubicBezTo>
                  <a:cubicBezTo>
                    <a:pt x="6" y="49"/>
                    <a:pt x="4" y="48"/>
                    <a:pt x="3" y="47"/>
                  </a:cubicBezTo>
                  <a:cubicBezTo>
                    <a:pt x="2" y="47"/>
                    <a:pt x="3" y="45"/>
                    <a:pt x="2" y="45"/>
                  </a:cubicBezTo>
                  <a:cubicBezTo>
                    <a:pt x="1" y="42"/>
                    <a:pt x="0" y="39"/>
                    <a:pt x="2" y="36"/>
                  </a:cubicBezTo>
                  <a:cubicBezTo>
                    <a:pt x="2" y="35"/>
                    <a:pt x="3" y="35"/>
                    <a:pt x="4" y="34"/>
                  </a:cubicBezTo>
                  <a:cubicBezTo>
                    <a:pt x="5" y="33"/>
                    <a:pt x="6" y="31"/>
                    <a:pt x="7" y="30"/>
                  </a:cubicBezTo>
                  <a:cubicBezTo>
                    <a:pt x="8" y="29"/>
                    <a:pt x="9" y="29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1"/>
                    <a:pt x="11" y="33"/>
                    <a:pt x="11" y="34"/>
                  </a:cubicBezTo>
                  <a:cubicBezTo>
                    <a:pt x="10" y="35"/>
                    <a:pt x="9" y="35"/>
                    <a:pt x="8" y="35"/>
                  </a:cubicBezTo>
                  <a:cubicBezTo>
                    <a:pt x="8" y="36"/>
                    <a:pt x="8" y="38"/>
                    <a:pt x="9" y="38"/>
                  </a:cubicBezTo>
                  <a:cubicBezTo>
                    <a:pt x="11" y="39"/>
                    <a:pt x="14" y="38"/>
                    <a:pt x="16" y="39"/>
                  </a:cubicBezTo>
                  <a:cubicBezTo>
                    <a:pt x="17" y="39"/>
                    <a:pt x="17" y="41"/>
                    <a:pt x="18" y="42"/>
                  </a:cubicBezTo>
                  <a:cubicBezTo>
                    <a:pt x="19" y="43"/>
                    <a:pt x="20" y="43"/>
                    <a:pt x="20" y="42"/>
                  </a:cubicBezTo>
                  <a:cubicBezTo>
                    <a:pt x="21" y="41"/>
                    <a:pt x="22" y="40"/>
                    <a:pt x="22" y="39"/>
                  </a:cubicBezTo>
                  <a:cubicBezTo>
                    <a:pt x="23" y="37"/>
                    <a:pt x="23" y="33"/>
                    <a:pt x="24" y="30"/>
                  </a:cubicBezTo>
                  <a:cubicBezTo>
                    <a:pt x="25" y="29"/>
                    <a:pt x="26" y="28"/>
                    <a:pt x="28" y="26"/>
                  </a:cubicBezTo>
                  <a:cubicBezTo>
                    <a:pt x="30" y="25"/>
                    <a:pt x="31" y="24"/>
                    <a:pt x="33" y="24"/>
                  </a:cubicBezTo>
                  <a:cubicBezTo>
                    <a:pt x="36" y="22"/>
                    <a:pt x="39" y="21"/>
                    <a:pt x="41" y="19"/>
                  </a:cubicBezTo>
                  <a:cubicBezTo>
                    <a:pt x="42" y="18"/>
                    <a:pt x="43" y="18"/>
                    <a:pt x="43" y="18"/>
                  </a:cubicBezTo>
                  <a:cubicBezTo>
                    <a:pt x="46" y="16"/>
                    <a:pt x="48" y="13"/>
                    <a:pt x="49" y="11"/>
                  </a:cubicBezTo>
                  <a:cubicBezTo>
                    <a:pt x="50" y="8"/>
                    <a:pt x="50" y="6"/>
                    <a:pt x="49" y="3"/>
                  </a:cubicBezTo>
                  <a:cubicBezTo>
                    <a:pt x="49" y="2"/>
                    <a:pt x="48" y="2"/>
                    <a:pt x="48" y="1"/>
                  </a:cubicBezTo>
                  <a:cubicBezTo>
                    <a:pt x="48" y="1"/>
                    <a:pt x="48" y="0"/>
                    <a:pt x="48" y="0"/>
                  </a:cubicBezTo>
                  <a:cubicBezTo>
                    <a:pt x="50" y="0"/>
                    <a:pt x="51" y="2"/>
                    <a:pt x="53" y="3"/>
                  </a:cubicBezTo>
                  <a:cubicBezTo>
                    <a:pt x="54" y="3"/>
                    <a:pt x="54" y="4"/>
                    <a:pt x="54" y="4"/>
                  </a:cubicBezTo>
                  <a:cubicBezTo>
                    <a:pt x="55" y="5"/>
                    <a:pt x="56" y="6"/>
                    <a:pt x="57" y="8"/>
                  </a:cubicBezTo>
                  <a:cubicBezTo>
                    <a:pt x="60" y="9"/>
                    <a:pt x="64" y="12"/>
                    <a:pt x="66" y="15"/>
                  </a:cubicBezTo>
                  <a:cubicBezTo>
                    <a:pt x="66" y="17"/>
                    <a:pt x="66" y="19"/>
                    <a:pt x="67" y="20"/>
                  </a:cubicBezTo>
                  <a:cubicBezTo>
                    <a:pt x="68" y="20"/>
                    <a:pt x="70" y="20"/>
                    <a:pt x="72" y="20"/>
                  </a:cubicBezTo>
                  <a:cubicBezTo>
                    <a:pt x="73" y="19"/>
                    <a:pt x="74" y="19"/>
                    <a:pt x="75" y="18"/>
                  </a:cubicBezTo>
                  <a:cubicBezTo>
                    <a:pt x="77" y="17"/>
                    <a:pt x="79" y="19"/>
                    <a:pt x="80" y="20"/>
                  </a:cubicBezTo>
                  <a:cubicBezTo>
                    <a:pt x="81" y="20"/>
                    <a:pt x="82" y="20"/>
                    <a:pt x="83" y="20"/>
                  </a:cubicBezTo>
                  <a:cubicBezTo>
                    <a:pt x="84" y="20"/>
                    <a:pt x="84" y="19"/>
                    <a:pt x="85" y="19"/>
                  </a:cubicBezTo>
                  <a:cubicBezTo>
                    <a:pt x="86" y="18"/>
                    <a:pt x="87" y="18"/>
                    <a:pt x="87" y="19"/>
                  </a:cubicBezTo>
                  <a:cubicBezTo>
                    <a:pt x="89" y="20"/>
                    <a:pt x="90" y="21"/>
                    <a:pt x="90" y="22"/>
                  </a:cubicBezTo>
                  <a:cubicBezTo>
                    <a:pt x="91" y="24"/>
                    <a:pt x="91" y="26"/>
                    <a:pt x="90" y="27"/>
                  </a:cubicBezTo>
                  <a:cubicBezTo>
                    <a:pt x="89" y="27"/>
                    <a:pt x="88" y="28"/>
                    <a:pt x="88" y="29"/>
                  </a:cubicBezTo>
                  <a:cubicBezTo>
                    <a:pt x="88" y="30"/>
                    <a:pt x="87" y="32"/>
                    <a:pt x="88" y="32"/>
                  </a:cubicBezTo>
                  <a:cubicBezTo>
                    <a:pt x="89" y="31"/>
                    <a:pt x="90" y="32"/>
                    <a:pt x="91" y="32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4"/>
                    <a:pt x="92" y="34"/>
                    <a:pt x="92" y="35"/>
                  </a:cubicBezTo>
                  <a:cubicBezTo>
                    <a:pt x="92" y="36"/>
                    <a:pt x="92" y="38"/>
                    <a:pt x="92" y="39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88" y="39"/>
                    <a:pt x="86" y="39"/>
                    <a:pt x="84" y="40"/>
                  </a:cubicBezTo>
                  <a:cubicBezTo>
                    <a:pt x="83" y="40"/>
                    <a:pt x="82" y="41"/>
                    <a:pt x="81" y="41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79" y="41"/>
                    <a:pt x="77" y="40"/>
                    <a:pt x="75" y="41"/>
                  </a:cubicBezTo>
                  <a:cubicBezTo>
                    <a:pt x="73" y="43"/>
                    <a:pt x="70" y="44"/>
                    <a:pt x="69" y="47"/>
                  </a:cubicBezTo>
                  <a:cubicBezTo>
                    <a:pt x="69" y="48"/>
                    <a:pt x="69" y="49"/>
                    <a:pt x="68" y="50"/>
                  </a:cubicBezTo>
                  <a:cubicBezTo>
                    <a:pt x="68" y="51"/>
                    <a:pt x="67" y="52"/>
                    <a:pt x="66" y="52"/>
                  </a:cubicBezTo>
                  <a:cubicBezTo>
                    <a:pt x="66" y="53"/>
                    <a:pt x="66" y="54"/>
                    <a:pt x="66" y="55"/>
                  </a:cubicBezTo>
                  <a:cubicBezTo>
                    <a:pt x="67" y="56"/>
                    <a:pt x="67" y="58"/>
                    <a:pt x="66" y="59"/>
                  </a:cubicBezTo>
                  <a:cubicBezTo>
                    <a:pt x="65" y="59"/>
                    <a:pt x="63" y="59"/>
                    <a:pt x="61" y="60"/>
                  </a:cubicBezTo>
                  <a:cubicBezTo>
                    <a:pt x="62" y="65"/>
                    <a:pt x="61" y="71"/>
                    <a:pt x="62" y="77"/>
                  </a:cubicBezTo>
                  <a:cubicBezTo>
                    <a:pt x="63" y="79"/>
                    <a:pt x="66" y="79"/>
                    <a:pt x="68" y="80"/>
                  </a:cubicBezTo>
                  <a:cubicBezTo>
                    <a:pt x="68" y="81"/>
                    <a:pt x="68" y="82"/>
                    <a:pt x="68" y="82"/>
                  </a:cubicBezTo>
                  <a:cubicBezTo>
                    <a:pt x="69" y="84"/>
                    <a:pt x="70" y="83"/>
                    <a:pt x="71" y="84"/>
                  </a:cubicBezTo>
                  <a:cubicBezTo>
                    <a:pt x="72" y="85"/>
                    <a:pt x="73" y="86"/>
                    <a:pt x="74" y="87"/>
                  </a:cubicBezTo>
                  <a:cubicBezTo>
                    <a:pt x="75" y="88"/>
                    <a:pt x="76" y="89"/>
                    <a:pt x="77" y="90"/>
                  </a:cubicBezTo>
                  <a:cubicBezTo>
                    <a:pt x="78" y="90"/>
                    <a:pt x="78" y="90"/>
                    <a:pt x="79" y="90"/>
                  </a:cubicBezTo>
                  <a:cubicBezTo>
                    <a:pt x="80" y="90"/>
                    <a:pt x="81" y="89"/>
                    <a:pt x="81" y="89"/>
                  </a:cubicBezTo>
                  <a:cubicBezTo>
                    <a:pt x="82" y="88"/>
                    <a:pt x="83" y="87"/>
                    <a:pt x="84" y="86"/>
                  </a:cubicBezTo>
                  <a:cubicBezTo>
                    <a:pt x="85" y="86"/>
                    <a:pt x="86" y="86"/>
                    <a:pt x="86" y="86"/>
                  </a:cubicBezTo>
                  <a:cubicBezTo>
                    <a:pt x="86" y="87"/>
                    <a:pt x="86" y="88"/>
                    <a:pt x="86" y="89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86" y="92"/>
                    <a:pt x="86" y="95"/>
                    <a:pt x="87" y="98"/>
                  </a:cubicBezTo>
                  <a:cubicBezTo>
                    <a:pt x="88" y="98"/>
                    <a:pt x="88" y="99"/>
                    <a:pt x="88" y="99"/>
                  </a:cubicBezTo>
                  <a:cubicBezTo>
                    <a:pt x="89" y="99"/>
                    <a:pt x="91" y="99"/>
                    <a:pt x="92" y="99"/>
                  </a:cubicBezTo>
                  <a:cubicBezTo>
                    <a:pt x="93" y="98"/>
                    <a:pt x="94" y="98"/>
                    <a:pt x="95" y="99"/>
                  </a:cubicBezTo>
                  <a:cubicBezTo>
                    <a:pt x="96" y="99"/>
                    <a:pt x="97" y="99"/>
                    <a:pt x="97" y="100"/>
                  </a:cubicBezTo>
                  <a:cubicBezTo>
                    <a:pt x="99" y="103"/>
                    <a:pt x="100" y="106"/>
                    <a:pt x="102" y="109"/>
                  </a:cubicBezTo>
                  <a:cubicBezTo>
                    <a:pt x="102" y="110"/>
                    <a:pt x="104" y="110"/>
                    <a:pt x="104" y="111"/>
                  </a:cubicBezTo>
                  <a:cubicBezTo>
                    <a:pt x="105" y="113"/>
                    <a:pt x="104" y="115"/>
                    <a:pt x="103" y="117"/>
                  </a:cubicBezTo>
                  <a:cubicBezTo>
                    <a:pt x="102" y="118"/>
                    <a:pt x="103" y="120"/>
                    <a:pt x="102" y="122"/>
                  </a:cubicBezTo>
                  <a:cubicBezTo>
                    <a:pt x="102" y="123"/>
                    <a:pt x="101" y="123"/>
                    <a:pt x="100" y="123"/>
                  </a:cubicBezTo>
                  <a:cubicBezTo>
                    <a:pt x="100" y="124"/>
                    <a:pt x="100" y="124"/>
                    <a:pt x="100" y="125"/>
                  </a:cubicBezTo>
                  <a:cubicBezTo>
                    <a:pt x="100" y="126"/>
                    <a:pt x="102" y="126"/>
                    <a:pt x="102" y="127"/>
                  </a:cubicBezTo>
                  <a:cubicBezTo>
                    <a:pt x="102" y="128"/>
                    <a:pt x="102" y="130"/>
                    <a:pt x="101" y="131"/>
                  </a:cubicBezTo>
                  <a:cubicBezTo>
                    <a:pt x="101" y="132"/>
                    <a:pt x="100" y="134"/>
                    <a:pt x="100" y="135"/>
                  </a:cubicBezTo>
                  <a:cubicBezTo>
                    <a:pt x="100" y="137"/>
                    <a:pt x="99" y="140"/>
                    <a:pt x="100" y="143"/>
                  </a:cubicBezTo>
                  <a:cubicBezTo>
                    <a:pt x="100" y="144"/>
                    <a:pt x="102" y="145"/>
                    <a:pt x="103" y="146"/>
                  </a:cubicBezTo>
                  <a:cubicBezTo>
                    <a:pt x="104" y="150"/>
                    <a:pt x="100" y="152"/>
                    <a:pt x="98" y="155"/>
                  </a:cubicBezTo>
                  <a:cubicBezTo>
                    <a:pt x="96" y="157"/>
                    <a:pt x="98" y="160"/>
                    <a:pt x="98" y="163"/>
                  </a:cubicBezTo>
                  <a:cubicBezTo>
                    <a:pt x="98" y="163"/>
                    <a:pt x="98" y="163"/>
                    <a:pt x="98" y="163"/>
                  </a:cubicBezTo>
                  <a:cubicBezTo>
                    <a:pt x="96" y="164"/>
                    <a:pt x="95" y="166"/>
                    <a:pt x="93" y="166"/>
                  </a:cubicBezTo>
                  <a:lnTo>
                    <a:pt x="92" y="16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0" name="Freeform 403"/>
            <p:cNvSpPr>
              <a:spLocks/>
            </p:cNvSpPr>
            <p:nvPr/>
          </p:nvSpPr>
          <p:spPr bwMode="auto">
            <a:xfrm>
              <a:off x="6095046" y="5426659"/>
              <a:ext cx="133394" cy="133559"/>
            </a:xfrm>
            <a:custGeom>
              <a:avLst/>
              <a:gdLst>
                <a:gd name="T0" fmla="*/ 6840539 w 99"/>
                <a:gd name="T1" fmla="*/ 75575173 h 124"/>
                <a:gd name="T2" fmla="*/ 11216146 w 99"/>
                <a:gd name="T3" fmla="*/ 88819544 h 124"/>
                <a:gd name="T4" fmla="*/ 12441474 w 99"/>
                <a:gd name="T5" fmla="*/ 91488226 h 124"/>
                <a:gd name="T6" fmla="*/ 11216146 w 99"/>
                <a:gd name="T7" fmla="*/ 92694176 h 124"/>
                <a:gd name="T8" fmla="*/ 13226484 w 99"/>
                <a:gd name="T9" fmla="*/ 99935773 h 124"/>
                <a:gd name="T10" fmla="*/ 18036114 w 99"/>
                <a:gd name="T11" fmla="*/ 109446664 h 124"/>
                <a:gd name="T12" fmla="*/ 18819603 w 99"/>
                <a:gd name="T13" fmla="*/ 116381424 h 124"/>
                <a:gd name="T14" fmla="*/ 22924760 w 99"/>
                <a:gd name="T15" fmla="*/ 115177894 h 124"/>
                <a:gd name="T16" fmla="*/ 31262589 w 99"/>
                <a:gd name="T17" fmla="*/ 107575774 h 124"/>
                <a:gd name="T18" fmla="*/ 38886751 w 99"/>
                <a:gd name="T19" fmla="*/ 110293831 h 124"/>
                <a:gd name="T20" fmla="*/ 43839712 w 99"/>
                <a:gd name="T21" fmla="*/ 114330727 h 124"/>
                <a:gd name="T22" fmla="*/ 46582134 w 99"/>
                <a:gd name="T23" fmla="*/ 109446664 h 124"/>
                <a:gd name="T24" fmla="*/ 55921671 w 99"/>
                <a:gd name="T25" fmla="*/ 109446664 h 124"/>
                <a:gd name="T26" fmla="*/ 58931733 w 99"/>
                <a:gd name="T27" fmla="*/ 104732654 h 124"/>
                <a:gd name="T28" fmla="*/ 60658170 w 99"/>
                <a:gd name="T29" fmla="*/ 89486148 h 124"/>
                <a:gd name="T30" fmla="*/ 62662080 w 99"/>
                <a:gd name="T31" fmla="*/ 87973134 h 124"/>
                <a:gd name="T32" fmla="*/ 80698265 w 99"/>
                <a:gd name="T33" fmla="*/ 83040527 h 124"/>
                <a:gd name="T34" fmla="*/ 89188141 w 99"/>
                <a:gd name="T35" fmla="*/ 85882816 h 124"/>
                <a:gd name="T36" fmla="*/ 91196210 w 99"/>
                <a:gd name="T37" fmla="*/ 83040527 h 124"/>
                <a:gd name="T38" fmla="*/ 91914075 w 99"/>
                <a:gd name="T39" fmla="*/ 72732998 h 124"/>
                <a:gd name="T40" fmla="*/ 90329947 w 99"/>
                <a:gd name="T41" fmla="*/ 68011956 h 124"/>
                <a:gd name="T42" fmla="*/ 86319179 w 99"/>
                <a:gd name="T43" fmla="*/ 64285262 h 124"/>
                <a:gd name="T44" fmla="*/ 86319179 w 99"/>
                <a:gd name="T45" fmla="*/ 57465320 h 124"/>
                <a:gd name="T46" fmla="*/ 80698265 w 99"/>
                <a:gd name="T47" fmla="*/ 58707261 h 124"/>
                <a:gd name="T48" fmla="*/ 72217975 w 99"/>
                <a:gd name="T49" fmla="*/ 57465320 h 124"/>
                <a:gd name="T50" fmla="*/ 69507698 w 99"/>
                <a:gd name="T51" fmla="*/ 48385725 h 124"/>
                <a:gd name="T52" fmla="*/ 70357132 w 99"/>
                <a:gd name="T53" fmla="*/ 41589185 h 124"/>
                <a:gd name="T54" fmla="*/ 65404162 w 99"/>
                <a:gd name="T55" fmla="*/ 33986186 h 124"/>
                <a:gd name="T56" fmla="*/ 58931733 w 99"/>
                <a:gd name="T57" fmla="*/ 33141326 h 124"/>
                <a:gd name="T58" fmla="*/ 55073902 w 99"/>
                <a:gd name="T59" fmla="*/ 31138889 h 124"/>
                <a:gd name="T60" fmla="*/ 51443168 w 99"/>
                <a:gd name="T61" fmla="*/ 28408885 h 124"/>
                <a:gd name="T62" fmla="*/ 35002579 w 99"/>
                <a:gd name="T63" fmla="*/ 20844516 h 124"/>
                <a:gd name="T64" fmla="*/ 32133920 w 99"/>
                <a:gd name="T65" fmla="*/ 16027441 h 124"/>
                <a:gd name="T66" fmla="*/ 31262589 w 99"/>
                <a:gd name="T67" fmla="*/ 8447734 h 124"/>
                <a:gd name="T68" fmla="*/ 23659170 w 99"/>
                <a:gd name="T69" fmla="*/ 2002076 h 124"/>
                <a:gd name="T70" fmla="*/ 13226484 w 99"/>
                <a:gd name="T71" fmla="*/ 10292336 h 124"/>
                <a:gd name="T72" fmla="*/ 6840539 w 99"/>
                <a:gd name="T73" fmla="*/ 13178234 h 124"/>
                <a:gd name="T74" fmla="*/ 0 w 99"/>
                <a:gd name="T75" fmla="*/ 12293875 h 124"/>
                <a:gd name="T76" fmla="*/ 6840539 w 99"/>
                <a:gd name="T77" fmla="*/ 21628017 h 124"/>
                <a:gd name="T78" fmla="*/ 7630664 w 99"/>
                <a:gd name="T79" fmla="*/ 29049232 h 124"/>
                <a:gd name="T80" fmla="*/ 4745295 w 99"/>
                <a:gd name="T81" fmla="*/ 34870347 h 124"/>
                <a:gd name="T82" fmla="*/ 6840539 w 99"/>
                <a:gd name="T83" fmla="*/ 38718589 h 124"/>
                <a:gd name="T84" fmla="*/ 4745295 w 99"/>
                <a:gd name="T85" fmla="*/ 46318733 h 124"/>
                <a:gd name="T86" fmla="*/ 7630664 w 99"/>
                <a:gd name="T87" fmla="*/ 56833423 h 124"/>
                <a:gd name="T88" fmla="*/ 2894074 w 99"/>
                <a:gd name="T89" fmla="*/ 72732998 h 12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9"/>
                <a:gd name="T136" fmla="*/ 0 h 124"/>
                <a:gd name="T137" fmla="*/ 99 w 99"/>
                <a:gd name="T138" fmla="*/ 124 h 12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9" h="124">
                  <a:moveTo>
                    <a:pt x="3" y="77"/>
                  </a:moveTo>
                  <a:cubicBezTo>
                    <a:pt x="5" y="76"/>
                    <a:pt x="7" y="78"/>
                    <a:pt x="7" y="80"/>
                  </a:cubicBezTo>
                  <a:cubicBezTo>
                    <a:pt x="8" y="84"/>
                    <a:pt x="10" y="86"/>
                    <a:pt x="12" y="90"/>
                  </a:cubicBezTo>
                  <a:cubicBezTo>
                    <a:pt x="13" y="91"/>
                    <a:pt x="12" y="93"/>
                    <a:pt x="12" y="94"/>
                  </a:cubicBezTo>
                  <a:cubicBezTo>
                    <a:pt x="12" y="94"/>
                    <a:pt x="13" y="95"/>
                    <a:pt x="13" y="95"/>
                  </a:cubicBezTo>
                  <a:cubicBezTo>
                    <a:pt x="14" y="96"/>
                    <a:pt x="14" y="96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12" y="99"/>
                    <a:pt x="12" y="100"/>
                    <a:pt x="12" y="100"/>
                  </a:cubicBezTo>
                  <a:cubicBezTo>
                    <a:pt x="13" y="102"/>
                    <a:pt x="12" y="104"/>
                    <a:pt x="14" y="106"/>
                  </a:cubicBezTo>
                  <a:cubicBezTo>
                    <a:pt x="16" y="109"/>
                    <a:pt x="16" y="112"/>
                    <a:pt x="18" y="115"/>
                  </a:cubicBezTo>
                  <a:cubicBezTo>
                    <a:pt x="18" y="115"/>
                    <a:pt x="19" y="116"/>
                    <a:pt x="19" y="116"/>
                  </a:cubicBezTo>
                  <a:cubicBezTo>
                    <a:pt x="19" y="118"/>
                    <a:pt x="18" y="121"/>
                    <a:pt x="19" y="123"/>
                  </a:cubicBezTo>
                  <a:cubicBezTo>
                    <a:pt x="19" y="123"/>
                    <a:pt x="19" y="123"/>
                    <a:pt x="20" y="123"/>
                  </a:cubicBezTo>
                  <a:cubicBezTo>
                    <a:pt x="21" y="124"/>
                    <a:pt x="23" y="123"/>
                    <a:pt x="25" y="123"/>
                  </a:cubicBezTo>
                  <a:cubicBezTo>
                    <a:pt x="24" y="122"/>
                    <a:pt x="24" y="122"/>
                    <a:pt x="24" y="122"/>
                  </a:cubicBezTo>
                  <a:cubicBezTo>
                    <a:pt x="27" y="119"/>
                    <a:pt x="28" y="118"/>
                    <a:pt x="31" y="115"/>
                  </a:cubicBezTo>
                  <a:cubicBezTo>
                    <a:pt x="32" y="115"/>
                    <a:pt x="32" y="114"/>
                    <a:pt x="33" y="114"/>
                  </a:cubicBezTo>
                  <a:cubicBezTo>
                    <a:pt x="34" y="115"/>
                    <a:pt x="35" y="116"/>
                    <a:pt x="36" y="116"/>
                  </a:cubicBezTo>
                  <a:cubicBezTo>
                    <a:pt x="38" y="117"/>
                    <a:pt x="40" y="116"/>
                    <a:pt x="41" y="117"/>
                  </a:cubicBezTo>
                  <a:cubicBezTo>
                    <a:pt x="43" y="117"/>
                    <a:pt x="43" y="119"/>
                    <a:pt x="44" y="120"/>
                  </a:cubicBezTo>
                  <a:cubicBezTo>
                    <a:pt x="45" y="121"/>
                    <a:pt x="46" y="122"/>
                    <a:pt x="46" y="121"/>
                  </a:cubicBezTo>
                  <a:cubicBezTo>
                    <a:pt x="47" y="120"/>
                    <a:pt x="48" y="118"/>
                    <a:pt x="48" y="117"/>
                  </a:cubicBezTo>
                  <a:cubicBezTo>
                    <a:pt x="48" y="117"/>
                    <a:pt x="49" y="116"/>
                    <a:pt x="49" y="116"/>
                  </a:cubicBezTo>
                  <a:cubicBezTo>
                    <a:pt x="51" y="116"/>
                    <a:pt x="53" y="116"/>
                    <a:pt x="54" y="115"/>
                  </a:cubicBezTo>
                  <a:cubicBezTo>
                    <a:pt x="56" y="115"/>
                    <a:pt x="57" y="115"/>
                    <a:pt x="59" y="116"/>
                  </a:cubicBezTo>
                  <a:cubicBezTo>
                    <a:pt x="59" y="116"/>
                    <a:pt x="60" y="116"/>
                    <a:pt x="60" y="116"/>
                  </a:cubicBezTo>
                  <a:cubicBezTo>
                    <a:pt x="61" y="114"/>
                    <a:pt x="62" y="113"/>
                    <a:pt x="62" y="111"/>
                  </a:cubicBezTo>
                  <a:cubicBezTo>
                    <a:pt x="62" y="108"/>
                    <a:pt x="62" y="106"/>
                    <a:pt x="62" y="103"/>
                  </a:cubicBezTo>
                  <a:cubicBezTo>
                    <a:pt x="63" y="100"/>
                    <a:pt x="63" y="98"/>
                    <a:pt x="64" y="95"/>
                  </a:cubicBezTo>
                  <a:cubicBezTo>
                    <a:pt x="64" y="95"/>
                    <a:pt x="64" y="94"/>
                    <a:pt x="64" y="94"/>
                  </a:cubicBezTo>
                  <a:cubicBezTo>
                    <a:pt x="65" y="93"/>
                    <a:pt x="65" y="93"/>
                    <a:pt x="66" y="93"/>
                  </a:cubicBezTo>
                  <a:cubicBezTo>
                    <a:pt x="67" y="93"/>
                    <a:pt x="69" y="92"/>
                    <a:pt x="71" y="92"/>
                  </a:cubicBezTo>
                  <a:cubicBezTo>
                    <a:pt x="75" y="90"/>
                    <a:pt x="80" y="87"/>
                    <a:pt x="85" y="88"/>
                  </a:cubicBezTo>
                  <a:cubicBezTo>
                    <a:pt x="86" y="88"/>
                    <a:pt x="87" y="89"/>
                    <a:pt x="88" y="90"/>
                  </a:cubicBezTo>
                  <a:cubicBezTo>
                    <a:pt x="90" y="91"/>
                    <a:pt x="92" y="91"/>
                    <a:pt x="94" y="91"/>
                  </a:cubicBezTo>
                  <a:cubicBezTo>
                    <a:pt x="94" y="91"/>
                    <a:pt x="94" y="91"/>
                    <a:pt x="94" y="91"/>
                  </a:cubicBezTo>
                  <a:cubicBezTo>
                    <a:pt x="94" y="90"/>
                    <a:pt x="95" y="89"/>
                    <a:pt x="96" y="88"/>
                  </a:cubicBezTo>
                  <a:cubicBezTo>
                    <a:pt x="97" y="85"/>
                    <a:pt x="99" y="82"/>
                    <a:pt x="98" y="79"/>
                  </a:cubicBezTo>
                  <a:cubicBezTo>
                    <a:pt x="98" y="78"/>
                    <a:pt x="97" y="78"/>
                    <a:pt x="97" y="77"/>
                  </a:cubicBezTo>
                  <a:cubicBezTo>
                    <a:pt x="97" y="76"/>
                    <a:pt x="97" y="75"/>
                    <a:pt x="97" y="75"/>
                  </a:cubicBezTo>
                  <a:cubicBezTo>
                    <a:pt x="96" y="74"/>
                    <a:pt x="96" y="73"/>
                    <a:pt x="95" y="72"/>
                  </a:cubicBezTo>
                  <a:cubicBezTo>
                    <a:pt x="94" y="71"/>
                    <a:pt x="93" y="71"/>
                    <a:pt x="93" y="70"/>
                  </a:cubicBezTo>
                  <a:cubicBezTo>
                    <a:pt x="92" y="69"/>
                    <a:pt x="91" y="69"/>
                    <a:pt x="91" y="68"/>
                  </a:cubicBezTo>
                  <a:cubicBezTo>
                    <a:pt x="91" y="67"/>
                    <a:pt x="91" y="65"/>
                    <a:pt x="91" y="64"/>
                  </a:cubicBezTo>
                  <a:cubicBezTo>
                    <a:pt x="92" y="63"/>
                    <a:pt x="92" y="62"/>
                    <a:pt x="91" y="61"/>
                  </a:cubicBezTo>
                  <a:cubicBezTo>
                    <a:pt x="90" y="61"/>
                    <a:pt x="89" y="61"/>
                    <a:pt x="89" y="61"/>
                  </a:cubicBezTo>
                  <a:cubicBezTo>
                    <a:pt x="87" y="62"/>
                    <a:pt x="86" y="62"/>
                    <a:pt x="85" y="62"/>
                  </a:cubicBezTo>
                  <a:cubicBezTo>
                    <a:pt x="83" y="63"/>
                    <a:pt x="81" y="63"/>
                    <a:pt x="80" y="62"/>
                  </a:cubicBezTo>
                  <a:cubicBezTo>
                    <a:pt x="79" y="62"/>
                    <a:pt x="77" y="62"/>
                    <a:pt x="76" y="61"/>
                  </a:cubicBezTo>
                  <a:cubicBezTo>
                    <a:pt x="75" y="58"/>
                    <a:pt x="74" y="56"/>
                    <a:pt x="73" y="53"/>
                  </a:cubicBezTo>
                  <a:cubicBezTo>
                    <a:pt x="73" y="53"/>
                    <a:pt x="73" y="52"/>
                    <a:pt x="73" y="51"/>
                  </a:cubicBezTo>
                  <a:cubicBezTo>
                    <a:pt x="74" y="50"/>
                    <a:pt x="75" y="50"/>
                    <a:pt x="76" y="49"/>
                  </a:cubicBezTo>
                  <a:cubicBezTo>
                    <a:pt x="77" y="47"/>
                    <a:pt x="75" y="46"/>
                    <a:pt x="74" y="44"/>
                  </a:cubicBezTo>
                  <a:cubicBezTo>
                    <a:pt x="73" y="43"/>
                    <a:pt x="73" y="41"/>
                    <a:pt x="73" y="39"/>
                  </a:cubicBezTo>
                  <a:cubicBezTo>
                    <a:pt x="73" y="37"/>
                    <a:pt x="71" y="36"/>
                    <a:pt x="69" y="36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67" y="36"/>
                    <a:pt x="63" y="37"/>
                    <a:pt x="62" y="35"/>
                  </a:cubicBezTo>
                  <a:cubicBezTo>
                    <a:pt x="61" y="35"/>
                    <a:pt x="61" y="34"/>
                    <a:pt x="60" y="34"/>
                  </a:cubicBezTo>
                  <a:cubicBezTo>
                    <a:pt x="59" y="33"/>
                    <a:pt x="58" y="34"/>
                    <a:pt x="58" y="33"/>
                  </a:cubicBezTo>
                  <a:cubicBezTo>
                    <a:pt x="56" y="33"/>
                    <a:pt x="56" y="31"/>
                    <a:pt x="55" y="30"/>
                  </a:cubicBezTo>
                  <a:cubicBezTo>
                    <a:pt x="55" y="30"/>
                    <a:pt x="54" y="30"/>
                    <a:pt x="54" y="30"/>
                  </a:cubicBezTo>
                  <a:cubicBezTo>
                    <a:pt x="51" y="26"/>
                    <a:pt x="46" y="29"/>
                    <a:pt x="42" y="27"/>
                  </a:cubicBezTo>
                  <a:cubicBezTo>
                    <a:pt x="40" y="26"/>
                    <a:pt x="38" y="24"/>
                    <a:pt x="37" y="22"/>
                  </a:cubicBezTo>
                  <a:cubicBezTo>
                    <a:pt x="36" y="22"/>
                    <a:pt x="36" y="21"/>
                    <a:pt x="35" y="20"/>
                  </a:cubicBezTo>
                  <a:cubicBezTo>
                    <a:pt x="34" y="19"/>
                    <a:pt x="34" y="18"/>
                    <a:pt x="34" y="17"/>
                  </a:cubicBezTo>
                  <a:cubicBezTo>
                    <a:pt x="33" y="15"/>
                    <a:pt x="34" y="12"/>
                    <a:pt x="34" y="10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4" y="7"/>
                    <a:pt x="33" y="5"/>
                    <a:pt x="33" y="3"/>
                  </a:cubicBezTo>
                  <a:cubicBezTo>
                    <a:pt x="33" y="0"/>
                    <a:pt x="27" y="3"/>
                    <a:pt x="25" y="2"/>
                  </a:cubicBezTo>
                  <a:cubicBezTo>
                    <a:pt x="23" y="4"/>
                    <a:pt x="21" y="5"/>
                    <a:pt x="20" y="7"/>
                  </a:cubicBezTo>
                  <a:cubicBezTo>
                    <a:pt x="19" y="9"/>
                    <a:pt x="17" y="10"/>
                    <a:pt x="14" y="11"/>
                  </a:cubicBezTo>
                  <a:cubicBezTo>
                    <a:pt x="13" y="12"/>
                    <a:pt x="12" y="13"/>
                    <a:pt x="10" y="14"/>
                  </a:cubicBezTo>
                  <a:cubicBezTo>
                    <a:pt x="9" y="15"/>
                    <a:pt x="8" y="14"/>
                    <a:pt x="7" y="14"/>
                  </a:cubicBezTo>
                  <a:cubicBezTo>
                    <a:pt x="5" y="12"/>
                    <a:pt x="2" y="11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3"/>
                    <a:pt x="2" y="13"/>
                    <a:pt x="2" y="14"/>
                  </a:cubicBezTo>
                  <a:cubicBezTo>
                    <a:pt x="4" y="17"/>
                    <a:pt x="5" y="20"/>
                    <a:pt x="7" y="23"/>
                  </a:cubicBezTo>
                  <a:cubicBezTo>
                    <a:pt x="7" y="24"/>
                    <a:pt x="9" y="24"/>
                    <a:pt x="9" y="25"/>
                  </a:cubicBezTo>
                  <a:cubicBezTo>
                    <a:pt x="10" y="27"/>
                    <a:pt x="9" y="29"/>
                    <a:pt x="8" y="31"/>
                  </a:cubicBezTo>
                  <a:cubicBezTo>
                    <a:pt x="7" y="32"/>
                    <a:pt x="8" y="34"/>
                    <a:pt x="7" y="36"/>
                  </a:cubicBezTo>
                  <a:cubicBezTo>
                    <a:pt x="7" y="37"/>
                    <a:pt x="6" y="37"/>
                    <a:pt x="5" y="37"/>
                  </a:cubicBezTo>
                  <a:cubicBezTo>
                    <a:pt x="5" y="38"/>
                    <a:pt x="5" y="38"/>
                    <a:pt x="5" y="39"/>
                  </a:cubicBezTo>
                  <a:cubicBezTo>
                    <a:pt x="5" y="40"/>
                    <a:pt x="7" y="40"/>
                    <a:pt x="7" y="41"/>
                  </a:cubicBezTo>
                  <a:cubicBezTo>
                    <a:pt x="7" y="42"/>
                    <a:pt x="7" y="44"/>
                    <a:pt x="6" y="45"/>
                  </a:cubicBezTo>
                  <a:cubicBezTo>
                    <a:pt x="6" y="46"/>
                    <a:pt x="5" y="48"/>
                    <a:pt x="5" y="49"/>
                  </a:cubicBezTo>
                  <a:cubicBezTo>
                    <a:pt x="5" y="51"/>
                    <a:pt x="4" y="54"/>
                    <a:pt x="5" y="57"/>
                  </a:cubicBezTo>
                  <a:cubicBezTo>
                    <a:pt x="5" y="58"/>
                    <a:pt x="7" y="59"/>
                    <a:pt x="8" y="60"/>
                  </a:cubicBezTo>
                  <a:cubicBezTo>
                    <a:pt x="9" y="64"/>
                    <a:pt x="5" y="66"/>
                    <a:pt x="3" y="69"/>
                  </a:cubicBezTo>
                  <a:cubicBezTo>
                    <a:pt x="1" y="71"/>
                    <a:pt x="3" y="74"/>
                    <a:pt x="3" y="77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1" name="Freeform 404"/>
            <p:cNvSpPr>
              <a:spLocks/>
            </p:cNvSpPr>
            <p:nvPr/>
          </p:nvSpPr>
          <p:spPr bwMode="auto">
            <a:xfrm>
              <a:off x="6176242" y="5520936"/>
              <a:ext cx="88445" cy="86420"/>
            </a:xfrm>
            <a:custGeom>
              <a:avLst/>
              <a:gdLst>
                <a:gd name="T0" fmla="*/ 60658161 w 66"/>
                <a:gd name="T1" fmla="*/ 59440232 h 80"/>
                <a:gd name="T2" fmla="*/ 61811426 w 66"/>
                <a:gd name="T3" fmla="*/ 54630864 h 80"/>
                <a:gd name="T4" fmla="*/ 62662070 w 66"/>
                <a:gd name="T5" fmla="*/ 47063949 h 80"/>
                <a:gd name="T6" fmla="*/ 62662070 w 66"/>
                <a:gd name="T7" fmla="*/ 43558832 h 80"/>
                <a:gd name="T8" fmla="*/ 59808765 w 66"/>
                <a:gd name="T9" fmla="*/ 42205782 h 80"/>
                <a:gd name="T10" fmla="*/ 57773467 w 66"/>
                <a:gd name="T11" fmla="*/ 43558832 h 80"/>
                <a:gd name="T12" fmla="*/ 55073742 w 66"/>
                <a:gd name="T13" fmla="*/ 43558832 h 80"/>
                <a:gd name="T14" fmla="*/ 54185658 w 66"/>
                <a:gd name="T15" fmla="*/ 41511169 h 80"/>
                <a:gd name="T16" fmla="*/ 52962808 w 66"/>
                <a:gd name="T17" fmla="*/ 39476103 h 80"/>
                <a:gd name="T18" fmla="*/ 51443122 w 66"/>
                <a:gd name="T19" fmla="*/ 30352925 h 80"/>
                <a:gd name="T20" fmla="*/ 48586036 w 66"/>
                <a:gd name="T21" fmla="*/ 27510234 h 80"/>
                <a:gd name="T22" fmla="*/ 44482614 w 66"/>
                <a:gd name="T23" fmla="*/ 28993222 h 80"/>
                <a:gd name="T24" fmla="*/ 40962007 w 66"/>
                <a:gd name="T25" fmla="*/ 28355631 h 80"/>
                <a:gd name="T26" fmla="*/ 38216494 w 66"/>
                <a:gd name="T27" fmla="*/ 28355631 h 80"/>
                <a:gd name="T28" fmla="*/ 35002574 w 66"/>
                <a:gd name="T29" fmla="*/ 26361304 h 80"/>
                <a:gd name="T30" fmla="*/ 34141530 w 66"/>
                <a:gd name="T31" fmla="*/ 15205172 h 80"/>
                <a:gd name="T32" fmla="*/ 32133915 w 66"/>
                <a:gd name="T33" fmla="*/ 12272271 h 80"/>
                <a:gd name="T34" fmla="*/ 32133915 w 66"/>
                <a:gd name="T35" fmla="*/ 11158230 h 80"/>
                <a:gd name="T36" fmla="*/ 32133915 w 66"/>
                <a:gd name="T37" fmla="*/ 3569220 h 80"/>
                <a:gd name="T38" fmla="*/ 32133915 w 66"/>
                <a:gd name="T39" fmla="*/ 3569220 h 80"/>
                <a:gd name="T40" fmla="*/ 26510883 w 66"/>
                <a:gd name="T41" fmla="*/ 2865554 h 80"/>
                <a:gd name="T42" fmla="*/ 23659148 w 66"/>
                <a:gd name="T43" fmla="*/ 846214 h 80"/>
                <a:gd name="T44" fmla="*/ 10341117 w 66"/>
                <a:gd name="T45" fmla="*/ 4723062 h 80"/>
                <a:gd name="T46" fmla="*/ 5595819 w 66"/>
                <a:gd name="T47" fmla="*/ 5569282 h 80"/>
                <a:gd name="T48" fmla="*/ 3587761 w 66"/>
                <a:gd name="T49" fmla="*/ 6769871 h 80"/>
                <a:gd name="T50" fmla="*/ 3587761 w 66"/>
                <a:gd name="T51" fmla="*/ 7561856 h 80"/>
                <a:gd name="T52" fmla="*/ 2007625 w 66"/>
                <a:gd name="T53" fmla="*/ 15205172 h 80"/>
                <a:gd name="T54" fmla="*/ 2007625 w 66"/>
                <a:gd name="T55" fmla="*/ 22792248 h 80"/>
                <a:gd name="T56" fmla="*/ 0 w 66"/>
                <a:gd name="T57" fmla="*/ 27510234 h 80"/>
                <a:gd name="T58" fmla="*/ 2894072 w 66"/>
                <a:gd name="T59" fmla="*/ 33923399 h 80"/>
                <a:gd name="T60" fmla="*/ 6840533 w 66"/>
                <a:gd name="T61" fmla="*/ 39476103 h 80"/>
                <a:gd name="T62" fmla="*/ 10341117 w 66"/>
                <a:gd name="T63" fmla="*/ 40628729 h 80"/>
                <a:gd name="T64" fmla="*/ 15293841 w 66"/>
                <a:gd name="T65" fmla="*/ 45069622 h 80"/>
                <a:gd name="T66" fmla="*/ 17330084 w 66"/>
                <a:gd name="T67" fmla="*/ 46218553 h 80"/>
                <a:gd name="T68" fmla="*/ 22924719 w 66"/>
                <a:gd name="T69" fmla="*/ 47063949 h 80"/>
                <a:gd name="T70" fmla="*/ 27670974 w 66"/>
                <a:gd name="T71" fmla="*/ 50905146 h 80"/>
                <a:gd name="T72" fmla="*/ 33265604 w 66"/>
                <a:gd name="T73" fmla="*/ 52631471 h 80"/>
                <a:gd name="T74" fmla="*/ 38216494 w 66"/>
                <a:gd name="T75" fmla="*/ 54630864 h 80"/>
                <a:gd name="T76" fmla="*/ 38216494 w 66"/>
                <a:gd name="T77" fmla="*/ 61432329 h 80"/>
                <a:gd name="T78" fmla="*/ 34141530 w 66"/>
                <a:gd name="T79" fmla="*/ 64146708 h 80"/>
                <a:gd name="T80" fmla="*/ 31262565 w 66"/>
                <a:gd name="T81" fmla="*/ 70559891 h 80"/>
                <a:gd name="T82" fmla="*/ 31262565 w 66"/>
                <a:gd name="T83" fmla="*/ 73436886 h 80"/>
                <a:gd name="T84" fmla="*/ 39736169 w 66"/>
                <a:gd name="T85" fmla="*/ 74551229 h 80"/>
                <a:gd name="T86" fmla="*/ 46582089 w 66"/>
                <a:gd name="T87" fmla="*/ 75425430 h 80"/>
                <a:gd name="T88" fmla="*/ 48586036 w 66"/>
                <a:gd name="T89" fmla="*/ 74551229 h 80"/>
                <a:gd name="T90" fmla="*/ 54185658 w 66"/>
                <a:gd name="T91" fmla="*/ 74551229 h 80"/>
                <a:gd name="T92" fmla="*/ 55921587 w 66"/>
                <a:gd name="T93" fmla="*/ 72554823 h 80"/>
                <a:gd name="T94" fmla="*/ 55921587 w 66"/>
                <a:gd name="T95" fmla="*/ 70559891 h 80"/>
                <a:gd name="T96" fmla="*/ 59808765 w 66"/>
                <a:gd name="T97" fmla="*/ 65789079 h 80"/>
                <a:gd name="T98" fmla="*/ 60658161 w 66"/>
                <a:gd name="T99" fmla="*/ 59440232 h 8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6"/>
                <a:gd name="T151" fmla="*/ 0 h 80"/>
                <a:gd name="T152" fmla="*/ 66 w 66"/>
                <a:gd name="T153" fmla="*/ 80 h 8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6" h="80">
                  <a:moveTo>
                    <a:pt x="64" y="63"/>
                  </a:moveTo>
                  <a:cubicBezTo>
                    <a:pt x="64" y="62"/>
                    <a:pt x="64" y="60"/>
                    <a:pt x="65" y="58"/>
                  </a:cubicBezTo>
                  <a:cubicBezTo>
                    <a:pt x="65" y="56"/>
                    <a:pt x="65" y="53"/>
                    <a:pt x="66" y="50"/>
                  </a:cubicBezTo>
                  <a:cubicBezTo>
                    <a:pt x="66" y="49"/>
                    <a:pt x="66" y="48"/>
                    <a:pt x="66" y="46"/>
                  </a:cubicBezTo>
                  <a:cubicBezTo>
                    <a:pt x="66" y="45"/>
                    <a:pt x="64" y="45"/>
                    <a:pt x="63" y="45"/>
                  </a:cubicBezTo>
                  <a:cubicBezTo>
                    <a:pt x="62" y="45"/>
                    <a:pt x="61" y="45"/>
                    <a:pt x="61" y="46"/>
                  </a:cubicBezTo>
                  <a:cubicBezTo>
                    <a:pt x="60" y="46"/>
                    <a:pt x="59" y="46"/>
                    <a:pt x="58" y="46"/>
                  </a:cubicBezTo>
                  <a:cubicBezTo>
                    <a:pt x="58" y="45"/>
                    <a:pt x="57" y="45"/>
                    <a:pt x="57" y="44"/>
                  </a:cubicBezTo>
                  <a:cubicBezTo>
                    <a:pt x="57" y="43"/>
                    <a:pt x="56" y="43"/>
                    <a:pt x="56" y="42"/>
                  </a:cubicBezTo>
                  <a:cubicBezTo>
                    <a:pt x="55" y="39"/>
                    <a:pt x="56" y="35"/>
                    <a:pt x="54" y="32"/>
                  </a:cubicBezTo>
                  <a:cubicBezTo>
                    <a:pt x="53" y="31"/>
                    <a:pt x="52" y="30"/>
                    <a:pt x="51" y="29"/>
                  </a:cubicBezTo>
                  <a:cubicBezTo>
                    <a:pt x="50" y="29"/>
                    <a:pt x="48" y="29"/>
                    <a:pt x="47" y="31"/>
                  </a:cubicBezTo>
                  <a:cubicBezTo>
                    <a:pt x="46" y="31"/>
                    <a:pt x="45" y="31"/>
                    <a:pt x="43" y="30"/>
                  </a:cubicBezTo>
                  <a:cubicBezTo>
                    <a:pt x="42" y="30"/>
                    <a:pt x="41" y="30"/>
                    <a:pt x="40" y="30"/>
                  </a:cubicBezTo>
                  <a:cubicBezTo>
                    <a:pt x="38" y="30"/>
                    <a:pt x="37" y="29"/>
                    <a:pt x="37" y="28"/>
                  </a:cubicBezTo>
                  <a:cubicBezTo>
                    <a:pt x="36" y="24"/>
                    <a:pt x="37" y="20"/>
                    <a:pt x="36" y="16"/>
                  </a:cubicBezTo>
                  <a:cubicBezTo>
                    <a:pt x="36" y="15"/>
                    <a:pt x="35" y="14"/>
                    <a:pt x="34" y="13"/>
                  </a:cubicBezTo>
                  <a:cubicBezTo>
                    <a:pt x="34" y="13"/>
                    <a:pt x="34" y="13"/>
                    <a:pt x="34" y="12"/>
                  </a:cubicBezTo>
                  <a:cubicBezTo>
                    <a:pt x="34" y="10"/>
                    <a:pt x="33" y="7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2" y="4"/>
                    <a:pt x="30" y="4"/>
                    <a:pt x="28" y="3"/>
                  </a:cubicBezTo>
                  <a:cubicBezTo>
                    <a:pt x="27" y="2"/>
                    <a:pt x="26" y="1"/>
                    <a:pt x="25" y="1"/>
                  </a:cubicBezTo>
                  <a:cubicBezTo>
                    <a:pt x="20" y="0"/>
                    <a:pt x="15" y="3"/>
                    <a:pt x="11" y="5"/>
                  </a:cubicBezTo>
                  <a:cubicBezTo>
                    <a:pt x="9" y="5"/>
                    <a:pt x="7" y="6"/>
                    <a:pt x="6" y="6"/>
                  </a:cubicBezTo>
                  <a:cubicBezTo>
                    <a:pt x="5" y="6"/>
                    <a:pt x="5" y="6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3" y="11"/>
                    <a:pt x="3" y="13"/>
                    <a:pt x="2" y="16"/>
                  </a:cubicBezTo>
                  <a:cubicBezTo>
                    <a:pt x="2" y="19"/>
                    <a:pt x="2" y="21"/>
                    <a:pt x="2" y="24"/>
                  </a:cubicBezTo>
                  <a:cubicBezTo>
                    <a:pt x="2" y="26"/>
                    <a:pt x="1" y="27"/>
                    <a:pt x="0" y="29"/>
                  </a:cubicBezTo>
                  <a:cubicBezTo>
                    <a:pt x="0" y="32"/>
                    <a:pt x="1" y="33"/>
                    <a:pt x="3" y="36"/>
                  </a:cubicBezTo>
                  <a:cubicBezTo>
                    <a:pt x="4" y="38"/>
                    <a:pt x="5" y="41"/>
                    <a:pt x="7" y="42"/>
                  </a:cubicBezTo>
                  <a:cubicBezTo>
                    <a:pt x="8" y="43"/>
                    <a:pt x="9" y="43"/>
                    <a:pt x="11" y="43"/>
                  </a:cubicBezTo>
                  <a:cubicBezTo>
                    <a:pt x="13" y="44"/>
                    <a:pt x="15" y="46"/>
                    <a:pt x="16" y="48"/>
                  </a:cubicBezTo>
                  <a:cubicBezTo>
                    <a:pt x="17" y="48"/>
                    <a:pt x="18" y="48"/>
                    <a:pt x="18" y="49"/>
                  </a:cubicBezTo>
                  <a:cubicBezTo>
                    <a:pt x="20" y="49"/>
                    <a:pt x="22" y="49"/>
                    <a:pt x="24" y="50"/>
                  </a:cubicBezTo>
                  <a:cubicBezTo>
                    <a:pt x="25" y="51"/>
                    <a:pt x="27" y="52"/>
                    <a:pt x="29" y="54"/>
                  </a:cubicBezTo>
                  <a:cubicBezTo>
                    <a:pt x="31" y="55"/>
                    <a:pt x="33" y="55"/>
                    <a:pt x="35" y="56"/>
                  </a:cubicBezTo>
                  <a:cubicBezTo>
                    <a:pt x="37" y="57"/>
                    <a:pt x="38" y="58"/>
                    <a:pt x="40" y="58"/>
                  </a:cubicBezTo>
                  <a:cubicBezTo>
                    <a:pt x="40" y="60"/>
                    <a:pt x="41" y="63"/>
                    <a:pt x="40" y="65"/>
                  </a:cubicBezTo>
                  <a:cubicBezTo>
                    <a:pt x="39" y="66"/>
                    <a:pt x="37" y="67"/>
                    <a:pt x="36" y="68"/>
                  </a:cubicBezTo>
                  <a:cubicBezTo>
                    <a:pt x="34" y="70"/>
                    <a:pt x="34" y="73"/>
                    <a:pt x="33" y="75"/>
                  </a:cubicBezTo>
                  <a:cubicBezTo>
                    <a:pt x="33" y="76"/>
                    <a:pt x="33" y="77"/>
                    <a:pt x="33" y="78"/>
                  </a:cubicBezTo>
                  <a:cubicBezTo>
                    <a:pt x="36" y="79"/>
                    <a:pt x="39" y="78"/>
                    <a:pt x="42" y="79"/>
                  </a:cubicBezTo>
                  <a:cubicBezTo>
                    <a:pt x="44" y="79"/>
                    <a:pt x="46" y="80"/>
                    <a:pt x="49" y="80"/>
                  </a:cubicBezTo>
                  <a:cubicBezTo>
                    <a:pt x="49" y="80"/>
                    <a:pt x="50" y="79"/>
                    <a:pt x="51" y="79"/>
                  </a:cubicBezTo>
                  <a:cubicBezTo>
                    <a:pt x="53" y="78"/>
                    <a:pt x="55" y="80"/>
                    <a:pt x="57" y="79"/>
                  </a:cubicBezTo>
                  <a:cubicBezTo>
                    <a:pt x="58" y="79"/>
                    <a:pt x="58" y="78"/>
                    <a:pt x="59" y="77"/>
                  </a:cubicBezTo>
                  <a:cubicBezTo>
                    <a:pt x="59" y="77"/>
                    <a:pt x="59" y="76"/>
                    <a:pt x="59" y="75"/>
                  </a:cubicBezTo>
                  <a:cubicBezTo>
                    <a:pt x="60" y="73"/>
                    <a:pt x="62" y="72"/>
                    <a:pt x="63" y="70"/>
                  </a:cubicBezTo>
                  <a:cubicBezTo>
                    <a:pt x="64" y="68"/>
                    <a:pt x="64" y="66"/>
                    <a:pt x="64" y="6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2" name="Freeform 405"/>
            <p:cNvSpPr>
              <a:spLocks/>
            </p:cNvSpPr>
            <p:nvPr/>
          </p:nvSpPr>
          <p:spPr bwMode="auto">
            <a:xfrm>
              <a:off x="6227713" y="5635154"/>
              <a:ext cx="54371" cy="50765"/>
            </a:xfrm>
            <a:custGeom>
              <a:avLst/>
              <a:gdLst>
                <a:gd name="T0" fmla="*/ 39423198 w 41"/>
                <a:gd name="T1" fmla="*/ 22667487 h 47"/>
                <a:gd name="T2" fmla="*/ 36655170 w 41"/>
                <a:gd name="T3" fmla="*/ 27001473 h 47"/>
                <a:gd name="T4" fmla="*/ 35798050 w 41"/>
                <a:gd name="T5" fmla="*/ 28875172 h 47"/>
                <a:gd name="T6" fmla="*/ 37551430 w 41"/>
                <a:gd name="T7" fmla="*/ 31710196 h 47"/>
                <a:gd name="T8" fmla="*/ 37551430 w 41"/>
                <a:gd name="T9" fmla="*/ 34407504 h 47"/>
                <a:gd name="T10" fmla="*/ 29765882 w 41"/>
                <a:gd name="T11" fmla="*/ 44022661 h 47"/>
                <a:gd name="T12" fmla="*/ 25304773 w 41"/>
                <a:gd name="T13" fmla="*/ 43179666 h 47"/>
                <a:gd name="T14" fmla="*/ 17537106 w 41"/>
                <a:gd name="T15" fmla="*/ 43179666 h 47"/>
                <a:gd name="T16" fmla="*/ 14272456 w 41"/>
                <a:gd name="T17" fmla="*/ 41308292 h 47"/>
                <a:gd name="T18" fmla="*/ 2924127 w 41"/>
                <a:gd name="T19" fmla="*/ 37279843 h 47"/>
                <a:gd name="T20" fmla="*/ 0 w 41"/>
                <a:gd name="T21" fmla="*/ 37279843 h 47"/>
                <a:gd name="T22" fmla="*/ 0 w 41"/>
                <a:gd name="T23" fmla="*/ 37279843 h 47"/>
                <a:gd name="T24" fmla="*/ 0 w 41"/>
                <a:gd name="T25" fmla="*/ 32907276 h 47"/>
                <a:gd name="T26" fmla="*/ 0 w 41"/>
                <a:gd name="T27" fmla="*/ 32907276 h 47"/>
                <a:gd name="T28" fmla="*/ 0 w 41"/>
                <a:gd name="T29" fmla="*/ 28237493 h 47"/>
                <a:gd name="T30" fmla="*/ 2026602 w 41"/>
                <a:gd name="T31" fmla="*/ 25383254 h 47"/>
                <a:gd name="T32" fmla="*/ 2026602 w 41"/>
                <a:gd name="T33" fmla="*/ 21467591 h 47"/>
                <a:gd name="T34" fmla="*/ 2026602 w 41"/>
                <a:gd name="T35" fmla="*/ 17759659 h 47"/>
                <a:gd name="T36" fmla="*/ 3624641 w 41"/>
                <a:gd name="T37" fmla="*/ 10235609 h 47"/>
                <a:gd name="T38" fmla="*/ 3624641 w 41"/>
                <a:gd name="T39" fmla="*/ 4690279 h 47"/>
                <a:gd name="T40" fmla="*/ 5692164 w 41"/>
                <a:gd name="T41" fmla="*/ 840908 h 47"/>
                <a:gd name="T42" fmla="*/ 4794643 w 41"/>
                <a:gd name="T43" fmla="*/ 1985974 h 47"/>
                <a:gd name="T44" fmla="*/ 7718763 w 41"/>
                <a:gd name="T45" fmla="*/ 1985974 h 47"/>
                <a:gd name="T46" fmla="*/ 11343417 w 41"/>
                <a:gd name="T47" fmla="*/ 0 h 47"/>
                <a:gd name="T48" fmla="*/ 16367097 w 41"/>
                <a:gd name="T49" fmla="*/ 7519858 h 47"/>
                <a:gd name="T50" fmla="*/ 21161749 w 41"/>
                <a:gd name="T51" fmla="*/ 8399771 h 47"/>
                <a:gd name="T52" fmla="*/ 24073773 w 41"/>
                <a:gd name="T53" fmla="*/ 10235609 h 47"/>
                <a:gd name="T54" fmla="*/ 28074865 w 41"/>
                <a:gd name="T55" fmla="*/ 12226429 h 47"/>
                <a:gd name="T56" fmla="*/ 32535444 w 41"/>
                <a:gd name="T57" fmla="*/ 17133383 h 47"/>
                <a:gd name="T58" fmla="*/ 35798050 w 41"/>
                <a:gd name="T59" fmla="*/ 18640233 h 47"/>
                <a:gd name="T60" fmla="*/ 37551430 w 41"/>
                <a:gd name="T61" fmla="*/ 21467591 h 47"/>
                <a:gd name="T62" fmla="*/ 39423198 w 41"/>
                <a:gd name="T63" fmla="*/ 22667487 h 4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1"/>
                <a:gd name="T97" fmla="*/ 0 h 47"/>
                <a:gd name="T98" fmla="*/ 41 w 41"/>
                <a:gd name="T99" fmla="*/ 47 h 4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1" h="47">
                  <a:moveTo>
                    <a:pt x="41" y="24"/>
                  </a:moveTo>
                  <a:cubicBezTo>
                    <a:pt x="40" y="26"/>
                    <a:pt x="38" y="27"/>
                    <a:pt x="38" y="29"/>
                  </a:cubicBezTo>
                  <a:cubicBezTo>
                    <a:pt x="37" y="30"/>
                    <a:pt x="37" y="31"/>
                    <a:pt x="37" y="31"/>
                  </a:cubicBezTo>
                  <a:cubicBezTo>
                    <a:pt x="38" y="32"/>
                    <a:pt x="38" y="33"/>
                    <a:pt x="39" y="34"/>
                  </a:cubicBezTo>
                  <a:cubicBezTo>
                    <a:pt x="39" y="35"/>
                    <a:pt x="39" y="36"/>
                    <a:pt x="39" y="37"/>
                  </a:cubicBezTo>
                  <a:cubicBezTo>
                    <a:pt x="39" y="42"/>
                    <a:pt x="34" y="44"/>
                    <a:pt x="31" y="47"/>
                  </a:cubicBezTo>
                  <a:cubicBezTo>
                    <a:pt x="29" y="46"/>
                    <a:pt x="27" y="47"/>
                    <a:pt x="26" y="46"/>
                  </a:cubicBezTo>
                  <a:cubicBezTo>
                    <a:pt x="23" y="46"/>
                    <a:pt x="21" y="47"/>
                    <a:pt x="18" y="46"/>
                  </a:cubicBezTo>
                  <a:cubicBezTo>
                    <a:pt x="17" y="46"/>
                    <a:pt x="16" y="44"/>
                    <a:pt x="15" y="44"/>
                  </a:cubicBezTo>
                  <a:cubicBezTo>
                    <a:pt x="11" y="44"/>
                    <a:pt x="6" y="43"/>
                    <a:pt x="3" y="40"/>
                  </a:cubicBezTo>
                  <a:cubicBezTo>
                    <a:pt x="2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8"/>
                    <a:pt x="0" y="37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4"/>
                    <a:pt x="0" y="32"/>
                    <a:pt x="0" y="30"/>
                  </a:cubicBezTo>
                  <a:cubicBezTo>
                    <a:pt x="1" y="29"/>
                    <a:pt x="2" y="28"/>
                    <a:pt x="2" y="27"/>
                  </a:cubicBezTo>
                  <a:cubicBezTo>
                    <a:pt x="3" y="26"/>
                    <a:pt x="3" y="24"/>
                    <a:pt x="2" y="23"/>
                  </a:cubicBezTo>
                  <a:cubicBezTo>
                    <a:pt x="1" y="21"/>
                    <a:pt x="1" y="20"/>
                    <a:pt x="2" y="19"/>
                  </a:cubicBezTo>
                  <a:cubicBezTo>
                    <a:pt x="3" y="17"/>
                    <a:pt x="4" y="13"/>
                    <a:pt x="4" y="11"/>
                  </a:cubicBezTo>
                  <a:cubicBezTo>
                    <a:pt x="4" y="9"/>
                    <a:pt x="4" y="7"/>
                    <a:pt x="4" y="5"/>
                  </a:cubicBezTo>
                  <a:cubicBezTo>
                    <a:pt x="5" y="4"/>
                    <a:pt x="5" y="2"/>
                    <a:pt x="6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7" y="2"/>
                    <a:pt x="8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4" y="3"/>
                    <a:pt x="15" y="6"/>
                    <a:pt x="17" y="8"/>
                  </a:cubicBezTo>
                  <a:cubicBezTo>
                    <a:pt x="18" y="9"/>
                    <a:pt x="20" y="8"/>
                    <a:pt x="22" y="9"/>
                  </a:cubicBezTo>
                  <a:cubicBezTo>
                    <a:pt x="23" y="9"/>
                    <a:pt x="23" y="11"/>
                    <a:pt x="25" y="11"/>
                  </a:cubicBezTo>
                  <a:cubicBezTo>
                    <a:pt x="26" y="12"/>
                    <a:pt x="28" y="13"/>
                    <a:pt x="29" y="13"/>
                  </a:cubicBezTo>
                  <a:cubicBezTo>
                    <a:pt x="31" y="15"/>
                    <a:pt x="32" y="17"/>
                    <a:pt x="34" y="18"/>
                  </a:cubicBezTo>
                  <a:cubicBezTo>
                    <a:pt x="35" y="19"/>
                    <a:pt x="36" y="19"/>
                    <a:pt x="37" y="20"/>
                  </a:cubicBezTo>
                  <a:cubicBezTo>
                    <a:pt x="38" y="21"/>
                    <a:pt x="38" y="22"/>
                    <a:pt x="39" y="23"/>
                  </a:cubicBezTo>
                  <a:lnTo>
                    <a:pt x="41" y="2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3" name="Freeform 406"/>
            <p:cNvSpPr>
              <a:spLocks/>
            </p:cNvSpPr>
            <p:nvPr/>
          </p:nvSpPr>
          <p:spPr bwMode="auto">
            <a:xfrm>
              <a:off x="5971802" y="5317879"/>
              <a:ext cx="62346" cy="62851"/>
            </a:xfrm>
            <a:custGeom>
              <a:avLst/>
              <a:gdLst>
                <a:gd name="T0" fmla="*/ 5793355 w 46"/>
                <a:gd name="T1" fmla="*/ 40869557 h 57"/>
                <a:gd name="T2" fmla="*/ 7958275 w 46"/>
                <a:gd name="T3" fmla="*/ 40225006 h 57"/>
                <a:gd name="T4" fmla="*/ 8768159 w 46"/>
                <a:gd name="T5" fmla="*/ 37200467 h 57"/>
                <a:gd name="T6" fmla="*/ 7958275 w 46"/>
                <a:gd name="T7" fmla="*/ 33584552 h 57"/>
                <a:gd name="T8" fmla="*/ 7048897 w 46"/>
                <a:gd name="T9" fmla="*/ 33584552 h 57"/>
                <a:gd name="T10" fmla="*/ 4894156 w 46"/>
                <a:gd name="T11" fmla="*/ 35106196 h 57"/>
                <a:gd name="T12" fmla="*/ 2974764 w 46"/>
                <a:gd name="T13" fmla="*/ 35106196 h 57"/>
                <a:gd name="T14" fmla="*/ 871647 w 46"/>
                <a:gd name="T15" fmla="*/ 34448893 h 57"/>
                <a:gd name="T16" fmla="*/ 0 w 46"/>
                <a:gd name="T17" fmla="*/ 25674880 h 57"/>
                <a:gd name="T18" fmla="*/ 0 w 46"/>
                <a:gd name="T19" fmla="*/ 22374856 h 57"/>
                <a:gd name="T20" fmla="*/ 2974764 w 46"/>
                <a:gd name="T21" fmla="*/ 20597764 h 57"/>
                <a:gd name="T22" fmla="*/ 3700325 w 46"/>
                <a:gd name="T23" fmla="*/ 15706867 h 57"/>
                <a:gd name="T24" fmla="*/ 5793355 w 46"/>
                <a:gd name="T25" fmla="*/ 11496706 h 57"/>
                <a:gd name="T26" fmla="*/ 7048897 w 46"/>
                <a:gd name="T27" fmla="*/ 7008798 h 57"/>
                <a:gd name="T28" fmla="*/ 10909138 w 46"/>
                <a:gd name="T29" fmla="*/ 2959271 h 57"/>
                <a:gd name="T30" fmla="*/ 15826221 w 46"/>
                <a:gd name="T31" fmla="*/ 0 h 57"/>
                <a:gd name="T32" fmla="*/ 16702818 w 46"/>
                <a:gd name="T33" fmla="*/ 865360 h 57"/>
                <a:gd name="T34" fmla="*/ 20776711 w 46"/>
                <a:gd name="T35" fmla="*/ 2959271 h 57"/>
                <a:gd name="T36" fmla="*/ 23751424 w 46"/>
                <a:gd name="T37" fmla="*/ 4854166 h 57"/>
                <a:gd name="T38" fmla="*/ 25849910 w 46"/>
                <a:gd name="T39" fmla="*/ 5759328 h 57"/>
                <a:gd name="T40" fmla="*/ 25849910 w 46"/>
                <a:gd name="T41" fmla="*/ 7881243 h 57"/>
                <a:gd name="T42" fmla="*/ 26726516 w 46"/>
                <a:gd name="T43" fmla="*/ 8696837 h 57"/>
                <a:gd name="T44" fmla="*/ 37501248 w 46"/>
                <a:gd name="T45" fmla="*/ 8696837 h 57"/>
                <a:gd name="T46" fmla="*/ 39578408 w 46"/>
                <a:gd name="T47" fmla="*/ 10840511 h 57"/>
                <a:gd name="T48" fmla="*/ 43266332 w 46"/>
                <a:gd name="T49" fmla="*/ 13640515 h 57"/>
                <a:gd name="T50" fmla="*/ 43266332 w 46"/>
                <a:gd name="T51" fmla="*/ 13640515 h 57"/>
                <a:gd name="T52" fmla="*/ 43266332 w 46"/>
                <a:gd name="T53" fmla="*/ 14822622 h 57"/>
                <a:gd name="T54" fmla="*/ 44684393 w 46"/>
                <a:gd name="T55" fmla="*/ 16599780 h 57"/>
                <a:gd name="T56" fmla="*/ 44684393 w 46"/>
                <a:gd name="T57" fmla="*/ 24492679 h 57"/>
                <a:gd name="T58" fmla="*/ 38388792 w 46"/>
                <a:gd name="T59" fmla="*/ 31441226 h 57"/>
                <a:gd name="T60" fmla="*/ 36758930 w 46"/>
                <a:gd name="T61" fmla="*/ 32306477 h 57"/>
                <a:gd name="T62" fmla="*/ 28898004 w 46"/>
                <a:gd name="T63" fmla="*/ 37200467 h 57"/>
                <a:gd name="T64" fmla="*/ 23751424 w 46"/>
                <a:gd name="T65" fmla="*/ 39315258 h 57"/>
                <a:gd name="T66" fmla="*/ 19514591 w 46"/>
                <a:gd name="T67" fmla="*/ 43024972 h 57"/>
                <a:gd name="T68" fmla="*/ 17957910 w 46"/>
                <a:gd name="T69" fmla="*/ 52088329 h 57"/>
                <a:gd name="T70" fmla="*/ 15826221 w 46"/>
                <a:gd name="T71" fmla="*/ 55049651 h 57"/>
                <a:gd name="T72" fmla="*/ 13727726 w 46"/>
                <a:gd name="T73" fmla="*/ 55049651 h 57"/>
                <a:gd name="T74" fmla="*/ 11597023 w 46"/>
                <a:gd name="T75" fmla="*/ 52088329 h 57"/>
                <a:gd name="T76" fmla="*/ 4894156 w 46"/>
                <a:gd name="T77" fmla="*/ 50840607 h 57"/>
                <a:gd name="T78" fmla="*/ 3700325 w 46"/>
                <a:gd name="T79" fmla="*/ 48033859 h 57"/>
                <a:gd name="T80" fmla="*/ 7048897 w 46"/>
                <a:gd name="T81" fmla="*/ 47128705 h 57"/>
                <a:gd name="T82" fmla="*/ 7048897 w 46"/>
                <a:gd name="T83" fmla="*/ 42274542 h 57"/>
                <a:gd name="T84" fmla="*/ 5793355 w 46"/>
                <a:gd name="T85" fmla="*/ 40869557 h 5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6"/>
                <a:gd name="T130" fmla="*/ 0 h 57"/>
                <a:gd name="T131" fmla="*/ 46 w 46"/>
                <a:gd name="T132" fmla="*/ 57 h 5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6" h="57">
                  <a:moveTo>
                    <a:pt x="6" y="42"/>
                  </a:moveTo>
                  <a:cubicBezTo>
                    <a:pt x="7" y="42"/>
                    <a:pt x="7" y="41"/>
                    <a:pt x="8" y="41"/>
                  </a:cubicBezTo>
                  <a:cubicBezTo>
                    <a:pt x="8" y="40"/>
                    <a:pt x="9" y="40"/>
                    <a:pt x="9" y="38"/>
                  </a:cubicBezTo>
                  <a:cubicBezTo>
                    <a:pt x="9" y="37"/>
                    <a:pt x="9" y="35"/>
                    <a:pt x="8" y="34"/>
                  </a:cubicBezTo>
                  <a:cubicBezTo>
                    <a:pt x="8" y="34"/>
                    <a:pt x="7" y="34"/>
                    <a:pt x="7" y="34"/>
                  </a:cubicBezTo>
                  <a:cubicBezTo>
                    <a:pt x="6" y="35"/>
                    <a:pt x="6" y="36"/>
                    <a:pt x="5" y="36"/>
                  </a:cubicBezTo>
                  <a:cubicBezTo>
                    <a:pt x="5" y="37"/>
                    <a:pt x="4" y="37"/>
                    <a:pt x="3" y="36"/>
                  </a:cubicBezTo>
                  <a:cubicBezTo>
                    <a:pt x="2" y="36"/>
                    <a:pt x="1" y="35"/>
                    <a:pt x="1" y="35"/>
                  </a:cubicBezTo>
                  <a:cubicBezTo>
                    <a:pt x="0" y="32"/>
                    <a:pt x="1" y="29"/>
                    <a:pt x="0" y="26"/>
                  </a:cubicBezTo>
                  <a:cubicBezTo>
                    <a:pt x="0" y="25"/>
                    <a:pt x="0" y="24"/>
                    <a:pt x="0" y="23"/>
                  </a:cubicBezTo>
                  <a:cubicBezTo>
                    <a:pt x="1" y="22"/>
                    <a:pt x="2" y="22"/>
                    <a:pt x="3" y="21"/>
                  </a:cubicBezTo>
                  <a:cubicBezTo>
                    <a:pt x="3" y="19"/>
                    <a:pt x="3" y="17"/>
                    <a:pt x="4" y="16"/>
                  </a:cubicBezTo>
                  <a:cubicBezTo>
                    <a:pt x="4" y="14"/>
                    <a:pt x="5" y="13"/>
                    <a:pt x="6" y="12"/>
                  </a:cubicBezTo>
                  <a:cubicBezTo>
                    <a:pt x="7" y="10"/>
                    <a:pt x="7" y="9"/>
                    <a:pt x="7" y="7"/>
                  </a:cubicBezTo>
                  <a:cubicBezTo>
                    <a:pt x="8" y="6"/>
                    <a:pt x="10" y="4"/>
                    <a:pt x="11" y="3"/>
                  </a:cubicBezTo>
                  <a:cubicBezTo>
                    <a:pt x="13" y="2"/>
                    <a:pt x="14" y="1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"/>
                    <a:pt x="20" y="2"/>
                    <a:pt x="21" y="3"/>
                  </a:cubicBezTo>
                  <a:cubicBezTo>
                    <a:pt x="21" y="4"/>
                    <a:pt x="23" y="4"/>
                    <a:pt x="24" y="5"/>
                  </a:cubicBezTo>
                  <a:cubicBezTo>
                    <a:pt x="25" y="5"/>
                    <a:pt x="25" y="5"/>
                    <a:pt x="26" y="6"/>
                  </a:cubicBezTo>
                  <a:cubicBezTo>
                    <a:pt x="26" y="6"/>
                    <a:pt x="26" y="7"/>
                    <a:pt x="26" y="8"/>
                  </a:cubicBezTo>
                  <a:cubicBezTo>
                    <a:pt x="26" y="8"/>
                    <a:pt x="27" y="9"/>
                    <a:pt x="27" y="9"/>
                  </a:cubicBezTo>
                  <a:cubicBezTo>
                    <a:pt x="31" y="10"/>
                    <a:pt x="34" y="8"/>
                    <a:pt x="38" y="9"/>
                  </a:cubicBezTo>
                  <a:cubicBezTo>
                    <a:pt x="39" y="10"/>
                    <a:pt x="39" y="11"/>
                    <a:pt x="40" y="11"/>
                  </a:cubicBezTo>
                  <a:cubicBezTo>
                    <a:pt x="41" y="12"/>
                    <a:pt x="42" y="13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5"/>
                    <a:pt x="44" y="15"/>
                  </a:cubicBezTo>
                  <a:cubicBezTo>
                    <a:pt x="44" y="16"/>
                    <a:pt x="45" y="16"/>
                    <a:pt x="45" y="17"/>
                  </a:cubicBezTo>
                  <a:cubicBezTo>
                    <a:pt x="46" y="20"/>
                    <a:pt x="46" y="22"/>
                    <a:pt x="45" y="25"/>
                  </a:cubicBezTo>
                  <a:cubicBezTo>
                    <a:pt x="44" y="27"/>
                    <a:pt x="42" y="30"/>
                    <a:pt x="39" y="32"/>
                  </a:cubicBezTo>
                  <a:cubicBezTo>
                    <a:pt x="39" y="32"/>
                    <a:pt x="38" y="32"/>
                    <a:pt x="37" y="33"/>
                  </a:cubicBezTo>
                  <a:cubicBezTo>
                    <a:pt x="35" y="35"/>
                    <a:pt x="32" y="36"/>
                    <a:pt x="29" y="38"/>
                  </a:cubicBezTo>
                  <a:cubicBezTo>
                    <a:pt x="27" y="38"/>
                    <a:pt x="26" y="39"/>
                    <a:pt x="24" y="40"/>
                  </a:cubicBezTo>
                  <a:cubicBezTo>
                    <a:pt x="22" y="42"/>
                    <a:pt x="21" y="43"/>
                    <a:pt x="20" y="44"/>
                  </a:cubicBezTo>
                  <a:cubicBezTo>
                    <a:pt x="19" y="47"/>
                    <a:pt x="19" y="51"/>
                    <a:pt x="18" y="53"/>
                  </a:cubicBezTo>
                  <a:cubicBezTo>
                    <a:pt x="18" y="54"/>
                    <a:pt x="17" y="55"/>
                    <a:pt x="16" y="56"/>
                  </a:cubicBezTo>
                  <a:cubicBezTo>
                    <a:pt x="16" y="57"/>
                    <a:pt x="15" y="57"/>
                    <a:pt x="14" y="56"/>
                  </a:cubicBezTo>
                  <a:cubicBezTo>
                    <a:pt x="13" y="55"/>
                    <a:pt x="13" y="53"/>
                    <a:pt x="12" y="53"/>
                  </a:cubicBezTo>
                  <a:cubicBezTo>
                    <a:pt x="10" y="52"/>
                    <a:pt x="7" y="53"/>
                    <a:pt x="5" y="52"/>
                  </a:cubicBezTo>
                  <a:cubicBezTo>
                    <a:pt x="4" y="52"/>
                    <a:pt x="4" y="50"/>
                    <a:pt x="4" y="49"/>
                  </a:cubicBezTo>
                  <a:cubicBezTo>
                    <a:pt x="5" y="49"/>
                    <a:pt x="6" y="49"/>
                    <a:pt x="7" y="48"/>
                  </a:cubicBezTo>
                  <a:cubicBezTo>
                    <a:pt x="7" y="47"/>
                    <a:pt x="7" y="45"/>
                    <a:pt x="7" y="43"/>
                  </a:cubicBezTo>
                  <a:lnTo>
                    <a:pt x="6" y="42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4" name="Freeform 407"/>
            <p:cNvSpPr>
              <a:spLocks/>
            </p:cNvSpPr>
            <p:nvPr/>
          </p:nvSpPr>
          <p:spPr bwMode="auto">
            <a:xfrm>
              <a:off x="6103453" y="5549943"/>
              <a:ext cx="173991" cy="334198"/>
            </a:xfrm>
            <a:custGeom>
              <a:avLst/>
              <a:gdLst>
                <a:gd name="T0" fmla="*/ 236432257 w 129"/>
                <a:gd name="T1" fmla="*/ 277999817 h 309"/>
                <a:gd name="T2" fmla="*/ 252825417 w 129"/>
                <a:gd name="T3" fmla="*/ 302197814 h 309"/>
                <a:gd name="T4" fmla="*/ 225024713 w 129"/>
                <a:gd name="T5" fmla="*/ 351850574 h 309"/>
                <a:gd name="T6" fmla="*/ 162040664 w 129"/>
                <a:gd name="T7" fmla="*/ 358452471 h 309"/>
                <a:gd name="T8" fmla="*/ 164932800 w 129"/>
                <a:gd name="T9" fmla="*/ 382298962 h 309"/>
                <a:gd name="T10" fmla="*/ 150773354 w 129"/>
                <a:gd name="T11" fmla="*/ 410781155 h 309"/>
                <a:gd name="T12" fmla="*/ 122145850 w 129"/>
                <a:gd name="T13" fmla="*/ 399840101 h 309"/>
                <a:gd name="T14" fmla="*/ 125902314 w 129"/>
                <a:gd name="T15" fmla="*/ 436593237 h 309"/>
                <a:gd name="T16" fmla="*/ 135428523 w 129"/>
                <a:gd name="T17" fmla="*/ 447794599 h 309"/>
                <a:gd name="T18" fmla="*/ 123888653 w 129"/>
                <a:gd name="T19" fmla="*/ 460700640 h 309"/>
                <a:gd name="T20" fmla="*/ 115279807 w 129"/>
                <a:gd name="T21" fmla="*/ 495518081 h 309"/>
                <a:gd name="T22" fmla="*/ 85998837 w 129"/>
                <a:gd name="T23" fmla="*/ 519624880 h 309"/>
                <a:gd name="T24" fmla="*/ 104028348 w 129"/>
                <a:gd name="T25" fmla="*/ 540827230 h 309"/>
                <a:gd name="T26" fmla="*/ 119412446 w 129"/>
                <a:gd name="T27" fmla="*/ 554362900 h 309"/>
                <a:gd name="T28" fmla="*/ 107653392 w 129"/>
                <a:gd name="T29" fmla="*/ 575886256 h 309"/>
                <a:gd name="T30" fmla="*/ 97249540 w 129"/>
                <a:gd name="T31" fmla="*/ 599730935 h 309"/>
                <a:gd name="T32" fmla="*/ 83029151 w 129"/>
                <a:gd name="T33" fmla="*/ 617273282 h 309"/>
                <a:gd name="T34" fmla="*/ 76253236 w 129"/>
                <a:gd name="T35" fmla="*/ 625414072 h 309"/>
                <a:gd name="T36" fmla="*/ 76253236 w 129"/>
                <a:gd name="T37" fmla="*/ 651991221 h 309"/>
                <a:gd name="T38" fmla="*/ 90759748 w 129"/>
                <a:gd name="T39" fmla="*/ 666926571 h 309"/>
                <a:gd name="T40" fmla="*/ 76253236 w 129"/>
                <a:gd name="T41" fmla="*/ 669532058 h 309"/>
                <a:gd name="T42" fmla="*/ 24537905 w 129"/>
                <a:gd name="T43" fmla="*/ 643079778 h 309"/>
                <a:gd name="T44" fmla="*/ 4760429 w 129"/>
                <a:gd name="T45" fmla="*/ 618758724 h 309"/>
                <a:gd name="T46" fmla="*/ 13270827 w 129"/>
                <a:gd name="T47" fmla="*/ 580170151 h 309"/>
                <a:gd name="T48" fmla="*/ 6866944 w 129"/>
                <a:gd name="T49" fmla="*/ 558343305 h 309"/>
                <a:gd name="T50" fmla="*/ 16235795 w 129"/>
                <a:gd name="T51" fmla="*/ 521329861 h 309"/>
                <a:gd name="T52" fmla="*/ 13270827 w 129"/>
                <a:gd name="T53" fmla="*/ 497482766 h 309"/>
                <a:gd name="T54" fmla="*/ 13270827 w 129"/>
                <a:gd name="T55" fmla="*/ 484578839 h 309"/>
                <a:gd name="T56" fmla="*/ 2013428 w 129"/>
                <a:gd name="T57" fmla="*/ 454134377 h 309"/>
                <a:gd name="T58" fmla="*/ 4760429 w 129"/>
                <a:gd name="T59" fmla="*/ 412746746 h 309"/>
                <a:gd name="T60" fmla="*/ 4760429 w 129"/>
                <a:gd name="T61" fmla="*/ 361101141 h 309"/>
                <a:gd name="T62" fmla="*/ 2013428 w 129"/>
                <a:gd name="T63" fmla="*/ 321400676 h 309"/>
                <a:gd name="T64" fmla="*/ 8515277 w 129"/>
                <a:gd name="T65" fmla="*/ 282689121 h 309"/>
                <a:gd name="T66" fmla="*/ 20133007 w 129"/>
                <a:gd name="T67" fmla="*/ 239261159 h 309"/>
                <a:gd name="T68" fmla="*/ 6866944 w 129"/>
                <a:gd name="T69" fmla="*/ 206226158 h 309"/>
                <a:gd name="T70" fmla="*/ 11255275 w 129"/>
                <a:gd name="T71" fmla="*/ 169479665 h 309"/>
                <a:gd name="T72" fmla="*/ 13270827 w 129"/>
                <a:gd name="T73" fmla="*/ 147082265 h 309"/>
                <a:gd name="T74" fmla="*/ 36373280 w 129"/>
                <a:gd name="T75" fmla="*/ 100314475 h 309"/>
                <a:gd name="T76" fmla="*/ 29504419 w 129"/>
                <a:gd name="T77" fmla="*/ 80101337 h 309"/>
                <a:gd name="T78" fmla="*/ 44668870 w 129"/>
                <a:gd name="T79" fmla="*/ 46025126 h 309"/>
                <a:gd name="T80" fmla="*/ 65669997 w 129"/>
                <a:gd name="T81" fmla="*/ 1965688 h 309"/>
                <a:gd name="T82" fmla="*/ 94296422 w 129"/>
                <a:gd name="T83" fmla="*/ 12906574 h 309"/>
                <a:gd name="T84" fmla="*/ 117398937 w 129"/>
                <a:gd name="T85" fmla="*/ 1965688 h 309"/>
                <a:gd name="T86" fmla="*/ 146903327 w 129"/>
                <a:gd name="T87" fmla="*/ 32415140 h 309"/>
                <a:gd name="T88" fmla="*/ 185082424 w 129"/>
                <a:gd name="T89" fmla="*/ 49651798 h 309"/>
                <a:gd name="T90" fmla="*/ 221427285 w 129"/>
                <a:gd name="T91" fmla="*/ 82771524 h 309"/>
                <a:gd name="T92" fmla="*/ 225024713 w 129"/>
                <a:gd name="T93" fmla="*/ 113221120 h 309"/>
                <a:gd name="T94" fmla="*/ 264195887 w 129"/>
                <a:gd name="T95" fmla="*/ 108583530 h 309"/>
                <a:gd name="T96" fmla="*/ 285932683 w 129"/>
                <a:gd name="T97" fmla="*/ 78440275 h 309"/>
                <a:gd name="T98" fmla="*/ 279427382 w 129"/>
                <a:gd name="T99" fmla="*/ 110549197 h 309"/>
                <a:gd name="T100" fmla="*/ 236432257 w 129"/>
                <a:gd name="T101" fmla="*/ 164843208 h 309"/>
                <a:gd name="T102" fmla="*/ 229931040 w 129"/>
                <a:gd name="T103" fmla="*/ 174117179 h 309"/>
                <a:gd name="T104" fmla="*/ 221427285 w 129"/>
                <a:gd name="T105" fmla="*/ 222071374 h 309"/>
                <a:gd name="T106" fmla="*/ 216661986 w 129"/>
                <a:gd name="T107" fmla="*/ 247881343 h 30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29"/>
                <a:gd name="T163" fmla="*/ 0 h 309"/>
                <a:gd name="T164" fmla="*/ 129 w 129"/>
                <a:gd name="T165" fmla="*/ 309 h 30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29" h="309">
                  <a:moveTo>
                    <a:pt x="96" y="119"/>
                  </a:moveTo>
                  <a:cubicBezTo>
                    <a:pt x="95" y="120"/>
                    <a:pt x="96" y="122"/>
                    <a:pt x="98" y="122"/>
                  </a:cubicBezTo>
                  <a:cubicBezTo>
                    <a:pt x="98" y="123"/>
                    <a:pt x="100" y="123"/>
                    <a:pt x="101" y="124"/>
                  </a:cubicBezTo>
                  <a:cubicBezTo>
                    <a:pt x="103" y="125"/>
                    <a:pt x="104" y="126"/>
                    <a:pt x="105" y="128"/>
                  </a:cubicBezTo>
                  <a:cubicBezTo>
                    <a:pt x="106" y="128"/>
                    <a:pt x="106" y="129"/>
                    <a:pt x="107" y="129"/>
                  </a:cubicBezTo>
                  <a:cubicBezTo>
                    <a:pt x="109" y="130"/>
                    <a:pt x="108" y="132"/>
                    <a:pt x="107" y="133"/>
                  </a:cubicBezTo>
                  <a:cubicBezTo>
                    <a:pt x="106" y="135"/>
                    <a:pt x="107" y="138"/>
                    <a:pt x="109" y="139"/>
                  </a:cubicBezTo>
                  <a:cubicBezTo>
                    <a:pt x="110" y="140"/>
                    <a:pt x="111" y="139"/>
                    <a:pt x="112" y="139"/>
                  </a:cubicBezTo>
                  <a:cubicBezTo>
                    <a:pt x="114" y="144"/>
                    <a:pt x="111" y="149"/>
                    <a:pt x="109" y="153"/>
                  </a:cubicBezTo>
                  <a:cubicBezTo>
                    <a:pt x="108" y="155"/>
                    <a:pt x="107" y="156"/>
                    <a:pt x="105" y="157"/>
                  </a:cubicBezTo>
                  <a:cubicBezTo>
                    <a:pt x="105" y="158"/>
                    <a:pt x="104" y="159"/>
                    <a:pt x="103" y="160"/>
                  </a:cubicBezTo>
                  <a:cubicBezTo>
                    <a:pt x="102" y="161"/>
                    <a:pt x="100" y="162"/>
                    <a:pt x="100" y="162"/>
                  </a:cubicBezTo>
                  <a:cubicBezTo>
                    <a:pt x="97" y="163"/>
                    <a:pt x="95" y="165"/>
                    <a:pt x="93" y="165"/>
                  </a:cubicBezTo>
                  <a:cubicBezTo>
                    <a:pt x="90" y="165"/>
                    <a:pt x="87" y="166"/>
                    <a:pt x="85" y="167"/>
                  </a:cubicBezTo>
                  <a:cubicBezTo>
                    <a:pt x="81" y="167"/>
                    <a:pt x="78" y="168"/>
                    <a:pt x="74" y="167"/>
                  </a:cubicBezTo>
                  <a:cubicBezTo>
                    <a:pt x="73" y="167"/>
                    <a:pt x="73" y="166"/>
                    <a:pt x="72" y="165"/>
                  </a:cubicBezTo>
                  <a:cubicBezTo>
                    <a:pt x="72" y="165"/>
                    <a:pt x="71" y="165"/>
                    <a:pt x="71" y="165"/>
                  </a:cubicBezTo>
                  <a:cubicBezTo>
                    <a:pt x="71" y="167"/>
                    <a:pt x="71" y="168"/>
                    <a:pt x="71" y="170"/>
                  </a:cubicBezTo>
                  <a:cubicBezTo>
                    <a:pt x="72" y="170"/>
                    <a:pt x="73" y="171"/>
                    <a:pt x="73" y="172"/>
                  </a:cubicBezTo>
                  <a:cubicBezTo>
                    <a:pt x="73" y="173"/>
                    <a:pt x="73" y="175"/>
                    <a:pt x="73" y="176"/>
                  </a:cubicBezTo>
                  <a:cubicBezTo>
                    <a:pt x="72" y="177"/>
                    <a:pt x="71" y="178"/>
                    <a:pt x="71" y="178"/>
                  </a:cubicBezTo>
                  <a:cubicBezTo>
                    <a:pt x="70" y="180"/>
                    <a:pt x="72" y="181"/>
                    <a:pt x="72" y="183"/>
                  </a:cubicBezTo>
                  <a:cubicBezTo>
                    <a:pt x="73" y="184"/>
                    <a:pt x="73" y="185"/>
                    <a:pt x="72" y="186"/>
                  </a:cubicBezTo>
                  <a:cubicBezTo>
                    <a:pt x="71" y="187"/>
                    <a:pt x="69" y="189"/>
                    <a:pt x="67" y="189"/>
                  </a:cubicBezTo>
                  <a:cubicBezTo>
                    <a:pt x="65" y="190"/>
                    <a:pt x="63" y="190"/>
                    <a:pt x="61" y="189"/>
                  </a:cubicBezTo>
                  <a:cubicBezTo>
                    <a:pt x="61" y="189"/>
                    <a:pt x="61" y="187"/>
                    <a:pt x="60" y="187"/>
                  </a:cubicBezTo>
                  <a:cubicBezTo>
                    <a:pt x="59" y="186"/>
                    <a:pt x="58" y="187"/>
                    <a:pt x="56" y="186"/>
                  </a:cubicBezTo>
                  <a:cubicBezTo>
                    <a:pt x="55" y="186"/>
                    <a:pt x="55" y="185"/>
                    <a:pt x="54" y="184"/>
                  </a:cubicBezTo>
                  <a:cubicBezTo>
                    <a:pt x="53" y="184"/>
                    <a:pt x="51" y="184"/>
                    <a:pt x="51" y="185"/>
                  </a:cubicBezTo>
                  <a:cubicBezTo>
                    <a:pt x="51" y="187"/>
                    <a:pt x="51" y="189"/>
                    <a:pt x="53" y="190"/>
                  </a:cubicBezTo>
                  <a:cubicBezTo>
                    <a:pt x="53" y="193"/>
                    <a:pt x="52" y="196"/>
                    <a:pt x="53" y="198"/>
                  </a:cubicBezTo>
                  <a:cubicBezTo>
                    <a:pt x="54" y="199"/>
                    <a:pt x="55" y="200"/>
                    <a:pt x="56" y="201"/>
                  </a:cubicBezTo>
                  <a:cubicBezTo>
                    <a:pt x="57" y="201"/>
                    <a:pt x="58" y="201"/>
                    <a:pt x="58" y="202"/>
                  </a:cubicBezTo>
                  <a:cubicBezTo>
                    <a:pt x="59" y="204"/>
                    <a:pt x="56" y="204"/>
                    <a:pt x="55" y="205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6" y="207"/>
                    <a:pt x="58" y="206"/>
                    <a:pt x="60" y="206"/>
                  </a:cubicBezTo>
                  <a:cubicBezTo>
                    <a:pt x="60" y="207"/>
                    <a:pt x="60" y="207"/>
                    <a:pt x="60" y="207"/>
                  </a:cubicBezTo>
                  <a:cubicBezTo>
                    <a:pt x="59" y="208"/>
                    <a:pt x="58" y="209"/>
                    <a:pt x="58" y="210"/>
                  </a:cubicBezTo>
                  <a:cubicBezTo>
                    <a:pt x="58" y="210"/>
                    <a:pt x="58" y="210"/>
                    <a:pt x="58" y="210"/>
                  </a:cubicBezTo>
                  <a:cubicBezTo>
                    <a:pt x="57" y="211"/>
                    <a:pt x="56" y="211"/>
                    <a:pt x="55" y="212"/>
                  </a:cubicBezTo>
                  <a:cubicBezTo>
                    <a:pt x="54" y="213"/>
                    <a:pt x="54" y="214"/>
                    <a:pt x="54" y="215"/>
                  </a:cubicBezTo>
                  <a:cubicBezTo>
                    <a:pt x="52" y="218"/>
                    <a:pt x="53" y="221"/>
                    <a:pt x="53" y="224"/>
                  </a:cubicBezTo>
                  <a:cubicBezTo>
                    <a:pt x="53" y="225"/>
                    <a:pt x="52" y="225"/>
                    <a:pt x="52" y="226"/>
                  </a:cubicBezTo>
                  <a:cubicBezTo>
                    <a:pt x="52" y="227"/>
                    <a:pt x="52" y="228"/>
                    <a:pt x="51" y="228"/>
                  </a:cubicBezTo>
                  <a:cubicBezTo>
                    <a:pt x="51" y="230"/>
                    <a:pt x="48" y="228"/>
                    <a:pt x="47" y="229"/>
                  </a:cubicBezTo>
                  <a:cubicBezTo>
                    <a:pt x="46" y="230"/>
                    <a:pt x="46" y="231"/>
                    <a:pt x="45" y="232"/>
                  </a:cubicBezTo>
                  <a:cubicBezTo>
                    <a:pt x="44" y="232"/>
                    <a:pt x="43" y="232"/>
                    <a:pt x="43" y="232"/>
                  </a:cubicBezTo>
                  <a:cubicBezTo>
                    <a:pt x="41" y="234"/>
                    <a:pt x="39" y="236"/>
                    <a:pt x="38" y="239"/>
                  </a:cubicBezTo>
                  <a:cubicBezTo>
                    <a:pt x="37" y="240"/>
                    <a:pt x="37" y="241"/>
                    <a:pt x="38" y="243"/>
                  </a:cubicBezTo>
                  <a:cubicBezTo>
                    <a:pt x="38" y="244"/>
                    <a:pt x="38" y="245"/>
                    <a:pt x="39" y="245"/>
                  </a:cubicBezTo>
                  <a:cubicBezTo>
                    <a:pt x="40" y="246"/>
                    <a:pt x="41" y="247"/>
                    <a:pt x="42" y="247"/>
                  </a:cubicBezTo>
                  <a:cubicBezTo>
                    <a:pt x="43" y="248"/>
                    <a:pt x="44" y="249"/>
                    <a:pt x="46" y="249"/>
                  </a:cubicBezTo>
                  <a:cubicBezTo>
                    <a:pt x="46" y="250"/>
                    <a:pt x="47" y="250"/>
                    <a:pt x="47" y="251"/>
                  </a:cubicBezTo>
                  <a:cubicBezTo>
                    <a:pt x="48" y="251"/>
                    <a:pt x="49" y="251"/>
                    <a:pt x="50" y="251"/>
                  </a:cubicBezTo>
                  <a:cubicBezTo>
                    <a:pt x="51" y="251"/>
                    <a:pt x="53" y="252"/>
                    <a:pt x="53" y="253"/>
                  </a:cubicBezTo>
                  <a:cubicBezTo>
                    <a:pt x="54" y="254"/>
                    <a:pt x="54" y="255"/>
                    <a:pt x="53" y="255"/>
                  </a:cubicBezTo>
                  <a:cubicBezTo>
                    <a:pt x="52" y="257"/>
                    <a:pt x="52" y="258"/>
                    <a:pt x="53" y="260"/>
                  </a:cubicBezTo>
                  <a:cubicBezTo>
                    <a:pt x="54" y="261"/>
                    <a:pt x="53" y="261"/>
                    <a:pt x="53" y="262"/>
                  </a:cubicBezTo>
                  <a:cubicBezTo>
                    <a:pt x="52" y="263"/>
                    <a:pt x="51" y="262"/>
                    <a:pt x="50" y="263"/>
                  </a:cubicBezTo>
                  <a:cubicBezTo>
                    <a:pt x="49" y="263"/>
                    <a:pt x="48" y="264"/>
                    <a:pt x="48" y="265"/>
                  </a:cubicBezTo>
                  <a:cubicBezTo>
                    <a:pt x="47" y="267"/>
                    <a:pt x="45" y="267"/>
                    <a:pt x="44" y="269"/>
                  </a:cubicBezTo>
                  <a:cubicBezTo>
                    <a:pt x="43" y="270"/>
                    <a:pt x="42" y="271"/>
                    <a:pt x="42" y="272"/>
                  </a:cubicBezTo>
                  <a:cubicBezTo>
                    <a:pt x="42" y="272"/>
                    <a:pt x="42" y="273"/>
                    <a:pt x="42" y="274"/>
                  </a:cubicBezTo>
                  <a:cubicBezTo>
                    <a:pt x="42" y="275"/>
                    <a:pt x="43" y="275"/>
                    <a:pt x="43" y="276"/>
                  </a:cubicBezTo>
                  <a:cubicBezTo>
                    <a:pt x="43" y="277"/>
                    <a:pt x="43" y="278"/>
                    <a:pt x="43" y="279"/>
                  </a:cubicBezTo>
                  <a:cubicBezTo>
                    <a:pt x="42" y="281"/>
                    <a:pt x="41" y="282"/>
                    <a:pt x="41" y="283"/>
                  </a:cubicBezTo>
                  <a:cubicBezTo>
                    <a:pt x="41" y="284"/>
                    <a:pt x="40" y="284"/>
                    <a:pt x="40" y="284"/>
                  </a:cubicBezTo>
                  <a:cubicBezTo>
                    <a:pt x="39" y="285"/>
                    <a:pt x="38" y="285"/>
                    <a:pt x="37" y="284"/>
                  </a:cubicBezTo>
                  <a:cubicBezTo>
                    <a:pt x="37" y="284"/>
                    <a:pt x="36" y="284"/>
                    <a:pt x="36" y="284"/>
                  </a:cubicBezTo>
                  <a:cubicBezTo>
                    <a:pt x="36" y="284"/>
                    <a:pt x="35" y="284"/>
                    <a:pt x="35" y="284"/>
                  </a:cubicBezTo>
                  <a:cubicBezTo>
                    <a:pt x="35" y="285"/>
                    <a:pt x="36" y="286"/>
                    <a:pt x="34" y="287"/>
                  </a:cubicBezTo>
                  <a:cubicBezTo>
                    <a:pt x="34" y="287"/>
                    <a:pt x="34" y="288"/>
                    <a:pt x="34" y="288"/>
                  </a:cubicBezTo>
                  <a:cubicBezTo>
                    <a:pt x="34" y="288"/>
                    <a:pt x="34" y="288"/>
                    <a:pt x="34" y="288"/>
                  </a:cubicBezTo>
                  <a:cubicBezTo>
                    <a:pt x="33" y="291"/>
                    <a:pt x="34" y="293"/>
                    <a:pt x="34" y="296"/>
                  </a:cubicBezTo>
                  <a:cubicBezTo>
                    <a:pt x="35" y="296"/>
                    <a:pt x="35" y="296"/>
                    <a:pt x="35" y="296"/>
                  </a:cubicBezTo>
                  <a:cubicBezTo>
                    <a:pt x="34" y="297"/>
                    <a:pt x="33" y="298"/>
                    <a:pt x="34" y="300"/>
                  </a:cubicBezTo>
                  <a:cubicBezTo>
                    <a:pt x="34" y="300"/>
                    <a:pt x="35" y="300"/>
                    <a:pt x="35" y="301"/>
                  </a:cubicBezTo>
                  <a:cubicBezTo>
                    <a:pt x="36" y="302"/>
                    <a:pt x="36" y="303"/>
                    <a:pt x="36" y="304"/>
                  </a:cubicBezTo>
                  <a:cubicBezTo>
                    <a:pt x="37" y="305"/>
                    <a:pt x="38" y="306"/>
                    <a:pt x="39" y="306"/>
                  </a:cubicBezTo>
                  <a:cubicBezTo>
                    <a:pt x="40" y="307"/>
                    <a:pt x="40" y="307"/>
                    <a:pt x="40" y="307"/>
                  </a:cubicBezTo>
                  <a:cubicBezTo>
                    <a:pt x="41" y="307"/>
                    <a:pt x="41" y="308"/>
                    <a:pt x="41" y="308"/>
                  </a:cubicBezTo>
                  <a:cubicBezTo>
                    <a:pt x="40" y="309"/>
                    <a:pt x="40" y="309"/>
                    <a:pt x="40" y="309"/>
                  </a:cubicBezTo>
                  <a:cubicBezTo>
                    <a:pt x="38" y="309"/>
                    <a:pt x="36" y="309"/>
                    <a:pt x="34" y="309"/>
                  </a:cubicBezTo>
                  <a:cubicBezTo>
                    <a:pt x="34" y="308"/>
                    <a:pt x="34" y="308"/>
                    <a:pt x="34" y="308"/>
                  </a:cubicBezTo>
                  <a:cubicBezTo>
                    <a:pt x="35" y="306"/>
                    <a:pt x="33" y="305"/>
                    <a:pt x="31" y="305"/>
                  </a:cubicBezTo>
                  <a:cubicBezTo>
                    <a:pt x="25" y="304"/>
                    <a:pt x="20" y="306"/>
                    <a:pt x="14" y="305"/>
                  </a:cubicBezTo>
                  <a:cubicBezTo>
                    <a:pt x="14" y="305"/>
                    <a:pt x="14" y="304"/>
                    <a:pt x="13" y="303"/>
                  </a:cubicBezTo>
                  <a:cubicBezTo>
                    <a:pt x="13" y="300"/>
                    <a:pt x="11" y="298"/>
                    <a:pt x="11" y="296"/>
                  </a:cubicBezTo>
                  <a:cubicBezTo>
                    <a:pt x="10" y="294"/>
                    <a:pt x="11" y="292"/>
                    <a:pt x="10" y="290"/>
                  </a:cubicBezTo>
                  <a:cubicBezTo>
                    <a:pt x="9" y="288"/>
                    <a:pt x="6" y="290"/>
                    <a:pt x="4" y="291"/>
                  </a:cubicBezTo>
                  <a:cubicBezTo>
                    <a:pt x="4" y="291"/>
                    <a:pt x="3" y="291"/>
                    <a:pt x="3" y="291"/>
                  </a:cubicBezTo>
                  <a:cubicBezTo>
                    <a:pt x="2" y="289"/>
                    <a:pt x="2" y="287"/>
                    <a:pt x="2" y="285"/>
                  </a:cubicBezTo>
                  <a:cubicBezTo>
                    <a:pt x="1" y="283"/>
                    <a:pt x="1" y="281"/>
                    <a:pt x="1" y="278"/>
                  </a:cubicBezTo>
                  <a:cubicBezTo>
                    <a:pt x="0" y="277"/>
                    <a:pt x="0" y="277"/>
                    <a:pt x="1" y="275"/>
                  </a:cubicBezTo>
                  <a:cubicBezTo>
                    <a:pt x="2" y="274"/>
                    <a:pt x="3" y="271"/>
                    <a:pt x="4" y="270"/>
                  </a:cubicBezTo>
                  <a:cubicBezTo>
                    <a:pt x="5" y="269"/>
                    <a:pt x="6" y="268"/>
                    <a:pt x="6" y="267"/>
                  </a:cubicBezTo>
                  <a:cubicBezTo>
                    <a:pt x="6" y="266"/>
                    <a:pt x="6" y="265"/>
                    <a:pt x="6" y="263"/>
                  </a:cubicBezTo>
                  <a:cubicBezTo>
                    <a:pt x="6" y="263"/>
                    <a:pt x="6" y="263"/>
                    <a:pt x="6" y="262"/>
                  </a:cubicBezTo>
                  <a:cubicBezTo>
                    <a:pt x="5" y="261"/>
                    <a:pt x="4" y="261"/>
                    <a:pt x="4" y="260"/>
                  </a:cubicBezTo>
                  <a:cubicBezTo>
                    <a:pt x="3" y="259"/>
                    <a:pt x="3" y="258"/>
                    <a:pt x="3" y="257"/>
                  </a:cubicBezTo>
                  <a:cubicBezTo>
                    <a:pt x="5" y="255"/>
                    <a:pt x="6" y="253"/>
                    <a:pt x="7" y="251"/>
                  </a:cubicBezTo>
                  <a:cubicBezTo>
                    <a:pt x="8" y="250"/>
                    <a:pt x="8" y="248"/>
                    <a:pt x="8" y="247"/>
                  </a:cubicBezTo>
                  <a:cubicBezTo>
                    <a:pt x="8" y="246"/>
                    <a:pt x="8" y="245"/>
                    <a:pt x="8" y="244"/>
                  </a:cubicBezTo>
                  <a:cubicBezTo>
                    <a:pt x="7" y="242"/>
                    <a:pt x="8" y="241"/>
                    <a:pt x="7" y="240"/>
                  </a:cubicBezTo>
                  <a:cubicBezTo>
                    <a:pt x="7" y="238"/>
                    <a:pt x="6" y="237"/>
                    <a:pt x="7" y="236"/>
                  </a:cubicBezTo>
                  <a:cubicBezTo>
                    <a:pt x="8" y="235"/>
                    <a:pt x="9" y="233"/>
                    <a:pt x="9" y="230"/>
                  </a:cubicBezTo>
                  <a:cubicBezTo>
                    <a:pt x="8" y="230"/>
                    <a:pt x="8" y="230"/>
                    <a:pt x="8" y="229"/>
                  </a:cubicBezTo>
                  <a:cubicBezTo>
                    <a:pt x="7" y="229"/>
                    <a:pt x="6" y="229"/>
                    <a:pt x="6" y="229"/>
                  </a:cubicBezTo>
                  <a:cubicBezTo>
                    <a:pt x="5" y="228"/>
                    <a:pt x="4" y="228"/>
                    <a:pt x="5" y="227"/>
                  </a:cubicBezTo>
                  <a:cubicBezTo>
                    <a:pt x="5" y="226"/>
                    <a:pt x="5" y="226"/>
                    <a:pt x="5" y="226"/>
                  </a:cubicBezTo>
                  <a:cubicBezTo>
                    <a:pt x="7" y="226"/>
                    <a:pt x="10" y="227"/>
                    <a:pt x="9" y="225"/>
                  </a:cubicBezTo>
                  <a:cubicBezTo>
                    <a:pt x="9" y="224"/>
                    <a:pt x="7" y="223"/>
                    <a:pt x="6" y="223"/>
                  </a:cubicBezTo>
                  <a:cubicBezTo>
                    <a:pt x="6" y="222"/>
                    <a:pt x="4" y="223"/>
                    <a:pt x="4" y="222"/>
                  </a:cubicBezTo>
                  <a:cubicBezTo>
                    <a:pt x="4" y="220"/>
                    <a:pt x="4" y="217"/>
                    <a:pt x="4" y="215"/>
                  </a:cubicBezTo>
                  <a:cubicBezTo>
                    <a:pt x="4" y="214"/>
                    <a:pt x="3" y="212"/>
                    <a:pt x="3" y="211"/>
                  </a:cubicBezTo>
                  <a:cubicBezTo>
                    <a:pt x="3" y="210"/>
                    <a:pt x="2" y="209"/>
                    <a:pt x="1" y="209"/>
                  </a:cubicBezTo>
                  <a:cubicBezTo>
                    <a:pt x="1" y="208"/>
                    <a:pt x="2" y="206"/>
                    <a:pt x="1" y="205"/>
                  </a:cubicBezTo>
                  <a:cubicBezTo>
                    <a:pt x="1" y="205"/>
                    <a:pt x="0" y="205"/>
                    <a:pt x="0" y="204"/>
                  </a:cubicBezTo>
                  <a:cubicBezTo>
                    <a:pt x="0" y="203"/>
                    <a:pt x="0" y="201"/>
                    <a:pt x="1" y="199"/>
                  </a:cubicBezTo>
                  <a:cubicBezTo>
                    <a:pt x="2" y="196"/>
                    <a:pt x="2" y="193"/>
                    <a:pt x="2" y="190"/>
                  </a:cubicBezTo>
                  <a:cubicBezTo>
                    <a:pt x="0" y="186"/>
                    <a:pt x="0" y="182"/>
                    <a:pt x="0" y="177"/>
                  </a:cubicBezTo>
                  <a:cubicBezTo>
                    <a:pt x="2" y="174"/>
                    <a:pt x="1" y="171"/>
                    <a:pt x="1" y="168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1" y="167"/>
                    <a:pt x="1" y="166"/>
                    <a:pt x="2" y="166"/>
                  </a:cubicBezTo>
                  <a:cubicBezTo>
                    <a:pt x="2" y="164"/>
                    <a:pt x="4" y="164"/>
                    <a:pt x="4" y="163"/>
                  </a:cubicBezTo>
                  <a:cubicBezTo>
                    <a:pt x="5" y="163"/>
                    <a:pt x="5" y="162"/>
                    <a:pt x="4" y="161"/>
                  </a:cubicBezTo>
                  <a:cubicBezTo>
                    <a:pt x="2" y="158"/>
                    <a:pt x="2" y="155"/>
                    <a:pt x="2" y="151"/>
                  </a:cubicBezTo>
                  <a:cubicBezTo>
                    <a:pt x="2" y="150"/>
                    <a:pt x="1" y="149"/>
                    <a:pt x="1" y="148"/>
                  </a:cubicBezTo>
                  <a:cubicBezTo>
                    <a:pt x="1" y="146"/>
                    <a:pt x="1" y="145"/>
                    <a:pt x="1" y="144"/>
                  </a:cubicBezTo>
                  <a:cubicBezTo>
                    <a:pt x="2" y="142"/>
                    <a:pt x="4" y="141"/>
                    <a:pt x="5" y="139"/>
                  </a:cubicBezTo>
                  <a:cubicBezTo>
                    <a:pt x="6" y="137"/>
                    <a:pt x="6" y="135"/>
                    <a:pt x="6" y="133"/>
                  </a:cubicBezTo>
                  <a:cubicBezTo>
                    <a:pt x="5" y="132"/>
                    <a:pt x="5" y="131"/>
                    <a:pt x="4" y="130"/>
                  </a:cubicBezTo>
                  <a:cubicBezTo>
                    <a:pt x="4" y="129"/>
                    <a:pt x="4" y="128"/>
                    <a:pt x="4" y="128"/>
                  </a:cubicBezTo>
                  <a:cubicBezTo>
                    <a:pt x="5" y="127"/>
                    <a:pt x="5" y="126"/>
                    <a:pt x="6" y="126"/>
                  </a:cubicBezTo>
                  <a:cubicBezTo>
                    <a:pt x="6" y="124"/>
                    <a:pt x="7" y="122"/>
                    <a:pt x="7" y="121"/>
                  </a:cubicBezTo>
                  <a:cubicBezTo>
                    <a:pt x="8" y="117"/>
                    <a:pt x="9" y="114"/>
                    <a:pt x="9" y="110"/>
                  </a:cubicBezTo>
                  <a:cubicBezTo>
                    <a:pt x="8" y="109"/>
                    <a:pt x="6" y="109"/>
                    <a:pt x="6" y="108"/>
                  </a:cubicBezTo>
                  <a:cubicBezTo>
                    <a:pt x="5" y="106"/>
                    <a:pt x="6" y="104"/>
                    <a:pt x="6" y="101"/>
                  </a:cubicBezTo>
                  <a:cubicBezTo>
                    <a:pt x="5" y="100"/>
                    <a:pt x="4" y="100"/>
                    <a:pt x="3" y="99"/>
                  </a:cubicBezTo>
                  <a:cubicBezTo>
                    <a:pt x="3" y="98"/>
                    <a:pt x="4" y="96"/>
                    <a:pt x="3" y="95"/>
                  </a:cubicBezTo>
                  <a:cubicBezTo>
                    <a:pt x="2" y="94"/>
                    <a:pt x="1" y="94"/>
                    <a:pt x="1" y="93"/>
                  </a:cubicBezTo>
                  <a:cubicBezTo>
                    <a:pt x="0" y="92"/>
                    <a:pt x="0" y="90"/>
                    <a:pt x="1" y="89"/>
                  </a:cubicBezTo>
                  <a:cubicBezTo>
                    <a:pt x="2" y="88"/>
                    <a:pt x="4" y="87"/>
                    <a:pt x="5" y="85"/>
                  </a:cubicBezTo>
                  <a:cubicBezTo>
                    <a:pt x="5" y="83"/>
                    <a:pt x="5" y="80"/>
                    <a:pt x="5" y="78"/>
                  </a:cubicBezTo>
                  <a:cubicBezTo>
                    <a:pt x="4" y="77"/>
                    <a:pt x="4" y="76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3"/>
                    <a:pt x="4" y="72"/>
                    <a:pt x="4" y="71"/>
                  </a:cubicBezTo>
                  <a:cubicBezTo>
                    <a:pt x="4" y="69"/>
                    <a:pt x="6" y="69"/>
                    <a:pt x="6" y="68"/>
                  </a:cubicBezTo>
                  <a:cubicBezTo>
                    <a:pt x="7" y="65"/>
                    <a:pt x="6" y="63"/>
                    <a:pt x="7" y="61"/>
                  </a:cubicBezTo>
                  <a:cubicBezTo>
                    <a:pt x="8" y="59"/>
                    <a:pt x="10" y="57"/>
                    <a:pt x="11" y="55"/>
                  </a:cubicBezTo>
                  <a:cubicBezTo>
                    <a:pt x="11" y="54"/>
                    <a:pt x="10" y="52"/>
                    <a:pt x="12" y="52"/>
                  </a:cubicBezTo>
                  <a:cubicBezTo>
                    <a:pt x="14" y="51"/>
                    <a:pt x="17" y="48"/>
                    <a:pt x="16" y="46"/>
                  </a:cubicBezTo>
                  <a:cubicBezTo>
                    <a:pt x="15" y="45"/>
                    <a:pt x="14" y="45"/>
                    <a:pt x="14" y="44"/>
                  </a:cubicBezTo>
                  <a:cubicBezTo>
                    <a:pt x="13" y="43"/>
                    <a:pt x="14" y="42"/>
                    <a:pt x="14" y="41"/>
                  </a:cubicBezTo>
                  <a:cubicBezTo>
                    <a:pt x="14" y="40"/>
                    <a:pt x="15" y="39"/>
                    <a:pt x="14" y="39"/>
                  </a:cubicBezTo>
                  <a:cubicBezTo>
                    <a:pt x="14" y="38"/>
                    <a:pt x="13" y="37"/>
                    <a:pt x="13" y="37"/>
                  </a:cubicBezTo>
                  <a:cubicBezTo>
                    <a:pt x="13" y="35"/>
                    <a:pt x="13" y="33"/>
                    <a:pt x="15" y="31"/>
                  </a:cubicBezTo>
                  <a:cubicBezTo>
                    <a:pt x="16" y="30"/>
                    <a:pt x="15" y="28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6" y="24"/>
                    <a:pt x="18" y="23"/>
                    <a:pt x="20" y="21"/>
                  </a:cubicBezTo>
                  <a:cubicBezTo>
                    <a:pt x="21" y="20"/>
                    <a:pt x="22" y="20"/>
                    <a:pt x="22" y="19"/>
                  </a:cubicBezTo>
                  <a:cubicBezTo>
                    <a:pt x="23" y="16"/>
                    <a:pt x="23" y="12"/>
                    <a:pt x="23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5" y="5"/>
                    <a:pt x="26" y="4"/>
                    <a:pt x="29" y="1"/>
                  </a:cubicBezTo>
                  <a:cubicBezTo>
                    <a:pt x="30" y="1"/>
                    <a:pt x="30" y="0"/>
                    <a:pt x="31" y="0"/>
                  </a:cubicBezTo>
                  <a:cubicBezTo>
                    <a:pt x="32" y="1"/>
                    <a:pt x="33" y="2"/>
                    <a:pt x="34" y="2"/>
                  </a:cubicBezTo>
                  <a:cubicBezTo>
                    <a:pt x="36" y="3"/>
                    <a:pt x="38" y="2"/>
                    <a:pt x="39" y="3"/>
                  </a:cubicBezTo>
                  <a:cubicBezTo>
                    <a:pt x="41" y="3"/>
                    <a:pt x="41" y="5"/>
                    <a:pt x="42" y="6"/>
                  </a:cubicBezTo>
                  <a:cubicBezTo>
                    <a:pt x="43" y="7"/>
                    <a:pt x="44" y="8"/>
                    <a:pt x="44" y="7"/>
                  </a:cubicBezTo>
                  <a:cubicBezTo>
                    <a:pt x="45" y="6"/>
                    <a:pt x="46" y="4"/>
                    <a:pt x="46" y="3"/>
                  </a:cubicBezTo>
                  <a:cubicBezTo>
                    <a:pt x="46" y="3"/>
                    <a:pt x="47" y="2"/>
                    <a:pt x="47" y="2"/>
                  </a:cubicBezTo>
                  <a:cubicBezTo>
                    <a:pt x="49" y="2"/>
                    <a:pt x="51" y="2"/>
                    <a:pt x="52" y="1"/>
                  </a:cubicBezTo>
                  <a:cubicBezTo>
                    <a:pt x="54" y="1"/>
                    <a:pt x="55" y="1"/>
                    <a:pt x="57" y="2"/>
                  </a:cubicBezTo>
                  <a:cubicBezTo>
                    <a:pt x="57" y="2"/>
                    <a:pt x="58" y="2"/>
                    <a:pt x="58" y="2"/>
                  </a:cubicBezTo>
                  <a:cubicBezTo>
                    <a:pt x="58" y="5"/>
                    <a:pt x="59" y="6"/>
                    <a:pt x="61" y="9"/>
                  </a:cubicBezTo>
                  <a:cubicBezTo>
                    <a:pt x="62" y="11"/>
                    <a:pt x="63" y="14"/>
                    <a:pt x="65" y="15"/>
                  </a:cubicBezTo>
                  <a:cubicBezTo>
                    <a:pt x="66" y="16"/>
                    <a:pt x="67" y="16"/>
                    <a:pt x="69" y="16"/>
                  </a:cubicBezTo>
                  <a:cubicBezTo>
                    <a:pt x="71" y="17"/>
                    <a:pt x="73" y="19"/>
                    <a:pt x="74" y="21"/>
                  </a:cubicBezTo>
                  <a:cubicBezTo>
                    <a:pt x="75" y="21"/>
                    <a:pt x="76" y="21"/>
                    <a:pt x="76" y="22"/>
                  </a:cubicBezTo>
                  <a:cubicBezTo>
                    <a:pt x="78" y="22"/>
                    <a:pt x="80" y="22"/>
                    <a:pt x="82" y="23"/>
                  </a:cubicBezTo>
                  <a:cubicBezTo>
                    <a:pt x="83" y="24"/>
                    <a:pt x="85" y="25"/>
                    <a:pt x="87" y="27"/>
                  </a:cubicBezTo>
                  <a:cubicBezTo>
                    <a:pt x="89" y="28"/>
                    <a:pt x="91" y="28"/>
                    <a:pt x="93" y="29"/>
                  </a:cubicBezTo>
                  <a:cubicBezTo>
                    <a:pt x="95" y="30"/>
                    <a:pt x="96" y="31"/>
                    <a:pt x="98" y="31"/>
                  </a:cubicBezTo>
                  <a:cubicBezTo>
                    <a:pt x="98" y="33"/>
                    <a:pt x="99" y="36"/>
                    <a:pt x="98" y="38"/>
                  </a:cubicBezTo>
                  <a:cubicBezTo>
                    <a:pt x="97" y="39"/>
                    <a:pt x="95" y="40"/>
                    <a:pt x="94" y="41"/>
                  </a:cubicBezTo>
                  <a:cubicBezTo>
                    <a:pt x="92" y="43"/>
                    <a:pt x="92" y="46"/>
                    <a:pt x="91" y="48"/>
                  </a:cubicBezTo>
                  <a:cubicBezTo>
                    <a:pt x="91" y="49"/>
                    <a:pt x="91" y="50"/>
                    <a:pt x="91" y="51"/>
                  </a:cubicBezTo>
                  <a:cubicBezTo>
                    <a:pt x="94" y="52"/>
                    <a:pt x="97" y="51"/>
                    <a:pt x="100" y="52"/>
                  </a:cubicBezTo>
                  <a:cubicBezTo>
                    <a:pt x="102" y="52"/>
                    <a:pt x="104" y="53"/>
                    <a:pt x="107" y="53"/>
                  </a:cubicBezTo>
                  <a:cubicBezTo>
                    <a:pt x="107" y="53"/>
                    <a:pt x="108" y="52"/>
                    <a:pt x="109" y="52"/>
                  </a:cubicBezTo>
                  <a:cubicBezTo>
                    <a:pt x="111" y="51"/>
                    <a:pt x="113" y="53"/>
                    <a:pt x="115" y="52"/>
                  </a:cubicBezTo>
                  <a:cubicBezTo>
                    <a:pt x="116" y="52"/>
                    <a:pt x="116" y="51"/>
                    <a:pt x="117" y="50"/>
                  </a:cubicBezTo>
                  <a:cubicBezTo>
                    <a:pt x="117" y="50"/>
                    <a:pt x="117" y="49"/>
                    <a:pt x="117" y="48"/>
                  </a:cubicBezTo>
                  <a:cubicBezTo>
                    <a:pt x="118" y="46"/>
                    <a:pt x="120" y="45"/>
                    <a:pt x="121" y="43"/>
                  </a:cubicBezTo>
                  <a:cubicBezTo>
                    <a:pt x="122" y="41"/>
                    <a:pt x="122" y="39"/>
                    <a:pt x="122" y="36"/>
                  </a:cubicBezTo>
                  <a:cubicBezTo>
                    <a:pt x="124" y="36"/>
                    <a:pt x="126" y="35"/>
                    <a:pt x="127" y="36"/>
                  </a:cubicBezTo>
                  <a:cubicBezTo>
                    <a:pt x="128" y="37"/>
                    <a:pt x="128" y="38"/>
                    <a:pt x="129" y="40"/>
                  </a:cubicBezTo>
                  <a:cubicBezTo>
                    <a:pt x="129" y="43"/>
                    <a:pt x="129" y="47"/>
                    <a:pt x="128" y="50"/>
                  </a:cubicBezTo>
                  <a:cubicBezTo>
                    <a:pt x="128" y="50"/>
                    <a:pt x="128" y="50"/>
                    <a:pt x="128" y="50"/>
                  </a:cubicBezTo>
                  <a:cubicBezTo>
                    <a:pt x="126" y="51"/>
                    <a:pt x="125" y="50"/>
                    <a:pt x="124" y="51"/>
                  </a:cubicBezTo>
                  <a:cubicBezTo>
                    <a:pt x="121" y="53"/>
                    <a:pt x="120" y="56"/>
                    <a:pt x="118" y="59"/>
                  </a:cubicBezTo>
                  <a:cubicBezTo>
                    <a:pt x="113" y="61"/>
                    <a:pt x="110" y="65"/>
                    <a:pt x="108" y="70"/>
                  </a:cubicBezTo>
                  <a:cubicBezTo>
                    <a:pt x="107" y="71"/>
                    <a:pt x="107" y="73"/>
                    <a:pt x="106" y="74"/>
                  </a:cubicBezTo>
                  <a:cubicBezTo>
                    <a:pt x="106" y="75"/>
                    <a:pt x="105" y="75"/>
                    <a:pt x="105" y="76"/>
                  </a:cubicBezTo>
                  <a:cubicBezTo>
                    <a:pt x="105" y="76"/>
                    <a:pt x="104" y="76"/>
                    <a:pt x="104" y="77"/>
                  </a:cubicBezTo>
                  <a:cubicBezTo>
                    <a:pt x="103" y="78"/>
                    <a:pt x="102" y="79"/>
                    <a:pt x="102" y="80"/>
                  </a:cubicBezTo>
                  <a:cubicBezTo>
                    <a:pt x="101" y="80"/>
                    <a:pt x="101" y="81"/>
                    <a:pt x="101" y="81"/>
                  </a:cubicBezTo>
                  <a:cubicBezTo>
                    <a:pt x="102" y="80"/>
                    <a:pt x="102" y="80"/>
                    <a:pt x="102" y="80"/>
                  </a:cubicBezTo>
                  <a:cubicBezTo>
                    <a:pt x="101" y="81"/>
                    <a:pt x="101" y="83"/>
                    <a:pt x="100" y="84"/>
                  </a:cubicBezTo>
                  <a:cubicBezTo>
                    <a:pt x="100" y="86"/>
                    <a:pt x="100" y="88"/>
                    <a:pt x="100" y="90"/>
                  </a:cubicBezTo>
                  <a:cubicBezTo>
                    <a:pt x="100" y="92"/>
                    <a:pt x="99" y="96"/>
                    <a:pt x="98" y="98"/>
                  </a:cubicBezTo>
                  <a:cubicBezTo>
                    <a:pt x="97" y="99"/>
                    <a:pt x="97" y="100"/>
                    <a:pt x="98" y="102"/>
                  </a:cubicBezTo>
                  <a:cubicBezTo>
                    <a:pt x="99" y="103"/>
                    <a:pt x="99" y="105"/>
                    <a:pt x="98" y="106"/>
                  </a:cubicBezTo>
                  <a:cubicBezTo>
                    <a:pt x="98" y="107"/>
                    <a:pt x="97" y="108"/>
                    <a:pt x="96" y="109"/>
                  </a:cubicBezTo>
                  <a:cubicBezTo>
                    <a:pt x="96" y="111"/>
                    <a:pt x="96" y="113"/>
                    <a:pt x="96" y="114"/>
                  </a:cubicBezTo>
                  <a:cubicBezTo>
                    <a:pt x="96" y="114"/>
                    <a:pt x="96" y="114"/>
                    <a:pt x="96" y="114"/>
                  </a:cubicBezTo>
                  <a:cubicBezTo>
                    <a:pt x="96" y="116"/>
                    <a:pt x="96" y="117"/>
                    <a:pt x="96" y="119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5" name="Freeform 408"/>
            <p:cNvSpPr>
              <a:spLocks/>
            </p:cNvSpPr>
            <p:nvPr/>
          </p:nvSpPr>
          <p:spPr bwMode="auto">
            <a:xfrm>
              <a:off x="6153044" y="5887768"/>
              <a:ext cx="34799" cy="30217"/>
            </a:xfrm>
            <a:custGeom>
              <a:avLst/>
              <a:gdLst>
                <a:gd name="T0" fmla="*/ 1839936 w 26"/>
                <a:gd name="T1" fmla="*/ 23498568 h 28"/>
                <a:gd name="T2" fmla="*/ 5038211 w 26"/>
                <a:gd name="T3" fmla="*/ 23498568 h 28"/>
                <a:gd name="T4" fmla="*/ 11156751 w 26"/>
                <a:gd name="T5" fmla="*/ 23498568 h 28"/>
                <a:gd name="T6" fmla="*/ 16821088 w 26"/>
                <a:gd name="T7" fmla="*/ 25511586 h 28"/>
                <a:gd name="T8" fmla="*/ 21921488 w 26"/>
                <a:gd name="T9" fmla="*/ 21914983 h 28"/>
                <a:gd name="T10" fmla="*/ 16821088 w 26"/>
                <a:gd name="T11" fmla="*/ 20744539 h 28"/>
                <a:gd name="T12" fmla="*/ 12522682 w 26"/>
                <a:gd name="T13" fmla="*/ 17326122 h 28"/>
                <a:gd name="T14" fmla="*/ 6922623 w 26"/>
                <a:gd name="T15" fmla="*/ 12766089 h 28"/>
                <a:gd name="T16" fmla="*/ 1839936 w 26"/>
                <a:gd name="T17" fmla="*/ 6527726 h 28"/>
                <a:gd name="T18" fmla="*/ 0 w 26"/>
                <a:gd name="T19" fmla="*/ 0 h 28"/>
                <a:gd name="T20" fmla="*/ 0 w 26"/>
                <a:gd name="T21" fmla="*/ 826407 h 28"/>
                <a:gd name="T22" fmla="*/ 1839936 w 26"/>
                <a:gd name="T23" fmla="*/ 22742189 h 28"/>
                <a:gd name="T24" fmla="*/ 1839936 w 26"/>
                <a:gd name="T25" fmla="*/ 23498568 h 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28"/>
                <a:gd name="T41" fmla="*/ 26 w 26"/>
                <a:gd name="T42" fmla="*/ 28 h 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28">
                  <a:moveTo>
                    <a:pt x="2" y="26"/>
                  </a:moveTo>
                  <a:cubicBezTo>
                    <a:pt x="3" y="26"/>
                    <a:pt x="5" y="26"/>
                    <a:pt x="6" y="26"/>
                  </a:cubicBezTo>
                  <a:cubicBezTo>
                    <a:pt x="8" y="26"/>
                    <a:pt x="10" y="25"/>
                    <a:pt x="13" y="26"/>
                  </a:cubicBezTo>
                  <a:cubicBezTo>
                    <a:pt x="15" y="27"/>
                    <a:pt x="17" y="28"/>
                    <a:pt x="20" y="28"/>
                  </a:cubicBezTo>
                  <a:cubicBezTo>
                    <a:pt x="22" y="27"/>
                    <a:pt x="26" y="27"/>
                    <a:pt x="26" y="24"/>
                  </a:cubicBezTo>
                  <a:cubicBezTo>
                    <a:pt x="24" y="23"/>
                    <a:pt x="22" y="24"/>
                    <a:pt x="20" y="23"/>
                  </a:cubicBezTo>
                  <a:cubicBezTo>
                    <a:pt x="18" y="22"/>
                    <a:pt x="17" y="19"/>
                    <a:pt x="15" y="19"/>
                  </a:cubicBezTo>
                  <a:cubicBezTo>
                    <a:pt x="12" y="18"/>
                    <a:pt x="10" y="17"/>
                    <a:pt x="8" y="14"/>
                  </a:cubicBezTo>
                  <a:cubicBezTo>
                    <a:pt x="6" y="12"/>
                    <a:pt x="3" y="10"/>
                    <a:pt x="2" y="7"/>
                  </a:cubicBezTo>
                  <a:cubicBezTo>
                    <a:pt x="1" y="5"/>
                    <a:pt x="2" y="2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25"/>
                    <a:pt x="2" y="25"/>
                    <a:pt x="2" y="25"/>
                  </a:cubicBezTo>
                  <a:lnTo>
                    <a:pt x="2" y="2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6" name="Freeform 409"/>
            <p:cNvSpPr>
              <a:spLocks/>
            </p:cNvSpPr>
            <p:nvPr/>
          </p:nvSpPr>
          <p:spPr bwMode="auto">
            <a:xfrm>
              <a:off x="6177692" y="5763879"/>
              <a:ext cx="5801" cy="9065"/>
            </a:xfrm>
            <a:custGeom>
              <a:avLst/>
              <a:gdLst>
                <a:gd name="T0" fmla="*/ 1500783 w 5"/>
                <a:gd name="T1" fmla="*/ 4351847 h 8"/>
                <a:gd name="T2" fmla="*/ 1245675 w 5"/>
                <a:gd name="T3" fmla="*/ 0 h 8"/>
                <a:gd name="T4" fmla="*/ 566216 w 5"/>
                <a:gd name="T5" fmla="*/ 0 h 8"/>
                <a:gd name="T6" fmla="*/ 257371 w 5"/>
                <a:gd name="T7" fmla="*/ 896786 h 8"/>
                <a:gd name="T8" fmla="*/ 257371 w 5"/>
                <a:gd name="T9" fmla="*/ 4351847 h 8"/>
                <a:gd name="T10" fmla="*/ 940581 w 5"/>
                <a:gd name="T11" fmla="*/ 7279645 h 8"/>
                <a:gd name="T12" fmla="*/ 1500783 w 5"/>
                <a:gd name="T13" fmla="*/ 7279645 h 8"/>
                <a:gd name="T14" fmla="*/ 1500783 w 5"/>
                <a:gd name="T15" fmla="*/ 43518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8"/>
                <a:gd name="T26" fmla="*/ 5 w 5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8">
                  <a:moveTo>
                    <a:pt x="5" y="4"/>
                  </a:moveTo>
                  <a:cubicBezTo>
                    <a:pt x="5" y="3"/>
                    <a:pt x="5" y="1"/>
                    <a:pt x="4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2" y="5"/>
                    <a:pt x="2" y="6"/>
                    <a:pt x="3" y="7"/>
                  </a:cubicBezTo>
                  <a:cubicBezTo>
                    <a:pt x="3" y="8"/>
                    <a:pt x="4" y="7"/>
                    <a:pt x="5" y="7"/>
                  </a:cubicBezTo>
                  <a:cubicBezTo>
                    <a:pt x="5" y="6"/>
                    <a:pt x="5" y="5"/>
                    <a:pt x="5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7" name="Freeform 410"/>
            <p:cNvSpPr>
              <a:spLocks/>
            </p:cNvSpPr>
            <p:nvPr/>
          </p:nvSpPr>
          <p:spPr bwMode="auto">
            <a:xfrm>
              <a:off x="6069671" y="5508848"/>
              <a:ext cx="75395" cy="394029"/>
            </a:xfrm>
            <a:custGeom>
              <a:avLst/>
              <a:gdLst>
                <a:gd name="T0" fmla="*/ 16148475 w 56"/>
                <a:gd name="T1" fmla="*/ 18720100 h 364"/>
                <a:gd name="T2" fmla="*/ 17326122 w 56"/>
                <a:gd name="T3" fmla="*/ 43600303 h 364"/>
                <a:gd name="T4" fmla="*/ 17326122 w 56"/>
                <a:gd name="T5" fmla="*/ 58259953 h 364"/>
                <a:gd name="T6" fmla="*/ 14716077 w 56"/>
                <a:gd name="T7" fmla="*/ 87851258 h 364"/>
                <a:gd name="T8" fmla="*/ 12766089 w 56"/>
                <a:gd name="T9" fmla="*/ 100979654 h 364"/>
                <a:gd name="T10" fmla="*/ 10823097 w 56"/>
                <a:gd name="T11" fmla="*/ 116137423 h 364"/>
                <a:gd name="T12" fmla="*/ 13592494 w 56"/>
                <a:gd name="T13" fmla="*/ 132873962 h 364"/>
                <a:gd name="T14" fmla="*/ 13592494 w 56"/>
                <a:gd name="T15" fmla="*/ 143247336 h 364"/>
                <a:gd name="T16" fmla="*/ 7350477 w 56"/>
                <a:gd name="T17" fmla="*/ 168685674 h 364"/>
                <a:gd name="T18" fmla="*/ 4591618 w 56"/>
                <a:gd name="T19" fmla="*/ 180033587 h 364"/>
                <a:gd name="T20" fmla="*/ 5415918 w 56"/>
                <a:gd name="T21" fmla="*/ 213132576 h 364"/>
                <a:gd name="T22" fmla="*/ 10823097 w 56"/>
                <a:gd name="T23" fmla="*/ 219353454 h 364"/>
                <a:gd name="T24" fmla="*/ 13592494 w 56"/>
                <a:gd name="T25" fmla="*/ 217848323 h 364"/>
                <a:gd name="T26" fmla="*/ 15386779 w 56"/>
                <a:gd name="T27" fmla="*/ 226925383 h 364"/>
                <a:gd name="T28" fmla="*/ 13592494 w 56"/>
                <a:gd name="T29" fmla="*/ 241292028 h 364"/>
                <a:gd name="T30" fmla="*/ 14716077 w 56"/>
                <a:gd name="T31" fmla="*/ 249742480 h 364"/>
                <a:gd name="T32" fmla="*/ 12766089 w 56"/>
                <a:gd name="T33" fmla="*/ 260024674 h 364"/>
                <a:gd name="T34" fmla="*/ 6527726 w 56"/>
                <a:gd name="T35" fmla="*/ 260896241 h 364"/>
                <a:gd name="T36" fmla="*/ 826407 w 56"/>
                <a:gd name="T37" fmla="*/ 265822622 h 364"/>
                <a:gd name="T38" fmla="*/ 2769339 w 56"/>
                <a:gd name="T39" fmla="*/ 266949883 h 364"/>
                <a:gd name="T40" fmla="*/ 9297269 w 56"/>
                <a:gd name="T41" fmla="*/ 273237899 h 364"/>
                <a:gd name="T42" fmla="*/ 7350477 w 56"/>
                <a:gd name="T43" fmla="*/ 278833681 h 364"/>
                <a:gd name="T44" fmla="*/ 10823097 w 56"/>
                <a:gd name="T45" fmla="*/ 284887474 h 364"/>
                <a:gd name="T46" fmla="*/ 9297269 w 56"/>
                <a:gd name="T47" fmla="*/ 291333049 h 364"/>
                <a:gd name="T48" fmla="*/ 5415918 w 56"/>
                <a:gd name="T49" fmla="*/ 280205446 h 364"/>
                <a:gd name="T50" fmla="*/ 3468116 w 56"/>
                <a:gd name="T51" fmla="*/ 288400204 h 364"/>
                <a:gd name="T52" fmla="*/ 8174845 w 56"/>
                <a:gd name="T53" fmla="*/ 296898135 h 364"/>
                <a:gd name="T54" fmla="*/ 10823097 w 56"/>
                <a:gd name="T55" fmla="*/ 295212914 h 364"/>
                <a:gd name="T56" fmla="*/ 14716077 w 56"/>
                <a:gd name="T57" fmla="*/ 296898135 h 364"/>
                <a:gd name="T58" fmla="*/ 14716077 w 56"/>
                <a:gd name="T59" fmla="*/ 306491725 h 364"/>
                <a:gd name="T60" fmla="*/ 16148475 w 56"/>
                <a:gd name="T61" fmla="*/ 313932858 h 364"/>
                <a:gd name="T62" fmla="*/ 20120368 w 56"/>
                <a:gd name="T63" fmla="*/ 323216697 h 364"/>
                <a:gd name="T64" fmla="*/ 28094995 w 56"/>
                <a:gd name="T65" fmla="*/ 322344222 h 364"/>
                <a:gd name="T66" fmla="*/ 21914983 w 56"/>
                <a:gd name="T67" fmla="*/ 331995574 h 364"/>
                <a:gd name="T68" fmla="*/ 27333808 w 56"/>
                <a:gd name="T69" fmla="*/ 333508871 h 364"/>
                <a:gd name="T70" fmla="*/ 38064254 w 56"/>
                <a:gd name="T71" fmla="*/ 333508871 h 364"/>
                <a:gd name="T72" fmla="*/ 38064254 w 56"/>
                <a:gd name="T73" fmla="*/ 343149940 h 364"/>
                <a:gd name="T74" fmla="*/ 41687418 w 56"/>
                <a:gd name="T75" fmla="*/ 330781973 h 364"/>
                <a:gd name="T76" fmla="*/ 47426588 w 56"/>
                <a:gd name="T77" fmla="*/ 323216697 h 364"/>
                <a:gd name="T78" fmla="*/ 28094995 w 56"/>
                <a:gd name="T79" fmla="*/ 309217111 h 364"/>
                <a:gd name="T80" fmla="*/ 20120368 w 56"/>
                <a:gd name="T81" fmla="*/ 298052916 h 364"/>
                <a:gd name="T82" fmla="*/ 24685191 w 56"/>
                <a:gd name="T83" fmla="*/ 283674780 h 364"/>
                <a:gd name="T84" fmla="*/ 25511586 w 56"/>
                <a:gd name="T85" fmla="*/ 272549294 h 364"/>
                <a:gd name="T86" fmla="*/ 25511586 w 56"/>
                <a:gd name="T87" fmla="*/ 258179927 h 364"/>
                <a:gd name="T88" fmla="*/ 23498568 w 56"/>
                <a:gd name="T89" fmla="*/ 249742480 h 364"/>
                <a:gd name="T90" fmla="*/ 22742189 w 56"/>
                <a:gd name="T91" fmla="*/ 245014938 h 364"/>
                <a:gd name="T92" fmla="*/ 20120368 w 56"/>
                <a:gd name="T93" fmla="*/ 229012517 h 364"/>
                <a:gd name="T94" fmla="*/ 19269275 w 56"/>
                <a:gd name="T95" fmla="*/ 202635211 h 364"/>
                <a:gd name="T96" fmla="*/ 22742189 w 56"/>
                <a:gd name="T97" fmla="*/ 189470676 h 364"/>
                <a:gd name="T98" fmla="*/ 20120368 w 56"/>
                <a:gd name="T99" fmla="*/ 171530515 h 364"/>
                <a:gd name="T100" fmla="*/ 22742189 w 56"/>
                <a:gd name="T101" fmla="*/ 156372632 h 364"/>
                <a:gd name="T102" fmla="*/ 24685191 w 56"/>
                <a:gd name="T103" fmla="*/ 137647093 h 364"/>
                <a:gd name="T104" fmla="*/ 20120368 w 56"/>
                <a:gd name="T105" fmla="*/ 123578481 h 364"/>
                <a:gd name="T106" fmla="*/ 22742189 w 56"/>
                <a:gd name="T107" fmla="*/ 106587759 h 364"/>
                <a:gd name="T108" fmla="*/ 25511586 w 56"/>
                <a:gd name="T109" fmla="*/ 93423300 h 364"/>
                <a:gd name="T110" fmla="*/ 32039437 w 56"/>
                <a:gd name="T111" fmla="*/ 77327526 h 364"/>
                <a:gd name="T112" fmla="*/ 32648221 w 56"/>
                <a:gd name="T113" fmla="*/ 65045710 h 364"/>
                <a:gd name="T114" fmla="*/ 38890650 w 56"/>
                <a:gd name="T115" fmla="*/ 53881326 h 364"/>
                <a:gd name="T116" fmla="*/ 34687884 w 56"/>
                <a:gd name="T117" fmla="*/ 37812704 h 364"/>
                <a:gd name="T118" fmla="*/ 28094995 w 56"/>
                <a:gd name="T119" fmla="*/ 20805519 h 364"/>
                <a:gd name="T120" fmla="*/ 28094995 w 56"/>
                <a:gd name="T121" fmla="*/ 17206491 h 364"/>
                <a:gd name="T122" fmla="*/ 15386779 w 56"/>
                <a:gd name="T123" fmla="*/ 3571885 h 3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6"/>
                <a:gd name="T187" fmla="*/ 0 h 364"/>
                <a:gd name="T188" fmla="*/ 56 w 56"/>
                <a:gd name="T189" fmla="*/ 364 h 3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6" h="364">
                  <a:moveTo>
                    <a:pt x="16" y="4"/>
                  </a:moveTo>
                  <a:cubicBezTo>
                    <a:pt x="17" y="6"/>
                    <a:pt x="17" y="9"/>
                    <a:pt x="17" y="11"/>
                  </a:cubicBezTo>
                  <a:cubicBezTo>
                    <a:pt x="16" y="12"/>
                    <a:pt x="16" y="14"/>
                    <a:pt x="16" y="15"/>
                  </a:cubicBezTo>
                  <a:cubicBezTo>
                    <a:pt x="17" y="17"/>
                    <a:pt x="18" y="18"/>
                    <a:pt x="18" y="20"/>
                  </a:cubicBezTo>
                  <a:cubicBezTo>
                    <a:pt x="18" y="22"/>
                    <a:pt x="18" y="24"/>
                    <a:pt x="18" y="27"/>
                  </a:cubicBezTo>
                  <a:cubicBezTo>
                    <a:pt x="20" y="30"/>
                    <a:pt x="20" y="35"/>
                    <a:pt x="20" y="39"/>
                  </a:cubicBezTo>
                  <a:cubicBezTo>
                    <a:pt x="20" y="39"/>
                    <a:pt x="19" y="40"/>
                    <a:pt x="19" y="40"/>
                  </a:cubicBezTo>
                  <a:cubicBezTo>
                    <a:pt x="18" y="42"/>
                    <a:pt x="19" y="44"/>
                    <a:pt x="19" y="46"/>
                  </a:cubicBezTo>
                  <a:cubicBezTo>
                    <a:pt x="18" y="48"/>
                    <a:pt x="18" y="49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4"/>
                    <a:pt x="18" y="57"/>
                    <a:pt x="18" y="60"/>
                  </a:cubicBezTo>
                  <a:cubicBezTo>
                    <a:pt x="18" y="61"/>
                    <a:pt x="19" y="61"/>
                    <a:pt x="19" y="62"/>
                  </a:cubicBezTo>
                  <a:cubicBezTo>
                    <a:pt x="19" y="64"/>
                    <a:pt x="19" y="67"/>
                    <a:pt x="19" y="69"/>
                  </a:cubicBezTo>
                  <a:cubicBezTo>
                    <a:pt x="19" y="70"/>
                    <a:pt x="18" y="70"/>
                    <a:pt x="18" y="71"/>
                  </a:cubicBezTo>
                  <a:cubicBezTo>
                    <a:pt x="18" y="75"/>
                    <a:pt x="18" y="79"/>
                    <a:pt x="18" y="82"/>
                  </a:cubicBezTo>
                  <a:cubicBezTo>
                    <a:pt x="16" y="87"/>
                    <a:pt x="17" y="89"/>
                    <a:pt x="16" y="93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7"/>
                    <a:pt x="15" y="99"/>
                    <a:pt x="15" y="100"/>
                  </a:cubicBezTo>
                  <a:cubicBezTo>
                    <a:pt x="14" y="101"/>
                    <a:pt x="14" y="101"/>
                    <a:pt x="14" y="102"/>
                  </a:cubicBezTo>
                  <a:cubicBezTo>
                    <a:pt x="13" y="104"/>
                    <a:pt x="13" y="105"/>
                    <a:pt x="14" y="107"/>
                  </a:cubicBezTo>
                  <a:cubicBezTo>
                    <a:pt x="14" y="107"/>
                    <a:pt x="14" y="107"/>
                    <a:pt x="14" y="108"/>
                  </a:cubicBezTo>
                  <a:cubicBezTo>
                    <a:pt x="15" y="110"/>
                    <a:pt x="15" y="113"/>
                    <a:pt x="14" y="116"/>
                  </a:cubicBezTo>
                  <a:cubicBezTo>
                    <a:pt x="14" y="117"/>
                    <a:pt x="12" y="118"/>
                    <a:pt x="12" y="119"/>
                  </a:cubicBezTo>
                  <a:cubicBezTo>
                    <a:pt x="11" y="120"/>
                    <a:pt x="11" y="122"/>
                    <a:pt x="12" y="123"/>
                  </a:cubicBezTo>
                  <a:cubicBezTo>
                    <a:pt x="13" y="125"/>
                    <a:pt x="12" y="128"/>
                    <a:pt x="13" y="130"/>
                  </a:cubicBezTo>
                  <a:cubicBezTo>
                    <a:pt x="14" y="131"/>
                    <a:pt x="14" y="132"/>
                    <a:pt x="14" y="134"/>
                  </a:cubicBezTo>
                  <a:cubicBezTo>
                    <a:pt x="14" y="134"/>
                    <a:pt x="15" y="135"/>
                    <a:pt x="15" y="135"/>
                  </a:cubicBezTo>
                  <a:cubicBezTo>
                    <a:pt x="15" y="138"/>
                    <a:pt x="15" y="139"/>
                    <a:pt x="15" y="141"/>
                  </a:cubicBezTo>
                  <a:cubicBezTo>
                    <a:pt x="14" y="142"/>
                    <a:pt x="14" y="143"/>
                    <a:pt x="14" y="144"/>
                  </a:cubicBezTo>
                  <a:cubicBezTo>
                    <a:pt x="14" y="145"/>
                    <a:pt x="14" y="146"/>
                    <a:pt x="14" y="147"/>
                  </a:cubicBezTo>
                  <a:cubicBezTo>
                    <a:pt x="14" y="148"/>
                    <a:pt x="15" y="148"/>
                    <a:pt x="15" y="149"/>
                  </a:cubicBezTo>
                  <a:cubicBezTo>
                    <a:pt x="15" y="150"/>
                    <a:pt x="15" y="151"/>
                    <a:pt x="15" y="152"/>
                  </a:cubicBezTo>
                  <a:cubicBezTo>
                    <a:pt x="14" y="156"/>
                    <a:pt x="13" y="160"/>
                    <a:pt x="11" y="164"/>
                  </a:cubicBezTo>
                  <a:cubicBezTo>
                    <a:pt x="11" y="166"/>
                    <a:pt x="10" y="167"/>
                    <a:pt x="10" y="168"/>
                  </a:cubicBezTo>
                  <a:cubicBezTo>
                    <a:pt x="8" y="172"/>
                    <a:pt x="9" y="175"/>
                    <a:pt x="8" y="179"/>
                  </a:cubicBezTo>
                  <a:cubicBezTo>
                    <a:pt x="8" y="179"/>
                    <a:pt x="8" y="179"/>
                    <a:pt x="8" y="179"/>
                  </a:cubicBezTo>
                  <a:cubicBezTo>
                    <a:pt x="8" y="181"/>
                    <a:pt x="8" y="182"/>
                    <a:pt x="7" y="183"/>
                  </a:cubicBezTo>
                  <a:cubicBezTo>
                    <a:pt x="7" y="184"/>
                    <a:pt x="6" y="185"/>
                    <a:pt x="5" y="186"/>
                  </a:cubicBezTo>
                  <a:cubicBezTo>
                    <a:pt x="4" y="187"/>
                    <a:pt x="5" y="188"/>
                    <a:pt x="4" y="189"/>
                  </a:cubicBezTo>
                  <a:cubicBezTo>
                    <a:pt x="4" y="190"/>
                    <a:pt x="4" y="190"/>
                    <a:pt x="5" y="191"/>
                  </a:cubicBezTo>
                  <a:cubicBezTo>
                    <a:pt x="6" y="193"/>
                    <a:pt x="6" y="195"/>
                    <a:pt x="6" y="198"/>
                  </a:cubicBezTo>
                  <a:cubicBezTo>
                    <a:pt x="6" y="200"/>
                    <a:pt x="5" y="202"/>
                    <a:pt x="6" y="204"/>
                  </a:cubicBezTo>
                  <a:cubicBezTo>
                    <a:pt x="8" y="206"/>
                    <a:pt x="7" y="209"/>
                    <a:pt x="7" y="211"/>
                  </a:cubicBezTo>
                  <a:cubicBezTo>
                    <a:pt x="6" y="216"/>
                    <a:pt x="6" y="221"/>
                    <a:pt x="6" y="226"/>
                  </a:cubicBezTo>
                  <a:cubicBezTo>
                    <a:pt x="6" y="227"/>
                    <a:pt x="6" y="227"/>
                    <a:pt x="6" y="228"/>
                  </a:cubicBezTo>
                  <a:cubicBezTo>
                    <a:pt x="6" y="228"/>
                    <a:pt x="7" y="229"/>
                    <a:pt x="7" y="229"/>
                  </a:cubicBezTo>
                  <a:cubicBezTo>
                    <a:pt x="8" y="230"/>
                    <a:pt x="8" y="231"/>
                    <a:pt x="8" y="231"/>
                  </a:cubicBezTo>
                  <a:cubicBezTo>
                    <a:pt x="9" y="233"/>
                    <a:pt x="11" y="233"/>
                    <a:pt x="12" y="233"/>
                  </a:cubicBezTo>
                  <a:cubicBezTo>
                    <a:pt x="13" y="233"/>
                    <a:pt x="12" y="230"/>
                    <a:pt x="13" y="230"/>
                  </a:cubicBezTo>
                  <a:cubicBezTo>
                    <a:pt x="13" y="229"/>
                    <a:pt x="14" y="229"/>
                    <a:pt x="14" y="230"/>
                  </a:cubicBezTo>
                  <a:cubicBezTo>
                    <a:pt x="14" y="230"/>
                    <a:pt x="14" y="230"/>
                    <a:pt x="14" y="229"/>
                  </a:cubicBezTo>
                  <a:cubicBezTo>
                    <a:pt x="14" y="230"/>
                    <a:pt x="15" y="230"/>
                    <a:pt x="15" y="231"/>
                  </a:cubicBezTo>
                  <a:cubicBezTo>
                    <a:pt x="16" y="232"/>
                    <a:pt x="16" y="232"/>
                    <a:pt x="16" y="232"/>
                  </a:cubicBezTo>
                  <a:cubicBezTo>
                    <a:pt x="16" y="232"/>
                    <a:pt x="16" y="233"/>
                    <a:pt x="16" y="234"/>
                  </a:cubicBezTo>
                  <a:cubicBezTo>
                    <a:pt x="16" y="235"/>
                    <a:pt x="17" y="235"/>
                    <a:pt x="18" y="236"/>
                  </a:cubicBezTo>
                  <a:cubicBezTo>
                    <a:pt x="18" y="238"/>
                    <a:pt x="18" y="239"/>
                    <a:pt x="17" y="241"/>
                  </a:cubicBezTo>
                  <a:cubicBezTo>
                    <a:pt x="17" y="242"/>
                    <a:pt x="16" y="242"/>
                    <a:pt x="16" y="243"/>
                  </a:cubicBezTo>
                  <a:cubicBezTo>
                    <a:pt x="15" y="244"/>
                    <a:pt x="15" y="245"/>
                    <a:pt x="16" y="246"/>
                  </a:cubicBezTo>
                  <a:cubicBezTo>
                    <a:pt x="16" y="247"/>
                    <a:pt x="17" y="248"/>
                    <a:pt x="16" y="249"/>
                  </a:cubicBezTo>
                  <a:cubicBezTo>
                    <a:pt x="15" y="251"/>
                    <a:pt x="15" y="253"/>
                    <a:pt x="15" y="256"/>
                  </a:cubicBezTo>
                  <a:cubicBezTo>
                    <a:pt x="15" y="257"/>
                    <a:pt x="15" y="258"/>
                    <a:pt x="15" y="259"/>
                  </a:cubicBezTo>
                  <a:cubicBezTo>
                    <a:pt x="16" y="259"/>
                    <a:pt x="17" y="259"/>
                    <a:pt x="18" y="260"/>
                  </a:cubicBezTo>
                  <a:cubicBezTo>
                    <a:pt x="18" y="261"/>
                    <a:pt x="18" y="262"/>
                    <a:pt x="18" y="264"/>
                  </a:cubicBezTo>
                  <a:cubicBezTo>
                    <a:pt x="18" y="264"/>
                    <a:pt x="17" y="265"/>
                    <a:pt x="16" y="265"/>
                  </a:cubicBezTo>
                  <a:cubicBezTo>
                    <a:pt x="15" y="267"/>
                    <a:pt x="15" y="269"/>
                    <a:pt x="15" y="271"/>
                  </a:cubicBezTo>
                  <a:cubicBezTo>
                    <a:pt x="15" y="271"/>
                    <a:pt x="14" y="272"/>
                    <a:pt x="14" y="272"/>
                  </a:cubicBezTo>
                  <a:cubicBezTo>
                    <a:pt x="14" y="273"/>
                    <a:pt x="14" y="274"/>
                    <a:pt x="14" y="275"/>
                  </a:cubicBezTo>
                  <a:cubicBezTo>
                    <a:pt x="14" y="275"/>
                    <a:pt x="14" y="275"/>
                    <a:pt x="14" y="276"/>
                  </a:cubicBezTo>
                  <a:cubicBezTo>
                    <a:pt x="13" y="278"/>
                    <a:pt x="14" y="279"/>
                    <a:pt x="14" y="281"/>
                  </a:cubicBezTo>
                  <a:cubicBezTo>
                    <a:pt x="14" y="281"/>
                    <a:pt x="13" y="281"/>
                    <a:pt x="13" y="281"/>
                  </a:cubicBezTo>
                  <a:cubicBezTo>
                    <a:pt x="13" y="280"/>
                    <a:pt x="13" y="279"/>
                    <a:pt x="12" y="278"/>
                  </a:cubicBezTo>
                  <a:cubicBezTo>
                    <a:pt x="11" y="277"/>
                    <a:pt x="9" y="277"/>
                    <a:pt x="7" y="277"/>
                  </a:cubicBezTo>
                  <a:cubicBezTo>
                    <a:pt x="7" y="276"/>
                    <a:pt x="6" y="276"/>
                    <a:pt x="6" y="276"/>
                  </a:cubicBezTo>
                  <a:cubicBezTo>
                    <a:pt x="5" y="275"/>
                    <a:pt x="4" y="276"/>
                    <a:pt x="3" y="277"/>
                  </a:cubicBezTo>
                  <a:cubicBezTo>
                    <a:pt x="3" y="278"/>
                    <a:pt x="3" y="278"/>
                    <a:pt x="3" y="279"/>
                  </a:cubicBezTo>
                  <a:cubicBezTo>
                    <a:pt x="2" y="280"/>
                    <a:pt x="1" y="281"/>
                    <a:pt x="1" y="282"/>
                  </a:cubicBezTo>
                  <a:cubicBezTo>
                    <a:pt x="0" y="283"/>
                    <a:pt x="0" y="284"/>
                    <a:pt x="0" y="285"/>
                  </a:cubicBezTo>
                  <a:cubicBezTo>
                    <a:pt x="0" y="285"/>
                    <a:pt x="0" y="285"/>
                    <a:pt x="0" y="285"/>
                  </a:cubicBezTo>
                  <a:cubicBezTo>
                    <a:pt x="1" y="285"/>
                    <a:pt x="1" y="284"/>
                    <a:pt x="1" y="283"/>
                  </a:cubicBezTo>
                  <a:cubicBezTo>
                    <a:pt x="2" y="283"/>
                    <a:pt x="3" y="283"/>
                    <a:pt x="3" y="283"/>
                  </a:cubicBezTo>
                  <a:cubicBezTo>
                    <a:pt x="5" y="284"/>
                    <a:pt x="6" y="286"/>
                    <a:pt x="8" y="285"/>
                  </a:cubicBezTo>
                  <a:cubicBezTo>
                    <a:pt x="8" y="285"/>
                    <a:pt x="9" y="285"/>
                    <a:pt x="10" y="285"/>
                  </a:cubicBezTo>
                  <a:cubicBezTo>
                    <a:pt x="11" y="286"/>
                    <a:pt x="13" y="288"/>
                    <a:pt x="12" y="289"/>
                  </a:cubicBezTo>
                  <a:cubicBezTo>
                    <a:pt x="12" y="290"/>
                    <a:pt x="11" y="290"/>
                    <a:pt x="10" y="290"/>
                  </a:cubicBezTo>
                  <a:cubicBezTo>
                    <a:pt x="10" y="291"/>
                    <a:pt x="9" y="292"/>
                    <a:pt x="9" y="293"/>
                  </a:cubicBezTo>
                  <a:cubicBezTo>
                    <a:pt x="9" y="293"/>
                    <a:pt x="9" y="293"/>
                    <a:pt x="9" y="293"/>
                  </a:cubicBezTo>
                  <a:cubicBezTo>
                    <a:pt x="10" y="293"/>
                    <a:pt x="10" y="294"/>
                    <a:pt x="10" y="294"/>
                  </a:cubicBezTo>
                  <a:cubicBezTo>
                    <a:pt x="9" y="295"/>
                    <a:pt x="8" y="295"/>
                    <a:pt x="8" y="296"/>
                  </a:cubicBezTo>
                  <a:cubicBezTo>
                    <a:pt x="9" y="297"/>
                    <a:pt x="10" y="296"/>
                    <a:pt x="11" y="297"/>
                  </a:cubicBezTo>
                  <a:cubicBezTo>
                    <a:pt x="12" y="297"/>
                    <a:pt x="12" y="298"/>
                    <a:pt x="11" y="298"/>
                  </a:cubicBezTo>
                  <a:cubicBezTo>
                    <a:pt x="10" y="299"/>
                    <a:pt x="9" y="299"/>
                    <a:pt x="10" y="301"/>
                  </a:cubicBezTo>
                  <a:cubicBezTo>
                    <a:pt x="10" y="301"/>
                    <a:pt x="11" y="301"/>
                    <a:pt x="12" y="302"/>
                  </a:cubicBezTo>
                  <a:cubicBezTo>
                    <a:pt x="12" y="302"/>
                    <a:pt x="12" y="303"/>
                    <a:pt x="12" y="304"/>
                  </a:cubicBezTo>
                  <a:cubicBezTo>
                    <a:pt x="11" y="304"/>
                    <a:pt x="11" y="305"/>
                    <a:pt x="11" y="305"/>
                  </a:cubicBezTo>
                  <a:cubicBezTo>
                    <a:pt x="10" y="307"/>
                    <a:pt x="11" y="308"/>
                    <a:pt x="11" y="309"/>
                  </a:cubicBezTo>
                  <a:cubicBezTo>
                    <a:pt x="11" y="309"/>
                    <a:pt x="10" y="309"/>
                    <a:pt x="10" y="309"/>
                  </a:cubicBezTo>
                  <a:cubicBezTo>
                    <a:pt x="10" y="307"/>
                    <a:pt x="10" y="306"/>
                    <a:pt x="9" y="305"/>
                  </a:cubicBezTo>
                  <a:cubicBezTo>
                    <a:pt x="8" y="304"/>
                    <a:pt x="9" y="303"/>
                    <a:pt x="9" y="302"/>
                  </a:cubicBezTo>
                  <a:cubicBezTo>
                    <a:pt x="8" y="302"/>
                    <a:pt x="7" y="301"/>
                    <a:pt x="7" y="301"/>
                  </a:cubicBezTo>
                  <a:cubicBezTo>
                    <a:pt x="6" y="299"/>
                    <a:pt x="7" y="298"/>
                    <a:pt x="6" y="297"/>
                  </a:cubicBezTo>
                  <a:cubicBezTo>
                    <a:pt x="6" y="297"/>
                    <a:pt x="5" y="297"/>
                    <a:pt x="5" y="297"/>
                  </a:cubicBezTo>
                  <a:cubicBezTo>
                    <a:pt x="5" y="298"/>
                    <a:pt x="5" y="299"/>
                    <a:pt x="5" y="300"/>
                  </a:cubicBezTo>
                  <a:cubicBezTo>
                    <a:pt x="5" y="300"/>
                    <a:pt x="4" y="300"/>
                    <a:pt x="4" y="301"/>
                  </a:cubicBezTo>
                  <a:cubicBezTo>
                    <a:pt x="4" y="302"/>
                    <a:pt x="3" y="304"/>
                    <a:pt x="4" y="306"/>
                  </a:cubicBezTo>
                  <a:cubicBezTo>
                    <a:pt x="4" y="307"/>
                    <a:pt x="6" y="307"/>
                    <a:pt x="6" y="308"/>
                  </a:cubicBezTo>
                  <a:cubicBezTo>
                    <a:pt x="7" y="309"/>
                    <a:pt x="7" y="310"/>
                    <a:pt x="6" y="311"/>
                  </a:cubicBezTo>
                  <a:cubicBezTo>
                    <a:pt x="5" y="312"/>
                    <a:pt x="6" y="313"/>
                    <a:pt x="6" y="314"/>
                  </a:cubicBezTo>
                  <a:cubicBezTo>
                    <a:pt x="6" y="315"/>
                    <a:pt x="8" y="314"/>
                    <a:pt x="9" y="315"/>
                  </a:cubicBezTo>
                  <a:cubicBezTo>
                    <a:pt x="10" y="316"/>
                    <a:pt x="9" y="318"/>
                    <a:pt x="10" y="319"/>
                  </a:cubicBezTo>
                  <a:cubicBezTo>
                    <a:pt x="10" y="319"/>
                    <a:pt x="11" y="319"/>
                    <a:pt x="11" y="319"/>
                  </a:cubicBezTo>
                  <a:cubicBezTo>
                    <a:pt x="12" y="318"/>
                    <a:pt x="12" y="318"/>
                    <a:pt x="12" y="317"/>
                  </a:cubicBezTo>
                  <a:cubicBezTo>
                    <a:pt x="12" y="316"/>
                    <a:pt x="12" y="314"/>
                    <a:pt x="12" y="313"/>
                  </a:cubicBezTo>
                  <a:cubicBezTo>
                    <a:pt x="13" y="313"/>
                    <a:pt x="13" y="314"/>
                    <a:pt x="14" y="314"/>
                  </a:cubicBezTo>
                  <a:cubicBezTo>
                    <a:pt x="14" y="314"/>
                    <a:pt x="15" y="314"/>
                    <a:pt x="15" y="314"/>
                  </a:cubicBezTo>
                  <a:cubicBezTo>
                    <a:pt x="15" y="314"/>
                    <a:pt x="16" y="313"/>
                    <a:pt x="16" y="314"/>
                  </a:cubicBezTo>
                  <a:cubicBezTo>
                    <a:pt x="16" y="314"/>
                    <a:pt x="16" y="315"/>
                    <a:pt x="16" y="315"/>
                  </a:cubicBezTo>
                  <a:cubicBezTo>
                    <a:pt x="15" y="316"/>
                    <a:pt x="15" y="317"/>
                    <a:pt x="14" y="318"/>
                  </a:cubicBezTo>
                  <a:cubicBezTo>
                    <a:pt x="14" y="318"/>
                    <a:pt x="14" y="318"/>
                    <a:pt x="14" y="319"/>
                  </a:cubicBezTo>
                  <a:cubicBezTo>
                    <a:pt x="13" y="320"/>
                    <a:pt x="13" y="322"/>
                    <a:pt x="13" y="323"/>
                  </a:cubicBezTo>
                  <a:cubicBezTo>
                    <a:pt x="13" y="324"/>
                    <a:pt x="15" y="324"/>
                    <a:pt x="16" y="325"/>
                  </a:cubicBezTo>
                  <a:cubicBezTo>
                    <a:pt x="16" y="325"/>
                    <a:pt x="17" y="325"/>
                    <a:pt x="17" y="325"/>
                  </a:cubicBezTo>
                  <a:cubicBezTo>
                    <a:pt x="17" y="327"/>
                    <a:pt x="17" y="328"/>
                    <a:pt x="17" y="329"/>
                  </a:cubicBezTo>
                  <a:cubicBezTo>
                    <a:pt x="17" y="329"/>
                    <a:pt x="18" y="329"/>
                    <a:pt x="18" y="329"/>
                  </a:cubicBezTo>
                  <a:cubicBezTo>
                    <a:pt x="18" y="330"/>
                    <a:pt x="17" y="332"/>
                    <a:pt x="18" y="333"/>
                  </a:cubicBezTo>
                  <a:cubicBezTo>
                    <a:pt x="18" y="334"/>
                    <a:pt x="19" y="334"/>
                    <a:pt x="20" y="335"/>
                  </a:cubicBezTo>
                  <a:cubicBezTo>
                    <a:pt x="21" y="336"/>
                    <a:pt x="20" y="337"/>
                    <a:pt x="20" y="338"/>
                  </a:cubicBezTo>
                  <a:cubicBezTo>
                    <a:pt x="21" y="338"/>
                    <a:pt x="21" y="339"/>
                    <a:pt x="21" y="339"/>
                  </a:cubicBezTo>
                  <a:cubicBezTo>
                    <a:pt x="21" y="340"/>
                    <a:pt x="22" y="342"/>
                    <a:pt x="22" y="343"/>
                  </a:cubicBezTo>
                  <a:cubicBezTo>
                    <a:pt x="22" y="343"/>
                    <a:pt x="23" y="344"/>
                    <a:pt x="24" y="344"/>
                  </a:cubicBezTo>
                  <a:cubicBezTo>
                    <a:pt x="26" y="343"/>
                    <a:pt x="26" y="340"/>
                    <a:pt x="29" y="340"/>
                  </a:cubicBezTo>
                  <a:cubicBezTo>
                    <a:pt x="29" y="340"/>
                    <a:pt x="30" y="339"/>
                    <a:pt x="31" y="339"/>
                  </a:cubicBezTo>
                  <a:cubicBezTo>
                    <a:pt x="31" y="340"/>
                    <a:pt x="31" y="341"/>
                    <a:pt x="31" y="342"/>
                  </a:cubicBezTo>
                  <a:cubicBezTo>
                    <a:pt x="31" y="343"/>
                    <a:pt x="30" y="343"/>
                    <a:pt x="30" y="343"/>
                  </a:cubicBezTo>
                  <a:cubicBezTo>
                    <a:pt x="29" y="344"/>
                    <a:pt x="29" y="345"/>
                    <a:pt x="29" y="345"/>
                  </a:cubicBezTo>
                  <a:cubicBezTo>
                    <a:pt x="28" y="345"/>
                    <a:pt x="26" y="345"/>
                    <a:pt x="24" y="345"/>
                  </a:cubicBezTo>
                  <a:cubicBezTo>
                    <a:pt x="23" y="347"/>
                    <a:pt x="22" y="350"/>
                    <a:pt x="24" y="352"/>
                  </a:cubicBezTo>
                  <a:cubicBezTo>
                    <a:pt x="24" y="352"/>
                    <a:pt x="24" y="352"/>
                    <a:pt x="25" y="353"/>
                  </a:cubicBezTo>
                  <a:cubicBezTo>
                    <a:pt x="25" y="354"/>
                    <a:pt x="25" y="355"/>
                    <a:pt x="26" y="356"/>
                  </a:cubicBezTo>
                  <a:cubicBezTo>
                    <a:pt x="27" y="356"/>
                    <a:pt x="28" y="357"/>
                    <a:pt x="28" y="356"/>
                  </a:cubicBezTo>
                  <a:cubicBezTo>
                    <a:pt x="29" y="356"/>
                    <a:pt x="29" y="355"/>
                    <a:pt x="30" y="354"/>
                  </a:cubicBezTo>
                  <a:cubicBezTo>
                    <a:pt x="30" y="352"/>
                    <a:pt x="30" y="351"/>
                    <a:pt x="31" y="350"/>
                  </a:cubicBezTo>
                  <a:cubicBezTo>
                    <a:pt x="34" y="350"/>
                    <a:pt x="36" y="350"/>
                    <a:pt x="38" y="350"/>
                  </a:cubicBezTo>
                  <a:cubicBezTo>
                    <a:pt x="39" y="350"/>
                    <a:pt x="40" y="350"/>
                    <a:pt x="41" y="351"/>
                  </a:cubicBezTo>
                  <a:cubicBezTo>
                    <a:pt x="42" y="352"/>
                    <a:pt x="42" y="353"/>
                    <a:pt x="42" y="354"/>
                  </a:cubicBezTo>
                  <a:cubicBezTo>
                    <a:pt x="41" y="356"/>
                    <a:pt x="40" y="358"/>
                    <a:pt x="38" y="357"/>
                  </a:cubicBezTo>
                  <a:cubicBezTo>
                    <a:pt x="37" y="356"/>
                    <a:pt x="35" y="356"/>
                    <a:pt x="35" y="356"/>
                  </a:cubicBezTo>
                  <a:cubicBezTo>
                    <a:pt x="34" y="360"/>
                    <a:pt x="37" y="362"/>
                    <a:pt x="40" y="362"/>
                  </a:cubicBezTo>
                  <a:cubicBezTo>
                    <a:pt x="41" y="363"/>
                    <a:pt x="41" y="363"/>
                    <a:pt x="42" y="364"/>
                  </a:cubicBezTo>
                  <a:cubicBezTo>
                    <a:pt x="42" y="364"/>
                    <a:pt x="43" y="364"/>
                    <a:pt x="44" y="364"/>
                  </a:cubicBezTo>
                  <a:cubicBezTo>
                    <a:pt x="45" y="363"/>
                    <a:pt x="45" y="362"/>
                    <a:pt x="45" y="360"/>
                  </a:cubicBezTo>
                  <a:cubicBezTo>
                    <a:pt x="46" y="357"/>
                    <a:pt x="45" y="354"/>
                    <a:pt x="45" y="352"/>
                  </a:cubicBezTo>
                  <a:cubicBezTo>
                    <a:pt x="45" y="351"/>
                    <a:pt x="46" y="351"/>
                    <a:pt x="46" y="351"/>
                  </a:cubicBezTo>
                  <a:cubicBezTo>
                    <a:pt x="48" y="349"/>
                    <a:pt x="50" y="349"/>
                    <a:pt x="52" y="347"/>
                  </a:cubicBezTo>
                  <a:cubicBezTo>
                    <a:pt x="53" y="347"/>
                    <a:pt x="54" y="347"/>
                    <a:pt x="55" y="347"/>
                  </a:cubicBezTo>
                  <a:cubicBezTo>
                    <a:pt x="55" y="346"/>
                    <a:pt x="55" y="346"/>
                    <a:pt x="55" y="346"/>
                  </a:cubicBezTo>
                  <a:cubicBezTo>
                    <a:pt x="56" y="344"/>
                    <a:pt x="54" y="343"/>
                    <a:pt x="52" y="343"/>
                  </a:cubicBezTo>
                  <a:cubicBezTo>
                    <a:pt x="46" y="342"/>
                    <a:pt x="41" y="344"/>
                    <a:pt x="35" y="343"/>
                  </a:cubicBezTo>
                  <a:cubicBezTo>
                    <a:pt x="35" y="343"/>
                    <a:pt x="35" y="342"/>
                    <a:pt x="34" y="341"/>
                  </a:cubicBezTo>
                  <a:cubicBezTo>
                    <a:pt x="34" y="338"/>
                    <a:pt x="32" y="336"/>
                    <a:pt x="32" y="334"/>
                  </a:cubicBezTo>
                  <a:cubicBezTo>
                    <a:pt x="31" y="332"/>
                    <a:pt x="32" y="330"/>
                    <a:pt x="31" y="328"/>
                  </a:cubicBezTo>
                  <a:cubicBezTo>
                    <a:pt x="30" y="326"/>
                    <a:pt x="27" y="328"/>
                    <a:pt x="25" y="329"/>
                  </a:cubicBezTo>
                  <a:cubicBezTo>
                    <a:pt x="25" y="329"/>
                    <a:pt x="24" y="329"/>
                    <a:pt x="24" y="329"/>
                  </a:cubicBezTo>
                  <a:cubicBezTo>
                    <a:pt x="23" y="327"/>
                    <a:pt x="23" y="325"/>
                    <a:pt x="23" y="323"/>
                  </a:cubicBezTo>
                  <a:cubicBezTo>
                    <a:pt x="22" y="321"/>
                    <a:pt x="22" y="319"/>
                    <a:pt x="22" y="316"/>
                  </a:cubicBezTo>
                  <a:cubicBezTo>
                    <a:pt x="21" y="315"/>
                    <a:pt x="21" y="315"/>
                    <a:pt x="22" y="313"/>
                  </a:cubicBezTo>
                  <a:cubicBezTo>
                    <a:pt x="23" y="312"/>
                    <a:pt x="24" y="309"/>
                    <a:pt x="25" y="308"/>
                  </a:cubicBezTo>
                  <a:cubicBezTo>
                    <a:pt x="26" y="307"/>
                    <a:pt x="27" y="306"/>
                    <a:pt x="27" y="305"/>
                  </a:cubicBezTo>
                  <a:cubicBezTo>
                    <a:pt x="27" y="304"/>
                    <a:pt x="27" y="303"/>
                    <a:pt x="27" y="301"/>
                  </a:cubicBezTo>
                  <a:cubicBezTo>
                    <a:pt x="27" y="301"/>
                    <a:pt x="27" y="301"/>
                    <a:pt x="27" y="300"/>
                  </a:cubicBezTo>
                  <a:cubicBezTo>
                    <a:pt x="26" y="299"/>
                    <a:pt x="25" y="299"/>
                    <a:pt x="25" y="298"/>
                  </a:cubicBezTo>
                  <a:cubicBezTo>
                    <a:pt x="24" y="297"/>
                    <a:pt x="24" y="296"/>
                    <a:pt x="24" y="295"/>
                  </a:cubicBezTo>
                  <a:cubicBezTo>
                    <a:pt x="26" y="293"/>
                    <a:pt x="27" y="291"/>
                    <a:pt x="28" y="289"/>
                  </a:cubicBezTo>
                  <a:cubicBezTo>
                    <a:pt x="29" y="288"/>
                    <a:pt x="29" y="286"/>
                    <a:pt x="29" y="285"/>
                  </a:cubicBezTo>
                  <a:cubicBezTo>
                    <a:pt x="29" y="284"/>
                    <a:pt x="29" y="283"/>
                    <a:pt x="29" y="282"/>
                  </a:cubicBezTo>
                  <a:cubicBezTo>
                    <a:pt x="28" y="280"/>
                    <a:pt x="29" y="279"/>
                    <a:pt x="28" y="278"/>
                  </a:cubicBezTo>
                  <a:cubicBezTo>
                    <a:pt x="28" y="276"/>
                    <a:pt x="27" y="275"/>
                    <a:pt x="28" y="274"/>
                  </a:cubicBezTo>
                  <a:cubicBezTo>
                    <a:pt x="29" y="273"/>
                    <a:pt x="30" y="271"/>
                    <a:pt x="30" y="268"/>
                  </a:cubicBezTo>
                  <a:cubicBezTo>
                    <a:pt x="29" y="268"/>
                    <a:pt x="29" y="268"/>
                    <a:pt x="29" y="267"/>
                  </a:cubicBezTo>
                  <a:cubicBezTo>
                    <a:pt x="28" y="267"/>
                    <a:pt x="27" y="267"/>
                    <a:pt x="27" y="267"/>
                  </a:cubicBezTo>
                  <a:cubicBezTo>
                    <a:pt x="26" y="266"/>
                    <a:pt x="25" y="266"/>
                    <a:pt x="26" y="265"/>
                  </a:cubicBezTo>
                  <a:cubicBezTo>
                    <a:pt x="26" y="264"/>
                    <a:pt x="26" y="264"/>
                    <a:pt x="26" y="264"/>
                  </a:cubicBezTo>
                  <a:cubicBezTo>
                    <a:pt x="28" y="264"/>
                    <a:pt x="31" y="265"/>
                    <a:pt x="30" y="263"/>
                  </a:cubicBezTo>
                  <a:cubicBezTo>
                    <a:pt x="30" y="262"/>
                    <a:pt x="28" y="261"/>
                    <a:pt x="27" y="261"/>
                  </a:cubicBezTo>
                  <a:cubicBezTo>
                    <a:pt x="27" y="260"/>
                    <a:pt x="25" y="261"/>
                    <a:pt x="25" y="260"/>
                  </a:cubicBezTo>
                  <a:cubicBezTo>
                    <a:pt x="25" y="258"/>
                    <a:pt x="25" y="255"/>
                    <a:pt x="25" y="253"/>
                  </a:cubicBezTo>
                  <a:cubicBezTo>
                    <a:pt x="25" y="252"/>
                    <a:pt x="24" y="250"/>
                    <a:pt x="24" y="249"/>
                  </a:cubicBezTo>
                  <a:cubicBezTo>
                    <a:pt x="24" y="248"/>
                    <a:pt x="23" y="247"/>
                    <a:pt x="22" y="247"/>
                  </a:cubicBezTo>
                  <a:cubicBezTo>
                    <a:pt x="22" y="246"/>
                    <a:pt x="23" y="244"/>
                    <a:pt x="22" y="243"/>
                  </a:cubicBezTo>
                  <a:cubicBezTo>
                    <a:pt x="22" y="243"/>
                    <a:pt x="21" y="243"/>
                    <a:pt x="21" y="242"/>
                  </a:cubicBezTo>
                  <a:cubicBezTo>
                    <a:pt x="21" y="241"/>
                    <a:pt x="21" y="239"/>
                    <a:pt x="22" y="237"/>
                  </a:cubicBezTo>
                  <a:cubicBezTo>
                    <a:pt x="23" y="234"/>
                    <a:pt x="23" y="231"/>
                    <a:pt x="23" y="228"/>
                  </a:cubicBezTo>
                  <a:cubicBezTo>
                    <a:pt x="21" y="224"/>
                    <a:pt x="21" y="220"/>
                    <a:pt x="21" y="215"/>
                  </a:cubicBezTo>
                  <a:cubicBezTo>
                    <a:pt x="23" y="212"/>
                    <a:pt x="22" y="209"/>
                    <a:pt x="22" y="206"/>
                  </a:cubicBezTo>
                  <a:cubicBezTo>
                    <a:pt x="22" y="206"/>
                    <a:pt x="22" y="206"/>
                    <a:pt x="22" y="206"/>
                  </a:cubicBezTo>
                  <a:cubicBezTo>
                    <a:pt x="22" y="205"/>
                    <a:pt x="22" y="204"/>
                    <a:pt x="23" y="204"/>
                  </a:cubicBezTo>
                  <a:cubicBezTo>
                    <a:pt x="23" y="202"/>
                    <a:pt x="25" y="202"/>
                    <a:pt x="25" y="201"/>
                  </a:cubicBezTo>
                  <a:cubicBezTo>
                    <a:pt x="26" y="201"/>
                    <a:pt x="26" y="200"/>
                    <a:pt x="25" y="199"/>
                  </a:cubicBezTo>
                  <a:cubicBezTo>
                    <a:pt x="23" y="196"/>
                    <a:pt x="23" y="193"/>
                    <a:pt x="23" y="189"/>
                  </a:cubicBezTo>
                  <a:cubicBezTo>
                    <a:pt x="23" y="188"/>
                    <a:pt x="22" y="187"/>
                    <a:pt x="22" y="186"/>
                  </a:cubicBezTo>
                  <a:cubicBezTo>
                    <a:pt x="22" y="184"/>
                    <a:pt x="22" y="183"/>
                    <a:pt x="22" y="182"/>
                  </a:cubicBezTo>
                  <a:cubicBezTo>
                    <a:pt x="23" y="180"/>
                    <a:pt x="25" y="179"/>
                    <a:pt x="26" y="177"/>
                  </a:cubicBezTo>
                  <a:cubicBezTo>
                    <a:pt x="27" y="175"/>
                    <a:pt x="27" y="173"/>
                    <a:pt x="27" y="171"/>
                  </a:cubicBezTo>
                  <a:cubicBezTo>
                    <a:pt x="26" y="170"/>
                    <a:pt x="26" y="169"/>
                    <a:pt x="25" y="168"/>
                  </a:cubicBezTo>
                  <a:cubicBezTo>
                    <a:pt x="25" y="167"/>
                    <a:pt x="25" y="166"/>
                    <a:pt x="25" y="166"/>
                  </a:cubicBezTo>
                  <a:cubicBezTo>
                    <a:pt x="26" y="165"/>
                    <a:pt x="26" y="164"/>
                    <a:pt x="27" y="164"/>
                  </a:cubicBezTo>
                  <a:cubicBezTo>
                    <a:pt x="27" y="162"/>
                    <a:pt x="28" y="160"/>
                    <a:pt x="28" y="159"/>
                  </a:cubicBezTo>
                  <a:cubicBezTo>
                    <a:pt x="29" y="155"/>
                    <a:pt x="30" y="152"/>
                    <a:pt x="30" y="148"/>
                  </a:cubicBezTo>
                  <a:cubicBezTo>
                    <a:pt x="29" y="147"/>
                    <a:pt x="27" y="147"/>
                    <a:pt x="27" y="146"/>
                  </a:cubicBezTo>
                  <a:cubicBezTo>
                    <a:pt x="26" y="144"/>
                    <a:pt x="27" y="142"/>
                    <a:pt x="27" y="139"/>
                  </a:cubicBezTo>
                  <a:cubicBezTo>
                    <a:pt x="26" y="138"/>
                    <a:pt x="25" y="138"/>
                    <a:pt x="24" y="137"/>
                  </a:cubicBezTo>
                  <a:cubicBezTo>
                    <a:pt x="24" y="136"/>
                    <a:pt x="25" y="134"/>
                    <a:pt x="24" y="133"/>
                  </a:cubicBezTo>
                  <a:cubicBezTo>
                    <a:pt x="23" y="132"/>
                    <a:pt x="22" y="132"/>
                    <a:pt x="22" y="131"/>
                  </a:cubicBezTo>
                  <a:cubicBezTo>
                    <a:pt x="21" y="130"/>
                    <a:pt x="21" y="128"/>
                    <a:pt x="22" y="127"/>
                  </a:cubicBezTo>
                  <a:cubicBezTo>
                    <a:pt x="23" y="126"/>
                    <a:pt x="25" y="125"/>
                    <a:pt x="26" y="123"/>
                  </a:cubicBezTo>
                  <a:cubicBezTo>
                    <a:pt x="26" y="121"/>
                    <a:pt x="26" y="118"/>
                    <a:pt x="26" y="116"/>
                  </a:cubicBezTo>
                  <a:cubicBezTo>
                    <a:pt x="25" y="115"/>
                    <a:pt x="25" y="114"/>
                    <a:pt x="25" y="113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5" y="111"/>
                    <a:pt x="25" y="110"/>
                    <a:pt x="25" y="109"/>
                  </a:cubicBezTo>
                  <a:cubicBezTo>
                    <a:pt x="25" y="107"/>
                    <a:pt x="27" y="107"/>
                    <a:pt x="27" y="106"/>
                  </a:cubicBezTo>
                  <a:cubicBezTo>
                    <a:pt x="28" y="103"/>
                    <a:pt x="27" y="101"/>
                    <a:pt x="28" y="99"/>
                  </a:cubicBezTo>
                  <a:cubicBezTo>
                    <a:pt x="29" y="97"/>
                    <a:pt x="31" y="95"/>
                    <a:pt x="32" y="93"/>
                  </a:cubicBezTo>
                  <a:cubicBezTo>
                    <a:pt x="32" y="92"/>
                    <a:pt x="31" y="90"/>
                    <a:pt x="33" y="90"/>
                  </a:cubicBezTo>
                  <a:cubicBezTo>
                    <a:pt x="35" y="89"/>
                    <a:pt x="38" y="86"/>
                    <a:pt x="37" y="84"/>
                  </a:cubicBezTo>
                  <a:cubicBezTo>
                    <a:pt x="36" y="83"/>
                    <a:pt x="35" y="83"/>
                    <a:pt x="35" y="82"/>
                  </a:cubicBezTo>
                  <a:cubicBezTo>
                    <a:pt x="34" y="81"/>
                    <a:pt x="35" y="80"/>
                    <a:pt x="35" y="79"/>
                  </a:cubicBezTo>
                  <a:cubicBezTo>
                    <a:pt x="35" y="78"/>
                    <a:pt x="36" y="77"/>
                    <a:pt x="35" y="77"/>
                  </a:cubicBezTo>
                  <a:cubicBezTo>
                    <a:pt x="35" y="76"/>
                    <a:pt x="34" y="75"/>
                    <a:pt x="34" y="75"/>
                  </a:cubicBezTo>
                  <a:cubicBezTo>
                    <a:pt x="34" y="73"/>
                    <a:pt x="34" y="71"/>
                    <a:pt x="36" y="69"/>
                  </a:cubicBezTo>
                  <a:cubicBezTo>
                    <a:pt x="37" y="68"/>
                    <a:pt x="36" y="66"/>
                    <a:pt x="35" y="64"/>
                  </a:cubicBezTo>
                  <a:cubicBezTo>
                    <a:pt x="35" y="64"/>
                    <a:pt x="35" y="64"/>
                    <a:pt x="35" y="64"/>
                  </a:cubicBezTo>
                  <a:cubicBezTo>
                    <a:pt x="37" y="62"/>
                    <a:pt x="39" y="61"/>
                    <a:pt x="41" y="59"/>
                  </a:cubicBezTo>
                  <a:cubicBezTo>
                    <a:pt x="42" y="58"/>
                    <a:pt x="43" y="58"/>
                    <a:pt x="43" y="57"/>
                  </a:cubicBezTo>
                  <a:cubicBezTo>
                    <a:pt x="44" y="54"/>
                    <a:pt x="44" y="50"/>
                    <a:pt x="44" y="47"/>
                  </a:cubicBezTo>
                  <a:cubicBezTo>
                    <a:pt x="42" y="47"/>
                    <a:pt x="40" y="48"/>
                    <a:pt x="39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5"/>
                    <a:pt x="38" y="42"/>
                    <a:pt x="38" y="40"/>
                  </a:cubicBezTo>
                  <a:cubicBezTo>
                    <a:pt x="38" y="40"/>
                    <a:pt x="37" y="39"/>
                    <a:pt x="37" y="39"/>
                  </a:cubicBezTo>
                  <a:cubicBezTo>
                    <a:pt x="35" y="36"/>
                    <a:pt x="35" y="33"/>
                    <a:pt x="33" y="30"/>
                  </a:cubicBezTo>
                  <a:cubicBezTo>
                    <a:pt x="31" y="28"/>
                    <a:pt x="32" y="26"/>
                    <a:pt x="31" y="24"/>
                  </a:cubicBezTo>
                  <a:cubicBezTo>
                    <a:pt x="31" y="24"/>
                    <a:pt x="31" y="23"/>
                    <a:pt x="31" y="22"/>
                  </a:cubicBezTo>
                  <a:cubicBezTo>
                    <a:pt x="31" y="22"/>
                    <a:pt x="31" y="22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3" y="20"/>
                    <a:pt x="33" y="20"/>
                    <a:pt x="32" y="19"/>
                  </a:cubicBezTo>
                  <a:cubicBezTo>
                    <a:pt x="32" y="19"/>
                    <a:pt x="31" y="18"/>
                    <a:pt x="31" y="18"/>
                  </a:cubicBezTo>
                  <a:cubicBezTo>
                    <a:pt x="31" y="17"/>
                    <a:pt x="32" y="15"/>
                    <a:pt x="31" y="14"/>
                  </a:cubicBezTo>
                  <a:cubicBezTo>
                    <a:pt x="29" y="10"/>
                    <a:pt x="27" y="8"/>
                    <a:pt x="26" y="4"/>
                  </a:cubicBezTo>
                  <a:cubicBezTo>
                    <a:pt x="26" y="2"/>
                    <a:pt x="24" y="0"/>
                    <a:pt x="22" y="1"/>
                  </a:cubicBezTo>
                  <a:cubicBezTo>
                    <a:pt x="20" y="2"/>
                    <a:pt x="19" y="4"/>
                    <a:pt x="17" y="4"/>
                  </a:cubicBezTo>
                  <a:lnTo>
                    <a:pt x="16" y="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8" name="Freeform 411"/>
            <p:cNvSpPr>
              <a:spLocks/>
            </p:cNvSpPr>
            <p:nvPr/>
          </p:nvSpPr>
          <p:spPr bwMode="auto">
            <a:xfrm>
              <a:off x="6123321" y="5885350"/>
              <a:ext cx="40597" cy="41096"/>
            </a:xfrm>
            <a:custGeom>
              <a:avLst/>
              <a:gdLst>
                <a:gd name="T0" fmla="*/ 23379470 w 30"/>
                <a:gd name="T1" fmla="*/ 27228977 h 38"/>
                <a:gd name="T2" fmla="*/ 22140284 w 30"/>
                <a:gd name="T3" fmla="*/ 28478632 h 38"/>
                <a:gd name="T4" fmla="*/ 23379470 w 30"/>
                <a:gd name="T5" fmla="*/ 29374918 h 38"/>
                <a:gd name="T6" fmla="*/ 25441348 w 30"/>
                <a:gd name="T7" fmla="*/ 31441222 h 38"/>
                <a:gd name="T8" fmla="*/ 28219852 w 30"/>
                <a:gd name="T9" fmla="*/ 33584529 h 38"/>
                <a:gd name="T10" fmla="*/ 29078989 w 30"/>
                <a:gd name="T11" fmla="*/ 37200348 h 38"/>
                <a:gd name="T12" fmla="*/ 26957264 w 30"/>
                <a:gd name="T13" fmla="*/ 37200348 h 38"/>
                <a:gd name="T14" fmla="*/ 26091007 w 30"/>
                <a:gd name="T15" fmla="*/ 35106153 h 38"/>
                <a:gd name="T16" fmla="*/ 21278912 w 30"/>
                <a:gd name="T17" fmla="*/ 32306434 h 38"/>
                <a:gd name="T18" fmla="*/ 19205386 w 30"/>
                <a:gd name="T19" fmla="*/ 34448850 h 38"/>
                <a:gd name="T20" fmla="*/ 17602945 w 30"/>
                <a:gd name="T21" fmla="*/ 34448850 h 38"/>
                <a:gd name="T22" fmla="*/ 17602945 w 30"/>
                <a:gd name="T23" fmla="*/ 31441222 h 38"/>
                <a:gd name="T24" fmla="*/ 13529051 w 30"/>
                <a:gd name="T25" fmla="*/ 31441222 h 38"/>
                <a:gd name="T26" fmla="*/ 13529051 w 30"/>
                <a:gd name="T27" fmla="*/ 30251953 h 38"/>
                <a:gd name="T28" fmla="*/ 16449385 w 30"/>
                <a:gd name="T29" fmla="*/ 28478632 h 38"/>
                <a:gd name="T30" fmla="*/ 16449385 w 30"/>
                <a:gd name="T31" fmla="*/ 26570670 h 38"/>
                <a:gd name="T32" fmla="*/ 7817668 w 30"/>
                <a:gd name="T33" fmla="*/ 25674877 h 38"/>
                <a:gd name="T34" fmla="*/ 5716500 w 30"/>
                <a:gd name="T35" fmla="*/ 24492638 h 38"/>
                <a:gd name="T36" fmla="*/ 0 w 30"/>
                <a:gd name="T37" fmla="*/ 22374834 h 38"/>
                <a:gd name="T38" fmla="*/ 0 w 30"/>
                <a:gd name="T39" fmla="*/ 20597761 h 38"/>
                <a:gd name="T40" fmla="*/ 4812844 w 30"/>
                <a:gd name="T41" fmla="*/ 19416389 h 38"/>
                <a:gd name="T42" fmla="*/ 8611898 w 30"/>
                <a:gd name="T43" fmla="*/ 20597761 h 38"/>
                <a:gd name="T44" fmla="*/ 13529051 w 30"/>
                <a:gd name="T45" fmla="*/ 20597761 h 38"/>
                <a:gd name="T46" fmla="*/ 16449385 w 30"/>
                <a:gd name="T47" fmla="*/ 22374834 h 38"/>
                <a:gd name="T48" fmla="*/ 18501814 w 30"/>
                <a:gd name="T49" fmla="*/ 22374834 h 38"/>
                <a:gd name="T50" fmla="*/ 17602945 w 30"/>
                <a:gd name="T51" fmla="*/ 20597761 h 38"/>
                <a:gd name="T52" fmla="*/ 15562709 w 30"/>
                <a:gd name="T53" fmla="*/ 20597761 h 38"/>
                <a:gd name="T54" fmla="*/ 11390399 w 30"/>
                <a:gd name="T55" fmla="*/ 17849252 h 38"/>
                <a:gd name="T56" fmla="*/ 11390399 w 30"/>
                <a:gd name="T57" fmla="*/ 13640503 h 38"/>
                <a:gd name="T58" fmla="*/ 15562709 w 30"/>
                <a:gd name="T59" fmla="*/ 11496685 h 38"/>
                <a:gd name="T60" fmla="*/ 15562709 w 30"/>
                <a:gd name="T61" fmla="*/ 10840510 h 38"/>
                <a:gd name="T62" fmla="*/ 12629529 w 30"/>
                <a:gd name="T63" fmla="*/ 9968069 h 38"/>
                <a:gd name="T64" fmla="*/ 8611898 w 30"/>
                <a:gd name="T65" fmla="*/ 14822601 h 38"/>
                <a:gd name="T66" fmla="*/ 7817668 w 30"/>
                <a:gd name="T67" fmla="*/ 14822601 h 38"/>
                <a:gd name="T68" fmla="*/ 8611898 w 30"/>
                <a:gd name="T69" fmla="*/ 8696832 h 38"/>
                <a:gd name="T70" fmla="*/ 8611898 w 30"/>
                <a:gd name="T71" fmla="*/ 3671997 h 38"/>
                <a:gd name="T72" fmla="*/ 12629529 w 30"/>
                <a:gd name="T73" fmla="*/ 865359 h 38"/>
                <a:gd name="T74" fmla="*/ 13529051 w 30"/>
                <a:gd name="T75" fmla="*/ 865359 h 38"/>
                <a:gd name="T76" fmla="*/ 15562709 w 30"/>
                <a:gd name="T77" fmla="*/ 2049534 h 38"/>
                <a:gd name="T78" fmla="*/ 17602945 w 30"/>
                <a:gd name="T79" fmla="*/ 2049534 h 38"/>
                <a:gd name="T80" fmla="*/ 20381491 w 30"/>
                <a:gd name="T81" fmla="*/ 865359 h 38"/>
                <a:gd name="T82" fmla="*/ 21278912 w 30"/>
                <a:gd name="T83" fmla="*/ 2049534 h 38"/>
                <a:gd name="T84" fmla="*/ 21278912 w 30"/>
                <a:gd name="T85" fmla="*/ 2959271 h 38"/>
                <a:gd name="T86" fmla="*/ 23379470 w 30"/>
                <a:gd name="T87" fmla="*/ 26570670 h 38"/>
                <a:gd name="T88" fmla="*/ 23379470 w 30"/>
                <a:gd name="T89" fmla="*/ 27228977 h 3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0"/>
                <a:gd name="T136" fmla="*/ 0 h 38"/>
                <a:gd name="T137" fmla="*/ 30 w 30"/>
                <a:gd name="T138" fmla="*/ 38 h 3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0" h="38">
                  <a:moveTo>
                    <a:pt x="24" y="28"/>
                  </a:moveTo>
                  <a:cubicBezTo>
                    <a:pt x="24" y="28"/>
                    <a:pt x="24" y="28"/>
                    <a:pt x="23" y="29"/>
                  </a:cubicBezTo>
                  <a:cubicBezTo>
                    <a:pt x="23" y="29"/>
                    <a:pt x="23" y="29"/>
                    <a:pt x="24" y="30"/>
                  </a:cubicBezTo>
                  <a:cubicBezTo>
                    <a:pt x="25" y="30"/>
                    <a:pt x="25" y="31"/>
                    <a:pt x="26" y="32"/>
                  </a:cubicBezTo>
                  <a:cubicBezTo>
                    <a:pt x="27" y="33"/>
                    <a:pt x="28" y="33"/>
                    <a:pt x="29" y="34"/>
                  </a:cubicBezTo>
                  <a:cubicBezTo>
                    <a:pt x="30" y="35"/>
                    <a:pt x="30" y="36"/>
                    <a:pt x="30" y="38"/>
                  </a:cubicBezTo>
                  <a:cubicBezTo>
                    <a:pt x="30" y="38"/>
                    <a:pt x="29" y="38"/>
                    <a:pt x="28" y="38"/>
                  </a:cubicBezTo>
                  <a:cubicBezTo>
                    <a:pt x="28" y="37"/>
                    <a:pt x="27" y="36"/>
                    <a:pt x="27" y="36"/>
                  </a:cubicBezTo>
                  <a:cubicBezTo>
                    <a:pt x="25" y="35"/>
                    <a:pt x="24" y="35"/>
                    <a:pt x="22" y="33"/>
                  </a:cubicBezTo>
                  <a:cubicBezTo>
                    <a:pt x="21" y="32"/>
                    <a:pt x="20" y="34"/>
                    <a:pt x="20" y="35"/>
                  </a:cubicBezTo>
                  <a:cubicBezTo>
                    <a:pt x="20" y="35"/>
                    <a:pt x="19" y="35"/>
                    <a:pt x="18" y="35"/>
                  </a:cubicBezTo>
                  <a:cubicBezTo>
                    <a:pt x="18" y="34"/>
                    <a:pt x="19" y="33"/>
                    <a:pt x="18" y="32"/>
                  </a:cubicBezTo>
                  <a:cubicBezTo>
                    <a:pt x="17" y="32"/>
                    <a:pt x="16" y="33"/>
                    <a:pt x="14" y="32"/>
                  </a:cubicBezTo>
                  <a:cubicBezTo>
                    <a:pt x="14" y="32"/>
                    <a:pt x="14" y="31"/>
                    <a:pt x="14" y="31"/>
                  </a:cubicBezTo>
                  <a:cubicBezTo>
                    <a:pt x="15" y="30"/>
                    <a:pt x="17" y="30"/>
                    <a:pt x="17" y="29"/>
                  </a:cubicBezTo>
                  <a:cubicBezTo>
                    <a:pt x="18" y="29"/>
                    <a:pt x="18" y="28"/>
                    <a:pt x="17" y="27"/>
                  </a:cubicBezTo>
                  <a:cubicBezTo>
                    <a:pt x="14" y="26"/>
                    <a:pt x="11" y="27"/>
                    <a:pt x="8" y="26"/>
                  </a:cubicBezTo>
                  <a:cubicBezTo>
                    <a:pt x="8" y="26"/>
                    <a:pt x="7" y="25"/>
                    <a:pt x="6" y="25"/>
                  </a:cubicBezTo>
                  <a:cubicBezTo>
                    <a:pt x="4" y="24"/>
                    <a:pt x="2" y="25"/>
                    <a:pt x="0" y="23"/>
                  </a:cubicBezTo>
                  <a:cubicBezTo>
                    <a:pt x="0" y="23"/>
                    <a:pt x="0" y="22"/>
                    <a:pt x="0" y="21"/>
                  </a:cubicBezTo>
                  <a:cubicBezTo>
                    <a:pt x="2" y="21"/>
                    <a:pt x="3" y="21"/>
                    <a:pt x="5" y="20"/>
                  </a:cubicBezTo>
                  <a:cubicBezTo>
                    <a:pt x="6" y="20"/>
                    <a:pt x="7" y="20"/>
                    <a:pt x="9" y="21"/>
                  </a:cubicBezTo>
                  <a:cubicBezTo>
                    <a:pt x="10" y="21"/>
                    <a:pt x="12" y="20"/>
                    <a:pt x="14" y="21"/>
                  </a:cubicBezTo>
                  <a:cubicBezTo>
                    <a:pt x="15" y="22"/>
                    <a:pt x="16" y="22"/>
                    <a:pt x="17" y="23"/>
                  </a:cubicBezTo>
                  <a:cubicBezTo>
                    <a:pt x="17" y="23"/>
                    <a:pt x="18" y="23"/>
                    <a:pt x="19" y="23"/>
                  </a:cubicBezTo>
                  <a:cubicBezTo>
                    <a:pt x="19" y="22"/>
                    <a:pt x="19" y="22"/>
                    <a:pt x="18" y="21"/>
                  </a:cubicBezTo>
                  <a:cubicBezTo>
                    <a:pt x="17" y="21"/>
                    <a:pt x="16" y="21"/>
                    <a:pt x="16" y="21"/>
                  </a:cubicBezTo>
                  <a:cubicBezTo>
                    <a:pt x="15" y="20"/>
                    <a:pt x="13" y="19"/>
                    <a:pt x="12" y="18"/>
                  </a:cubicBezTo>
                  <a:cubicBezTo>
                    <a:pt x="12" y="17"/>
                    <a:pt x="11" y="15"/>
                    <a:pt x="12" y="14"/>
                  </a:cubicBezTo>
                  <a:cubicBezTo>
                    <a:pt x="13" y="13"/>
                    <a:pt x="15" y="13"/>
                    <a:pt x="16" y="12"/>
                  </a:cubicBezTo>
                  <a:cubicBezTo>
                    <a:pt x="16" y="12"/>
                    <a:pt x="16" y="11"/>
                    <a:pt x="16" y="11"/>
                  </a:cubicBezTo>
                  <a:cubicBezTo>
                    <a:pt x="16" y="10"/>
                    <a:pt x="14" y="9"/>
                    <a:pt x="13" y="10"/>
                  </a:cubicBezTo>
                  <a:cubicBezTo>
                    <a:pt x="11" y="10"/>
                    <a:pt x="11" y="13"/>
                    <a:pt x="9" y="15"/>
                  </a:cubicBezTo>
                  <a:cubicBezTo>
                    <a:pt x="9" y="15"/>
                    <a:pt x="8" y="15"/>
                    <a:pt x="8" y="15"/>
                  </a:cubicBezTo>
                  <a:cubicBezTo>
                    <a:pt x="7" y="13"/>
                    <a:pt x="8" y="11"/>
                    <a:pt x="9" y="9"/>
                  </a:cubicBezTo>
                  <a:cubicBezTo>
                    <a:pt x="9" y="7"/>
                    <a:pt x="9" y="5"/>
                    <a:pt x="9" y="4"/>
                  </a:cubicBezTo>
                  <a:cubicBezTo>
                    <a:pt x="10" y="2"/>
                    <a:pt x="12" y="2"/>
                    <a:pt x="13" y="1"/>
                  </a:cubicBezTo>
                  <a:cubicBezTo>
                    <a:pt x="13" y="0"/>
                    <a:pt x="14" y="0"/>
                    <a:pt x="14" y="1"/>
                  </a:cubicBezTo>
                  <a:cubicBezTo>
                    <a:pt x="15" y="1"/>
                    <a:pt x="15" y="2"/>
                    <a:pt x="16" y="2"/>
                  </a:cubicBezTo>
                  <a:cubicBezTo>
                    <a:pt x="17" y="2"/>
                    <a:pt x="17" y="2"/>
                    <a:pt x="18" y="2"/>
                  </a:cubicBezTo>
                  <a:cubicBezTo>
                    <a:pt x="19" y="1"/>
                    <a:pt x="19" y="0"/>
                    <a:pt x="21" y="1"/>
                  </a:cubicBezTo>
                  <a:cubicBezTo>
                    <a:pt x="21" y="1"/>
                    <a:pt x="22" y="2"/>
                    <a:pt x="22" y="2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4" y="27"/>
                    <a:pt x="24" y="27"/>
                    <a:pt x="24" y="27"/>
                  </a:cubicBezTo>
                  <a:lnTo>
                    <a:pt x="24" y="2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9" name="Freeform 412"/>
            <p:cNvSpPr>
              <a:spLocks/>
            </p:cNvSpPr>
            <p:nvPr/>
          </p:nvSpPr>
          <p:spPr bwMode="auto">
            <a:xfrm>
              <a:off x="6074747" y="5762669"/>
              <a:ext cx="7974" cy="16317"/>
            </a:xfrm>
            <a:custGeom>
              <a:avLst/>
              <a:gdLst>
                <a:gd name="T0" fmla="*/ 2243220 w 6"/>
                <a:gd name="T1" fmla="*/ 0 h 16"/>
                <a:gd name="T2" fmla="*/ 1697572 w 6"/>
                <a:gd name="T3" fmla="*/ 0 h 16"/>
                <a:gd name="T4" fmla="*/ 727531 w 6"/>
                <a:gd name="T5" fmla="*/ 7250847 h 16"/>
                <a:gd name="T6" fmla="*/ 0 w 6"/>
                <a:gd name="T7" fmla="*/ 10102323 h 16"/>
                <a:gd name="T8" fmla="*/ 3961001 w 6"/>
                <a:gd name="T9" fmla="*/ 10759007 h 16"/>
                <a:gd name="T10" fmla="*/ 4688532 w 6"/>
                <a:gd name="T11" fmla="*/ 6110753 h 16"/>
                <a:gd name="T12" fmla="*/ 3961001 w 6"/>
                <a:gd name="T13" fmla="*/ 3508474 h 16"/>
                <a:gd name="T14" fmla="*/ 3961001 w 6"/>
                <a:gd name="T15" fmla="*/ 656077 h 16"/>
                <a:gd name="T16" fmla="*/ 2243220 w 6"/>
                <a:gd name="T17" fmla="*/ 0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16"/>
                <a:gd name="T29" fmla="*/ 6 w 6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16">
                  <a:moveTo>
                    <a:pt x="3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4"/>
                    <a:pt x="1" y="7"/>
                    <a:pt x="1" y="11"/>
                  </a:cubicBezTo>
                  <a:cubicBezTo>
                    <a:pt x="0" y="12"/>
                    <a:pt x="0" y="14"/>
                    <a:pt x="0" y="15"/>
                  </a:cubicBezTo>
                  <a:cubicBezTo>
                    <a:pt x="2" y="16"/>
                    <a:pt x="4" y="16"/>
                    <a:pt x="5" y="16"/>
                  </a:cubicBezTo>
                  <a:cubicBezTo>
                    <a:pt x="6" y="14"/>
                    <a:pt x="5" y="12"/>
                    <a:pt x="6" y="9"/>
                  </a:cubicBezTo>
                  <a:cubicBezTo>
                    <a:pt x="4" y="9"/>
                    <a:pt x="5" y="7"/>
                    <a:pt x="5" y="5"/>
                  </a:cubicBezTo>
                  <a:cubicBezTo>
                    <a:pt x="5" y="4"/>
                    <a:pt x="6" y="2"/>
                    <a:pt x="5" y="1"/>
                  </a:cubicBezTo>
                  <a:cubicBezTo>
                    <a:pt x="5" y="0"/>
                    <a:pt x="4" y="0"/>
                    <a:pt x="3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0" name="Freeform 413"/>
            <p:cNvSpPr>
              <a:spLocks/>
            </p:cNvSpPr>
            <p:nvPr/>
          </p:nvSpPr>
          <p:spPr bwMode="auto">
            <a:xfrm>
              <a:off x="6088522" y="5791074"/>
              <a:ext cx="4350" cy="4834"/>
            </a:xfrm>
            <a:custGeom>
              <a:avLst/>
              <a:gdLst>
                <a:gd name="T0" fmla="*/ 1697572 w 3"/>
                <a:gd name="T1" fmla="*/ 0 h 4"/>
                <a:gd name="T2" fmla="*/ 727531 w 3"/>
                <a:gd name="T3" fmla="*/ 0 h 4"/>
                <a:gd name="T4" fmla="*/ 0 w 3"/>
                <a:gd name="T5" fmla="*/ 9219213 h 4"/>
                <a:gd name="T6" fmla="*/ 1697572 w 3"/>
                <a:gd name="T7" fmla="*/ 9219213 h 4"/>
                <a:gd name="T8" fmla="*/ 1697572 w 3"/>
                <a:gd name="T9" fmla="*/ 0 h 4"/>
                <a:gd name="T10" fmla="*/ 1697572 w 3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2"/>
                    <a:pt x="3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1" name="Freeform 414"/>
            <p:cNvSpPr>
              <a:spLocks/>
            </p:cNvSpPr>
            <p:nvPr/>
          </p:nvSpPr>
          <p:spPr bwMode="auto">
            <a:xfrm>
              <a:off x="6082721" y="5863595"/>
              <a:ext cx="7248" cy="6647"/>
            </a:xfrm>
            <a:custGeom>
              <a:avLst/>
              <a:gdLst>
                <a:gd name="T0" fmla="*/ 5085394 w 5"/>
                <a:gd name="T1" fmla="*/ 1697572 h 6"/>
                <a:gd name="T2" fmla="*/ 3577445 w 5"/>
                <a:gd name="T3" fmla="*/ 727531 h 6"/>
                <a:gd name="T4" fmla="*/ 0 w 5"/>
                <a:gd name="T5" fmla="*/ 727531 h 6"/>
                <a:gd name="T6" fmla="*/ 1064436 w 5"/>
                <a:gd name="T7" fmla="*/ 2970751 h 6"/>
                <a:gd name="T8" fmla="*/ 2554647 w 5"/>
                <a:gd name="T9" fmla="*/ 4688532 h 6"/>
                <a:gd name="T10" fmla="*/ 5085394 w 5"/>
                <a:gd name="T11" fmla="*/ 4688532 h 6"/>
                <a:gd name="T12" fmla="*/ 5085394 w 5"/>
                <a:gd name="T13" fmla="*/ 1697572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4" y="2"/>
                  </a:move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1" y="5"/>
                    <a:pt x="2" y="5"/>
                    <a:pt x="2" y="6"/>
                  </a:cubicBezTo>
                  <a:cubicBezTo>
                    <a:pt x="2" y="6"/>
                    <a:pt x="3" y="6"/>
                    <a:pt x="4" y="6"/>
                  </a:cubicBezTo>
                  <a:cubicBezTo>
                    <a:pt x="5" y="5"/>
                    <a:pt x="5" y="4"/>
                    <a:pt x="4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2" name="Freeform 415"/>
            <p:cNvSpPr>
              <a:spLocks/>
            </p:cNvSpPr>
            <p:nvPr/>
          </p:nvSpPr>
          <p:spPr bwMode="auto">
            <a:xfrm>
              <a:off x="6088522" y="5875681"/>
              <a:ext cx="8699" cy="7253"/>
            </a:xfrm>
            <a:custGeom>
              <a:avLst/>
              <a:gdLst>
                <a:gd name="T0" fmla="*/ 2243220 w 6"/>
                <a:gd name="T1" fmla="*/ 1724631 h 7"/>
                <a:gd name="T2" fmla="*/ 1697572 w 6"/>
                <a:gd name="T3" fmla="*/ 1156064 h 7"/>
                <a:gd name="T4" fmla="*/ 0 w 6"/>
                <a:gd name="T5" fmla="*/ 505778 h 7"/>
                <a:gd name="T6" fmla="*/ 0 w 6"/>
                <a:gd name="T7" fmla="*/ 1156064 h 7"/>
                <a:gd name="T8" fmla="*/ 4688532 w 6"/>
                <a:gd name="T9" fmla="*/ 3942014 h 7"/>
                <a:gd name="T10" fmla="*/ 4688532 w 6"/>
                <a:gd name="T11" fmla="*/ 2642432 h 7"/>
                <a:gd name="T12" fmla="*/ 2243220 w 6"/>
                <a:gd name="T13" fmla="*/ 1724631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7"/>
                <a:gd name="T23" fmla="*/ 6 w 6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7">
                  <a:moveTo>
                    <a:pt x="3" y="3"/>
                  </a:moveTo>
                  <a:cubicBezTo>
                    <a:pt x="3" y="3"/>
                    <a:pt x="2" y="2"/>
                    <a:pt x="2" y="2"/>
                  </a:cubicBezTo>
                  <a:cubicBezTo>
                    <a:pt x="2" y="1"/>
                    <a:pt x="1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4"/>
                    <a:pt x="3" y="7"/>
                    <a:pt x="6" y="7"/>
                  </a:cubicBezTo>
                  <a:cubicBezTo>
                    <a:pt x="6" y="6"/>
                    <a:pt x="6" y="5"/>
                    <a:pt x="6" y="5"/>
                  </a:cubicBezTo>
                  <a:cubicBezTo>
                    <a:pt x="5" y="4"/>
                    <a:pt x="4" y="4"/>
                    <a:pt x="3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3" name="Freeform 416"/>
            <p:cNvSpPr>
              <a:spLocks/>
            </p:cNvSpPr>
            <p:nvPr/>
          </p:nvSpPr>
          <p:spPr bwMode="auto">
            <a:xfrm>
              <a:off x="6092872" y="5873265"/>
              <a:ext cx="4350" cy="4232"/>
            </a:xfrm>
            <a:custGeom>
              <a:avLst/>
              <a:gdLst>
                <a:gd name="T0" fmla="*/ 1697572 w 3"/>
                <a:gd name="T1" fmla="*/ 418284 h 4"/>
                <a:gd name="T2" fmla="*/ 1697572 w 3"/>
                <a:gd name="T3" fmla="*/ 418284 h 4"/>
                <a:gd name="T4" fmla="*/ 0 w 3"/>
                <a:gd name="T5" fmla="*/ 418284 h 4"/>
                <a:gd name="T6" fmla="*/ 0 w 3"/>
                <a:gd name="T7" fmla="*/ 1359459 h 4"/>
                <a:gd name="T8" fmla="*/ 1697572 w 3"/>
                <a:gd name="T9" fmla="*/ 1359459 h 4"/>
                <a:gd name="T10" fmla="*/ 1697572 w 3"/>
                <a:gd name="T11" fmla="*/ 418284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0"/>
                    <a:pt x="0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2" y="4"/>
                    <a:pt x="2" y="3"/>
                  </a:cubicBezTo>
                  <a:cubicBezTo>
                    <a:pt x="3" y="3"/>
                    <a:pt x="2" y="2"/>
                    <a:pt x="2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4" name="Freeform 417"/>
            <p:cNvSpPr>
              <a:spLocks/>
            </p:cNvSpPr>
            <p:nvPr/>
          </p:nvSpPr>
          <p:spPr bwMode="auto">
            <a:xfrm>
              <a:off x="6088522" y="5886560"/>
              <a:ext cx="11598" cy="8460"/>
            </a:xfrm>
            <a:custGeom>
              <a:avLst/>
              <a:gdLst>
                <a:gd name="T0" fmla="*/ 5234180 w 9"/>
                <a:gd name="T1" fmla="*/ 5058432 h 8"/>
                <a:gd name="T2" fmla="*/ 3961001 w 9"/>
                <a:gd name="T3" fmla="*/ 4351847 h 8"/>
                <a:gd name="T4" fmla="*/ 2243220 w 9"/>
                <a:gd name="T5" fmla="*/ 896786 h 8"/>
                <a:gd name="T6" fmla="*/ 727531 w 9"/>
                <a:gd name="T7" fmla="*/ 896786 h 8"/>
                <a:gd name="T8" fmla="*/ 3961001 w 9"/>
                <a:gd name="T9" fmla="*/ 7279645 h 8"/>
                <a:gd name="T10" fmla="*/ 6931749 w 9"/>
                <a:gd name="T11" fmla="*/ 7279645 h 8"/>
                <a:gd name="T12" fmla="*/ 6931749 w 9"/>
                <a:gd name="T13" fmla="*/ 5955246 h 8"/>
                <a:gd name="T14" fmla="*/ 5234180 w 9"/>
                <a:gd name="T15" fmla="*/ 5058432 h 8"/>
                <a:gd name="T16" fmla="*/ 5234180 w 9"/>
                <a:gd name="T17" fmla="*/ 5058432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8"/>
                <a:gd name="T29" fmla="*/ 9 w 9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8">
                  <a:moveTo>
                    <a:pt x="7" y="5"/>
                  </a:moveTo>
                  <a:cubicBezTo>
                    <a:pt x="6" y="5"/>
                    <a:pt x="6" y="4"/>
                    <a:pt x="5" y="4"/>
                  </a:cubicBezTo>
                  <a:cubicBezTo>
                    <a:pt x="5" y="3"/>
                    <a:pt x="4" y="2"/>
                    <a:pt x="3" y="1"/>
                  </a:cubicBezTo>
                  <a:cubicBezTo>
                    <a:pt x="3" y="1"/>
                    <a:pt x="1" y="0"/>
                    <a:pt x="1" y="1"/>
                  </a:cubicBezTo>
                  <a:cubicBezTo>
                    <a:pt x="0" y="3"/>
                    <a:pt x="3" y="6"/>
                    <a:pt x="5" y="7"/>
                  </a:cubicBezTo>
                  <a:cubicBezTo>
                    <a:pt x="6" y="7"/>
                    <a:pt x="8" y="8"/>
                    <a:pt x="9" y="7"/>
                  </a:cubicBezTo>
                  <a:cubicBezTo>
                    <a:pt x="9" y="7"/>
                    <a:pt x="9" y="6"/>
                    <a:pt x="9" y="6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5" name="Freeform 418"/>
            <p:cNvSpPr>
              <a:spLocks/>
            </p:cNvSpPr>
            <p:nvPr/>
          </p:nvSpPr>
          <p:spPr bwMode="auto">
            <a:xfrm>
              <a:off x="6103022" y="5895626"/>
              <a:ext cx="13050" cy="10879"/>
            </a:xfrm>
            <a:custGeom>
              <a:avLst/>
              <a:gdLst>
                <a:gd name="T0" fmla="*/ 4267293 w 10"/>
                <a:gd name="T1" fmla="*/ 3238158 h 9"/>
                <a:gd name="T2" fmla="*/ 1399401 w 10"/>
                <a:gd name="T3" fmla="*/ 1324701 h 9"/>
                <a:gd name="T4" fmla="*/ 0 w 10"/>
                <a:gd name="T5" fmla="*/ 0 h 9"/>
                <a:gd name="T6" fmla="*/ 0 w 10"/>
                <a:gd name="T7" fmla="*/ 3238158 h 9"/>
                <a:gd name="T8" fmla="*/ 1399401 w 10"/>
                <a:gd name="T9" fmla="*/ 4692541 h 9"/>
                <a:gd name="T10" fmla="*/ 1399401 w 10"/>
                <a:gd name="T11" fmla="*/ 11470653 h 9"/>
                <a:gd name="T12" fmla="*/ 2411948 w 10"/>
                <a:gd name="T13" fmla="*/ 13330806 h 9"/>
                <a:gd name="T14" fmla="*/ 4267293 w 10"/>
                <a:gd name="T15" fmla="*/ 13330806 h 9"/>
                <a:gd name="T16" fmla="*/ 5547481 w 10"/>
                <a:gd name="T17" fmla="*/ 10015063 h 9"/>
                <a:gd name="T18" fmla="*/ 5547481 w 10"/>
                <a:gd name="T19" fmla="*/ 6550065 h 9"/>
                <a:gd name="T20" fmla="*/ 4267293 w 10"/>
                <a:gd name="T21" fmla="*/ 3238158 h 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"/>
                <a:gd name="T34" fmla="*/ 0 h 9"/>
                <a:gd name="T35" fmla="*/ 10 w 10"/>
                <a:gd name="T36" fmla="*/ 9 h 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" h="9">
                  <a:moveTo>
                    <a:pt x="7" y="2"/>
                  </a:moveTo>
                  <a:cubicBezTo>
                    <a:pt x="6" y="1"/>
                    <a:pt x="4" y="1"/>
                    <a:pt x="2" y="1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2"/>
                    <a:pt x="1" y="3"/>
                    <a:pt x="2" y="3"/>
                  </a:cubicBezTo>
                  <a:cubicBezTo>
                    <a:pt x="2" y="4"/>
                    <a:pt x="2" y="6"/>
                    <a:pt x="2" y="7"/>
                  </a:cubicBezTo>
                  <a:cubicBezTo>
                    <a:pt x="2" y="7"/>
                    <a:pt x="3" y="8"/>
                    <a:pt x="4" y="8"/>
                  </a:cubicBezTo>
                  <a:cubicBezTo>
                    <a:pt x="5" y="8"/>
                    <a:pt x="6" y="9"/>
                    <a:pt x="7" y="8"/>
                  </a:cubicBezTo>
                  <a:cubicBezTo>
                    <a:pt x="8" y="8"/>
                    <a:pt x="9" y="7"/>
                    <a:pt x="9" y="6"/>
                  </a:cubicBezTo>
                  <a:cubicBezTo>
                    <a:pt x="10" y="5"/>
                    <a:pt x="10" y="4"/>
                    <a:pt x="9" y="4"/>
                  </a:cubicBezTo>
                  <a:cubicBezTo>
                    <a:pt x="9" y="3"/>
                    <a:pt x="8" y="3"/>
                    <a:pt x="7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6" name="Freeform 419"/>
            <p:cNvSpPr>
              <a:spLocks/>
            </p:cNvSpPr>
            <p:nvPr/>
          </p:nvSpPr>
          <p:spPr bwMode="auto">
            <a:xfrm>
              <a:off x="6118245" y="5902877"/>
              <a:ext cx="5075" cy="4834"/>
            </a:xfrm>
            <a:custGeom>
              <a:avLst/>
              <a:gdLst>
                <a:gd name="T0" fmla="*/ 1699274 w 4"/>
                <a:gd name="T1" fmla="*/ 566216 h 5"/>
                <a:gd name="T2" fmla="*/ 1699274 w 4"/>
                <a:gd name="T3" fmla="*/ 257371 h 5"/>
                <a:gd name="T4" fmla="*/ 1359459 w 4"/>
                <a:gd name="T5" fmla="*/ 0 h 5"/>
                <a:gd name="T6" fmla="*/ 418284 w 4"/>
                <a:gd name="T7" fmla="*/ 0 h 5"/>
                <a:gd name="T8" fmla="*/ 418284 w 4"/>
                <a:gd name="T9" fmla="*/ 257371 h 5"/>
                <a:gd name="T10" fmla="*/ 418284 w 4"/>
                <a:gd name="T11" fmla="*/ 940581 h 5"/>
                <a:gd name="T12" fmla="*/ 1359459 w 4"/>
                <a:gd name="T13" fmla="*/ 1245675 h 5"/>
                <a:gd name="T14" fmla="*/ 1699274 w 4"/>
                <a:gd name="T15" fmla="*/ 56621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5"/>
                <a:gd name="T26" fmla="*/ 4 w 4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5">
                  <a:moveTo>
                    <a:pt x="4" y="2"/>
                  </a:moveTo>
                  <a:cubicBezTo>
                    <a:pt x="4" y="2"/>
                    <a:pt x="4" y="1"/>
                    <a:pt x="4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1" y="4"/>
                    <a:pt x="2" y="5"/>
                    <a:pt x="3" y="4"/>
                  </a:cubicBezTo>
                  <a:cubicBezTo>
                    <a:pt x="4" y="3"/>
                    <a:pt x="4" y="2"/>
                    <a:pt x="4" y="2"/>
                  </a:cubicBezTo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7" name="Freeform 420"/>
            <p:cNvSpPr>
              <a:spLocks/>
            </p:cNvSpPr>
            <p:nvPr/>
          </p:nvSpPr>
          <p:spPr bwMode="auto">
            <a:xfrm>
              <a:off x="6163192" y="5916777"/>
              <a:ext cx="7248" cy="3022"/>
            </a:xfrm>
            <a:custGeom>
              <a:avLst/>
              <a:gdLst>
                <a:gd name="T0" fmla="*/ 1697572 w 6"/>
                <a:gd name="T1" fmla="*/ 0 h 3"/>
                <a:gd name="T2" fmla="*/ 0 w 6"/>
                <a:gd name="T3" fmla="*/ 0 h 3"/>
                <a:gd name="T4" fmla="*/ 0 w 6"/>
                <a:gd name="T5" fmla="*/ 1697572 h 3"/>
                <a:gd name="T6" fmla="*/ 3961001 w 6"/>
                <a:gd name="T7" fmla="*/ 1697572 h 3"/>
                <a:gd name="T8" fmla="*/ 3961001 w 6"/>
                <a:gd name="T9" fmla="*/ 727531 h 3"/>
                <a:gd name="T10" fmla="*/ 1697572 w 6"/>
                <a:gd name="T11" fmla="*/ 0 h 3"/>
                <a:gd name="T12" fmla="*/ 1697572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3" y="3"/>
                    <a:pt x="5" y="2"/>
                  </a:cubicBezTo>
                  <a:cubicBezTo>
                    <a:pt x="5" y="2"/>
                    <a:pt x="6" y="1"/>
                    <a:pt x="5" y="1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8" name="Freeform 421"/>
            <p:cNvSpPr>
              <a:spLocks/>
            </p:cNvSpPr>
            <p:nvPr/>
          </p:nvSpPr>
          <p:spPr bwMode="auto">
            <a:xfrm>
              <a:off x="6111719" y="5888372"/>
              <a:ext cx="11598" cy="6647"/>
            </a:xfrm>
            <a:custGeom>
              <a:avLst/>
              <a:gdLst>
                <a:gd name="T0" fmla="*/ 2970751 w 9"/>
                <a:gd name="T1" fmla="*/ 0 h 6"/>
                <a:gd name="T2" fmla="*/ 1697572 w 9"/>
                <a:gd name="T3" fmla="*/ 0 h 6"/>
                <a:gd name="T4" fmla="*/ 727531 w 9"/>
                <a:gd name="T5" fmla="*/ 727531 h 6"/>
                <a:gd name="T6" fmla="*/ 0 w 9"/>
                <a:gd name="T7" fmla="*/ 3961001 h 6"/>
                <a:gd name="T8" fmla="*/ 727531 w 9"/>
                <a:gd name="T9" fmla="*/ 3961001 h 6"/>
                <a:gd name="T10" fmla="*/ 1697572 w 9"/>
                <a:gd name="T11" fmla="*/ 2970751 h 6"/>
                <a:gd name="T12" fmla="*/ 2970751 w 9"/>
                <a:gd name="T13" fmla="*/ 2970751 h 6"/>
                <a:gd name="T14" fmla="*/ 3961001 w 9"/>
                <a:gd name="T15" fmla="*/ 2970751 h 6"/>
                <a:gd name="T16" fmla="*/ 6253179 w 9"/>
                <a:gd name="T17" fmla="*/ 727531 h 6"/>
                <a:gd name="T18" fmla="*/ 2970751 w 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6"/>
                <a:gd name="T32" fmla="*/ 9 w 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6">
                  <a:moveTo>
                    <a:pt x="4" y="0"/>
                  </a:move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1" y="6"/>
                    <a:pt x="1" y="5"/>
                  </a:cubicBezTo>
                  <a:cubicBezTo>
                    <a:pt x="1" y="5"/>
                    <a:pt x="2" y="5"/>
                    <a:pt x="2" y="4"/>
                  </a:cubicBezTo>
                  <a:cubicBezTo>
                    <a:pt x="3" y="4"/>
                    <a:pt x="4" y="5"/>
                    <a:pt x="4" y="4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6" y="3"/>
                    <a:pt x="9" y="2"/>
                    <a:pt x="8" y="1"/>
                  </a:cubicBezTo>
                  <a:cubicBezTo>
                    <a:pt x="7" y="1"/>
                    <a:pt x="6" y="0"/>
                    <a:pt x="4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9" name="Freeform 422"/>
            <p:cNvSpPr>
              <a:spLocks/>
            </p:cNvSpPr>
            <p:nvPr/>
          </p:nvSpPr>
          <p:spPr bwMode="auto">
            <a:xfrm>
              <a:off x="6124768" y="5903482"/>
              <a:ext cx="5801" cy="3022"/>
            </a:xfrm>
            <a:custGeom>
              <a:avLst/>
              <a:gdLst>
                <a:gd name="T0" fmla="*/ 6243820 w 4"/>
                <a:gd name="T1" fmla="*/ 727531 h 3"/>
                <a:gd name="T2" fmla="*/ 4450654 w 4"/>
                <a:gd name="T3" fmla="*/ 727531 h 3"/>
                <a:gd name="T4" fmla="*/ 0 w 4"/>
                <a:gd name="T5" fmla="*/ 727531 h 3"/>
                <a:gd name="T6" fmla="*/ 0 w 4"/>
                <a:gd name="T7" fmla="*/ 1697572 h 3"/>
                <a:gd name="T8" fmla="*/ 6243820 w 4"/>
                <a:gd name="T9" fmla="*/ 1697572 h 3"/>
                <a:gd name="T10" fmla="*/ 6243820 w 4"/>
                <a:gd name="T11" fmla="*/ 727531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3" y="1"/>
                  </a:moveTo>
                  <a:cubicBezTo>
                    <a:pt x="3" y="1"/>
                    <a:pt x="2" y="1"/>
                    <a:pt x="2" y="1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3"/>
                    <a:pt x="3" y="2"/>
                  </a:cubicBezTo>
                  <a:cubicBezTo>
                    <a:pt x="4" y="2"/>
                    <a:pt x="3" y="2"/>
                    <a:pt x="3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0" name="Freeform 222"/>
            <p:cNvSpPr>
              <a:spLocks/>
            </p:cNvSpPr>
            <p:nvPr/>
          </p:nvSpPr>
          <p:spPr bwMode="auto">
            <a:xfrm>
              <a:off x="7582669" y="4964340"/>
              <a:ext cx="304483" cy="281622"/>
            </a:xfrm>
            <a:custGeom>
              <a:avLst/>
              <a:gdLst>
                <a:gd name="T0" fmla="*/ 29041530 w 226"/>
                <a:gd name="T1" fmla="*/ 269458364 h 260"/>
                <a:gd name="T2" fmla="*/ 24310121 w 226"/>
                <a:gd name="T3" fmla="*/ 282556622 h 260"/>
                <a:gd name="T4" fmla="*/ 33129757 w 226"/>
                <a:gd name="T5" fmla="*/ 304993720 h 260"/>
                <a:gd name="T6" fmla="*/ 53969239 w 226"/>
                <a:gd name="T7" fmla="*/ 313386284 h 260"/>
                <a:gd name="T8" fmla="*/ 75553078 w 226"/>
                <a:gd name="T9" fmla="*/ 287244330 h 260"/>
                <a:gd name="T10" fmla="*/ 86724714 w 226"/>
                <a:gd name="T11" fmla="*/ 327654277 h 260"/>
                <a:gd name="T12" fmla="*/ 91456274 w 226"/>
                <a:gd name="T13" fmla="*/ 373286585 h 260"/>
                <a:gd name="T14" fmla="*/ 98235672 w 226"/>
                <a:gd name="T15" fmla="*/ 410864123 h 260"/>
                <a:gd name="T16" fmla="*/ 127520186 w 226"/>
                <a:gd name="T17" fmla="*/ 450777656 h 260"/>
                <a:gd name="T18" fmla="*/ 135722727 w 226"/>
                <a:gd name="T19" fmla="*/ 488560440 h 260"/>
                <a:gd name="T20" fmla="*/ 155920888 w 226"/>
                <a:gd name="T21" fmla="*/ 541571928 h 260"/>
                <a:gd name="T22" fmla="*/ 180247427 w 226"/>
                <a:gd name="T23" fmla="*/ 572478822 h 260"/>
                <a:gd name="T24" fmla="*/ 202865732 w 226"/>
                <a:gd name="T25" fmla="*/ 538869573 h 260"/>
                <a:gd name="T26" fmla="*/ 216095773 w 226"/>
                <a:gd name="T27" fmla="*/ 490065476 h 260"/>
                <a:gd name="T28" fmla="*/ 216095773 w 226"/>
                <a:gd name="T29" fmla="*/ 433030684 h 260"/>
                <a:gd name="T30" fmla="*/ 245288571 w 226"/>
                <a:gd name="T31" fmla="*/ 404180178 h 260"/>
                <a:gd name="T32" fmla="*/ 263247449 w 226"/>
                <a:gd name="T33" fmla="*/ 382725782 h 260"/>
                <a:gd name="T34" fmla="*/ 289646285 w 226"/>
                <a:gd name="T35" fmla="*/ 364892963 h 260"/>
                <a:gd name="T36" fmla="*/ 312459818 w 226"/>
                <a:gd name="T37" fmla="*/ 337871232 h 260"/>
                <a:gd name="T38" fmla="*/ 333928616 w 226"/>
                <a:gd name="T39" fmla="*/ 316213932 h 260"/>
                <a:gd name="T40" fmla="*/ 363479657 w 226"/>
                <a:gd name="T41" fmla="*/ 295600621 h 260"/>
                <a:gd name="T42" fmla="*/ 369930149 w 226"/>
                <a:gd name="T43" fmla="*/ 285259430 h 260"/>
                <a:gd name="T44" fmla="*/ 356765134 w 226"/>
                <a:gd name="T45" fmla="*/ 238570967 h 260"/>
                <a:gd name="T46" fmla="*/ 351969607 w 226"/>
                <a:gd name="T47" fmla="*/ 227496150 h 260"/>
                <a:gd name="T48" fmla="*/ 350305266 w 226"/>
                <a:gd name="T49" fmla="*/ 189777751 h 260"/>
                <a:gd name="T50" fmla="*/ 372772200 w 226"/>
                <a:gd name="T51" fmla="*/ 212428862 h 260"/>
                <a:gd name="T52" fmla="*/ 412720304 w 226"/>
                <a:gd name="T53" fmla="*/ 223498389 h 260"/>
                <a:gd name="T54" fmla="*/ 401058427 w 226"/>
                <a:gd name="T55" fmla="*/ 256312801 h 260"/>
                <a:gd name="T56" fmla="*/ 417081523 w 226"/>
                <a:gd name="T57" fmla="*/ 251652448 h 260"/>
                <a:gd name="T58" fmla="*/ 430256519 w 226"/>
                <a:gd name="T59" fmla="*/ 289229079 h 260"/>
                <a:gd name="T60" fmla="*/ 443761177 w 226"/>
                <a:gd name="T61" fmla="*/ 254328051 h 260"/>
                <a:gd name="T62" fmla="*/ 456990309 w 226"/>
                <a:gd name="T63" fmla="*/ 233725773 h 260"/>
                <a:gd name="T64" fmla="*/ 461384495 w 226"/>
                <a:gd name="T65" fmla="*/ 209596529 h 260"/>
                <a:gd name="T66" fmla="*/ 479337476 w 226"/>
                <a:gd name="T67" fmla="*/ 178670893 h 260"/>
                <a:gd name="T68" fmla="*/ 497358203 w 226"/>
                <a:gd name="T69" fmla="*/ 175125640 h 260"/>
                <a:gd name="T70" fmla="*/ 490999050 w 226"/>
                <a:gd name="T71" fmla="*/ 154515011 h 260"/>
                <a:gd name="T72" fmla="*/ 481340249 w 226"/>
                <a:gd name="T73" fmla="*/ 144285814 h 260"/>
                <a:gd name="T74" fmla="*/ 461384495 w 226"/>
                <a:gd name="T75" fmla="*/ 139381751 h 260"/>
                <a:gd name="T76" fmla="*/ 428584315 w 226"/>
                <a:gd name="T77" fmla="*/ 157368051 h 260"/>
                <a:gd name="T78" fmla="*/ 410631637 w 226"/>
                <a:gd name="T79" fmla="*/ 172300410 h 260"/>
                <a:gd name="T80" fmla="*/ 381592025 w 226"/>
                <a:gd name="T81" fmla="*/ 188272413 h 260"/>
                <a:gd name="T82" fmla="*/ 343523903 w 226"/>
                <a:gd name="T83" fmla="*/ 178670893 h 260"/>
                <a:gd name="T84" fmla="*/ 325636552 w 226"/>
                <a:gd name="T85" fmla="*/ 196449907 h 260"/>
                <a:gd name="T86" fmla="*/ 296372150 w 226"/>
                <a:gd name="T87" fmla="*/ 189777751 h 260"/>
                <a:gd name="T88" fmla="*/ 256799075 w 226"/>
                <a:gd name="T89" fmla="*/ 176679494 h 260"/>
                <a:gd name="T90" fmla="*/ 216095773 w 226"/>
                <a:gd name="T91" fmla="*/ 154515011 h 260"/>
                <a:gd name="T92" fmla="*/ 214008920 w 226"/>
                <a:gd name="T93" fmla="*/ 116935357 h 260"/>
                <a:gd name="T94" fmla="*/ 200984087 w 226"/>
                <a:gd name="T95" fmla="*/ 103876849 h 260"/>
                <a:gd name="T96" fmla="*/ 167009220 w 226"/>
                <a:gd name="T97" fmla="*/ 79724481 h 260"/>
                <a:gd name="T98" fmla="*/ 182965779 w 226"/>
                <a:gd name="T99" fmla="*/ 61733968 h 260"/>
                <a:gd name="T100" fmla="*/ 153832221 w 226"/>
                <a:gd name="T101" fmla="*/ 8395225 h 260"/>
                <a:gd name="T102" fmla="*/ 124586798 w 226"/>
                <a:gd name="T103" fmla="*/ 15757051 h 260"/>
                <a:gd name="T104" fmla="*/ 89459928 w 226"/>
                <a:gd name="T105" fmla="*/ 24152340 h 260"/>
                <a:gd name="T106" fmla="*/ 106681225 w 226"/>
                <a:gd name="T107" fmla="*/ 68143067 h 260"/>
                <a:gd name="T108" fmla="*/ 93506380 w 226"/>
                <a:gd name="T109" fmla="*/ 103876849 h 260"/>
                <a:gd name="T110" fmla="*/ 67107412 w 226"/>
                <a:gd name="T111" fmla="*/ 144285814 h 260"/>
                <a:gd name="T112" fmla="*/ 33129757 w 226"/>
                <a:gd name="T113" fmla="*/ 163533930 h 260"/>
                <a:gd name="T114" fmla="*/ 26399734 w 226"/>
                <a:gd name="T115" fmla="*/ 191751921 h 260"/>
                <a:gd name="T116" fmla="*/ 49240590 w 226"/>
                <a:gd name="T117" fmla="*/ 227496150 h 260"/>
                <a:gd name="T118" fmla="*/ 4728617 w 226"/>
                <a:gd name="T119" fmla="*/ 240404880 h 26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26"/>
                <a:gd name="T181" fmla="*/ 0 h 260"/>
                <a:gd name="T182" fmla="*/ 226 w 226"/>
                <a:gd name="T183" fmla="*/ 260 h 26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26" h="260">
                  <a:moveTo>
                    <a:pt x="0" y="115"/>
                  </a:moveTo>
                  <a:cubicBezTo>
                    <a:pt x="2" y="115"/>
                    <a:pt x="2" y="117"/>
                    <a:pt x="3" y="118"/>
                  </a:cubicBezTo>
                  <a:cubicBezTo>
                    <a:pt x="3" y="118"/>
                    <a:pt x="3" y="118"/>
                    <a:pt x="3" y="118"/>
                  </a:cubicBezTo>
                  <a:cubicBezTo>
                    <a:pt x="4" y="120"/>
                    <a:pt x="5" y="122"/>
                    <a:pt x="6" y="122"/>
                  </a:cubicBezTo>
                  <a:cubicBezTo>
                    <a:pt x="9" y="123"/>
                    <a:pt x="11" y="123"/>
                    <a:pt x="13" y="122"/>
                  </a:cubicBezTo>
                  <a:cubicBezTo>
                    <a:pt x="14" y="122"/>
                    <a:pt x="15" y="121"/>
                    <a:pt x="16" y="121"/>
                  </a:cubicBezTo>
                  <a:cubicBezTo>
                    <a:pt x="17" y="121"/>
                    <a:pt x="17" y="120"/>
                    <a:pt x="17" y="120"/>
                  </a:cubicBezTo>
                  <a:cubicBezTo>
                    <a:pt x="18" y="120"/>
                    <a:pt x="18" y="120"/>
                    <a:pt x="19" y="120"/>
                  </a:cubicBezTo>
                  <a:cubicBezTo>
                    <a:pt x="19" y="120"/>
                    <a:pt x="19" y="121"/>
                    <a:pt x="19" y="121"/>
                  </a:cubicBezTo>
                  <a:cubicBezTo>
                    <a:pt x="16" y="123"/>
                    <a:pt x="15" y="127"/>
                    <a:pt x="11" y="128"/>
                  </a:cubicBezTo>
                  <a:cubicBezTo>
                    <a:pt x="10" y="128"/>
                    <a:pt x="8" y="128"/>
                    <a:pt x="7" y="128"/>
                  </a:cubicBezTo>
                  <a:cubicBezTo>
                    <a:pt x="7" y="128"/>
                    <a:pt x="7" y="129"/>
                    <a:pt x="7" y="129"/>
                  </a:cubicBezTo>
                  <a:cubicBezTo>
                    <a:pt x="8" y="130"/>
                    <a:pt x="8" y="130"/>
                    <a:pt x="9" y="131"/>
                  </a:cubicBezTo>
                  <a:cubicBezTo>
                    <a:pt x="10" y="133"/>
                    <a:pt x="12" y="135"/>
                    <a:pt x="14" y="137"/>
                  </a:cubicBezTo>
                  <a:cubicBezTo>
                    <a:pt x="15" y="137"/>
                    <a:pt x="15" y="138"/>
                    <a:pt x="15" y="138"/>
                  </a:cubicBezTo>
                  <a:cubicBezTo>
                    <a:pt x="16" y="138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8" y="140"/>
                    <a:pt x="20" y="141"/>
                    <a:pt x="21" y="142"/>
                  </a:cubicBezTo>
                  <a:cubicBezTo>
                    <a:pt x="22" y="142"/>
                    <a:pt x="23" y="142"/>
                    <a:pt x="24" y="142"/>
                  </a:cubicBezTo>
                  <a:cubicBezTo>
                    <a:pt x="24" y="142"/>
                    <a:pt x="24" y="142"/>
                    <a:pt x="25" y="142"/>
                  </a:cubicBezTo>
                  <a:cubicBezTo>
                    <a:pt x="27" y="140"/>
                    <a:pt x="31" y="141"/>
                    <a:pt x="32" y="139"/>
                  </a:cubicBezTo>
                  <a:cubicBezTo>
                    <a:pt x="33" y="136"/>
                    <a:pt x="32" y="134"/>
                    <a:pt x="33" y="131"/>
                  </a:cubicBezTo>
                  <a:cubicBezTo>
                    <a:pt x="33" y="131"/>
                    <a:pt x="33" y="131"/>
                    <a:pt x="34" y="130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34" y="130"/>
                    <a:pt x="34" y="129"/>
                    <a:pt x="35" y="130"/>
                  </a:cubicBezTo>
                  <a:cubicBezTo>
                    <a:pt x="35" y="131"/>
                    <a:pt x="35" y="133"/>
                    <a:pt x="36" y="134"/>
                  </a:cubicBezTo>
                  <a:cubicBezTo>
                    <a:pt x="38" y="136"/>
                    <a:pt x="37" y="138"/>
                    <a:pt x="38" y="141"/>
                  </a:cubicBezTo>
                  <a:cubicBezTo>
                    <a:pt x="38" y="141"/>
                    <a:pt x="38" y="142"/>
                    <a:pt x="39" y="142"/>
                  </a:cubicBezTo>
                  <a:cubicBezTo>
                    <a:pt x="39" y="144"/>
                    <a:pt x="39" y="146"/>
                    <a:pt x="39" y="148"/>
                  </a:cubicBezTo>
                  <a:cubicBezTo>
                    <a:pt x="38" y="149"/>
                    <a:pt x="38" y="151"/>
                    <a:pt x="38" y="153"/>
                  </a:cubicBezTo>
                  <a:cubicBezTo>
                    <a:pt x="38" y="154"/>
                    <a:pt x="39" y="155"/>
                    <a:pt x="39" y="156"/>
                  </a:cubicBezTo>
                  <a:cubicBezTo>
                    <a:pt x="39" y="157"/>
                    <a:pt x="39" y="159"/>
                    <a:pt x="39" y="160"/>
                  </a:cubicBezTo>
                  <a:cubicBezTo>
                    <a:pt x="40" y="162"/>
                    <a:pt x="40" y="163"/>
                    <a:pt x="40" y="165"/>
                  </a:cubicBezTo>
                  <a:cubicBezTo>
                    <a:pt x="41" y="166"/>
                    <a:pt x="41" y="168"/>
                    <a:pt x="41" y="169"/>
                  </a:cubicBezTo>
                  <a:cubicBezTo>
                    <a:pt x="41" y="171"/>
                    <a:pt x="42" y="171"/>
                    <a:pt x="42" y="172"/>
                  </a:cubicBezTo>
                  <a:cubicBezTo>
                    <a:pt x="42" y="175"/>
                    <a:pt x="41" y="177"/>
                    <a:pt x="42" y="179"/>
                  </a:cubicBezTo>
                  <a:cubicBezTo>
                    <a:pt x="42" y="180"/>
                    <a:pt x="42" y="180"/>
                    <a:pt x="43" y="181"/>
                  </a:cubicBezTo>
                  <a:cubicBezTo>
                    <a:pt x="43" y="182"/>
                    <a:pt x="43" y="184"/>
                    <a:pt x="44" y="185"/>
                  </a:cubicBezTo>
                  <a:cubicBezTo>
                    <a:pt x="44" y="185"/>
                    <a:pt x="43" y="185"/>
                    <a:pt x="44" y="186"/>
                  </a:cubicBezTo>
                  <a:cubicBezTo>
                    <a:pt x="44" y="186"/>
                    <a:pt x="44" y="186"/>
                    <a:pt x="45" y="187"/>
                  </a:cubicBezTo>
                  <a:cubicBezTo>
                    <a:pt x="46" y="189"/>
                    <a:pt x="46" y="192"/>
                    <a:pt x="49" y="194"/>
                  </a:cubicBezTo>
                  <a:cubicBezTo>
                    <a:pt x="50" y="195"/>
                    <a:pt x="50" y="197"/>
                    <a:pt x="52" y="198"/>
                  </a:cubicBezTo>
                  <a:cubicBezTo>
                    <a:pt x="53" y="199"/>
                    <a:pt x="54" y="200"/>
                    <a:pt x="54" y="201"/>
                  </a:cubicBezTo>
                  <a:cubicBezTo>
                    <a:pt x="55" y="202"/>
                    <a:pt x="56" y="203"/>
                    <a:pt x="57" y="204"/>
                  </a:cubicBezTo>
                  <a:cubicBezTo>
                    <a:pt x="57" y="205"/>
                    <a:pt x="57" y="206"/>
                    <a:pt x="57" y="207"/>
                  </a:cubicBezTo>
                  <a:cubicBezTo>
                    <a:pt x="57" y="208"/>
                    <a:pt x="57" y="209"/>
                    <a:pt x="57" y="211"/>
                  </a:cubicBezTo>
                  <a:cubicBezTo>
                    <a:pt x="58" y="212"/>
                    <a:pt x="58" y="214"/>
                    <a:pt x="58" y="216"/>
                  </a:cubicBezTo>
                  <a:cubicBezTo>
                    <a:pt x="59" y="217"/>
                    <a:pt x="59" y="218"/>
                    <a:pt x="60" y="219"/>
                  </a:cubicBezTo>
                  <a:cubicBezTo>
                    <a:pt x="60" y="220"/>
                    <a:pt x="60" y="220"/>
                    <a:pt x="61" y="221"/>
                  </a:cubicBezTo>
                  <a:cubicBezTo>
                    <a:pt x="62" y="223"/>
                    <a:pt x="63" y="225"/>
                    <a:pt x="65" y="228"/>
                  </a:cubicBezTo>
                  <a:cubicBezTo>
                    <a:pt x="65" y="229"/>
                    <a:pt x="65" y="230"/>
                    <a:pt x="66" y="232"/>
                  </a:cubicBezTo>
                  <a:cubicBezTo>
                    <a:pt x="67" y="233"/>
                    <a:pt x="66" y="235"/>
                    <a:pt x="67" y="236"/>
                  </a:cubicBezTo>
                  <a:cubicBezTo>
                    <a:pt x="68" y="237"/>
                    <a:pt x="69" y="238"/>
                    <a:pt x="70" y="240"/>
                  </a:cubicBezTo>
                  <a:cubicBezTo>
                    <a:pt x="70" y="241"/>
                    <a:pt x="70" y="243"/>
                    <a:pt x="70" y="245"/>
                  </a:cubicBezTo>
                  <a:cubicBezTo>
                    <a:pt x="71" y="247"/>
                    <a:pt x="72" y="249"/>
                    <a:pt x="73" y="251"/>
                  </a:cubicBezTo>
                  <a:cubicBezTo>
                    <a:pt x="73" y="252"/>
                    <a:pt x="74" y="254"/>
                    <a:pt x="74" y="256"/>
                  </a:cubicBezTo>
                  <a:cubicBezTo>
                    <a:pt x="74" y="257"/>
                    <a:pt x="76" y="258"/>
                    <a:pt x="77" y="258"/>
                  </a:cubicBezTo>
                  <a:cubicBezTo>
                    <a:pt x="78" y="258"/>
                    <a:pt x="78" y="258"/>
                    <a:pt x="79" y="259"/>
                  </a:cubicBezTo>
                  <a:cubicBezTo>
                    <a:pt x="80" y="259"/>
                    <a:pt x="80" y="260"/>
                    <a:pt x="81" y="259"/>
                  </a:cubicBezTo>
                  <a:cubicBezTo>
                    <a:pt x="83" y="259"/>
                    <a:pt x="84" y="258"/>
                    <a:pt x="84" y="256"/>
                  </a:cubicBezTo>
                  <a:cubicBezTo>
                    <a:pt x="85" y="255"/>
                    <a:pt x="85" y="253"/>
                    <a:pt x="86" y="252"/>
                  </a:cubicBezTo>
                  <a:cubicBezTo>
                    <a:pt x="86" y="251"/>
                    <a:pt x="87" y="250"/>
                    <a:pt x="89" y="249"/>
                  </a:cubicBezTo>
                  <a:cubicBezTo>
                    <a:pt x="89" y="249"/>
                    <a:pt x="90" y="249"/>
                    <a:pt x="91" y="248"/>
                  </a:cubicBezTo>
                  <a:cubicBezTo>
                    <a:pt x="91" y="247"/>
                    <a:pt x="90" y="246"/>
                    <a:pt x="91" y="244"/>
                  </a:cubicBezTo>
                  <a:cubicBezTo>
                    <a:pt x="91" y="244"/>
                    <a:pt x="91" y="244"/>
                    <a:pt x="92" y="243"/>
                  </a:cubicBezTo>
                  <a:cubicBezTo>
                    <a:pt x="92" y="242"/>
                    <a:pt x="93" y="240"/>
                    <a:pt x="94" y="239"/>
                  </a:cubicBezTo>
                  <a:cubicBezTo>
                    <a:pt x="94" y="239"/>
                    <a:pt x="95" y="239"/>
                    <a:pt x="96" y="239"/>
                  </a:cubicBezTo>
                  <a:cubicBezTo>
                    <a:pt x="96" y="238"/>
                    <a:pt x="96" y="238"/>
                    <a:pt x="97" y="238"/>
                  </a:cubicBezTo>
                  <a:cubicBezTo>
                    <a:pt x="97" y="233"/>
                    <a:pt x="96" y="227"/>
                    <a:pt x="97" y="222"/>
                  </a:cubicBezTo>
                  <a:cubicBezTo>
                    <a:pt x="97" y="222"/>
                    <a:pt x="97" y="221"/>
                    <a:pt x="97" y="221"/>
                  </a:cubicBezTo>
                  <a:cubicBezTo>
                    <a:pt x="98" y="220"/>
                    <a:pt x="98" y="219"/>
                    <a:pt x="98" y="219"/>
                  </a:cubicBezTo>
                  <a:cubicBezTo>
                    <a:pt x="99" y="217"/>
                    <a:pt x="100" y="215"/>
                    <a:pt x="100" y="214"/>
                  </a:cubicBezTo>
                  <a:cubicBezTo>
                    <a:pt x="101" y="211"/>
                    <a:pt x="101" y="208"/>
                    <a:pt x="100" y="205"/>
                  </a:cubicBezTo>
                  <a:cubicBezTo>
                    <a:pt x="99" y="202"/>
                    <a:pt x="98" y="199"/>
                    <a:pt x="97" y="196"/>
                  </a:cubicBezTo>
                  <a:cubicBezTo>
                    <a:pt x="97" y="195"/>
                    <a:pt x="97" y="194"/>
                    <a:pt x="97" y="193"/>
                  </a:cubicBezTo>
                  <a:cubicBezTo>
                    <a:pt x="97" y="193"/>
                    <a:pt x="97" y="192"/>
                    <a:pt x="97" y="192"/>
                  </a:cubicBezTo>
                  <a:cubicBezTo>
                    <a:pt x="98" y="191"/>
                    <a:pt x="98" y="189"/>
                    <a:pt x="100" y="188"/>
                  </a:cubicBezTo>
                  <a:cubicBezTo>
                    <a:pt x="102" y="188"/>
                    <a:pt x="105" y="189"/>
                    <a:pt x="106" y="187"/>
                  </a:cubicBezTo>
                  <a:cubicBezTo>
                    <a:pt x="106" y="185"/>
                    <a:pt x="107" y="183"/>
                    <a:pt x="110" y="183"/>
                  </a:cubicBezTo>
                  <a:cubicBezTo>
                    <a:pt x="110" y="184"/>
                    <a:pt x="110" y="183"/>
                    <a:pt x="110" y="183"/>
                  </a:cubicBezTo>
                  <a:cubicBezTo>
                    <a:pt x="112" y="183"/>
                    <a:pt x="113" y="183"/>
                    <a:pt x="114" y="183"/>
                  </a:cubicBezTo>
                  <a:cubicBezTo>
                    <a:pt x="114" y="183"/>
                    <a:pt x="115" y="182"/>
                    <a:pt x="115" y="182"/>
                  </a:cubicBezTo>
                  <a:cubicBezTo>
                    <a:pt x="115" y="180"/>
                    <a:pt x="115" y="178"/>
                    <a:pt x="115" y="176"/>
                  </a:cubicBezTo>
                  <a:cubicBezTo>
                    <a:pt x="115" y="175"/>
                    <a:pt x="117" y="174"/>
                    <a:pt x="118" y="173"/>
                  </a:cubicBezTo>
                  <a:cubicBezTo>
                    <a:pt x="119" y="173"/>
                    <a:pt x="120" y="174"/>
                    <a:pt x="120" y="173"/>
                  </a:cubicBezTo>
                  <a:cubicBezTo>
                    <a:pt x="122" y="172"/>
                    <a:pt x="122" y="171"/>
                    <a:pt x="123" y="170"/>
                  </a:cubicBezTo>
                  <a:cubicBezTo>
                    <a:pt x="124" y="169"/>
                    <a:pt x="125" y="170"/>
                    <a:pt x="126" y="170"/>
                  </a:cubicBezTo>
                  <a:cubicBezTo>
                    <a:pt x="127" y="169"/>
                    <a:pt x="127" y="168"/>
                    <a:pt x="128" y="166"/>
                  </a:cubicBezTo>
                  <a:cubicBezTo>
                    <a:pt x="129" y="166"/>
                    <a:pt x="129" y="166"/>
                    <a:pt x="130" y="165"/>
                  </a:cubicBezTo>
                  <a:cubicBezTo>
                    <a:pt x="130" y="164"/>
                    <a:pt x="130" y="163"/>
                    <a:pt x="131" y="162"/>
                  </a:cubicBezTo>
                  <a:cubicBezTo>
                    <a:pt x="131" y="162"/>
                    <a:pt x="131" y="161"/>
                    <a:pt x="132" y="161"/>
                  </a:cubicBezTo>
                  <a:cubicBezTo>
                    <a:pt x="132" y="160"/>
                    <a:pt x="132" y="158"/>
                    <a:pt x="133" y="157"/>
                  </a:cubicBezTo>
                  <a:cubicBezTo>
                    <a:pt x="134" y="156"/>
                    <a:pt x="135" y="156"/>
                    <a:pt x="136" y="155"/>
                  </a:cubicBezTo>
                  <a:cubicBezTo>
                    <a:pt x="137" y="154"/>
                    <a:pt x="139" y="154"/>
                    <a:pt x="140" y="153"/>
                  </a:cubicBezTo>
                  <a:cubicBezTo>
                    <a:pt x="140" y="153"/>
                    <a:pt x="141" y="153"/>
                    <a:pt x="141" y="152"/>
                  </a:cubicBezTo>
                  <a:cubicBezTo>
                    <a:pt x="142" y="152"/>
                    <a:pt x="143" y="152"/>
                    <a:pt x="144" y="151"/>
                  </a:cubicBezTo>
                  <a:cubicBezTo>
                    <a:pt x="146" y="151"/>
                    <a:pt x="147" y="148"/>
                    <a:pt x="148" y="146"/>
                  </a:cubicBezTo>
                  <a:cubicBezTo>
                    <a:pt x="148" y="146"/>
                    <a:pt x="148" y="146"/>
                    <a:pt x="148" y="146"/>
                  </a:cubicBezTo>
                  <a:cubicBezTo>
                    <a:pt x="148" y="144"/>
                    <a:pt x="149" y="144"/>
                    <a:pt x="150" y="143"/>
                  </a:cubicBezTo>
                  <a:cubicBezTo>
                    <a:pt x="150" y="142"/>
                    <a:pt x="151" y="141"/>
                    <a:pt x="150" y="141"/>
                  </a:cubicBezTo>
                  <a:cubicBezTo>
                    <a:pt x="149" y="140"/>
                    <a:pt x="148" y="138"/>
                    <a:pt x="149" y="136"/>
                  </a:cubicBezTo>
                  <a:cubicBezTo>
                    <a:pt x="150" y="135"/>
                    <a:pt x="152" y="135"/>
                    <a:pt x="153" y="133"/>
                  </a:cubicBezTo>
                  <a:cubicBezTo>
                    <a:pt x="155" y="131"/>
                    <a:pt x="158" y="132"/>
                    <a:pt x="160" y="134"/>
                  </a:cubicBezTo>
                  <a:cubicBezTo>
                    <a:pt x="161" y="134"/>
                    <a:pt x="162" y="134"/>
                    <a:pt x="163" y="134"/>
                  </a:cubicBezTo>
                  <a:cubicBezTo>
                    <a:pt x="163" y="134"/>
                    <a:pt x="164" y="133"/>
                    <a:pt x="165" y="132"/>
                  </a:cubicBezTo>
                  <a:cubicBezTo>
                    <a:pt x="165" y="132"/>
                    <a:pt x="166" y="133"/>
                    <a:pt x="167" y="132"/>
                  </a:cubicBezTo>
                  <a:cubicBezTo>
                    <a:pt x="168" y="132"/>
                    <a:pt x="167" y="131"/>
                    <a:pt x="168" y="131"/>
                  </a:cubicBezTo>
                  <a:cubicBezTo>
                    <a:pt x="166" y="130"/>
                    <a:pt x="166" y="130"/>
                    <a:pt x="166" y="130"/>
                  </a:cubicBezTo>
                  <a:cubicBezTo>
                    <a:pt x="166" y="130"/>
                    <a:pt x="166" y="129"/>
                    <a:pt x="166" y="129"/>
                  </a:cubicBezTo>
                  <a:cubicBezTo>
                    <a:pt x="165" y="129"/>
                    <a:pt x="165" y="128"/>
                    <a:pt x="164" y="128"/>
                  </a:cubicBezTo>
                  <a:cubicBezTo>
                    <a:pt x="163" y="127"/>
                    <a:pt x="163" y="125"/>
                    <a:pt x="163" y="124"/>
                  </a:cubicBezTo>
                  <a:cubicBezTo>
                    <a:pt x="162" y="122"/>
                    <a:pt x="163" y="120"/>
                    <a:pt x="162" y="118"/>
                  </a:cubicBezTo>
                  <a:cubicBezTo>
                    <a:pt x="162" y="117"/>
                    <a:pt x="161" y="117"/>
                    <a:pt x="161" y="116"/>
                  </a:cubicBezTo>
                  <a:cubicBezTo>
                    <a:pt x="160" y="113"/>
                    <a:pt x="162" y="110"/>
                    <a:pt x="160" y="108"/>
                  </a:cubicBezTo>
                  <a:cubicBezTo>
                    <a:pt x="160" y="108"/>
                    <a:pt x="159" y="108"/>
                    <a:pt x="158" y="108"/>
                  </a:cubicBezTo>
                  <a:cubicBezTo>
                    <a:pt x="158" y="108"/>
                    <a:pt x="158" y="107"/>
                    <a:pt x="158" y="107"/>
                  </a:cubicBezTo>
                  <a:cubicBezTo>
                    <a:pt x="157" y="106"/>
                    <a:pt x="156" y="107"/>
                    <a:pt x="156" y="106"/>
                  </a:cubicBezTo>
                  <a:cubicBezTo>
                    <a:pt x="155" y="106"/>
                    <a:pt x="156" y="105"/>
                    <a:pt x="156" y="104"/>
                  </a:cubicBezTo>
                  <a:cubicBezTo>
                    <a:pt x="157" y="104"/>
                    <a:pt x="158" y="104"/>
                    <a:pt x="158" y="103"/>
                  </a:cubicBezTo>
                  <a:cubicBezTo>
                    <a:pt x="159" y="101"/>
                    <a:pt x="158" y="98"/>
                    <a:pt x="158" y="96"/>
                  </a:cubicBezTo>
                  <a:cubicBezTo>
                    <a:pt x="158" y="95"/>
                    <a:pt x="156" y="95"/>
                    <a:pt x="156" y="94"/>
                  </a:cubicBezTo>
                  <a:cubicBezTo>
                    <a:pt x="156" y="93"/>
                    <a:pt x="155" y="91"/>
                    <a:pt x="156" y="90"/>
                  </a:cubicBezTo>
                  <a:cubicBezTo>
                    <a:pt x="157" y="89"/>
                    <a:pt x="156" y="88"/>
                    <a:pt x="157" y="86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8" y="88"/>
                    <a:pt x="160" y="89"/>
                    <a:pt x="161" y="90"/>
                  </a:cubicBezTo>
                  <a:cubicBezTo>
                    <a:pt x="161" y="91"/>
                    <a:pt x="161" y="90"/>
                    <a:pt x="162" y="90"/>
                  </a:cubicBezTo>
                  <a:cubicBezTo>
                    <a:pt x="162" y="90"/>
                    <a:pt x="162" y="89"/>
                    <a:pt x="162" y="89"/>
                  </a:cubicBezTo>
                  <a:cubicBezTo>
                    <a:pt x="164" y="89"/>
                    <a:pt x="166" y="91"/>
                    <a:pt x="166" y="92"/>
                  </a:cubicBezTo>
                  <a:cubicBezTo>
                    <a:pt x="167" y="93"/>
                    <a:pt x="167" y="95"/>
                    <a:pt x="167" y="96"/>
                  </a:cubicBezTo>
                  <a:cubicBezTo>
                    <a:pt x="168" y="96"/>
                    <a:pt x="168" y="97"/>
                    <a:pt x="169" y="97"/>
                  </a:cubicBezTo>
                  <a:cubicBezTo>
                    <a:pt x="171" y="98"/>
                    <a:pt x="173" y="99"/>
                    <a:pt x="175" y="100"/>
                  </a:cubicBezTo>
                  <a:cubicBezTo>
                    <a:pt x="175" y="101"/>
                    <a:pt x="176" y="101"/>
                    <a:pt x="176" y="100"/>
                  </a:cubicBezTo>
                  <a:cubicBezTo>
                    <a:pt x="178" y="98"/>
                    <a:pt x="181" y="100"/>
                    <a:pt x="183" y="101"/>
                  </a:cubicBezTo>
                  <a:cubicBezTo>
                    <a:pt x="184" y="101"/>
                    <a:pt x="185" y="101"/>
                    <a:pt x="185" y="101"/>
                  </a:cubicBezTo>
                  <a:cubicBezTo>
                    <a:pt x="186" y="100"/>
                    <a:pt x="187" y="100"/>
                    <a:pt x="188" y="101"/>
                  </a:cubicBezTo>
                  <a:cubicBezTo>
                    <a:pt x="190" y="101"/>
                    <a:pt x="191" y="104"/>
                    <a:pt x="189" y="105"/>
                  </a:cubicBezTo>
                  <a:cubicBezTo>
                    <a:pt x="189" y="106"/>
                    <a:pt x="187" y="106"/>
                    <a:pt x="187" y="106"/>
                  </a:cubicBezTo>
                  <a:cubicBezTo>
                    <a:pt x="185" y="109"/>
                    <a:pt x="182" y="111"/>
                    <a:pt x="180" y="113"/>
                  </a:cubicBezTo>
                  <a:cubicBezTo>
                    <a:pt x="179" y="114"/>
                    <a:pt x="180" y="115"/>
                    <a:pt x="180" y="116"/>
                  </a:cubicBezTo>
                  <a:cubicBezTo>
                    <a:pt x="181" y="117"/>
                    <a:pt x="183" y="118"/>
                    <a:pt x="184" y="119"/>
                  </a:cubicBezTo>
                  <a:cubicBezTo>
                    <a:pt x="184" y="119"/>
                    <a:pt x="184" y="119"/>
                    <a:pt x="185" y="119"/>
                  </a:cubicBezTo>
                  <a:cubicBezTo>
                    <a:pt x="185" y="119"/>
                    <a:pt x="186" y="118"/>
                    <a:pt x="186" y="117"/>
                  </a:cubicBezTo>
                  <a:cubicBezTo>
                    <a:pt x="186" y="117"/>
                    <a:pt x="186" y="116"/>
                    <a:pt x="186" y="115"/>
                  </a:cubicBezTo>
                  <a:cubicBezTo>
                    <a:pt x="186" y="115"/>
                    <a:pt x="186" y="114"/>
                    <a:pt x="187" y="114"/>
                  </a:cubicBezTo>
                  <a:cubicBezTo>
                    <a:pt x="188" y="113"/>
                    <a:pt x="190" y="114"/>
                    <a:pt x="190" y="116"/>
                  </a:cubicBezTo>
                  <a:cubicBezTo>
                    <a:pt x="191" y="117"/>
                    <a:pt x="190" y="119"/>
                    <a:pt x="191" y="121"/>
                  </a:cubicBezTo>
                  <a:cubicBezTo>
                    <a:pt x="191" y="122"/>
                    <a:pt x="191" y="123"/>
                    <a:pt x="192" y="123"/>
                  </a:cubicBezTo>
                  <a:cubicBezTo>
                    <a:pt x="192" y="126"/>
                    <a:pt x="191" y="128"/>
                    <a:pt x="192" y="131"/>
                  </a:cubicBezTo>
                  <a:cubicBezTo>
                    <a:pt x="192" y="131"/>
                    <a:pt x="192" y="131"/>
                    <a:pt x="193" y="131"/>
                  </a:cubicBezTo>
                  <a:cubicBezTo>
                    <a:pt x="193" y="131"/>
                    <a:pt x="193" y="131"/>
                    <a:pt x="193" y="131"/>
                  </a:cubicBezTo>
                  <a:cubicBezTo>
                    <a:pt x="194" y="130"/>
                    <a:pt x="196" y="130"/>
                    <a:pt x="197" y="129"/>
                  </a:cubicBezTo>
                  <a:cubicBezTo>
                    <a:pt x="197" y="128"/>
                    <a:pt x="197" y="127"/>
                    <a:pt x="197" y="127"/>
                  </a:cubicBezTo>
                  <a:cubicBezTo>
                    <a:pt x="196" y="125"/>
                    <a:pt x="197" y="123"/>
                    <a:pt x="196" y="121"/>
                  </a:cubicBezTo>
                  <a:cubicBezTo>
                    <a:pt x="198" y="120"/>
                    <a:pt x="198" y="117"/>
                    <a:pt x="199" y="115"/>
                  </a:cubicBezTo>
                  <a:cubicBezTo>
                    <a:pt x="199" y="114"/>
                    <a:pt x="199" y="114"/>
                    <a:pt x="200" y="114"/>
                  </a:cubicBezTo>
                  <a:cubicBezTo>
                    <a:pt x="200" y="114"/>
                    <a:pt x="201" y="114"/>
                    <a:pt x="202" y="114"/>
                  </a:cubicBezTo>
                  <a:cubicBezTo>
                    <a:pt x="202" y="113"/>
                    <a:pt x="203" y="113"/>
                    <a:pt x="203" y="113"/>
                  </a:cubicBezTo>
                  <a:cubicBezTo>
                    <a:pt x="204" y="110"/>
                    <a:pt x="204" y="108"/>
                    <a:pt x="205" y="106"/>
                  </a:cubicBezTo>
                  <a:cubicBezTo>
                    <a:pt x="205" y="106"/>
                    <a:pt x="205" y="106"/>
                    <a:pt x="205" y="106"/>
                  </a:cubicBezTo>
                  <a:cubicBezTo>
                    <a:pt x="205" y="105"/>
                    <a:pt x="205" y="103"/>
                    <a:pt x="206" y="102"/>
                  </a:cubicBezTo>
                  <a:cubicBezTo>
                    <a:pt x="206" y="101"/>
                    <a:pt x="207" y="100"/>
                    <a:pt x="206" y="99"/>
                  </a:cubicBezTo>
                  <a:cubicBezTo>
                    <a:pt x="206" y="98"/>
                    <a:pt x="204" y="98"/>
                    <a:pt x="204" y="96"/>
                  </a:cubicBezTo>
                  <a:cubicBezTo>
                    <a:pt x="204" y="96"/>
                    <a:pt x="205" y="96"/>
                    <a:pt x="205" y="96"/>
                  </a:cubicBezTo>
                  <a:cubicBezTo>
                    <a:pt x="206" y="96"/>
                    <a:pt x="207" y="96"/>
                    <a:pt x="207" y="95"/>
                  </a:cubicBezTo>
                  <a:cubicBezTo>
                    <a:pt x="208" y="95"/>
                    <a:pt x="209" y="94"/>
                    <a:pt x="209" y="94"/>
                  </a:cubicBezTo>
                  <a:cubicBezTo>
                    <a:pt x="210" y="92"/>
                    <a:pt x="210" y="90"/>
                    <a:pt x="209" y="89"/>
                  </a:cubicBezTo>
                  <a:cubicBezTo>
                    <a:pt x="209" y="88"/>
                    <a:pt x="208" y="87"/>
                    <a:pt x="209" y="87"/>
                  </a:cubicBezTo>
                  <a:cubicBezTo>
                    <a:pt x="211" y="85"/>
                    <a:pt x="212" y="83"/>
                    <a:pt x="214" y="81"/>
                  </a:cubicBezTo>
                  <a:cubicBezTo>
                    <a:pt x="214" y="81"/>
                    <a:pt x="215" y="81"/>
                    <a:pt x="215" y="81"/>
                  </a:cubicBezTo>
                  <a:cubicBezTo>
                    <a:pt x="216" y="80"/>
                    <a:pt x="218" y="79"/>
                    <a:pt x="219" y="80"/>
                  </a:cubicBezTo>
                  <a:cubicBezTo>
                    <a:pt x="219" y="80"/>
                    <a:pt x="219" y="80"/>
                    <a:pt x="220" y="80"/>
                  </a:cubicBezTo>
                  <a:cubicBezTo>
                    <a:pt x="221" y="81"/>
                    <a:pt x="221" y="81"/>
                    <a:pt x="222" y="82"/>
                  </a:cubicBezTo>
                  <a:cubicBezTo>
                    <a:pt x="222" y="82"/>
                    <a:pt x="223" y="82"/>
                    <a:pt x="223" y="82"/>
                  </a:cubicBezTo>
                  <a:cubicBezTo>
                    <a:pt x="223" y="81"/>
                    <a:pt x="223" y="80"/>
                    <a:pt x="223" y="79"/>
                  </a:cubicBezTo>
                  <a:cubicBezTo>
                    <a:pt x="222" y="79"/>
                    <a:pt x="222" y="77"/>
                    <a:pt x="222" y="77"/>
                  </a:cubicBezTo>
                  <a:cubicBezTo>
                    <a:pt x="222" y="75"/>
                    <a:pt x="224" y="75"/>
                    <a:pt x="225" y="75"/>
                  </a:cubicBezTo>
                  <a:cubicBezTo>
                    <a:pt x="225" y="74"/>
                    <a:pt x="226" y="71"/>
                    <a:pt x="225" y="70"/>
                  </a:cubicBezTo>
                  <a:cubicBezTo>
                    <a:pt x="225" y="70"/>
                    <a:pt x="223" y="70"/>
                    <a:pt x="222" y="70"/>
                  </a:cubicBezTo>
                  <a:cubicBezTo>
                    <a:pt x="221" y="70"/>
                    <a:pt x="221" y="70"/>
                    <a:pt x="220" y="70"/>
                  </a:cubicBezTo>
                  <a:cubicBezTo>
                    <a:pt x="219" y="69"/>
                    <a:pt x="218" y="70"/>
                    <a:pt x="216" y="70"/>
                  </a:cubicBezTo>
                  <a:cubicBezTo>
                    <a:pt x="216" y="69"/>
                    <a:pt x="217" y="69"/>
                    <a:pt x="217" y="68"/>
                  </a:cubicBezTo>
                  <a:cubicBezTo>
                    <a:pt x="218" y="68"/>
                    <a:pt x="218" y="67"/>
                    <a:pt x="218" y="67"/>
                  </a:cubicBezTo>
                  <a:cubicBezTo>
                    <a:pt x="219" y="66"/>
                    <a:pt x="219" y="65"/>
                    <a:pt x="218" y="64"/>
                  </a:cubicBezTo>
                  <a:cubicBezTo>
                    <a:pt x="218" y="64"/>
                    <a:pt x="217" y="64"/>
                    <a:pt x="216" y="65"/>
                  </a:cubicBezTo>
                  <a:cubicBezTo>
                    <a:pt x="216" y="65"/>
                    <a:pt x="215" y="65"/>
                    <a:pt x="215" y="65"/>
                  </a:cubicBezTo>
                  <a:cubicBezTo>
                    <a:pt x="215" y="64"/>
                    <a:pt x="215" y="63"/>
                    <a:pt x="216" y="62"/>
                  </a:cubicBezTo>
                  <a:cubicBezTo>
                    <a:pt x="216" y="61"/>
                    <a:pt x="216" y="60"/>
                    <a:pt x="216" y="58"/>
                  </a:cubicBezTo>
                  <a:cubicBezTo>
                    <a:pt x="213" y="58"/>
                    <a:pt x="210" y="60"/>
                    <a:pt x="209" y="63"/>
                  </a:cubicBezTo>
                  <a:cubicBezTo>
                    <a:pt x="208" y="63"/>
                    <a:pt x="208" y="63"/>
                    <a:pt x="207" y="63"/>
                  </a:cubicBezTo>
                  <a:cubicBezTo>
                    <a:pt x="207" y="63"/>
                    <a:pt x="206" y="63"/>
                    <a:pt x="205" y="62"/>
                  </a:cubicBezTo>
                  <a:cubicBezTo>
                    <a:pt x="203" y="61"/>
                    <a:pt x="201" y="59"/>
                    <a:pt x="200" y="61"/>
                  </a:cubicBezTo>
                  <a:cubicBezTo>
                    <a:pt x="199" y="63"/>
                    <a:pt x="199" y="66"/>
                    <a:pt x="197" y="66"/>
                  </a:cubicBezTo>
                  <a:cubicBezTo>
                    <a:pt x="196" y="67"/>
                    <a:pt x="194" y="66"/>
                    <a:pt x="193" y="67"/>
                  </a:cubicBezTo>
                  <a:cubicBezTo>
                    <a:pt x="192" y="67"/>
                    <a:pt x="193" y="70"/>
                    <a:pt x="192" y="71"/>
                  </a:cubicBezTo>
                  <a:cubicBezTo>
                    <a:pt x="191" y="71"/>
                    <a:pt x="190" y="71"/>
                    <a:pt x="189" y="71"/>
                  </a:cubicBezTo>
                  <a:cubicBezTo>
                    <a:pt x="188" y="73"/>
                    <a:pt x="187" y="74"/>
                    <a:pt x="185" y="75"/>
                  </a:cubicBezTo>
                  <a:cubicBezTo>
                    <a:pt x="185" y="76"/>
                    <a:pt x="184" y="76"/>
                    <a:pt x="184" y="77"/>
                  </a:cubicBezTo>
                  <a:cubicBezTo>
                    <a:pt x="184" y="77"/>
                    <a:pt x="184" y="77"/>
                    <a:pt x="184" y="77"/>
                  </a:cubicBezTo>
                  <a:cubicBezTo>
                    <a:pt x="183" y="78"/>
                    <a:pt x="184" y="78"/>
                    <a:pt x="184" y="78"/>
                  </a:cubicBezTo>
                  <a:cubicBezTo>
                    <a:pt x="184" y="79"/>
                    <a:pt x="184" y="80"/>
                    <a:pt x="184" y="81"/>
                  </a:cubicBezTo>
                  <a:cubicBezTo>
                    <a:pt x="185" y="81"/>
                    <a:pt x="185" y="82"/>
                    <a:pt x="185" y="83"/>
                  </a:cubicBezTo>
                  <a:cubicBezTo>
                    <a:pt x="184" y="83"/>
                    <a:pt x="184" y="83"/>
                    <a:pt x="184" y="83"/>
                  </a:cubicBezTo>
                  <a:cubicBezTo>
                    <a:pt x="183" y="83"/>
                    <a:pt x="183" y="84"/>
                    <a:pt x="182" y="84"/>
                  </a:cubicBezTo>
                  <a:cubicBezTo>
                    <a:pt x="178" y="85"/>
                    <a:pt x="174" y="83"/>
                    <a:pt x="171" y="85"/>
                  </a:cubicBezTo>
                  <a:cubicBezTo>
                    <a:pt x="168" y="85"/>
                    <a:pt x="165" y="86"/>
                    <a:pt x="163" y="85"/>
                  </a:cubicBezTo>
                  <a:cubicBezTo>
                    <a:pt x="162" y="84"/>
                    <a:pt x="160" y="84"/>
                    <a:pt x="159" y="83"/>
                  </a:cubicBezTo>
                  <a:cubicBezTo>
                    <a:pt x="159" y="83"/>
                    <a:pt x="159" y="82"/>
                    <a:pt x="159" y="82"/>
                  </a:cubicBezTo>
                  <a:cubicBezTo>
                    <a:pt x="159" y="81"/>
                    <a:pt x="159" y="81"/>
                    <a:pt x="159" y="81"/>
                  </a:cubicBezTo>
                  <a:cubicBezTo>
                    <a:pt x="158" y="82"/>
                    <a:pt x="156" y="81"/>
                    <a:pt x="154" y="81"/>
                  </a:cubicBezTo>
                  <a:cubicBezTo>
                    <a:pt x="154" y="81"/>
                    <a:pt x="154" y="81"/>
                    <a:pt x="154" y="81"/>
                  </a:cubicBezTo>
                  <a:cubicBezTo>
                    <a:pt x="154" y="83"/>
                    <a:pt x="154" y="85"/>
                    <a:pt x="154" y="88"/>
                  </a:cubicBezTo>
                  <a:cubicBezTo>
                    <a:pt x="153" y="88"/>
                    <a:pt x="152" y="89"/>
                    <a:pt x="151" y="90"/>
                  </a:cubicBezTo>
                  <a:cubicBezTo>
                    <a:pt x="150" y="90"/>
                    <a:pt x="148" y="90"/>
                    <a:pt x="147" y="90"/>
                  </a:cubicBezTo>
                  <a:cubicBezTo>
                    <a:pt x="147" y="89"/>
                    <a:pt x="146" y="89"/>
                    <a:pt x="146" y="89"/>
                  </a:cubicBezTo>
                  <a:cubicBezTo>
                    <a:pt x="145" y="88"/>
                    <a:pt x="143" y="89"/>
                    <a:pt x="142" y="89"/>
                  </a:cubicBezTo>
                  <a:cubicBezTo>
                    <a:pt x="141" y="88"/>
                    <a:pt x="141" y="88"/>
                    <a:pt x="140" y="88"/>
                  </a:cubicBezTo>
                  <a:cubicBezTo>
                    <a:pt x="138" y="87"/>
                    <a:pt x="136" y="88"/>
                    <a:pt x="134" y="87"/>
                  </a:cubicBezTo>
                  <a:cubicBezTo>
                    <a:pt x="134" y="87"/>
                    <a:pt x="134" y="87"/>
                    <a:pt x="134" y="87"/>
                  </a:cubicBezTo>
                  <a:cubicBezTo>
                    <a:pt x="133" y="87"/>
                    <a:pt x="133" y="86"/>
                    <a:pt x="133" y="86"/>
                  </a:cubicBezTo>
                  <a:cubicBezTo>
                    <a:pt x="132" y="85"/>
                    <a:pt x="130" y="86"/>
                    <a:pt x="129" y="85"/>
                  </a:cubicBezTo>
                  <a:cubicBezTo>
                    <a:pt x="128" y="84"/>
                    <a:pt x="127" y="83"/>
                    <a:pt x="126" y="82"/>
                  </a:cubicBezTo>
                  <a:cubicBezTo>
                    <a:pt x="126" y="81"/>
                    <a:pt x="127" y="80"/>
                    <a:pt x="126" y="79"/>
                  </a:cubicBezTo>
                  <a:cubicBezTo>
                    <a:pt x="124" y="78"/>
                    <a:pt x="122" y="78"/>
                    <a:pt x="120" y="79"/>
                  </a:cubicBezTo>
                  <a:cubicBezTo>
                    <a:pt x="119" y="81"/>
                    <a:pt x="117" y="80"/>
                    <a:pt x="115" y="80"/>
                  </a:cubicBezTo>
                  <a:cubicBezTo>
                    <a:pt x="114" y="80"/>
                    <a:pt x="113" y="79"/>
                    <a:pt x="112" y="78"/>
                  </a:cubicBezTo>
                  <a:cubicBezTo>
                    <a:pt x="110" y="77"/>
                    <a:pt x="108" y="76"/>
                    <a:pt x="106" y="76"/>
                  </a:cubicBezTo>
                  <a:cubicBezTo>
                    <a:pt x="104" y="75"/>
                    <a:pt x="103" y="74"/>
                    <a:pt x="102" y="73"/>
                  </a:cubicBezTo>
                  <a:cubicBezTo>
                    <a:pt x="100" y="72"/>
                    <a:pt x="99" y="71"/>
                    <a:pt x="98" y="70"/>
                  </a:cubicBezTo>
                  <a:cubicBezTo>
                    <a:pt x="98" y="70"/>
                    <a:pt x="97" y="70"/>
                    <a:pt x="97" y="70"/>
                  </a:cubicBezTo>
                  <a:cubicBezTo>
                    <a:pt x="95" y="69"/>
                    <a:pt x="93" y="69"/>
                    <a:pt x="92" y="68"/>
                  </a:cubicBezTo>
                  <a:cubicBezTo>
                    <a:pt x="89" y="66"/>
                    <a:pt x="90" y="62"/>
                    <a:pt x="90" y="59"/>
                  </a:cubicBezTo>
                  <a:cubicBezTo>
                    <a:pt x="91" y="58"/>
                    <a:pt x="93" y="56"/>
                    <a:pt x="94" y="54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94" y="53"/>
                    <a:pt x="96" y="54"/>
                    <a:pt x="96" y="53"/>
                  </a:cubicBezTo>
                  <a:cubicBezTo>
                    <a:pt x="97" y="52"/>
                    <a:pt x="96" y="52"/>
                    <a:pt x="96" y="51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4" y="52"/>
                    <a:pt x="92" y="51"/>
                    <a:pt x="91" y="50"/>
                  </a:cubicBezTo>
                  <a:cubicBezTo>
                    <a:pt x="91" y="50"/>
                    <a:pt x="91" y="49"/>
                    <a:pt x="91" y="49"/>
                  </a:cubicBezTo>
                  <a:cubicBezTo>
                    <a:pt x="91" y="48"/>
                    <a:pt x="90" y="48"/>
                    <a:pt x="90" y="47"/>
                  </a:cubicBezTo>
                  <a:cubicBezTo>
                    <a:pt x="89" y="47"/>
                    <a:pt x="88" y="46"/>
                    <a:pt x="87" y="45"/>
                  </a:cubicBezTo>
                  <a:cubicBezTo>
                    <a:pt x="86" y="45"/>
                    <a:pt x="84" y="46"/>
                    <a:pt x="82" y="45"/>
                  </a:cubicBezTo>
                  <a:cubicBezTo>
                    <a:pt x="82" y="44"/>
                    <a:pt x="81" y="42"/>
                    <a:pt x="80" y="42"/>
                  </a:cubicBezTo>
                  <a:cubicBezTo>
                    <a:pt x="79" y="42"/>
                    <a:pt x="78" y="42"/>
                    <a:pt x="77" y="41"/>
                  </a:cubicBezTo>
                  <a:cubicBezTo>
                    <a:pt x="75" y="40"/>
                    <a:pt x="77" y="38"/>
                    <a:pt x="75" y="36"/>
                  </a:cubicBezTo>
                  <a:cubicBezTo>
                    <a:pt x="76" y="34"/>
                    <a:pt x="74" y="33"/>
                    <a:pt x="73" y="32"/>
                  </a:cubicBezTo>
                  <a:cubicBezTo>
                    <a:pt x="72" y="31"/>
                    <a:pt x="74" y="30"/>
                    <a:pt x="74" y="29"/>
                  </a:cubicBezTo>
                  <a:cubicBezTo>
                    <a:pt x="76" y="29"/>
                    <a:pt x="76" y="31"/>
                    <a:pt x="77" y="32"/>
                  </a:cubicBezTo>
                  <a:cubicBezTo>
                    <a:pt x="79" y="32"/>
                    <a:pt x="79" y="30"/>
                    <a:pt x="81" y="29"/>
                  </a:cubicBezTo>
                  <a:cubicBezTo>
                    <a:pt x="81" y="29"/>
                    <a:pt x="82" y="29"/>
                    <a:pt x="82" y="28"/>
                  </a:cubicBezTo>
                  <a:cubicBezTo>
                    <a:pt x="83" y="28"/>
                    <a:pt x="83" y="27"/>
                    <a:pt x="82" y="26"/>
                  </a:cubicBezTo>
                  <a:cubicBezTo>
                    <a:pt x="80" y="24"/>
                    <a:pt x="78" y="22"/>
                    <a:pt x="76" y="19"/>
                  </a:cubicBezTo>
                  <a:cubicBezTo>
                    <a:pt x="75" y="18"/>
                    <a:pt x="75" y="17"/>
                    <a:pt x="75" y="16"/>
                  </a:cubicBezTo>
                  <a:cubicBezTo>
                    <a:pt x="74" y="14"/>
                    <a:pt x="75" y="12"/>
                    <a:pt x="74" y="11"/>
                  </a:cubicBezTo>
                  <a:cubicBezTo>
                    <a:pt x="73" y="8"/>
                    <a:pt x="71" y="6"/>
                    <a:pt x="69" y="4"/>
                  </a:cubicBezTo>
                  <a:cubicBezTo>
                    <a:pt x="68" y="3"/>
                    <a:pt x="67" y="3"/>
                    <a:pt x="66" y="3"/>
                  </a:cubicBezTo>
                  <a:cubicBezTo>
                    <a:pt x="65" y="2"/>
                    <a:pt x="64" y="1"/>
                    <a:pt x="63" y="0"/>
                  </a:cubicBezTo>
                  <a:cubicBezTo>
                    <a:pt x="62" y="1"/>
                    <a:pt x="61" y="2"/>
                    <a:pt x="59" y="2"/>
                  </a:cubicBezTo>
                  <a:cubicBezTo>
                    <a:pt x="59" y="2"/>
                    <a:pt x="58" y="3"/>
                    <a:pt x="58" y="3"/>
                  </a:cubicBezTo>
                  <a:cubicBezTo>
                    <a:pt x="58" y="5"/>
                    <a:pt x="57" y="6"/>
                    <a:pt x="56" y="7"/>
                  </a:cubicBezTo>
                  <a:cubicBezTo>
                    <a:pt x="55" y="7"/>
                    <a:pt x="54" y="8"/>
                    <a:pt x="53" y="8"/>
                  </a:cubicBezTo>
                  <a:cubicBezTo>
                    <a:pt x="51" y="8"/>
                    <a:pt x="50" y="8"/>
                    <a:pt x="48" y="9"/>
                  </a:cubicBezTo>
                  <a:cubicBezTo>
                    <a:pt x="48" y="9"/>
                    <a:pt x="47" y="10"/>
                    <a:pt x="47" y="10"/>
                  </a:cubicBezTo>
                  <a:cubicBezTo>
                    <a:pt x="45" y="10"/>
                    <a:pt x="43" y="10"/>
                    <a:pt x="41" y="10"/>
                  </a:cubicBezTo>
                  <a:cubicBezTo>
                    <a:pt x="41" y="10"/>
                    <a:pt x="40" y="11"/>
                    <a:pt x="40" y="11"/>
                  </a:cubicBezTo>
                  <a:cubicBezTo>
                    <a:pt x="40" y="15"/>
                    <a:pt x="40" y="17"/>
                    <a:pt x="41" y="21"/>
                  </a:cubicBezTo>
                  <a:cubicBezTo>
                    <a:pt x="42" y="23"/>
                    <a:pt x="42" y="24"/>
                    <a:pt x="43" y="25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4" y="28"/>
                    <a:pt x="44" y="29"/>
                    <a:pt x="45" y="30"/>
                  </a:cubicBezTo>
                  <a:cubicBezTo>
                    <a:pt x="45" y="31"/>
                    <a:pt x="47" y="31"/>
                    <a:pt x="48" y="31"/>
                  </a:cubicBezTo>
                  <a:cubicBezTo>
                    <a:pt x="48" y="31"/>
                    <a:pt x="48" y="32"/>
                    <a:pt x="48" y="33"/>
                  </a:cubicBezTo>
                  <a:cubicBezTo>
                    <a:pt x="47" y="34"/>
                    <a:pt x="45" y="34"/>
                    <a:pt x="45" y="35"/>
                  </a:cubicBezTo>
                  <a:cubicBezTo>
                    <a:pt x="44" y="36"/>
                    <a:pt x="44" y="37"/>
                    <a:pt x="45" y="38"/>
                  </a:cubicBezTo>
                  <a:cubicBezTo>
                    <a:pt x="45" y="39"/>
                    <a:pt x="45" y="40"/>
                    <a:pt x="45" y="41"/>
                  </a:cubicBezTo>
                  <a:cubicBezTo>
                    <a:pt x="44" y="43"/>
                    <a:pt x="43" y="45"/>
                    <a:pt x="42" y="47"/>
                  </a:cubicBezTo>
                  <a:cubicBezTo>
                    <a:pt x="41" y="49"/>
                    <a:pt x="39" y="51"/>
                    <a:pt x="38" y="52"/>
                  </a:cubicBezTo>
                  <a:cubicBezTo>
                    <a:pt x="37" y="53"/>
                    <a:pt x="38" y="54"/>
                    <a:pt x="37" y="55"/>
                  </a:cubicBezTo>
                  <a:cubicBezTo>
                    <a:pt x="36" y="56"/>
                    <a:pt x="36" y="57"/>
                    <a:pt x="35" y="58"/>
                  </a:cubicBezTo>
                  <a:cubicBezTo>
                    <a:pt x="35" y="59"/>
                    <a:pt x="34" y="60"/>
                    <a:pt x="34" y="60"/>
                  </a:cubicBezTo>
                  <a:cubicBezTo>
                    <a:pt x="33" y="62"/>
                    <a:pt x="31" y="64"/>
                    <a:pt x="30" y="65"/>
                  </a:cubicBezTo>
                  <a:cubicBezTo>
                    <a:pt x="30" y="66"/>
                    <a:pt x="30" y="67"/>
                    <a:pt x="29" y="68"/>
                  </a:cubicBezTo>
                  <a:cubicBezTo>
                    <a:pt x="28" y="71"/>
                    <a:pt x="26" y="72"/>
                    <a:pt x="25" y="75"/>
                  </a:cubicBezTo>
                  <a:cubicBezTo>
                    <a:pt x="23" y="74"/>
                    <a:pt x="21" y="75"/>
                    <a:pt x="18" y="76"/>
                  </a:cubicBezTo>
                  <a:cubicBezTo>
                    <a:pt x="18" y="77"/>
                    <a:pt x="17" y="77"/>
                    <a:pt x="17" y="76"/>
                  </a:cubicBezTo>
                  <a:cubicBezTo>
                    <a:pt x="16" y="76"/>
                    <a:pt x="16" y="74"/>
                    <a:pt x="15" y="74"/>
                  </a:cubicBezTo>
                  <a:cubicBezTo>
                    <a:pt x="14" y="73"/>
                    <a:pt x="14" y="73"/>
                    <a:pt x="14" y="74"/>
                  </a:cubicBezTo>
                  <a:cubicBezTo>
                    <a:pt x="12" y="75"/>
                    <a:pt x="11" y="77"/>
                    <a:pt x="10" y="80"/>
                  </a:cubicBezTo>
                  <a:cubicBezTo>
                    <a:pt x="9" y="81"/>
                    <a:pt x="8" y="81"/>
                    <a:pt x="7" y="82"/>
                  </a:cubicBezTo>
                  <a:cubicBezTo>
                    <a:pt x="7" y="84"/>
                    <a:pt x="7" y="85"/>
                    <a:pt x="8" y="86"/>
                  </a:cubicBezTo>
                  <a:cubicBezTo>
                    <a:pt x="9" y="87"/>
                    <a:pt x="11" y="86"/>
                    <a:pt x="12" y="87"/>
                  </a:cubicBezTo>
                  <a:cubicBezTo>
                    <a:pt x="13" y="87"/>
                    <a:pt x="13" y="88"/>
                    <a:pt x="14" y="89"/>
                  </a:cubicBezTo>
                  <a:cubicBezTo>
                    <a:pt x="15" y="91"/>
                    <a:pt x="14" y="93"/>
                    <a:pt x="15" y="95"/>
                  </a:cubicBezTo>
                  <a:cubicBezTo>
                    <a:pt x="16" y="96"/>
                    <a:pt x="18" y="95"/>
                    <a:pt x="19" y="96"/>
                  </a:cubicBezTo>
                  <a:cubicBezTo>
                    <a:pt x="19" y="97"/>
                    <a:pt x="18" y="99"/>
                    <a:pt x="19" y="100"/>
                  </a:cubicBezTo>
                  <a:cubicBezTo>
                    <a:pt x="20" y="101"/>
                    <a:pt x="21" y="102"/>
                    <a:pt x="22" y="103"/>
                  </a:cubicBezTo>
                  <a:cubicBezTo>
                    <a:pt x="22" y="105"/>
                    <a:pt x="23" y="107"/>
                    <a:pt x="23" y="108"/>
                  </a:cubicBezTo>
                  <a:cubicBezTo>
                    <a:pt x="22" y="109"/>
                    <a:pt x="21" y="109"/>
                    <a:pt x="20" y="109"/>
                  </a:cubicBezTo>
                  <a:cubicBezTo>
                    <a:pt x="18" y="110"/>
                    <a:pt x="16" y="109"/>
                    <a:pt x="14" y="108"/>
                  </a:cubicBezTo>
                  <a:cubicBezTo>
                    <a:pt x="11" y="109"/>
                    <a:pt x="7" y="108"/>
                    <a:pt x="3" y="108"/>
                  </a:cubicBezTo>
                  <a:cubicBezTo>
                    <a:pt x="3" y="108"/>
                    <a:pt x="3" y="108"/>
                    <a:pt x="2" y="109"/>
                  </a:cubicBezTo>
                  <a:cubicBezTo>
                    <a:pt x="2" y="110"/>
                    <a:pt x="2" y="111"/>
                    <a:pt x="1" y="112"/>
                  </a:cubicBezTo>
                  <a:cubicBezTo>
                    <a:pt x="1" y="113"/>
                    <a:pt x="1" y="113"/>
                    <a:pt x="0" y="113"/>
                  </a:cubicBezTo>
                  <a:lnTo>
                    <a:pt x="0" y="115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1" name="Freeform 20"/>
            <p:cNvSpPr>
              <a:spLocks/>
            </p:cNvSpPr>
            <p:nvPr/>
          </p:nvSpPr>
          <p:spPr bwMode="auto">
            <a:xfrm>
              <a:off x="5466504" y="4514712"/>
              <a:ext cx="817758" cy="386171"/>
            </a:xfrm>
            <a:custGeom>
              <a:avLst/>
              <a:gdLst>
                <a:gd name="T0" fmla="*/ 461526804 w 607"/>
                <a:gd name="T1" fmla="*/ 292458504 h 357"/>
                <a:gd name="T2" fmla="*/ 408332427 w 607"/>
                <a:gd name="T3" fmla="*/ 316590454 h 357"/>
                <a:gd name="T4" fmla="*/ 369708203 w 607"/>
                <a:gd name="T5" fmla="*/ 326097111 h 357"/>
                <a:gd name="T6" fmla="*/ 355921246 w 607"/>
                <a:gd name="T7" fmla="*/ 281398952 h 357"/>
                <a:gd name="T8" fmla="*/ 306785499 w 607"/>
                <a:gd name="T9" fmla="*/ 267130089 h 357"/>
                <a:gd name="T10" fmla="*/ 78123325 w 607"/>
                <a:gd name="T11" fmla="*/ 247684555 h 357"/>
                <a:gd name="T12" fmla="*/ 73406010 w 607"/>
                <a:gd name="T13" fmla="*/ 227088953 h 357"/>
                <a:gd name="T14" fmla="*/ 64975851 w 607"/>
                <a:gd name="T15" fmla="*/ 212119470 h 357"/>
                <a:gd name="T16" fmla="*/ 61407097 w 607"/>
                <a:gd name="T17" fmla="*/ 189558474 h 357"/>
                <a:gd name="T18" fmla="*/ 35906977 w 607"/>
                <a:gd name="T19" fmla="*/ 147628754 h 357"/>
                <a:gd name="T20" fmla="*/ 9645300 w 607"/>
                <a:gd name="T21" fmla="*/ 140082126 h 357"/>
                <a:gd name="T22" fmla="*/ 62889309 w 607"/>
                <a:gd name="T23" fmla="*/ 38370579 h 357"/>
                <a:gd name="T24" fmla="*/ 95321018 w 607"/>
                <a:gd name="T25" fmla="*/ 26955334 h 357"/>
                <a:gd name="T26" fmla="*/ 87670879 w 607"/>
                <a:gd name="T27" fmla="*/ 37174927 h 357"/>
                <a:gd name="T28" fmla="*/ 123154686 w 607"/>
                <a:gd name="T29" fmla="*/ 23289943 h 357"/>
                <a:gd name="T30" fmla="*/ 140385208 w 607"/>
                <a:gd name="T31" fmla="*/ 30799601 h 357"/>
                <a:gd name="T32" fmla="*/ 153501384 w 607"/>
                <a:gd name="T33" fmla="*/ 31639767 h 357"/>
                <a:gd name="T34" fmla="*/ 194844225 w 607"/>
                <a:gd name="T35" fmla="*/ 39249528 h 357"/>
                <a:gd name="T36" fmla="*/ 200400829 w 607"/>
                <a:gd name="T37" fmla="*/ 53431258 h 357"/>
                <a:gd name="T38" fmla="*/ 241895206 w 607"/>
                <a:gd name="T39" fmla="*/ 56983815 h 357"/>
                <a:gd name="T40" fmla="*/ 249461658 w 607"/>
                <a:gd name="T41" fmla="*/ 51459290 h 357"/>
                <a:gd name="T42" fmla="*/ 260599057 w 607"/>
                <a:gd name="T43" fmla="*/ 41239886 h 357"/>
                <a:gd name="T44" fmla="*/ 296512942 w 607"/>
                <a:gd name="T45" fmla="*/ 52299400 h 357"/>
                <a:gd name="T46" fmla="*/ 326728325 w 607"/>
                <a:gd name="T47" fmla="*/ 58967230 h 357"/>
                <a:gd name="T48" fmla="*/ 344776892 w 607"/>
                <a:gd name="T49" fmla="*/ 39249528 h 357"/>
                <a:gd name="T50" fmla="*/ 342719720 w 607"/>
                <a:gd name="T51" fmla="*/ 28824819 h 357"/>
                <a:gd name="T52" fmla="*/ 336015085 w 607"/>
                <a:gd name="T53" fmla="*/ 15743121 h 357"/>
                <a:gd name="T54" fmla="*/ 353057594 w 607"/>
                <a:gd name="T55" fmla="*/ 2823398 h 357"/>
                <a:gd name="T56" fmla="*/ 364211624 w 607"/>
                <a:gd name="T57" fmla="*/ 22627482 h 357"/>
                <a:gd name="T58" fmla="*/ 367048968 w 607"/>
                <a:gd name="T59" fmla="*/ 46764259 h 357"/>
                <a:gd name="T60" fmla="*/ 380184875 w 607"/>
                <a:gd name="T61" fmla="*/ 54995563 h 357"/>
                <a:gd name="T62" fmla="*/ 403611484 w 607"/>
                <a:gd name="T63" fmla="*/ 38370579 h 357"/>
                <a:gd name="T64" fmla="*/ 425526435 w 607"/>
                <a:gd name="T65" fmla="*/ 34351516 h 357"/>
                <a:gd name="T66" fmla="*/ 420815773 w 607"/>
                <a:gd name="T67" fmla="*/ 47401217 h 357"/>
                <a:gd name="T68" fmla="*/ 408332427 w 607"/>
                <a:gd name="T69" fmla="*/ 70054136 h 357"/>
                <a:gd name="T70" fmla="*/ 388992042 w 607"/>
                <a:gd name="T71" fmla="*/ 68065317 h 357"/>
                <a:gd name="T72" fmla="*/ 364211624 w 607"/>
                <a:gd name="T73" fmla="*/ 76737418 h 357"/>
                <a:gd name="T74" fmla="*/ 365359202 w 607"/>
                <a:gd name="T75" fmla="*/ 98842259 h 357"/>
                <a:gd name="T76" fmla="*/ 339854254 w 607"/>
                <a:gd name="T77" fmla="*/ 113961811 h 357"/>
                <a:gd name="T78" fmla="*/ 317300046 w 607"/>
                <a:gd name="T79" fmla="*/ 141289245 h 357"/>
                <a:gd name="T80" fmla="*/ 330296853 w 607"/>
                <a:gd name="T81" fmla="*/ 177628890 h 357"/>
                <a:gd name="T82" fmla="*/ 390474065 w 607"/>
                <a:gd name="T83" fmla="*/ 199777009 h 357"/>
                <a:gd name="T84" fmla="*/ 407695287 w 607"/>
                <a:gd name="T85" fmla="*/ 240174651 h 357"/>
                <a:gd name="T86" fmla="*/ 415979618 w 607"/>
                <a:gd name="T87" fmla="*/ 201123391 h 357"/>
                <a:gd name="T88" fmla="*/ 431960126 w 607"/>
                <a:gd name="T89" fmla="*/ 147628754 h 357"/>
                <a:gd name="T90" fmla="*/ 445084845 w 607"/>
                <a:gd name="T91" fmla="*/ 116828596 h 357"/>
                <a:gd name="T92" fmla="*/ 474635193 w 607"/>
                <a:gd name="T93" fmla="*/ 131732944 h 357"/>
                <a:gd name="T94" fmla="*/ 485791642 w 607"/>
                <a:gd name="T95" fmla="*/ 142793931 h 357"/>
                <a:gd name="T96" fmla="*/ 496062386 w 607"/>
                <a:gd name="T97" fmla="*/ 165421838 h 357"/>
                <a:gd name="T98" fmla="*/ 523570681 w 607"/>
                <a:gd name="T99" fmla="*/ 140082126 h 357"/>
                <a:gd name="T100" fmla="*/ 537563869 w 607"/>
                <a:gd name="T101" fmla="*/ 178492272 h 357"/>
                <a:gd name="T102" fmla="*/ 552763602 w 607"/>
                <a:gd name="T103" fmla="*/ 199777009 h 357"/>
                <a:gd name="T104" fmla="*/ 542269693 w 607"/>
                <a:gd name="T105" fmla="*/ 215670628 h 357"/>
                <a:gd name="T106" fmla="*/ 569468339 w 607"/>
                <a:gd name="T107" fmla="*/ 216869360 h 357"/>
                <a:gd name="T108" fmla="*/ 548681008 w 607"/>
                <a:gd name="T109" fmla="*/ 242147601 h 357"/>
                <a:gd name="T110" fmla="*/ 494070832 w 607"/>
                <a:gd name="T111" fmla="*/ 251220753 h 357"/>
                <a:gd name="T112" fmla="*/ 464147030 w 607"/>
                <a:gd name="T113" fmla="*/ 280200372 h 357"/>
                <a:gd name="T114" fmla="*/ 506492187 w 607"/>
                <a:gd name="T115" fmla="*/ 269103039 h 357"/>
                <a:gd name="T116" fmla="*/ 498927550 w 607"/>
                <a:gd name="T117" fmla="*/ 282239213 h 357"/>
                <a:gd name="T118" fmla="*/ 523570681 w 607"/>
                <a:gd name="T119" fmla="*/ 300845392 h 357"/>
                <a:gd name="T120" fmla="*/ 487788034 w 607"/>
                <a:gd name="T121" fmla="*/ 315037484 h 357"/>
                <a:gd name="T122" fmla="*/ 487788034 w 607"/>
                <a:gd name="T123" fmla="*/ 301992590 h 35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7"/>
                <a:gd name="T187" fmla="*/ 0 h 357"/>
                <a:gd name="T188" fmla="*/ 607 w 607"/>
                <a:gd name="T189" fmla="*/ 357 h 35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7" h="357">
                  <a:moveTo>
                    <a:pt x="510" y="324"/>
                  </a:moveTo>
                  <a:cubicBezTo>
                    <a:pt x="509" y="324"/>
                    <a:pt x="509" y="323"/>
                    <a:pt x="508" y="322"/>
                  </a:cubicBezTo>
                  <a:cubicBezTo>
                    <a:pt x="508" y="320"/>
                    <a:pt x="508" y="317"/>
                    <a:pt x="508" y="314"/>
                  </a:cubicBezTo>
                  <a:cubicBezTo>
                    <a:pt x="509" y="312"/>
                    <a:pt x="509" y="312"/>
                    <a:pt x="509" y="310"/>
                  </a:cubicBezTo>
                  <a:cubicBezTo>
                    <a:pt x="510" y="309"/>
                    <a:pt x="509" y="307"/>
                    <a:pt x="509" y="306"/>
                  </a:cubicBezTo>
                  <a:cubicBezTo>
                    <a:pt x="509" y="303"/>
                    <a:pt x="509" y="303"/>
                    <a:pt x="509" y="303"/>
                  </a:cubicBezTo>
                  <a:cubicBezTo>
                    <a:pt x="508" y="301"/>
                    <a:pt x="506" y="303"/>
                    <a:pt x="503" y="302"/>
                  </a:cubicBezTo>
                  <a:cubicBezTo>
                    <a:pt x="502" y="301"/>
                    <a:pt x="501" y="301"/>
                    <a:pt x="499" y="302"/>
                  </a:cubicBezTo>
                  <a:cubicBezTo>
                    <a:pt x="498" y="303"/>
                    <a:pt x="496" y="303"/>
                    <a:pt x="495" y="305"/>
                  </a:cubicBezTo>
                  <a:cubicBezTo>
                    <a:pt x="494" y="306"/>
                    <a:pt x="494" y="309"/>
                    <a:pt x="492" y="310"/>
                  </a:cubicBezTo>
                  <a:cubicBezTo>
                    <a:pt x="492" y="311"/>
                    <a:pt x="491" y="312"/>
                    <a:pt x="490" y="313"/>
                  </a:cubicBezTo>
                  <a:cubicBezTo>
                    <a:pt x="490" y="313"/>
                    <a:pt x="490" y="313"/>
                    <a:pt x="490" y="314"/>
                  </a:cubicBezTo>
                  <a:cubicBezTo>
                    <a:pt x="489" y="315"/>
                    <a:pt x="490" y="316"/>
                    <a:pt x="489" y="317"/>
                  </a:cubicBezTo>
                  <a:cubicBezTo>
                    <a:pt x="488" y="319"/>
                    <a:pt x="487" y="321"/>
                    <a:pt x="486" y="322"/>
                  </a:cubicBezTo>
                  <a:cubicBezTo>
                    <a:pt x="486" y="323"/>
                    <a:pt x="486" y="323"/>
                    <a:pt x="485" y="323"/>
                  </a:cubicBezTo>
                  <a:cubicBezTo>
                    <a:pt x="483" y="324"/>
                    <a:pt x="480" y="325"/>
                    <a:pt x="477" y="325"/>
                  </a:cubicBezTo>
                  <a:cubicBezTo>
                    <a:pt x="472" y="326"/>
                    <a:pt x="466" y="325"/>
                    <a:pt x="461" y="325"/>
                  </a:cubicBezTo>
                  <a:cubicBezTo>
                    <a:pt x="458" y="325"/>
                    <a:pt x="456" y="325"/>
                    <a:pt x="453" y="326"/>
                  </a:cubicBezTo>
                  <a:cubicBezTo>
                    <a:pt x="451" y="327"/>
                    <a:pt x="450" y="328"/>
                    <a:pt x="448" y="330"/>
                  </a:cubicBezTo>
                  <a:cubicBezTo>
                    <a:pt x="446" y="332"/>
                    <a:pt x="444" y="335"/>
                    <a:pt x="441" y="337"/>
                  </a:cubicBezTo>
                  <a:cubicBezTo>
                    <a:pt x="440" y="337"/>
                    <a:pt x="440" y="338"/>
                    <a:pt x="439" y="339"/>
                  </a:cubicBezTo>
                  <a:cubicBezTo>
                    <a:pt x="437" y="339"/>
                    <a:pt x="435" y="339"/>
                    <a:pt x="434" y="339"/>
                  </a:cubicBezTo>
                  <a:cubicBezTo>
                    <a:pt x="433" y="339"/>
                    <a:pt x="433" y="338"/>
                    <a:pt x="432" y="338"/>
                  </a:cubicBezTo>
                  <a:cubicBezTo>
                    <a:pt x="431" y="338"/>
                    <a:pt x="430" y="338"/>
                    <a:pt x="429" y="338"/>
                  </a:cubicBezTo>
                  <a:cubicBezTo>
                    <a:pt x="426" y="338"/>
                    <a:pt x="423" y="338"/>
                    <a:pt x="420" y="340"/>
                  </a:cubicBezTo>
                  <a:cubicBezTo>
                    <a:pt x="420" y="343"/>
                    <a:pt x="421" y="346"/>
                    <a:pt x="419" y="348"/>
                  </a:cubicBezTo>
                  <a:cubicBezTo>
                    <a:pt x="418" y="349"/>
                    <a:pt x="417" y="348"/>
                    <a:pt x="415" y="349"/>
                  </a:cubicBezTo>
                  <a:cubicBezTo>
                    <a:pt x="414" y="349"/>
                    <a:pt x="413" y="349"/>
                    <a:pt x="411" y="349"/>
                  </a:cubicBezTo>
                  <a:cubicBezTo>
                    <a:pt x="408" y="351"/>
                    <a:pt x="404" y="352"/>
                    <a:pt x="401" y="354"/>
                  </a:cubicBezTo>
                  <a:cubicBezTo>
                    <a:pt x="399" y="355"/>
                    <a:pt x="398" y="356"/>
                    <a:pt x="396" y="357"/>
                  </a:cubicBezTo>
                  <a:cubicBezTo>
                    <a:pt x="394" y="357"/>
                    <a:pt x="392" y="357"/>
                    <a:pt x="389" y="357"/>
                  </a:cubicBezTo>
                  <a:cubicBezTo>
                    <a:pt x="389" y="357"/>
                    <a:pt x="389" y="356"/>
                    <a:pt x="389" y="356"/>
                  </a:cubicBezTo>
                  <a:cubicBezTo>
                    <a:pt x="390" y="353"/>
                    <a:pt x="392" y="352"/>
                    <a:pt x="393" y="349"/>
                  </a:cubicBezTo>
                  <a:cubicBezTo>
                    <a:pt x="394" y="346"/>
                    <a:pt x="395" y="343"/>
                    <a:pt x="395" y="340"/>
                  </a:cubicBezTo>
                  <a:cubicBezTo>
                    <a:pt x="396" y="336"/>
                    <a:pt x="396" y="332"/>
                    <a:pt x="395" y="327"/>
                  </a:cubicBezTo>
                  <a:cubicBezTo>
                    <a:pt x="395" y="326"/>
                    <a:pt x="395" y="324"/>
                    <a:pt x="395" y="322"/>
                  </a:cubicBezTo>
                  <a:cubicBezTo>
                    <a:pt x="394" y="322"/>
                    <a:pt x="395" y="320"/>
                    <a:pt x="395" y="320"/>
                  </a:cubicBezTo>
                  <a:cubicBezTo>
                    <a:pt x="393" y="317"/>
                    <a:pt x="390" y="315"/>
                    <a:pt x="387" y="312"/>
                  </a:cubicBezTo>
                  <a:cubicBezTo>
                    <a:pt x="387" y="312"/>
                    <a:pt x="386" y="311"/>
                    <a:pt x="386" y="311"/>
                  </a:cubicBezTo>
                  <a:cubicBezTo>
                    <a:pt x="385" y="310"/>
                    <a:pt x="384" y="310"/>
                    <a:pt x="384" y="309"/>
                  </a:cubicBezTo>
                  <a:cubicBezTo>
                    <a:pt x="384" y="309"/>
                    <a:pt x="383" y="309"/>
                    <a:pt x="383" y="308"/>
                  </a:cubicBezTo>
                  <a:cubicBezTo>
                    <a:pt x="382" y="308"/>
                    <a:pt x="381" y="307"/>
                    <a:pt x="381" y="305"/>
                  </a:cubicBezTo>
                  <a:cubicBezTo>
                    <a:pt x="380" y="304"/>
                    <a:pt x="381" y="303"/>
                    <a:pt x="380" y="302"/>
                  </a:cubicBezTo>
                  <a:cubicBezTo>
                    <a:pt x="380" y="301"/>
                    <a:pt x="379" y="302"/>
                    <a:pt x="378" y="301"/>
                  </a:cubicBezTo>
                  <a:cubicBezTo>
                    <a:pt x="378" y="300"/>
                    <a:pt x="378" y="299"/>
                    <a:pt x="377" y="299"/>
                  </a:cubicBezTo>
                  <a:cubicBezTo>
                    <a:pt x="375" y="298"/>
                    <a:pt x="373" y="298"/>
                    <a:pt x="371" y="296"/>
                  </a:cubicBezTo>
                  <a:cubicBezTo>
                    <a:pt x="370" y="295"/>
                    <a:pt x="368" y="294"/>
                    <a:pt x="367" y="294"/>
                  </a:cubicBezTo>
                  <a:cubicBezTo>
                    <a:pt x="364" y="292"/>
                    <a:pt x="362" y="292"/>
                    <a:pt x="359" y="291"/>
                  </a:cubicBezTo>
                  <a:cubicBezTo>
                    <a:pt x="355" y="291"/>
                    <a:pt x="351" y="291"/>
                    <a:pt x="346" y="291"/>
                  </a:cubicBezTo>
                  <a:cubicBezTo>
                    <a:pt x="346" y="291"/>
                    <a:pt x="346" y="291"/>
                    <a:pt x="346" y="291"/>
                  </a:cubicBezTo>
                  <a:cubicBezTo>
                    <a:pt x="345" y="291"/>
                    <a:pt x="342" y="291"/>
                    <a:pt x="340" y="291"/>
                  </a:cubicBezTo>
                  <a:cubicBezTo>
                    <a:pt x="338" y="291"/>
                    <a:pt x="336" y="291"/>
                    <a:pt x="334" y="291"/>
                  </a:cubicBezTo>
                  <a:cubicBezTo>
                    <a:pt x="333" y="291"/>
                    <a:pt x="332" y="290"/>
                    <a:pt x="331" y="290"/>
                  </a:cubicBezTo>
                  <a:cubicBezTo>
                    <a:pt x="331" y="289"/>
                    <a:pt x="331" y="289"/>
                    <a:pt x="330" y="289"/>
                  </a:cubicBezTo>
                  <a:cubicBezTo>
                    <a:pt x="329" y="288"/>
                    <a:pt x="328" y="286"/>
                    <a:pt x="326" y="286"/>
                  </a:cubicBezTo>
                  <a:cubicBezTo>
                    <a:pt x="323" y="285"/>
                    <a:pt x="320" y="286"/>
                    <a:pt x="318" y="286"/>
                  </a:cubicBezTo>
                  <a:cubicBezTo>
                    <a:pt x="313" y="283"/>
                    <a:pt x="308" y="282"/>
                    <a:pt x="303" y="282"/>
                  </a:cubicBezTo>
                  <a:cubicBezTo>
                    <a:pt x="100" y="283"/>
                    <a:pt x="100" y="283"/>
                    <a:pt x="100" y="283"/>
                  </a:cubicBezTo>
                  <a:cubicBezTo>
                    <a:pt x="99" y="283"/>
                    <a:pt x="99" y="283"/>
                    <a:pt x="99" y="283"/>
                  </a:cubicBezTo>
                  <a:cubicBezTo>
                    <a:pt x="99" y="282"/>
                    <a:pt x="99" y="281"/>
                    <a:pt x="98" y="280"/>
                  </a:cubicBezTo>
                  <a:cubicBezTo>
                    <a:pt x="96" y="278"/>
                    <a:pt x="93" y="277"/>
                    <a:pt x="90" y="275"/>
                  </a:cubicBezTo>
                  <a:cubicBezTo>
                    <a:pt x="89" y="275"/>
                    <a:pt x="88" y="275"/>
                    <a:pt x="88" y="274"/>
                  </a:cubicBezTo>
                  <a:cubicBezTo>
                    <a:pt x="87" y="272"/>
                    <a:pt x="88" y="270"/>
                    <a:pt x="89" y="268"/>
                  </a:cubicBezTo>
                  <a:cubicBezTo>
                    <a:pt x="89" y="267"/>
                    <a:pt x="89" y="266"/>
                    <a:pt x="88" y="266"/>
                  </a:cubicBezTo>
                  <a:cubicBezTo>
                    <a:pt x="88" y="265"/>
                    <a:pt x="87" y="265"/>
                    <a:pt x="86" y="266"/>
                  </a:cubicBezTo>
                  <a:cubicBezTo>
                    <a:pt x="85" y="266"/>
                    <a:pt x="84" y="265"/>
                    <a:pt x="83" y="265"/>
                  </a:cubicBezTo>
                  <a:cubicBezTo>
                    <a:pt x="82" y="264"/>
                    <a:pt x="80" y="264"/>
                    <a:pt x="79" y="263"/>
                  </a:cubicBezTo>
                  <a:cubicBezTo>
                    <a:pt x="78" y="262"/>
                    <a:pt x="77" y="262"/>
                    <a:pt x="77" y="261"/>
                  </a:cubicBezTo>
                  <a:cubicBezTo>
                    <a:pt x="76" y="260"/>
                    <a:pt x="76" y="260"/>
                    <a:pt x="76" y="259"/>
                  </a:cubicBezTo>
                  <a:cubicBezTo>
                    <a:pt x="75" y="259"/>
                    <a:pt x="74" y="259"/>
                    <a:pt x="74" y="258"/>
                  </a:cubicBezTo>
                  <a:cubicBezTo>
                    <a:pt x="73" y="258"/>
                    <a:pt x="73" y="257"/>
                    <a:pt x="72" y="256"/>
                  </a:cubicBezTo>
                  <a:cubicBezTo>
                    <a:pt x="71" y="256"/>
                    <a:pt x="71" y="255"/>
                    <a:pt x="71" y="255"/>
                  </a:cubicBezTo>
                  <a:cubicBezTo>
                    <a:pt x="70" y="254"/>
                    <a:pt x="71" y="253"/>
                    <a:pt x="70" y="252"/>
                  </a:cubicBezTo>
                  <a:cubicBezTo>
                    <a:pt x="70" y="252"/>
                    <a:pt x="70" y="251"/>
                    <a:pt x="70" y="250"/>
                  </a:cubicBezTo>
                  <a:cubicBezTo>
                    <a:pt x="70" y="249"/>
                    <a:pt x="71" y="248"/>
                    <a:pt x="72" y="247"/>
                  </a:cubicBezTo>
                  <a:cubicBezTo>
                    <a:pt x="72" y="247"/>
                    <a:pt x="73" y="247"/>
                    <a:pt x="73" y="247"/>
                  </a:cubicBezTo>
                  <a:cubicBezTo>
                    <a:pt x="74" y="245"/>
                    <a:pt x="76" y="244"/>
                    <a:pt x="78" y="243"/>
                  </a:cubicBezTo>
                  <a:cubicBezTo>
                    <a:pt x="78" y="243"/>
                    <a:pt x="78" y="242"/>
                    <a:pt x="78" y="242"/>
                  </a:cubicBezTo>
                  <a:cubicBezTo>
                    <a:pt x="76" y="242"/>
                    <a:pt x="75" y="244"/>
                    <a:pt x="73" y="245"/>
                  </a:cubicBezTo>
                  <a:cubicBezTo>
                    <a:pt x="72" y="245"/>
                    <a:pt x="71" y="245"/>
                    <a:pt x="70" y="245"/>
                  </a:cubicBezTo>
                  <a:cubicBezTo>
                    <a:pt x="69" y="243"/>
                    <a:pt x="70" y="240"/>
                    <a:pt x="70" y="238"/>
                  </a:cubicBezTo>
                  <a:cubicBezTo>
                    <a:pt x="68" y="238"/>
                    <a:pt x="67" y="238"/>
                    <a:pt x="66" y="239"/>
                  </a:cubicBezTo>
                  <a:cubicBezTo>
                    <a:pt x="65" y="240"/>
                    <a:pt x="64" y="239"/>
                    <a:pt x="64" y="238"/>
                  </a:cubicBezTo>
                  <a:cubicBezTo>
                    <a:pt x="63" y="238"/>
                    <a:pt x="63" y="237"/>
                    <a:pt x="64" y="236"/>
                  </a:cubicBezTo>
                  <a:cubicBezTo>
                    <a:pt x="65" y="234"/>
                    <a:pt x="67" y="234"/>
                    <a:pt x="67" y="232"/>
                  </a:cubicBezTo>
                  <a:cubicBezTo>
                    <a:pt x="68" y="231"/>
                    <a:pt x="67" y="230"/>
                    <a:pt x="67" y="229"/>
                  </a:cubicBezTo>
                  <a:cubicBezTo>
                    <a:pt x="68" y="228"/>
                    <a:pt x="68" y="228"/>
                    <a:pt x="69" y="227"/>
                  </a:cubicBezTo>
                  <a:cubicBezTo>
                    <a:pt x="69" y="227"/>
                    <a:pt x="69" y="227"/>
                    <a:pt x="69" y="227"/>
                  </a:cubicBezTo>
                  <a:cubicBezTo>
                    <a:pt x="68" y="226"/>
                    <a:pt x="68" y="226"/>
                    <a:pt x="67" y="227"/>
                  </a:cubicBezTo>
                  <a:cubicBezTo>
                    <a:pt x="66" y="228"/>
                    <a:pt x="65" y="229"/>
                    <a:pt x="64" y="230"/>
                  </a:cubicBezTo>
                  <a:cubicBezTo>
                    <a:pt x="63" y="231"/>
                    <a:pt x="62" y="230"/>
                    <a:pt x="61" y="230"/>
                  </a:cubicBezTo>
                  <a:cubicBezTo>
                    <a:pt x="60" y="229"/>
                    <a:pt x="59" y="228"/>
                    <a:pt x="58" y="227"/>
                  </a:cubicBezTo>
                  <a:cubicBezTo>
                    <a:pt x="58" y="226"/>
                    <a:pt x="58" y="225"/>
                    <a:pt x="58" y="224"/>
                  </a:cubicBezTo>
                  <a:cubicBezTo>
                    <a:pt x="59" y="223"/>
                    <a:pt x="59" y="222"/>
                    <a:pt x="59" y="221"/>
                  </a:cubicBezTo>
                  <a:cubicBezTo>
                    <a:pt x="59" y="220"/>
                    <a:pt x="60" y="220"/>
                    <a:pt x="60" y="219"/>
                  </a:cubicBezTo>
                  <a:cubicBezTo>
                    <a:pt x="60" y="217"/>
                    <a:pt x="61" y="216"/>
                    <a:pt x="62" y="215"/>
                  </a:cubicBezTo>
                  <a:cubicBezTo>
                    <a:pt x="62" y="214"/>
                    <a:pt x="62" y="213"/>
                    <a:pt x="62" y="213"/>
                  </a:cubicBezTo>
                  <a:cubicBezTo>
                    <a:pt x="63" y="211"/>
                    <a:pt x="63" y="211"/>
                    <a:pt x="63" y="211"/>
                  </a:cubicBezTo>
                  <a:cubicBezTo>
                    <a:pt x="63" y="208"/>
                    <a:pt x="64" y="206"/>
                    <a:pt x="65" y="203"/>
                  </a:cubicBezTo>
                  <a:cubicBezTo>
                    <a:pt x="65" y="202"/>
                    <a:pt x="65" y="201"/>
                    <a:pt x="65" y="200"/>
                  </a:cubicBezTo>
                  <a:cubicBezTo>
                    <a:pt x="63" y="200"/>
                    <a:pt x="60" y="199"/>
                    <a:pt x="58" y="198"/>
                  </a:cubicBezTo>
                  <a:cubicBezTo>
                    <a:pt x="57" y="197"/>
                    <a:pt x="55" y="197"/>
                    <a:pt x="55" y="196"/>
                  </a:cubicBezTo>
                  <a:cubicBezTo>
                    <a:pt x="54" y="194"/>
                    <a:pt x="54" y="192"/>
                    <a:pt x="53" y="189"/>
                  </a:cubicBezTo>
                  <a:cubicBezTo>
                    <a:pt x="53" y="188"/>
                    <a:pt x="54" y="186"/>
                    <a:pt x="53" y="184"/>
                  </a:cubicBezTo>
                  <a:cubicBezTo>
                    <a:pt x="52" y="182"/>
                    <a:pt x="51" y="181"/>
                    <a:pt x="51" y="179"/>
                  </a:cubicBezTo>
                  <a:cubicBezTo>
                    <a:pt x="50" y="178"/>
                    <a:pt x="49" y="177"/>
                    <a:pt x="48" y="175"/>
                  </a:cubicBezTo>
                  <a:cubicBezTo>
                    <a:pt x="48" y="174"/>
                    <a:pt x="48" y="173"/>
                    <a:pt x="48" y="172"/>
                  </a:cubicBezTo>
                  <a:cubicBezTo>
                    <a:pt x="47" y="170"/>
                    <a:pt x="46" y="169"/>
                    <a:pt x="45" y="167"/>
                  </a:cubicBezTo>
                  <a:cubicBezTo>
                    <a:pt x="44" y="165"/>
                    <a:pt x="41" y="165"/>
                    <a:pt x="40" y="163"/>
                  </a:cubicBezTo>
                  <a:cubicBezTo>
                    <a:pt x="40" y="161"/>
                    <a:pt x="39" y="159"/>
                    <a:pt x="38" y="158"/>
                  </a:cubicBezTo>
                  <a:cubicBezTo>
                    <a:pt x="36" y="157"/>
                    <a:pt x="35" y="157"/>
                    <a:pt x="34" y="158"/>
                  </a:cubicBezTo>
                  <a:cubicBezTo>
                    <a:pt x="33" y="158"/>
                    <a:pt x="33" y="159"/>
                    <a:pt x="32" y="159"/>
                  </a:cubicBezTo>
                  <a:cubicBezTo>
                    <a:pt x="31" y="160"/>
                    <a:pt x="31" y="160"/>
                    <a:pt x="31" y="161"/>
                  </a:cubicBezTo>
                  <a:cubicBezTo>
                    <a:pt x="29" y="162"/>
                    <a:pt x="27" y="163"/>
                    <a:pt x="26" y="164"/>
                  </a:cubicBezTo>
                  <a:cubicBezTo>
                    <a:pt x="25" y="165"/>
                    <a:pt x="24" y="165"/>
                    <a:pt x="23" y="166"/>
                  </a:cubicBezTo>
                  <a:cubicBezTo>
                    <a:pt x="23" y="167"/>
                    <a:pt x="22" y="167"/>
                    <a:pt x="21" y="166"/>
                  </a:cubicBezTo>
                  <a:cubicBezTo>
                    <a:pt x="19" y="165"/>
                    <a:pt x="18" y="163"/>
                    <a:pt x="17" y="162"/>
                  </a:cubicBezTo>
                  <a:cubicBezTo>
                    <a:pt x="16" y="161"/>
                    <a:pt x="15" y="159"/>
                    <a:pt x="14" y="158"/>
                  </a:cubicBezTo>
                  <a:cubicBezTo>
                    <a:pt x="14" y="157"/>
                    <a:pt x="14" y="156"/>
                    <a:pt x="14" y="156"/>
                  </a:cubicBezTo>
                  <a:cubicBezTo>
                    <a:pt x="13" y="154"/>
                    <a:pt x="14" y="152"/>
                    <a:pt x="13" y="151"/>
                  </a:cubicBezTo>
                  <a:cubicBezTo>
                    <a:pt x="13" y="150"/>
                    <a:pt x="11" y="150"/>
                    <a:pt x="10" y="150"/>
                  </a:cubicBezTo>
                  <a:cubicBezTo>
                    <a:pt x="10" y="151"/>
                    <a:pt x="9" y="151"/>
                    <a:pt x="8" y="151"/>
                  </a:cubicBezTo>
                  <a:cubicBezTo>
                    <a:pt x="7" y="152"/>
                    <a:pt x="6" y="152"/>
                    <a:pt x="6" y="152"/>
                  </a:cubicBezTo>
                  <a:cubicBezTo>
                    <a:pt x="4" y="150"/>
                    <a:pt x="2" y="151"/>
                    <a:pt x="1" y="151"/>
                  </a:cubicBezTo>
                  <a:cubicBezTo>
                    <a:pt x="0" y="149"/>
                    <a:pt x="0" y="148"/>
                    <a:pt x="1" y="146"/>
                  </a:cubicBezTo>
                  <a:cubicBezTo>
                    <a:pt x="1" y="145"/>
                    <a:pt x="1" y="142"/>
                    <a:pt x="3" y="140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32"/>
                    <a:pt x="45" y="32"/>
                    <a:pt x="47" y="32"/>
                  </a:cubicBezTo>
                  <a:cubicBezTo>
                    <a:pt x="48" y="32"/>
                    <a:pt x="49" y="32"/>
                    <a:pt x="50" y="33"/>
                  </a:cubicBezTo>
                  <a:cubicBezTo>
                    <a:pt x="55" y="35"/>
                    <a:pt x="59" y="37"/>
                    <a:pt x="63" y="40"/>
                  </a:cubicBezTo>
                  <a:cubicBezTo>
                    <a:pt x="64" y="41"/>
                    <a:pt x="66" y="41"/>
                    <a:pt x="67" y="41"/>
                  </a:cubicBezTo>
                  <a:cubicBezTo>
                    <a:pt x="70" y="42"/>
                    <a:pt x="73" y="42"/>
                    <a:pt x="76" y="42"/>
                  </a:cubicBezTo>
                  <a:cubicBezTo>
                    <a:pt x="78" y="41"/>
                    <a:pt x="80" y="41"/>
                    <a:pt x="82" y="42"/>
                  </a:cubicBezTo>
                  <a:cubicBezTo>
                    <a:pt x="82" y="43"/>
                    <a:pt x="82" y="45"/>
                    <a:pt x="81" y="46"/>
                  </a:cubicBezTo>
                  <a:cubicBezTo>
                    <a:pt x="80" y="47"/>
                    <a:pt x="81" y="47"/>
                    <a:pt x="81" y="47"/>
                  </a:cubicBezTo>
                  <a:cubicBezTo>
                    <a:pt x="82" y="47"/>
                    <a:pt x="83" y="46"/>
                    <a:pt x="83" y="45"/>
                  </a:cubicBezTo>
                  <a:cubicBezTo>
                    <a:pt x="84" y="44"/>
                    <a:pt x="84" y="43"/>
                    <a:pt x="83" y="42"/>
                  </a:cubicBezTo>
                  <a:cubicBezTo>
                    <a:pt x="82" y="41"/>
                    <a:pt x="83" y="40"/>
                    <a:pt x="84" y="39"/>
                  </a:cubicBezTo>
                  <a:cubicBezTo>
                    <a:pt x="85" y="39"/>
                    <a:pt x="86" y="38"/>
                    <a:pt x="87" y="37"/>
                  </a:cubicBezTo>
                  <a:cubicBezTo>
                    <a:pt x="89" y="35"/>
                    <a:pt x="92" y="35"/>
                    <a:pt x="95" y="35"/>
                  </a:cubicBezTo>
                  <a:cubicBezTo>
                    <a:pt x="95" y="34"/>
                    <a:pt x="96" y="34"/>
                    <a:pt x="97" y="33"/>
                  </a:cubicBezTo>
                  <a:cubicBezTo>
                    <a:pt x="99" y="32"/>
                    <a:pt x="100" y="31"/>
                    <a:pt x="101" y="29"/>
                  </a:cubicBezTo>
                  <a:cubicBezTo>
                    <a:pt x="104" y="28"/>
                    <a:pt x="107" y="29"/>
                    <a:pt x="110" y="28"/>
                  </a:cubicBezTo>
                  <a:cubicBezTo>
                    <a:pt x="112" y="28"/>
                    <a:pt x="113" y="26"/>
                    <a:pt x="115" y="25"/>
                  </a:cubicBezTo>
                  <a:cubicBezTo>
                    <a:pt x="117" y="24"/>
                    <a:pt x="119" y="24"/>
                    <a:pt x="121" y="24"/>
                  </a:cubicBezTo>
                  <a:cubicBezTo>
                    <a:pt x="122" y="25"/>
                    <a:pt x="121" y="26"/>
                    <a:pt x="120" y="27"/>
                  </a:cubicBezTo>
                  <a:cubicBezTo>
                    <a:pt x="118" y="28"/>
                    <a:pt x="116" y="29"/>
                    <a:pt x="114" y="29"/>
                  </a:cubicBezTo>
                  <a:cubicBezTo>
                    <a:pt x="112" y="30"/>
                    <a:pt x="111" y="31"/>
                    <a:pt x="109" y="32"/>
                  </a:cubicBezTo>
                  <a:cubicBezTo>
                    <a:pt x="107" y="32"/>
                    <a:pt x="105" y="32"/>
                    <a:pt x="103" y="33"/>
                  </a:cubicBezTo>
                  <a:cubicBezTo>
                    <a:pt x="100" y="34"/>
                    <a:pt x="98" y="35"/>
                    <a:pt x="95" y="37"/>
                  </a:cubicBezTo>
                  <a:cubicBezTo>
                    <a:pt x="94" y="38"/>
                    <a:pt x="93" y="39"/>
                    <a:pt x="92" y="40"/>
                  </a:cubicBezTo>
                  <a:cubicBezTo>
                    <a:pt x="91" y="40"/>
                    <a:pt x="92" y="40"/>
                    <a:pt x="92" y="40"/>
                  </a:cubicBezTo>
                  <a:cubicBezTo>
                    <a:pt x="92" y="41"/>
                    <a:pt x="93" y="41"/>
                    <a:pt x="93" y="40"/>
                  </a:cubicBezTo>
                  <a:cubicBezTo>
                    <a:pt x="95" y="39"/>
                    <a:pt x="97" y="39"/>
                    <a:pt x="99" y="37"/>
                  </a:cubicBezTo>
                  <a:cubicBezTo>
                    <a:pt x="100" y="37"/>
                    <a:pt x="100" y="37"/>
                    <a:pt x="100" y="36"/>
                  </a:cubicBezTo>
                  <a:cubicBezTo>
                    <a:pt x="101" y="35"/>
                    <a:pt x="102" y="34"/>
                    <a:pt x="104" y="34"/>
                  </a:cubicBezTo>
                  <a:cubicBezTo>
                    <a:pt x="105" y="34"/>
                    <a:pt x="108" y="33"/>
                    <a:pt x="108" y="35"/>
                  </a:cubicBezTo>
                  <a:cubicBezTo>
                    <a:pt x="109" y="35"/>
                    <a:pt x="110" y="35"/>
                    <a:pt x="111" y="34"/>
                  </a:cubicBezTo>
                  <a:cubicBezTo>
                    <a:pt x="112" y="34"/>
                    <a:pt x="113" y="33"/>
                    <a:pt x="113" y="33"/>
                  </a:cubicBezTo>
                  <a:cubicBezTo>
                    <a:pt x="116" y="31"/>
                    <a:pt x="118" y="31"/>
                    <a:pt x="120" y="30"/>
                  </a:cubicBezTo>
                  <a:cubicBezTo>
                    <a:pt x="121" y="29"/>
                    <a:pt x="122" y="29"/>
                    <a:pt x="124" y="29"/>
                  </a:cubicBezTo>
                  <a:cubicBezTo>
                    <a:pt x="124" y="30"/>
                    <a:pt x="126" y="30"/>
                    <a:pt x="126" y="30"/>
                  </a:cubicBezTo>
                  <a:cubicBezTo>
                    <a:pt x="128" y="29"/>
                    <a:pt x="130" y="28"/>
                    <a:pt x="130" y="27"/>
                  </a:cubicBezTo>
                  <a:cubicBezTo>
                    <a:pt x="131" y="26"/>
                    <a:pt x="131" y="25"/>
                    <a:pt x="131" y="25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33" y="22"/>
                    <a:pt x="132" y="20"/>
                    <a:pt x="133" y="19"/>
                  </a:cubicBezTo>
                  <a:cubicBezTo>
                    <a:pt x="134" y="19"/>
                    <a:pt x="134" y="19"/>
                    <a:pt x="135" y="19"/>
                  </a:cubicBezTo>
                  <a:cubicBezTo>
                    <a:pt x="136" y="20"/>
                    <a:pt x="137" y="22"/>
                    <a:pt x="138" y="24"/>
                  </a:cubicBezTo>
                  <a:cubicBezTo>
                    <a:pt x="138" y="26"/>
                    <a:pt x="139" y="28"/>
                    <a:pt x="139" y="30"/>
                  </a:cubicBezTo>
                  <a:cubicBezTo>
                    <a:pt x="140" y="32"/>
                    <a:pt x="140" y="33"/>
                    <a:pt x="141" y="34"/>
                  </a:cubicBezTo>
                  <a:cubicBezTo>
                    <a:pt x="141" y="35"/>
                    <a:pt x="142" y="35"/>
                    <a:pt x="142" y="35"/>
                  </a:cubicBezTo>
                  <a:cubicBezTo>
                    <a:pt x="143" y="35"/>
                    <a:pt x="143" y="35"/>
                    <a:pt x="143" y="35"/>
                  </a:cubicBezTo>
                  <a:cubicBezTo>
                    <a:pt x="143" y="35"/>
                    <a:pt x="144" y="36"/>
                    <a:pt x="145" y="36"/>
                  </a:cubicBezTo>
                  <a:cubicBezTo>
                    <a:pt x="146" y="37"/>
                    <a:pt x="147" y="36"/>
                    <a:pt x="148" y="35"/>
                  </a:cubicBezTo>
                  <a:cubicBezTo>
                    <a:pt x="148" y="35"/>
                    <a:pt x="148" y="33"/>
                    <a:pt x="149" y="33"/>
                  </a:cubicBezTo>
                  <a:cubicBezTo>
                    <a:pt x="150" y="31"/>
                    <a:pt x="151" y="31"/>
                    <a:pt x="153" y="29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5" y="26"/>
                    <a:pt x="154" y="24"/>
                    <a:pt x="155" y="23"/>
                  </a:cubicBezTo>
                  <a:cubicBezTo>
                    <a:pt x="155" y="23"/>
                    <a:pt x="156" y="23"/>
                    <a:pt x="156" y="23"/>
                  </a:cubicBezTo>
                  <a:cubicBezTo>
                    <a:pt x="157" y="25"/>
                    <a:pt x="155" y="27"/>
                    <a:pt x="156" y="29"/>
                  </a:cubicBezTo>
                  <a:cubicBezTo>
                    <a:pt x="156" y="29"/>
                    <a:pt x="156" y="29"/>
                    <a:pt x="156" y="29"/>
                  </a:cubicBezTo>
                  <a:cubicBezTo>
                    <a:pt x="156" y="30"/>
                    <a:pt x="157" y="31"/>
                    <a:pt x="156" y="31"/>
                  </a:cubicBezTo>
                  <a:cubicBezTo>
                    <a:pt x="156" y="33"/>
                    <a:pt x="153" y="33"/>
                    <a:pt x="153" y="35"/>
                  </a:cubicBezTo>
                  <a:cubicBezTo>
                    <a:pt x="152" y="36"/>
                    <a:pt x="153" y="36"/>
                    <a:pt x="153" y="37"/>
                  </a:cubicBezTo>
                  <a:cubicBezTo>
                    <a:pt x="155" y="36"/>
                    <a:pt x="158" y="37"/>
                    <a:pt x="160" y="36"/>
                  </a:cubicBezTo>
                  <a:cubicBezTo>
                    <a:pt x="161" y="36"/>
                    <a:pt x="162" y="35"/>
                    <a:pt x="163" y="34"/>
                  </a:cubicBezTo>
                  <a:cubicBezTo>
                    <a:pt x="164" y="34"/>
                    <a:pt x="165" y="33"/>
                    <a:pt x="165" y="33"/>
                  </a:cubicBezTo>
                  <a:cubicBezTo>
                    <a:pt x="165" y="32"/>
                    <a:pt x="165" y="31"/>
                    <a:pt x="165" y="30"/>
                  </a:cubicBezTo>
                  <a:cubicBezTo>
                    <a:pt x="165" y="30"/>
                    <a:pt x="166" y="29"/>
                    <a:pt x="166" y="29"/>
                  </a:cubicBezTo>
                  <a:cubicBezTo>
                    <a:pt x="167" y="29"/>
                    <a:pt x="169" y="29"/>
                    <a:pt x="171" y="29"/>
                  </a:cubicBezTo>
                  <a:cubicBezTo>
                    <a:pt x="171" y="30"/>
                    <a:pt x="172" y="30"/>
                    <a:pt x="172" y="30"/>
                  </a:cubicBezTo>
                  <a:cubicBezTo>
                    <a:pt x="174" y="30"/>
                    <a:pt x="176" y="30"/>
                    <a:pt x="178" y="31"/>
                  </a:cubicBezTo>
                  <a:cubicBezTo>
                    <a:pt x="179" y="32"/>
                    <a:pt x="180" y="32"/>
                    <a:pt x="181" y="33"/>
                  </a:cubicBezTo>
                  <a:cubicBezTo>
                    <a:pt x="182" y="34"/>
                    <a:pt x="182" y="34"/>
                    <a:pt x="183" y="34"/>
                  </a:cubicBezTo>
                  <a:cubicBezTo>
                    <a:pt x="185" y="35"/>
                    <a:pt x="187" y="36"/>
                    <a:pt x="190" y="36"/>
                  </a:cubicBezTo>
                  <a:cubicBezTo>
                    <a:pt x="194" y="38"/>
                    <a:pt x="197" y="40"/>
                    <a:pt x="201" y="41"/>
                  </a:cubicBezTo>
                  <a:cubicBezTo>
                    <a:pt x="203" y="41"/>
                    <a:pt x="205" y="41"/>
                    <a:pt x="207" y="42"/>
                  </a:cubicBezTo>
                  <a:cubicBezTo>
                    <a:pt x="207" y="42"/>
                    <a:pt x="208" y="42"/>
                    <a:pt x="208" y="42"/>
                  </a:cubicBezTo>
                  <a:cubicBezTo>
                    <a:pt x="209" y="43"/>
                    <a:pt x="210" y="42"/>
                    <a:pt x="211" y="43"/>
                  </a:cubicBezTo>
                  <a:cubicBezTo>
                    <a:pt x="211" y="42"/>
                    <a:pt x="211" y="41"/>
                    <a:pt x="211" y="41"/>
                  </a:cubicBezTo>
                  <a:cubicBezTo>
                    <a:pt x="213" y="41"/>
                    <a:pt x="215" y="40"/>
                    <a:pt x="217" y="42"/>
                  </a:cubicBezTo>
                  <a:cubicBezTo>
                    <a:pt x="219" y="43"/>
                    <a:pt x="221" y="45"/>
                    <a:pt x="223" y="47"/>
                  </a:cubicBezTo>
                  <a:cubicBezTo>
                    <a:pt x="223" y="47"/>
                    <a:pt x="223" y="48"/>
                    <a:pt x="223" y="48"/>
                  </a:cubicBezTo>
                  <a:cubicBezTo>
                    <a:pt x="223" y="49"/>
                    <a:pt x="222" y="49"/>
                    <a:pt x="221" y="50"/>
                  </a:cubicBezTo>
                  <a:cubicBezTo>
                    <a:pt x="220" y="50"/>
                    <a:pt x="218" y="49"/>
                    <a:pt x="217" y="50"/>
                  </a:cubicBezTo>
                  <a:cubicBezTo>
                    <a:pt x="216" y="50"/>
                    <a:pt x="216" y="51"/>
                    <a:pt x="215" y="52"/>
                  </a:cubicBezTo>
                  <a:cubicBezTo>
                    <a:pt x="214" y="53"/>
                    <a:pt x="213" y="53"/>
                    <a:pt x="213" y="54"/>
                  </a:cubicBezTo>
                  <a:cubicBezTo>
                    <a:pt x="212" y="55"/>
                    <a:pt x="213" y="56"/>
                    <a:pt x="213" y="57"/>
                  </a:cubicBezTo>
                  <a:cubicBezTo>
                    <a:pt x="214" y="57"/>
                    <a:pt x="214" y="57"/>
                    <a:pt x="215" y="57"/>
                  </a:cubicBezTo>
                  <a:cubicBezTo>
                    <a:pt x="220" y="57"/>
                    <a:pt x="226" y="58"/>
                    <a:pt x="232" y="57"/>
                  </a:cubicBezTo>
                  <a:cubicBezTo>
                    <a:pt x="232" y="57"/>
                    <a:pt x="237" y="57"/>
                    <a:pt x="237" y="57"/>
                  </a:cubicBezTo>
                  <a:cubicBezTo>
                    <a:pt x="239" y="58"/>
                    <a:pt x="240" y="57"/>
                    <a:pt x="241" y="57"/>
                  </a:cubicBezTo>
                  <a:cubicBezTo>
                    <a:pt x="243" y="56"/>
                    <a:pt x="244" y="56"/>
                    <a:pt x="246" y="55"/>
                  </a:cubicBezTo>
                  <a:cubicBezTo>
                    <a:pt x="246" y="55"/>
                    <a:pt x="247" y="54"/>
                    <a:pt x="248" y="54"/>
                  </a:cubicBezTo>
                  <a:cubicBezTo>
                    <a:pt x="248" y="54"/>
                    <a:pt x="249" y="54"/>
                    <a:pt x="250" y="54"/>
                  </a:cubicBezTo>
                  <a:cubicBezTo>
                    <a:pt x="250" y="54"/>
                    <a:pt x="251" y="55"/>
                    <a:pt x="251" y="55"/>
                  </a:cubicBezTo>
                  <a:cubicBezTo>
                    <a:pt x="251" y="56"/>
                    <a:pt x="251" y="57"/>
                    <a:pt x="252" y="57"/>
                  </a:cubicBezTo>
                  <a:cubicBezTo>
                    <a:pt x="253" y="57"/>
                    <a:pt x="254" y="57"/>
                    <a:pt x="255" y="57"/>
                  </a:cubicBezTo>
                  <a:cubicBezTo>
                    <a:pt x="257" y="57"/>
                    <a:pt x="256" y="60"/>
                    <a:pt x="257" y="61"/>
                  </a:cubicBezTo>
                  <a:cubicBezTo>
                    <a:pt x="258" y="62"/>
                    <a:pt x="261" y="60"/>
                    <a:pt x="262" y="62"/>
                  </a:cubicBezTo>
                  <a:cubicBezTo>
                    <a:pt x="262" y="63"/>
                    <a:pt x="263" y="64"/>
                    <a:pt x="262" y="65"/>
                  </a:cubicBezTo>
                  <a:cubicBezTo>
                    <a:pt x="261" y="66"/>
                    <a:pt x="259" y="65"/>
                    <a:pt x="259" y="66"/>
                  </a:cubicBezTo>
                  <a:cubicBezTo>
                    <a:pt x="259" y="67"/>
                    <a:pt x="258" y="68"/>
                    <a:pt x="259" y="68"/>
                  </a:cubicBezTo>
                  <a:cubicBezTo>
                    <a:pt x="260" y="70"/>
                    <a:pt x="262" y="71"/>
                    <a:pt x="262" y="72"/>
                  </a:cubicBezTo>
                  <a:cubicBezTo>
                    <a:pt x="265" y="73"/>
                    <a:pt x="264" y="69"/>
                    <a:pt x="264" y="68"/>
                  </a:cubicBezTo>
                  <a:cubicBezTo>
                    <a:pt x="265" y="67"/>
                    <a:pt x="265" y="67"/>
                    <a:pt x="265" y="67"/>
                  </a:cubicBezTo>
                  <a:cubicBezTo>
                    <a:pt x="265" y="65"/>
                    <a:pt x="265" y="64"/>
                    <a:pt x="265" y="62"/>
                  </a:cubicBezTo>
                  <a:cubicBezTo>
                    <a:pt x="265" y="61"/>
                    <a:pt x="264" y="60"/>
                    <a:pt x="264" y="59"/>
                  </a:cubicBezTo>
                  <a:cubicBezTo>
                    <a:pt x="263" y="58"/>
                    <a:pt x="263" y="57"/>
                    <a:pt x="264" y="56"/>
                  </a:cubicBezTo>
                  <a:cubicBezTo>
                    <a:pt x="264" y="55"/>
                    <a:pt x="265" y="55"/>
                    <a:pt x="265" y="55"/>
                  </a:cubicBezTo>
                  <a:cubicBezTo>
                    <a:pt x="267" y="55"/>
                    <a:pt x="268" y="54"/>
                    <a:pt x="269" y="54"/>
                  </a:cubicBezTo>
                  <a:cubicBezTo>
                    <a:pt x="273" y="53"/>
                    <a:pt x="276" y="51"/>
                    <a:pt x="279" y="49"/>
                  </a:cubicBezTo>
                  <a:cubicBezTo>
                    <a:pt x="280" y="49"/>
                    <a:pt x="281" y="49"/>
                    <a:pt x="281" y="48"/>
                  </a:cubicBezTo>
                  <a:cubicBezTo>
                    <a:pt x="281" y="48"/>
                    <a:pt x="282" y="47"/>
                    <a:pt x="281" y="47"/>
                  </a:cubicBezTo>
                  <a:cubicBezTo>
                    <a:pt x="280" y="46"/>
                    <a:pt x="279" y="47"/>
                    <a:pt x="278" y="47"/>
                  </a:cubicBezTo>
                  <a:cubicBezTo>
                    <a:pt x="276" y="49"/>
                    <a:pt x="273" y="48"/>
                    <a:pt x="270" y="49"/>
                  </a:cubicBezTo>
                  <a:cubicBezTo>
                    <a:pt x="269" y="50"/>
                    <a:pt x="267" y="51"/>
                    <a:pt x="266" y="51"/>
                  </a:cubicBezTo>
                  <a:cubicBezTo>
                    <a:pt x="264" y="52"/>
                    <a:pt x="263" y="51"/>
                    <a:pt x="261" y="51"/>
                  </a:cubicBezTo>
                  <a:cubicBezTo>
                    <a:pt x="261" y="50"/>
                    <a:pt x="261" y="49"/>
                    <a:pt x="262" y="48"/>
                  </a:cubicBezTo>
                  <a:cubicBezTo>
                    <a:pt x="264" y="48"/>
                    <a:pt x="265" y="46"/>
                    <a:pt x="267" y="46"/>
                  </a:cubicBezTo>
                  <a:cubicBezTo>
                    <a:pt x="271" y="45"/>
                    <a:pt x="274" y="45"/>
                    <a:pt x="277" y="44"/>
                  </a:cubicBezTo>
                  <a:cubicBezTo>
                    <a:pt x="278" y="44"/>
                    <a:pt x="278" y="43"/>
                    <a:pt x="279" y="43"/>
                  </a:cubicBezTo>
                  <a:cubicBezTo>
                    <a:pt x="280" y="43"/>
                    <a:pt x="283" y="42"/>
                    <a:pt x="284" y="44"/>
                  </a:cubicBezTo>
                  <a:cubicBezTo>
                    <a:pt x="285" y="45"/>
                    <a:pt x="283" y="47"/>
                    <a:pt x="284" y="48"/>
                  </a:cubicBezTo>
                  <a:cubicBezTo>
                    <a:pt x="284" y="49"/>
                    <a:pt x="286" y="49"/>
                    <a:pt x="287" y="50"/>
                  </a:cubicBezTo>
                  <a:cubicBezTo>
                    <a:pt x="287" y="51"/>
                    <a:pt x="288" y="50"/>
                    <a:pt x="289" y="51"/>
                  </a:cubicBezTo>
                  <a:cubicBezTo>
                    <a:pt x="289" y="52"/>
                    <a:pt x="291" y="53"/>
                    <a:pt x="291" y="53"/>
                  </a:cubicBezTo>
                  <a:cubicBezTo>
                    <a:pt x="294" y="53"/>
                    <a:pt x="295" y="53"/>
                    <a:pt x="298" y="53"/>
                  </a:cubicBezTo>
                  <a:cubicBezTo>
                    <a:pt x="298" y="53"/>
                    <a:pt x="299" y="54"/>
                    <a:pt x="299" y="54"/>
                  </a:cubicBezTo>
                  <a:cubicBezTo>
                    <a:pt x="299" y="55"/>
                    <a:pt x="298" y="56"/>
                    <a:pt x="299" y="57"/>
                  </a:cubicBezTo>
                  <a:cubicBezTo>
                    <a:pt x="303" y="58"/>
                    <a:pt x="308" y="57"/>
                    <a:pt x="312" y="57"/>
                  </a:cubicBezTo>
                  <a:cubicBezTo>
                    <a:pt x="313" y="57"/>
                    <a:pt x="314" y="57"/>
                    <a:pt x="315" y="56"/>
                  </a:cubicBezTo>
                  <a:cubicBezTo>
                    <a:pt x="316" y="56"/>
                    <a:pt x="318" y="56"/>
                    <a:pt x="319" y="56"/>
                  </a:cubicBezTo>
                  <a:cubicBezTo>
                    <a:pt x="321" y="56"/>
                    <a:pt x="321" y="56"/>
                    <a:pt x="321" y="56"/>
                  </a:cubicBezTo>
                  <a:cubicBezTo>
                    <a:pt x="323" y="56"/>
                    <a:pt x="324" y="56"/>
                    <a:pt x="326" y="57"/>
                  </a:cubicBezTo>
                  <a:cubicBezTo>
                    <a:pt x="327" y="58"/>
                    <a:pt x="328" y="57"/>
                    <a:pt x="328" y="56"/>
                  </a:cubicBezTo>
                  <a:cubicBezTo>
                    <a:pt x="329" y="52"/>
                    <a:pt x="333" y="50"/>
                    <a:pt x="336" y="48"/>
                  </a:cubicBezTo>
                  <a:cubicBezTo>
                    <a:pt x="339" y="47"/>
                    <a:pt x="341" y="50"/>
                    <a:pt x="344" y="51"/>
                  </a:cubicBezTo>
                  <a:cubicBezTo>
                    <a:pt x="345" y="52"/>
                    <a:pt x="347" y="51"/>
                    <a:pt x="348" y="52"/>
                  </a:cubicBezTo>
                  <a:cubicBezTo>
                    <a:pt x="349" y="52"/>
                    <a:pt x="347" y="53"/>
                    <a:pt x="347" y="54"/>
                  </a:cubicBezTo>
                  <a:cubicBezTo>
                    <a:pt x="347" y="56"/>
                    <a:pt x="345" y="58"/>
                    <a:pt x="344" y="59"/>
                  </a:cubicBezTo>
                  <a:cubicBezTo>
                    <a:pt x="344" y="60"/>
                    <a:pt x="344" y="61"/>
                    <a:pt x="344" y="62"/>
                  </a:cubicBezTo>
                  <a:cubicBezTo>
                    <a:pt x="345" y="62"/>
                    <a:pt x="346" y="63"/>
                    <a:pt x="347" y="63"/>
                  </a:cubicBezTo>
                  <a:cubicBezTo>
                    <a:pt x="347" y="64"/>
                    <a:pt x="348" y="64"/>
                    <a:pt x="349" y="64"/>
                  </a:cubicBezTo>
                  <a:cubicBezTo>
                    <a:pt x="350" y="65"/>
                    <a:pt x="350" y="66"/>
                    <a:pt x="350" y="68"/>
                  </a:cubicBezTo>
                  <a:cubicBezTo>
                    <a:pt x="352" y="68"/>
                    <a:pt x="352" y="66"/>
                    <a:pt x="353" y="65"/>
                  </a:cubicBezTo>
                  <a:cubicBezTo>
                    <a:pt x="353" y="62"/>
                    <a:pt x="353" y="59"/>
                    <a:pt x="350" y="58"/>
                  </a:cubicBezTo>
                  <a:cubicBezTo>
                    <a:pt x="350" y="56"/>
                    <a:pt x="350" y="54"/>
                    <a:pt x="352" y="54"/>
                  </a:cubicBezTo>
                  <a:cubicBezTo>
                    <a:pt x="354" y="53"/>
                    <a:pt x="356" y="54"/>
                    <a:pt x="358" y="52"/>
                  </a:cubicBezTo>
                  <a:cubicBezTo>
                    <a:pt x="360" y="51"/>
                    <a:pt x="362" y="50"/>
                    <a:pt x="364" y="48"/>
                  </a:cubicBezTo>
                  <a:cubicBezTo>
                    <a:pt x="365" y="48"/>
                    <a:pt x="367" y="47"/>
                    <a:pt x="368" y="46"/>
                  </a:cubicBezTo>
                  <a:cubicBezTo>
                    <a:pt x="368" y="46"/>
                    <a:pt x="368" y="46"/>
                    <a:pt x="368" y="46"/>
                  </a:cubicBezTo>
                  <a:cubicBezTo>
                    <a:pt x="368" y="45"/>
                    <a:pt x="368" y="45"/>
                    <a:pt x="368" y="44"/>
                  </a:cubicBezTo>
                  <a:cubicBezTo>
                    <a:pt x="367" y="44"/>
                    <a:pt x="367" y="42"/>
                    <a:pt x="366" y="42"/>
                  </a:cubicBezTo>
                  <a:cubicBezTo>
                    <a:pt x="366" y="42"/>
                    <a:pt x="365" y="41"/>
                    <a:pt x="365" y="42"/>
                  </a:cubicBezTo>
                  <a:cubicBezTo>
                    <a:pt x="364" y="43"/>
                    <a:pt x="364" y="44"/>
                    <a:pt x="364" y="44"/>
                  </a:cubicBezTo>
                  <a:cubicBezTo>
                    <a:pt x="363" y="45"/>
                    <a:pt x="362" y="45"/>
                    <a:pt x="361" y="45"/>
                  </a:cubicBezTo>
                  <a:cubicBezTo>
                    <a:pt x="360" y="45"/>
                    <a:pt x="360" y="44"/>
                    <a:pt x="360" y="43"/>
                  </a:cubicBezTo>
                  <a:cubicBezTo>
                    <a:pt x="361" y="42"/>
                    <a:pt x="363" y="41"/>
                    <a:pt x="364" y="40"/>
                  </a:cubicBezTo>
                  <a:cubicBezTo>
                    <a:pt x="364" y="39"/>
                    <a:pt x="364" y="37"/>
                    <a:pt x="364" y="36"/>
                  </a:cubicBezTo>
                  <a:cubicBezTo>
                    <a:pt x="365" y="34"/>
                    <a:pt x="369" y="35"/>
                    <a:pt x="371" y="34"/>
                  </a:cubicBezTo>
                  <a:cubicBezTo>
                    <a:pt x="371" y="34"/>
                    <a:pt x="371" y="33"/>
                    <a:pt x="371" y="33"/>
                  </a:cubicBezTo>
                  <a:cubicBezTo>
                    <a:pt x="369" y="32"/>
                    <a:pt x="367" y="35"/>
                    <a:pt x="365" y="33"/>
                  </a:cubicBezTo>
                  <a:cubicBezTo>
                    <a:pt x="364" y="33"/>
                    <a:pt x="365" y="32"/>
                    <a:pt x="364" y="32"/>
                  </a:cubicBezTo>
                  <a:cubicBezTo>
                    <a:pt x="364" y="31"/>
                    <a:pt x="364" y="31"/>
                    <a:pt x="364" y="31"/>
                  </a:cubicBezTo>
                  <a:cubicBezTo>
                    <a:pt x="363" y="31"/>
                    <a:pt x="363" y="31"/>
                    <a:pt x="362" y="32"/>
                  </a:cubicBezTo>
                  <a:cubicBezTo>
                    <a:pt x="361" y="32"/>
                    <a:pt x="360" y="32"/>
                    <a:pt x="359" y="32"/>
                  </a:cubicBezTo>
                  <a:cubicBezTo>
                    <a:pt x="358" y="31"/>
                    <a:pt x="357" y="29"/>
                    <a:pt x="355" y="29"/>
                  </a:cubicBezTo>
                  <a:cubicBezTo>
                    <a:pt x="354" y="29"/>
                    <a:pt x="353" y="29"/>
                    <a:pt x="352" y="29"/>
                  </a:cubicBezTo>
                  <a:cubicBezTo>
                    <a:pt x="352" y="29"/>
                    <a:pt x="352" y="28"/>
                    <a:pt x="352" y="28"/>
                  </a:cubicBezTo>
                  <a:cubicBezTo>
                    <a:pt x="351" y="27"/>
                    <a:pt x="352" y="26"/>
                    <a:pt x="351" y="25"/>
                  </a:cubicBezTo>
                  <a:cubicBezTo>
                    <a:pt x="351" y="24"/>
                    <a:pt x="351" y="24"/>
                    <a:pt x="351" y="23"/>
                  </a:cubicBezTo>
                  <a:cubicBezTo>
                    <a:pt x="351" y="23"/>
                    <a:pt x="352" y="22"/>
                    <a:pt x="352" y="22"/>
                  </a:cubicBezTo>
                  <a:cubicBezTo>
                    <a:pt x="352" y="22"/>
                    <a:pt x="352" y="21"/>
                    <a:pt x="352" y="21"/>
                  </a:cubicBezTo>
                  <a:cubicBezTo>
                    <a:pt x="353" y="20"/>
                    <a:pt x="355" y="20"/>
                    <a:pt x="357" y="19"/>
                  </a:cubicBezTo>
                  <a:cubicBezTo>
                    <a:pt x="357" y="19"/>
                    <a:pt x="357" y="18"/>
                    <a:pt x="357" y="17"/>
                  </a:cubicBezTo>
                  <a:cubicBezTo>
                    <a:pt x="356" y="17"/>
                    <a:pt x="355" y="17"/>
                    <a:pt x="355" y="16"/>
                  </a:cubicBezTo>
                  <a:cubicBezTo>
                    <a:pt x="355" y="16"/>
                    <a:pt x="355" y="15"/>
                    <a:pt x="355" y="14"/>
                  </a:cubicBezTo>
                  <a:cubicBezTo>
                    <a:pt x="356" y="12"/>
                    <a:pt x="357" y="10"/>
                    <a:pt x="359" y="9"/>
                  </a:cubicBezTo>
                  <a:cubicBezTo>
                    <a:pt x="360" y="8"/>
                    <a:pt x="362" y="9"/>
                    <a:pt x="363" y="9"/>
                  </a:cubicBezTo>
                  <a:cubicBezTo>
                    <a:pt x="363" y="9"/>
                    <a:pt x="363" y="8"/>
                    <a:pt x="364" y="8"/>
                  </a:cubicBezTo>
                  <a:cubicBezTo>
                    <a:pt x="364" y="7"/>
                    <a:pt x="363" y="7"/>
                    <a:pt x="364" y="6"/>
                  </a:cubicBezTo>
                  <a:cubicBezTo>
                    <a:pt x="364" y="5"/>
                    <a:pt x="365" y="5"/>
                    <a:pt x="365" y="4"/>
                  </a:cubicBezTo>
                  <a:cubicBezTo>
                    <a:pt x="366" y="3"/>
                    <a:pt x="367" y="2"/>
                    <a:pt x="368" y="1"/>
                  </a:cubicBezTo>
                  <a:cubicBezTo>
                    <a:pt x="368" y="0"/>
                    <a:pt x="369" y="1"/>
                    <a:pt x="370" y="1"/>
                  </a:cubicBezTo>
                  <a:cubicBezTo>
                    <a:pt x="371" y="1"/>
                    <a:pt x="371" y="2"/>
                    <a:pt x="372" y="3"/>
                  </a:cubicBezTo>
                  <a:cubicBezTo>
                    <a:pt x="373" y="3"/>
                    <a:pt x="374" y="3"/>
                    <a:pt x="375" y="3"/>
                  </a:cubicBezTo>
                  <a:cubicBezTo>
                    <a:pt x="376" y="3"/>
                    <a:pt x="377" y="4"/>
                    <a:pt x="377" y="4"/>
                  </a:cubicBezTo>
                  <a:cubicBezTo>
                    <a:pt x="378" y="5"/>
                    <a:pt x="378" y="6"/>
                    <a:pt x="378" y="7"/>
                  </a:cubicBezTo>
                  <a:cubicBezTo>
                    <a:pt x="380" y="8"/>
                    <a:pt x="382" y="9"/>
                    <a:pt x="382" y="11"/>
                  </a:cubicBezTo>
                  <a:cubicBezTo>
                    <a:pt x="381" y="11"/>
                    <a:pt x="381" y="12"/>
                    <a:pt x="381" y="13"/>
                  </a:cubicBezTo>
                  <a:cubicBezTo>
                    <a:pt x="381" y="13"/>
                    <a:pt x="381" y="13"/>
                    <a:pt x="381" y="13"/>
                  </a:cubicBezTo>
                  <a:cubicBezTo>
                    <a:pt x="381" y="13"/>
                    <a:pt x="380" y="13"/>
                    <a:pt x="380" y="14"/>
                  </a:cubicBezTo>
                  <a:cubicBezTo>
                    <a:pt x="379" y="14"/>
                    <a:pt x="379" y="15"/>
                    <a:pt x="380" y="15"/>
                  </a:cubicBezTo>
                  <a:cubicBezTo>
                    <a:pt x="381" y="17"/>
                    <a:pt x="382" y="17"/>
                    <a:pt x="383" y="18"/>
                  </a:cubicBezTo>
                  <a:cubicBezTo>
                    <a:pt x="384" y="20"/>
                    <a:pt x="383" y="21"/>
                    <a:pt x="384" y="22"/>
                  </a:cubicBezTo>
                  <a:cubicBezTo>
                    <a:pt x="385" y="23"/>
                    <a:pt x="386" y="23"/>
                    <a:pt x="387" y="23"/>
                  </a:cubicBezTo>
                  <a:cubicBezTo>
                    <a:pt x="387" y="23"/>
                    <a:pt x="387" y="24"/>
                    <a:pt x="387" y="24"/>
                  </a:cubicBezTo>
                  <a:cubicBezTo>
                    <a:pt x="386" y="25"/>
                    <a:pt x="384" y="25"/>
                    <a:pt x="383" y="25"/>
                  </a:cubicBezTo>
                  <a:cubicBezTo>
                    <a:pt x="382" y="24"/>
                    <a:pt x="381" y="24"/>
                    <a:pt x="380" y="24"/>
                  </a:cubicBezTo>
                  <a:cubicBezTo>
                    <a:pt x="380" y="24"/>
                    <a:pt x="380" y="24"/>
                    <a:pt x="380" y="25"/>
                  </a:cubicBezTo>
                  <a:cubicBezTo>
                    <a:pt x="381" y="26"/>
                    <a:pt x="381" y="27"/>
                    <a:pt x="380" y="28"/>
                  </a:cubicBezTo>
                  <a:cubicBezTo>
                    <a:pt x="380" y="29"/>
                    <a:pt x="379" y="29"/>
                    <a:pt x="379" y="29"/>
                  </a:cubicBezTo>
                  <a:cubicBezTo>
                    <a:pt x="379" y="31"/>
                    <a:pt x="380" y="32"/>
                    <a:pt x="381" y="34"/>
                  </a:cubicBezTo>
                  <a:cubicBezTo>
                    <a:pt x="381" y="34"/>
                    <a:pt x="381" y="34"/>
                    <a:pt x="382" y="34"/>
                  </a:cubicBezTo>
                  <a:cubicBezTo>
                    <a:pt x="383" y="33"/>
                    <a:pt x="383" y="32"/>
                    <a:pt x="384" y="32"/>
                  </a:cubicBezTo>
                  <a:cubicBezTo>
                    <a:pt x="386" y="32"/>
                    <a:pt x="387" y="32"/>
                    <a:pt x="388" y="33"/>
                  </a:cubicBezTo>
                  <a:cubicBezTo>
                    <a:pt x="389" y="36"/>
                    <a:pt x="388" y="40"/>
                    <a:pt x="390" y="43"/>
                  </a:cubicBezTo>
                  <a:cubicBezTo>
                    <a:pt x="391" y="45"/>
                    <a:pt x="388" y="48"/>
                    <a:pt x="390" y="50"/>
                  </a:cubicBezTo>
                  <a:cubicBezTo>
                    <a:pt x="390" y="51"/>
                    <a:pt x="391" y="50"/>
                    <a:pt x="391" y="49"/>
                  </a:cubicBezTo>
                  <a:cubicBezTo>
                    <a:pt x="391" y="49"/>
                    <a:pt x="391" y="48"/>
                    <a:pt x="392" y="48"/>
                  </a:cubicBezTo>
                  <a:cubicBezTo>
                    <a:pt x="392" y="47"/>
                    <a:pt x="393" y="47"/>
                    <a:pt x="393" y="46"/>
                  </a:cubicBezTo>
                  <a:cubicBezTo>
                    <a:pt x="394" y="45"/>
                    <a:pt x="394" y="43"/>
                    <a:pt x="395" y="42"/>
                  </a:cubicBezTo>
                  <a:cubicBezTo>
                    <a:pt x="396" y="40"/>
                    <a:pt x="398" y="37"/>
                    <a:pt x="400" y="36"/>
                  </a:cubicBezTo>
                  <a:cubicBezTo>
                    <a:pt x="401" y="36"/>
                    <a:pt x="401" y="36"/>
                    <a:pt x="402" y="36"/>
                  </a:cubicBezTo>
                  <a:cubicBezTo>
                    <a:pt x="403" y="37"/>
                    <a:pt x="403" y="38"/>
                    <a:pt x="404" y="40"/>
                  </a:cubicBezTo>
                  <a:cubicBezTo>
                    <a:pt x="405" y="41"/>
                    <a:pt x="406" y="43"/>
                    <a:pt x="407" y="45"/>
                  </a:cubicBezTo>
                  <a:cubicBezTo>
                    <a:pt x="407" y="46"/>
                    <a:pt x="407" y="48"/>
                    <a:pt x="406" y="50"/>
                  </a:cubicBezTo>
                  <a:cubicBezTo>
                    <a:pt x="405" y="51"/>
                    <a:pt x="405" y="52"/>
                    <a:pt x="404" y="53"/>
                  </a:cubicBezTo>
                  <a:cubicBezTo>
                    <a:pt x="403" y="55"/>
                    <a:pt x="403" y="57"/>
                    <a:pt x="404" y="59"/>
                  </a:cubicBezTo>
                  <a:cubicBezTo>
                    <a:pt x="404" y="60"/>
                    <a:pt x="405" y="62"/>
                    <a:pt x="405" y="64"/>
                  </a:cubicBezTo>
                  <a:cubicBezTo>
                    <a:pt x="406" y="66"/>
                    <a:pt x="408" y="65"/>
                    <a:pt x="409" y="64"/>
                  </a:cubicBezTo>
                  <a:cubicBezTo>
                    <a:pt x="410" y="64"/>
                    <a:pt x="411" y="63"/>
                    <a:pt x="411" y="62"/>
                  </a:cubicBezTo>
                  <a:cubicBezTo>
                    <a:pt x="412" y="62"/>
                    <a:pt x="413" y="62"/>
                    <a:pt x="414" y="62"/>
                  </a:cubicBezTo>
                  <a:cubicBezTo>
                    <a:pt x="414" y="61"/>
                    <a:pt x="415" y="61"/>
                    <a:pt x="415" y="61"/>
                  </a:cubicBezTo>
                  <a:cubicBezTo>
                    <a:pt x="415" y="59"/>
                    <a:pt x="415" y="57"/>
                    <a:pt x="416" y="56"/>
                  </a:cubicBezTo>
                  <a:cubicBezTo>
                    <a:pt x="417" y="55"/>
                    <a:pt x="419" y="54"/>
                    <a:pt x="419" y="52"/>
                  </a:cubicBezTo>
                  <a:cubicBezTo>
                    <a:pt x="420" y="50"/>
                    <a:pt x="421" y="48"/>
                    <a:pt x="422" y="47"/>
                  </a:cubicBezTo>
                  <a:cubicBezTo>
                    <a:pt x="423" y="46"/>
                    <a:pt x="423" y="45"/>
                    <a:pt x="423" y="44"/>
                  </a:cubicBezTo>
                  <a:cubicBezTo>
                    <a:pt x="425" y="44"/>
                    <a:pt x="426" y="44"/>
                    <a:pt x="427" y="43"/>
                  </a:cubicBezTo>
                  <a:cubicBezTo>
                    <a:pt x="428" y="43"/>
                    <a:pt x="429" y="42"/>
                    <a:pt x="429" y="41"/>
                  </a:cubicBezTo>
                  <a:cubicBezTo>
                    <a:pt x="429" y="41"/>
                    <a:pt x="429" y="40"/>
                    <a:pt x="429" y="39"/>
                  </a:cubicBezTo>
                  <a:cubicBezTo>
                    <a:pt x="429" y="38"/>
                    <a:pt x="427" y="39"/>
                    <a:pt x="427" y="38"/>
                  </a:cubicBezTo>
                  <a:cubicBezTo>
                    <a:pt x="426" y="38"/>
                    <a:pt x="426" y="37"/>
                    <a:pt x="427" y="36"/>
                  </a:cubicBezTo>
                  <a:cubicBezTo>
                    <a:pt x="427" y="35"/>
                    <a:pt x="428" y="33"/>
                    <a:pt x="428" y="32"/>
                  </a:cubicBezTo>
                  <a:cubicBezTo>
                    <a:pt x="428" y="32"/>
                    <a:pt x="429" y="31"/>
                    <a:pt x="429" y="31"/>
                  </a:cubicBezTo>
                  <a:cubicBezTo>
                    <a:pt x="432" y="30"/>
                    <a:pt x="435" y="30"/>
                    <a:pt x="438" y="30"/>
                  </a:cubicBezTo>
                  <a:cubicBezTo>
                    <a:pt x="438" y="30"/>
                    <a:pt x="439" y="31"/>
                    <a:pt x="440" y="31"/>
                  </a:cubicBezTo>
                  <a:cubicBezTo>
                    <a:pt x="442" y="31"/>
                    <a:pt x="445" y="30"/>
                    <a:pt x="448" y="31"/>
                  </a:cubicBezTo>
                  <a:cubicBezTo>
                    <a:pt x="448" y="31"/>
                    <a:pt x="447" y="32"/>
                    <a:pt x="447" y="33"/>
                  </a:cubicBezTo>
                  <a:cubicBezTo>
                    <a:pt x="447" y="33"/>
                    <a:pt x="447" y="34"/>
                    <a:pt x="447" y="34"/>
                  </a:cubicBezTo>
                  <a:cubicBezTo>
                    <a:pt x="449" y="35"/>
                    <a:pt x="450" y="37"/>
                    <a:pt x="452" y="37"/>
                  </a:cubicBezTo>
                  <a:cubicBezTo>
                    <a:pt x="453" y="38"/>
                    <a:pt x="454" y="37"/>
                    <a:pt x="455" y="38"/>
                  </a:cubicBezTo>
                  <a:cubicBezTo>
                    <a:pt x="455" y="38"/>
                    <a:pt x="455" y="38"/>
                    <a:pt x="455" y="38"/>
                  </a:cubicBezTo>
                  <a:cubicBezTo>
                    <a:pt x="456" y="39"/>
                    <a:pt x="455" y="39"/>
                    <a:pt x="455" y="39"/>
                  </a:cubicBezTo>
                  <a:cubicBezTo>
                    <a:pt x="453" y="40"/>
                    <a:pt x="451" y="41"/>
                    <a:pt x="450" y="42"/>
                  </a:cubicBezTo>
                  <a:cubicBezTo>
                    <a:pt x="450" y="43"/>
                    <a:pt x="450" y="43"/>
                    <a:pt x="450" y="43"/>
                  </a:cubicBezTo>
                  <a:cubicBezTo>
                    <a:pt x="452" y="44"/>
                    <a:pt x="453" y="43"/>
                    <a:pt x="454" y="44"/>
                  </a:cubicBezTo>
                  <a:cubicBezTo>
                    <a:pt x="454" y="44"/>
                    <a:pt x="454" y="44"/>
                    <a:pt x="454" y="45"/>
                  </a:cubicBezTo>
                  <a:cubicBezTo>
                    <a:pt x="453" y="46"/>
                    <a:pt x="452" y="47"/>
                    <a:pt x="451" y="48"/>
                  </a:cubicBezTo>
                  <a:cubicBezTo>
                    <a:pt x="449" y="48"/>
                    <a:pt x="448" y="48"/>
                    <a:pt x="446" y="48"/>
                  </a:cubicBezTo>
                  <a:cubicBezTo>
                    <a:pt x="446" y="48"/>
                    <a:pt x="446" y="49"/>
                    <a:pt x="446" y="49"/>
                  </a:cubicBezTo>
                  <a:cubicBezTo>
                    <a:pt x="446" y="50"/>
                    <a:pt x="447" y="51"/>
                    <a:pt x="447" y="51"/>
                  </a:cubicBezTo>
                  <a:cubicBezTo>
                    <a:pt x="447" y="52"/>
                    <a:pt x="447" y="53"/>
                    <a:pt x="448" y="54"/>
                  </a:cubicBezTo>
                  <a:cubicBezTo>
                    <a:pt x="448" y="55"/>
                    <a:pt x="448" y="55"/>
                    <a:pt x="448" y="55"/>
                  </a:cubicBezTo>
                  <a:cubicBezTo>
                    <a:pt x="448" y="57"/>
                    <a:pt x="449" y="58"/>
                    <a:pt x="450" y="59"/>
                  </a:cubicBezTo>
                  <a:cubicBezTo>
                    <a:pt x="450" y="61"/>
                    <a:pt x="450" y="62"/>
                    <a:pt x="449" y="63"/>
                  </a:cubicBezTo>
                  <a:cubicBezTo>
                    <a:pt x="450" y="63"/>
                    <a:pt x="450" y="63"/>
                    <a:pt x="450" y="62"/>
                  </a:cubicBezTo>
                  <a:cubicBezTo>
                    <a:pt x="449" y="64"/>
                    <a:pt x="448" y="66"/>
                    <a:pt x="447" y="68"/>
                  </a:cubicBezTo>
                  <a:cubicBezTo>
                    <a:pt x="446" y="68"/>
                    <a:pt x="446" y="68"/>
                    <a:pt x="445" y="68"/>
                  </a:cubicBezTo>
                  <a:cubicBezTo>
                    <a:pt x="445" y="69"/>
                    <a:pt x="444" y="69"/>
                    <a:pt x="444" y="70"/>
                  </a:cubicBezTo>
                  <a:cubicBezTo>
                    <a:pt x="443" y="70"/>
                    <a:pt x="441" y="70"/>
                    <a:pt x="440" y="71"/>
                  </a:cubicBezTo>
                  <a:cubicBezTo>
                    <a:pt x="439" y="71"/>
                    <a:pt x="438" y="72"/>
                    <a:pt x="437" y="72"/>
                  </a:cubicBezTo>
                  <a:cubicBezTo>
                    <a:pt x="436" y="73"/>
                    <a:pt x="435" y="74"/>
                    <a:pt x="434" y="75"/>
                  </a:cubicBezTo>
                  <a:cubicBezTo>
                    <a:pt x="433" y="75"/>
                    <a:pt x="433" y="75"/>
                    <a:pt x="432" y="75"/>
                  </a:cubicBezTo>
                  <a:cubicBezTo>
                    <a:pt x="431" y="74"/>
                    <a:pt x="430" y="72"/>
                    <a:pt x="428" y="70"/>
                  </a:cubicBezTo>
                  <a:cubicBezTo>
                    <a:pt x="427" y="69"/>
                    <a:pt x="426" y="67"/>
                    <a:pt x="425" y="68"/>
                  </a:cubicBezTo>
                  <a:cubicBezTo>
                    <a:pt x="424" y="68"/>
                    <a:pt x="425" y="68"/>
                    <a:pt x="425" y="69"/>
                  </a:cubicBezTo>
                  <a:cubicBezTo>
                    <a:pt x="427" y="71"/>
                    <a:pt x="429" y="73"/>
                    <a:pt x="430" y="75"/>
                  </a:cubicBezTo>
                  <a:cubicBezTo>
                    <a:pt x="431" y="76"/>
                    <a:pt x="430" y="77"/>
                    <a:pt x="430" y="77"/>
                  </a:cubicBezTo>
                  <a:cubicBezTo>
                    <a:pt x="428" y="78"/>
                    <a:pt x="426" y="76"/>
                    <a:pt x="425" y="77"/>
                  </a:cubicBezTo>
                  <a:cubicBezTo>
                    <a:pt x="424" y="78"/>
                    <a:pt x="424" y="78"/>
                    <a:pt x="423" y="78"/>
                  </a:cubicBezTo>
                  <a:cubicBezTo>
                    <a:pt x="421" y="77"/>
                    <a:pt x="421" y="75"/>
                    <a:pt x="421" y="73"/>
                  </a:cubicBezTo>
                  <a:cubicBezTo>
                    <a:pt x="420" y="72"/>
                    <a:pt x="420" y="72"/>
                    <a:pt x="419" y="72"/>
                  </a:cubicBezTo>
                  <a:cubicBezTo>
                    <a:pt x="417" y="73"/>
                    <a:pt x="415" y="74"/>
                    <a:pt x="413" y="73"/>
                  </a:cubicBezTo>
                  <a:cubicBezTo>
                    <a:pt x="412" y="73"/>
                    <a:pt x="411" y="73"/>
                    <a:pt x="411" y="73"/>
                  </a:cubicBezTo>
                  <a:cubicBezTo>
                    <a:pt x="410" y="75"/>
                    <a:pt x="413" y="76"/>
                    <a:pt x="414" y="76"/>
                  </a:cubicBezTo>
                  <a:cubicBezTo>
                    <a:pt x="415" y="77"/>
                    <a:pt x="415" y="78"/>
                    <a:pt x="414" y="78"/>
                  </a:cubicBezTo>
                  <a:cubicBezTo>
                    <a:pt x="412" y="80"/>
                    <a:pt x="410" y="82"/>
                    <a:pt x="408" y="84"/>
                  </a:cubicBezTo>
                  <a:cubicBezTo>
                    <a:pt x="407" y="84"/>
                    <a:pt x="407" y="85"/>
                    <a:pt x="406" y="85"/>
                  </a:cubicBezTo>
                  <a:cubicBezTo>
                    <a:pt x="405" y="86"/>
                    <a:pt x="405" y="87"/>
                    <a:pt x="404" y="88"/>
                  </a:cubicBezTo>
                  <a:cubicBezTo>
                    <a:pt x="403" y="88"/>
                    <a:pt x="402" y="88"/>
                    <a:pt x="401" y="88"/>
                  </a:cubicBezTo>
                  <a:cubicBezTo>
                    <a:pt x="400" y="87"/>
                    <a:pt x="399" y="88"/>
                    <a:pt x="398" y="87"/>
                  </a:cubicBezTo>
                  <a:cubicBezTo>
                    <a:pt x="397" y="86"/>
                    <a:pt x="395" y="85"/>
                    <a:pt x="394" y="84"/>
                  </a:cubicBezTo>
                  <a:cubicBezTo>
                    <a:pt x="393" y="84"/>
                    <a:pt x="392" y="84"/>
                    <a:pt x="392" y="83"/>
                  </a:cubicBezTo>
                  <a:cubicBezTo>
                    <a:pt x="390" y="82"/>
                    <a:pt x="388" y="83"/>
                    <a:pt x="387" y="82"/>
                  </a:cubicBezTo>
                  <a:cubicBezTo>
                    <a:pt x="386" y="81"/>
                    <a:pt x="386" y="81"/>
                    <a:pt x="385" y="81"/>
                  </a:cubicBezTo>
                  <a:cubicBezTo>
                    <a:pt x="384" y="80"/>
                    <a:pt x="383" y="80"/>
                    <a:pt x="382" y="81"/>
                  </a:cubicBezTo>
                  <a:cubicBezTo>
                    <a:pt x="382" y="81"/>
                    <a:pt x="382" y="81"/>
                    <a:pt x="383" y="81"/>
                  </a:cubicBezTo>
                  <a:cubicBezTo>
                    <a:pt x="383" y="81"/>
                    <a:pt x="384" y="82"/>
                    <a:pt x="384" y="82"/>
                  </a:cubicBezTo>
                  <a:cubicBezTo>
                    <a:pt x="385" y="83"/>
                    <a:pt x="386" y="83"/>
                    <a:pt x="387" y="84"/>
                  </a:cubicBezTo>
                  <a:cubicBezTo>
                    <a:pt x="388" y="85"/>
                    <a:pt x="388" y="86"/>
                    <a:pt x="389" y="88"/>
                  </a:cubicBezTo>
                  <a:cubicBezTo>
                    <a:pt x="390" y="89"/>
                    <a:pt x="391" y="89"/>
                    <a:pt x="391" y="89"/>
                  </a:cubicBezTo>
                  <a:cubicBezTo>
                    <a:pt x="395" y="90"/>
                    <a:pt x="399" y="89"/>
                    <a:pt x="403" y="89"/>
                  </a:cubicBezTo>
                  <a:cubicBezTo>
                    <a:pt x="404" y="92"/>
                    <a:pt x="402" y="94"/>
                    <a:pt x="401" y="95"/>
                  </a:cubicBezTo>
                  <a:cubicBezTo>
                    <a:pt x="399" y="97"/>
                    <a:pt x="398" y="98"/>
                    <a:pt x="397" y="100"/>
                  </a:cubicBezTo>
                  <a:cubicBezTo>
                    <a:pt x="394" y="102"/>
                    <a:pt x="391" y="104"/>
                    <a:pt x="388" y="106"/>
                  </a:cubicBezTo>
                  <a:cubicBezTo>
                    <a:pt x="386" y="106"/>
                    <a:pt x="383" y="106"/>
                    <a:pt x="381" y="104"/>
                  </a:cubicBezTo>
                  <a:cubicBezTo>
                    <a:pt x="381" y="104"/>
                    <a:pt x="379" y="104"/>
                    <a:pt x="379" y="104"/>
                  </a:cubicBezTo>
                  <a:cubicBezTo>
                    <a:pt x="379" y="105"/>
                    <a:pt x="379" y="106"/>
                    <a:pt x="379" y="107"/>
                  </a:cubicBezTo>
                  <a:cubicBezTo>
                    <a:pt x="379" y="107"/>
                    <a:pt x="379" y="107"/>
                    <a:pt x="379" y="107"/>
                  </a:cubicBezTo>
                  <a:cubicBezTo>
                    <a:pt x="379" y="109"/>
                    <a:pt x="377" y="109"/>
                    <a:pt x="376" y="110"/>
                  </a:cubicBezTo>
                  <a:cubicBezTo>
                    <a:pt x="374" y="111"/>
                    <a:pt x="371" y="110"/>
                    <a:pt x="369" y="111"/>
                  </a:cubicBezTo>
                  <a:cubicBezTo>
                    <a:pt x="369" y="111"/>
                    <a:pt x="369" y="111"/>
                    <a:pt x="369" y="111"/>
                  </a:cubicBezTo>
                  <a:cubicBezTo>
                    <a:pt x="370" y="113"/>
                    <a:pt x="372" y="112"/>
                    <a:pt x="372" y="113"/>
                  </a:cubicBezTo>
                  <a:cubicBezTo>
                    <a:pt x="373" y="115"/>
                    <a:pt x="372" y="117"/>
                    <a:pt x="371" y="118"/>
                  </a:cubicBezTo>
                  <a:cubicBezTo>
                    <a:pt x="370" y="120"/>
                    <a:pt x="370" y="121"/>
                    <a:pt x="369" y="122"/>
                  </a:cubicBezTo>
                  <a:cubicBezTo>
                    <a:pt x="366" y="122"/>
                    <a:pt x="363" y="121"/>
                    <a:pt x="361" y="122"/>
                  </a:cubicBezTo>
                  <a:cubicBezTo>
                    <a:pt x="360" y="122"/>
                    <a:pt x="361" y="123"/>
                    <a:pt x="361" y="123"/>
                  </a:cubicBezTo>
                  <a:cubicBezTo>
                    <a:pt x="362" y="124"/>
                    <a:pt x="361" y="125"/>
                    <a:pt x="360" y="126"/>
                  </a:cubicBezTo>
                  <a:cubicBezTo>
                    <a:pt x="359" y="126"/>
                    <a:pt x="357" y="126"/>
                    <a:pt x="356" y="127"/>
                  </a:cubicBezTo>
                  <a:cubicBezTo>
                    <a:pt x="355" y="128"/>
                    <a:pt x="354" y="128"/>
                    <a:pt x="353" y="129"/>
                  </a:cubicBezTo>
                  <a:cubicBezTo>
                    <a:pt x="353" y="130"/>
                    <a:pt x="353" y="131"/>
                    <a:pt x="352" y="132"/>
                  </a:cubicBezTo>
                  <a:cubicBezTo>
                    <a:pt x="352" y="132"/>
                    <a:pt x="351" y="132"/>
                    <a:pt x="350" y="132"/>
                  </a:cubicBezTo>
                  <a:cubicBezTo>
                    <a:pt x="350" y="133"/>
                    <a:pt x="350" y="133"/>
                    <a:pt x="350" y="133"/>
                  </a:cubicBezTo>
                  <a:cubicBezTo>
                    <a:pt x="350" y="134"/>
                    <a:pt x="349" y="135"/>
                    <a:pt x="349" y="135"/>
                  </a:cubicBezTo>
                  <a:cubicBezTo>
                    <a:pt x="347" y="137"/>
                    <a:pt x="344" y="138"/>
                    <a:pt x="343" y="141"/>
                  </a:cubicBezTo>
                  <a:cubicBezTo>
                    <a:pt x="342" y="143"/>
                    <a:pt x="340" y="145"/>
                    <a:pt x="338" y="147"/>
                  </a:cubicBezTo>
                  <a:cubicBezTo>
                    <a:pt x="337" y="148"/>
                    <a:pt x="338" y="150"/>
                    <a:pt x="337" y="151"/>
                  </a:cubicBezTo>
                  <a:cubicBezTo>
                    <a:pt x="336" y="152"/>
                    <a:pt x="335" y="153"/>
                    <a:pt x="334" y="155"/>
                  </a:cubicBezTo>
                  <a:cubicBezTo>
                    <a:pt x="334" y="159"/>
                    <a:pt x="333" y="163"/>
                    <a:pt x="331" y="167"/>
                  </a:cubicBezTo>
                  <a:cubicBezTo>
                    <a:pt x="331" y="167"/>
                    <a:pt x="331" y="168"/>
                    <a:pt x="331" y="169"/>
                  </a:cubicBezTo>
                  <a:cubicBezTo>
                    <a:pt x="332" y="170"/>
                    <a:pt x="333" y="170"/>
                    <a:pt x="334" y="170"/>
                  </a:cubicBezTo>
                  <a:cubicBezTo>
                    <a:pt x="335" y="171"/>
                    <a:pt x="337" y="170"/>
                    <a:pt x="338" y="170"/>
                  </a:cubicBezTo>
                  <a:cubicBezTo>
                    <a:pt x="339" y="169"/>
                    <a:pt x="340" y="169"/>
                    <a:pt x="341" y="169"/>
                  </a:cubicBezTo>
                  <a:cubicBezTo>
                    <a:pt x="342" y="170"/>
                    <a:pt x="342" y="170"/>
                    <a:pt x="342" y="171"/>
                  </a:cubicBezTo>
                  <a:cubicBezTo>
                    <a:pt x="344" y="175"/>
                    <a:pt x="344" y="179"/>
                    <a:pt x="344" y="183"/>
                  </a:cubicBezTo>
                  <a:cubicBezTo>
                    <a:pt x="344" y="184"/>
                    <a:pt x="345" y="184"/>
                    <a:pt x="345" y="184"/>
                  </a:cubicBezTo>
                  <a:cubicBezTo>
                    <a:pt x="345" y="186"/>
                    <a:pt x="344" y="188"/>
                    <a:pt x="344" y="190"/>
                  </a:cubicBezTo>
                  <a:cubicBezTo>
                    <a:pt x="346" y="190"/>
                    <a:pt x="349" y="190"/>
                    <a:pt x="351" y="190"/>
                  </a:cubicBezTo>
                  <a:cubicBezTo>
                    <a:pt x="352" y="190"/>
                    <a:pt x="353" y="189"/>
                    <a:pt x="354" y="188"/>
                  </a:cubicBezTo>
                  <a:cubicBezTo>
                    <a:pt x="355" y="188"/>
                    <a:pt x="355" y="188"/>
                    <a:pt x="355" y="188"/>
                  </a:cubicBezTo>
                  <a:cubicBezTo>
                    <a:pt x="357" y="187"/>
                    <a:pt x="358" y="187"/>
                    <a:pt x="360" y="188"/>
                  </a:cubicBezTo>
                  <a:cubicBezTo>
                    <a:pt x="361" y="189"/>
                    <a:pt x="363" y="190"/>
                    <a:pt x="364" y="191"/>
                  </a:cubicBezTo>
                  <a:cubicBezTo>
                    <a:pt x="365" y="192"/>
                    <a:pt x="367" y="192"/>
                    <a:pt x="368" y="193"/>
                  </a:cubicBezTo>
                  <a:cubicBezTo>
                    <a:pt x="368" y="193"/>
                    <a:pt x="368" y="194"/>
                    <a:pt x="369" y="194"/>
                  </a:cubicBezTo>
                  <a:cubicBezTo>
                    <a:pt x="371" y="196"/>
                    <a:pt x="373" y="199"/>
                    <a:pt x="376" y="202"/>
                  </a:cubicBezTo>
                  <a:cubicBezTo>
                    <a:pt x="378" y="203"/>
                    <a:pt x="381" y="205"/>
                    <a:pt x="384" y="205"/>
                  </a:cubicBezTo>
                  <a:cubicBezTo>
                    <a:pt x="386" y="205"/>
                    <a:pt x="388" y="207"/>
                    <a:pt x="390" y="208"/>
                  </a:cubicBezTo>
                  <a:cubicBezTo>
                    <a:pt x="391" y="209"/>
                    <a:pt x="392" y="211"/>
                    <a:pt x="394" y="212"/>
                  </a:cubicBezTo>
                  <a:cubicBezTo>
                    <a:pt x="401" y="213"/>
                    <a:pt x="408" y="210"/>
                    <a:pt x="415" y="214"/>
                  </a:cubicBezTo>
                  <a:cubicBezTo>
                    <a:pt x="415" y="216"/>
                    <a:pt x="414" y="218"/>
                    <a:pt x="413" y="220"/>
                  </a:cubicBezTo>
                  <a:cubicBezTo>
                    <a:pt x="413" y="224"/>
                    <a:pt x="413" y="229"/>
                    <a:pt x="412" y="234"/>
                  </a:cubicBezTo>
                  <a:cubicBezTo>
                    <a:pt x="412" y="236"/>
                    <a:pt x="411" y="239"/>
                    <a:pt x="413" y="241"/>
                  </a:cubicBezTo>
                  <a:cubicBezTo>
                    <a:pt x="414" y="242"/>
                    <a:pt x="415" y="244"/>
                    <a:pt x="415" y="246"/>
                  </a:cubicBezTo>
                  <a:cubicBezTo>
                    <a:pt x="416" y="247"/>
                    <a:pt x="417" y="248"/>
                    <a:pt x="418" y="248"/>
                  </a:cubicBezTo>
                  <a:cubicBezTo>
                    <a:pt x="419" y="249"/>
                    <a:pt x="421" y="250"/>
                    <a:pt x="421" y="251"/>
                  </a:cubicBezTo>
                  <a:cubicBezTo>
                    <a:pt x="422" y="253"/>
                    <a:pt x="420" y="255"/>
                    <a:pt x="422" y="257"/>
                  </a:cubicBezTo>
                  <a:cubicBezTo>
                    <a:pt x="422" y="258"/>
                    <a:pt x="424" y="258"/>
                    <a:pt x="425" y="259"/>
                  </a:cubicBezTo>
                  <a:cubicBezTo>
                    <a:pt x="426" y="260"/>
                    <a:pt x="427" y="259"/>
                    <a:pt x="427" y="258"/>
                  </a:cubicBezTo>
                  <a:cubicBezTo>
                    <a:pt x="428" y="256"/>
                    <a:pt x="428" y="255"/>
                    <a:pt x="429" y="253"/>
                  </a:cubicBezTo>
                  <a:cubicBezTo>
                    <a:pt x="431" y="253"/>
                    <a:pt x="432" y="256"/>
                    <a:pt x="433" y="257"/>
                  </a:cubicBezTo>
                  <a:cubicBezTo>
                    <a:pt x="433" y="258"/>
                    <a:pt x="433" y="258"/>
                    <a:pt x="434" y="258"/>
                  </a:cubicBezTo>
                  <a:cubicBezTo>
                    <a:pt x="434" y="256"/>
                    <a:pt x="433" y="253"/>
                    <a:pt x="434" y="252"/>
                  </a:cubicBezTo>
                  <a:cubicBezTo>
                    <a:pt x="434" y="250"/>
                    <a:pt x="436" y="249"/>
                    <a:pt x="436" y="247"/>
                  </a:cubicBezTo>
                  <a:cubicBezTo>
                    <a:pt x="437" y="243"/>
                    <a:pt x="436" y="239"/>
                    <a:pt x="436" y="235"/>
                  </a:cubicBezTo>
                  <a:cubicBezTo>
                    <a:pt x="437" y="233"/>
                    <a:pt x="436" y="231"/>
                    <a:pt x="435" y="230"/>
                  </a:cubicBezTo>
                  <a:cubicBezTo>
                    <a:pt x="434" y="229"/>
                    <a:pt x="435" y="228"/>
                    <a:pt x="436" y="227"/>
                  </a:cubicBezTo>
                  <a:cubicBezTo>
                    <a:pt x="436" y="226"/>
                    <a:pt x="436" y="225"/>
                    <a:pt x="436" y="225"/>
                  </a:cubicBezTo>
                  <a:cubicBezTo>
                    <a:pt x="435" y="224"/>
                    <a:pt x="434" y="223"/>
                    <a:pt x="434" y="222"/>
                  </a:cubicBezTo>
                  <a:cubicBezTo>
                    <a:pt x="433" y="221"/>
                    <a:pt x="433" y="219"/>
                    <a:pt x="434" y="217"/>
                  </a:cubicBezTo>
                  <a:cubicBezTo>
                    <a:pt x="434" y="217"/>
                    <a:pt x="434" y="217"/>
                    <a:pt x="434" y="217"/>
                  </a:cubicBezTo>
                  <a:cubicBezTo>
                    <a:pt x="437" y="216"/>
                    <a:pt x="439" y="216"/>
                    <a:pt x="442" y="215"/>
                  </a:cubicBezTo>
                  <a:cubicBezTo>
                    <a:pt x="443" y="214"/>
                    <a:pt x="444" y="215"/>
                    <a:pt x="445" y="215"/>
                  </a:cubicBezTo>
                  <a:cubicBezTo>
                    <a:pt x="450" y="212"/>
                    <a:pt x="453" y="207"/>
                    <a:pt x="456" y="202"/>
                  </a:cubicBezTo>
                  <a:cubicBezTo>
                    <a:pt x="457" y="201"/>
                    <a:pt x="458" y="200"/>
                    <a:pt x="459" y="199"/>
                  </a:cubicBezTo>
                  <a:cubicBezTo>
                    <a:pt x="460" y="196"/>
                    <a:pt x="456" y="189"/>
                    <a:pt x="459" y="189"/>
                  </a:cubicBezTo>
                  <a:cubicBezTo>
                    <a:pt x="459" y="189"/>
                    <a:pt x="459" y="187"/>
                    <a:pt x="459" y="187"/>
                  </a:cubicBezTo>
                  <a:cubicBezTo>
                    <a:pt x="458" y="186"/>
                    <a:pt x="459" y="184"/>
                    <a:pt x="458" y="183"/>
                  </a:cubicBezTo>
                  <a:cubicBezTo>
                    <a:pt x="458" y="181"/>
                    <a:pt x="457" y="180"/>
                    <a:pt x="456" y="178"/>
                  </a:cubicBezTo>
                  <a:cubicBezTo>
                    <a:pt x="455" y="176"/>
                    <a:pt x="452" y="175"/>
                    <a:pt x="450" y="173"/>
                  </a:cubicBezTo>
                  <a:cubicBezTo>
                    <a:pt x="450" y="173"/>
                    <a:pt x="450" y="171"/>
                    <a:pt x="451" y="170"/>
                  </a:cubicBezTo>
                  <a:cubicBezTo>
                    <a:pt x="452" y="168"/>
                    <a:pt x="454" y="166"/>
                    <a:pt x="456" y="164"/>
                  </a:cubicBezTo>
                  <a:cubicBezTo>
                    <a:pt x="457" y="162"/>
                    <a:pt x="458" y="160"/>
                    <a:pt x="459" y="158"/>
                  </a:cubicBezTo>
                  <a:cubicBezTo>
                    <a:pt x="460" y="156"/>
                    <a:pt x="459" y="155"/>
                    <a:pt x="459" y="153"/>
                  </a:cubicBezTo>
                  <a:cubicBezTo>
                    <a:pt x="458" y="151"/>
                    <a:pt x="459" y="149"/>
                    <a:pt x="458" y="147"/>
                  </a:cubicBezTo>
                  <a:cubicBezTo>
                    <a:pt x="458" y="147"/>
                    <a:pt x="458" y="146"/>
                    <a:pt x="457" y="146"/>
                  </a:cubicBezTo>
                  <a:cubicBezTo>
                    <a:pt x="457" y="145"/>
                    <a:pt x="457" y="145"/>
                    <a:pt x="457" y="144"/>
                  </a:cubicBezTo>
                  <a:cubicBezTo>
                    <a:pt x="458" y="143"/>
                    <a:pt x="459" y="141"/>
                    <a:pt x="459" y="140"/>
                  </a:cubicBezTo>
                  <a:cubicBezTo>
                    <a:pt x="460" y="139"/>
                    <a:pt x="461" y="139"/>
                    <a:pt x="462" y="138"/>
                  </a:cubicBezTo>
                  <a:cubicBezTo>
                    <a:pt x="462" y="137"/>
                    <a:pt x="462" y="137"/>
                    <a:pt x="462" y="136"/>
                  </a:cubicBezTo>
                  <a:cubicBezTo>
                    <a:pt x="461" y="135"/>
                    <a:pt x="459" y="134"/>
                    <a:pt x="459" y="133"/>
                  </a:cubicBezTo>
                  <a:cubicBezTo>
                    <a:pt x="459" y="132"/>
                    <a:pt x="459" y="131"/>
                    <a:pt x="459" y="130"/>
                  </a:cubicBezTo>
                  <a:cubicBezTo>
                    <a:pt x="461" y="127"/>
                    <a:pt x="463" y="125"/>
                    <a:pt x="465" y="123"/>
                  </a:cubicBezTo>
                  <a:cubicBezTo>
                    <a:pt x="468" y="123"/>
                    <a:pt x="470" y="123"/>
                    <a:pt x="473" y="125"/>
                  </a:cubicBezTo>
                  <a:cubicBezTo>
                    <a:pt x="473" y="125"/>
                    <a:pt x="474" y="125"/>
                    <a:pt x="474" y="125"/>
                  </a:cubicBezTo>
                  <a:cubicBezTo>
                    <a:pt x="476" y="125"/>
                    <a:pt x="477" y="126"/>
                    <a:pt x="479" y="127"/>
                  </a:cubicBezTo>
                  <a:cubicBezTo>
                    <a:pt x="480" y="127"/>
                    <a:pt x="481" y="128"/>
                    <a:pt x="482" y="128"/>
                  </a:cubicBezTo>
                  <a:cubicBezTo>
                    <a:pt x="485" y="129"/>
                    <a:pt x="489" y="129"/>
                    <a:pt x="491" y="126"/>
                  </a:cubicBezTo>
                  <a:cubicBezTo>
                    <a:pt x="492" y="126"/>
                    <a:pt x="493" y="126"/>
                    <a:pt x="494" y="126"/>
                  </a:cubicBezTo>
                  <a:cubicBezTo>
                    <a:pt x="496" y="128"/>
                    <a:pt x="498" y="129"/>
                    <a:pt x="499" y="131"/>
                  </a:cubicBezTo>
                  <a:cubicBezTo>
                    <a:pt x="500" y="133"/>
                    <a:pt x="500" y="134"/>
                    <a:pt x="502" y="135"/>
                  </a:cubicBezTo>
                  <a:cubicBezTo>
                    <a:pt x="503" y="136"/>
                    <a:pt x="504" y="136"/>
                    <a:pt x="505" y="137"/>
                  </a:cubicBezTo>
                  <a:cubicBezTo>
                    <a:pt x="505" y="137"/>
                    <a:pt x="505" y="137"/>
                    <a:pt x="505" y="138"/>
                  </a:cubicBezTo>
                  <a:cubicBezTo>
                    <a:pt x="505" y="138"/>
                    <a:pt x="504" y="138"/>
                    <a:pt x="503" y="138"/>
                  </a:cubicBezTo>
                  <a:cubicBezTo>
                    <a:pt x="503" y="139"/>
                    <a:pt x="503" y="140"/>
                    <a:pt x="504" y="141"/>
                  </a:cubicBezTo>
                  <a:cubicBezTo>
                    <a:pt x="505" y="141"/>
                    <a:pt x="506" y="142"/>
                    <a:pt x="507" y="142"/>
                  </a:cubicBezTo>
                  <a:cubicBezTo>
                    <a:pt x="508" y="143"/>
                    <a:pt x="510" y="143"/>
                    <a:pt x="511" y="142"/>
                  </a:cubicBezTo>
                  <a:cubicBezTo>
                    <a:pt x="512" y="141"/>
                    <a:pt x="513" y="141"/>
                    <a:pt x="514" y="142"/>
                  </a:cubicBezTo>
                  <a:cubicBezTo>
                    <a:pt x="515" y="143"/>
                    <a:pt x="515" y="145"/>
                    <a:pt x="516" y="146"/>
                  </a:cubicBezTo>
                  <a:cubicBezTo>
                    <a:pt x="516" y="146"/>
                    <a:pt x="516" y="146"/>
                    <a:pt x="517" y="146"/>
                  </a:cubicBezTo>
                  <a:cubicBezTo>
                    <a:pt x="518" y="145"/>
                    <a:pt x="519" y="142"/>
                    <a:pt x="520" y="143"/>
                  </a:cubicBezTo>
                  <a:cubicBezTo>
                    <a:pt x="521" y="143"/>
                    <a:pt x="521" y="144"/>
                    <a:pt x="520" y="145"/>
                  </a:cubicBezTo>
                  <a:cubicBezTo>
                    <a:pt x="520" y="146"/>
                    <a:pt x="519" y="147"/>
                    <a:pt x="518" y="147"/>
                  </a:cubicBezTo>
                  <a:cubicBezTo>
                    <a:pt x="519" y="147"/>
                    <a:pt x="519" y="147"/>
                    <a:pt x="519" y="147"/>
                  </a:cubicBezTo>
                  <a:cubicBezTo>
                    <a:pt x="518" y="148"/>
                    <a:pt x="517" y="148"/>
                    <a:pt x="517" y="149"/>
                  </a:cubicBezTo>
                  <a:cubicBezTo>
                    <a:pt x="516" y="150"/>
                    <a:pt x="517" y="152"/>
                    <a:pt x="516" y="153"/>
                  </a:cubicBezTo>
                  <a:cubicBezTo>
                    <a:pt x="516" y="153"/>
                    <a:pt x="516" y="154"/>
                    <a:pt x="516" y="154"/>
                  </a:cubicBezTo>
                  <a:cubicBezTo>
                    <a:pt x="516" y="156"/>
                    <a:pt x="516" y="157"/>
                    <a:pt x="515" y="158"/>
                  </a:cubicBezTo>
                  <a:cubicBezTo>
                    <a:pt x="515" y="159"/>
                    <a:pt x="514" y="160"/>
                    <a:pt x="515" y="161"/>
                  </a:cubicBezTo>
                  <a:cubicBezTo>
                    <a:pt x="515" y="162"/>
                    <a:pt x="516" y="162"/>
                    <a:pt x="516" y="163"/>
                  </a:cubicBezTo>
                  <a:cubicBezTo>
                    <a:pt x="517" y="164"/>
                    <a:pt x="517" y="166"/>
                    <a:pt x="516" y="167"/>
                  </a:cubicBezTo>
                  <a:cubicBezTo>
                    <a:pt x="516" y="169"/>
                    <a:pt x="514" y="169"/>
                    <a:pt x="513" y="170"/>
                  </a:cubicBezTo>
                  <a:cubicBezTo>
                    <a:pt x="513" y="171"/>
                    <a:pt x="513" y="172"/>
                    <a:pt x="513" y="172"/>
                  </a:cubicBezTo>
                  <a:cubicBezTo>
                    <a:pt x="515" y="173"/>
                    <a:pt x="516" y="171"/>
                    <a:pt x="518" y="170"/>
                  </a:cubicBezTo>
                  <a:cubicBezTo>
                    <a:pt x="519" y="169"/>
                    <a:pt x="521" y="169"/>
                    <a:pt x="522" y="170"/>
                  </a:cubicBezTo>
                  <a:cubicBezTo>
                    <a:pt x="523" y="171"/>
                    <a:pt x="524" y="173"/>
                    <a:pt x="525" y="174"/>
                  </a:cubicBezTo>
                  <a:cubicBezTo>
                    <a:pt x="526" y="175"/>
                    <a:pt x="526" y="176"/>
                    <a:pt x="527" y="177"/>
                  </a:cubicBezTo>
                  <a:cubicBezTo>
                    <a:pt x="527" y="178"/>
                    <a:pt x="528" y="178"/>
                    <a:pt x="528" y="177"/>
                  </a:cubicBezTo>
                  <a:cubicBezTo>
                    <a:pt x="528" y="177"/>
                    <a:pt x="528" y="176"/>
                    <a:pt x="529" y="176"/>
                  </a:cubicBezTo>
                  <a:cubicBezTo>
                    <a:pt x="529" y="175"/>
                    <a:pt x="529" y="175"/>
                    <a:pt x="530" y="175"/>
                  </a:cubicBezTo>
                  <a:cubicBezTo>
                    <a:pt x="532" y="175"/>
                    <a:pt x="533" y="175"/>
                    <a:pt x="535" y="174"/>
                  </a:cubicBezTo>
                  <a:cubicBezTo>
                    <a:pt x="536" y="173"/>
                    <a:pt x="537" y="171"/>
                    <a:pt x="538" y="170"/>
                  </a:cubicBezTo>
                  <a:cubicBezTo>
                    <a:pt x="539" y="170"/>
                    <a:pt x="541" y="170"/>
                    <a:pt x="542" y="169"/>
                  </a:cubicBezTo>
                  <a:cubicBezTo>
                    <a:pt x="543" y="168"/>
                    <a:pt x="544" y="166"/>
                    <a:pt x="545" y="164"/>
                  </a:cubicBezTo>
                  <a:cubicBezTo>
                    <a:pt x="546" y="163"/>
                    <a:pt x="546" y="161"/>
                    <a:pt x="547" y="160"/>
                  </a:cubicBezTo>
                  <a:cubicBezTo>
                    <a:pt x="548" y="158"/>
                    <a:pt x="550" y="157"/>
                    <a:pt x="551" y="155"/>
                  </a:cubicBezTo>
                  <a:cubicBezTo>
                    <a:pt x="552" y="153"/>
                    <a:pt x="552" y="152"/>
                    <a:pt x="553" y="150"/>
                  </a:cubicBezTo>
                  <a:cubicBezTo>
                    <a:pt x="553" y="149"/>
                    <a:pt x="554" y="149"/>
                    <a:pt x="556" y="150"/>
                  </a:cubicBezTo>
                  <a:cubicBezTo>
                    <a:pt x="556" y="152"/>
                    <a:pt x="555" y="154"/>
                    <a:pt x="556" y="156"/>
                  </a:cubicBezTo>
                  <a:cubicBezTo>
                    <a:pt x="557" y="157"/>
                    <a:pt x="557" y="159"/>
                    <a:pt x="558" y="162"/>
                  </a:cubicBezTo>
                  <a:cubicBezTo>
                    <a:pt x="559" y="164"/>
                    <a:pt x="560" y="165"/>
                    <a:pt x="561" y="168"/>
                  </a:cubicBezTo>
                  <a:cubicBezTo>
                    <a:pt x="562" y="169"/>
                    <a:pt x="562" y="170"/>
                    <a:pt x="563" y="172"/>
                  </a:cubicBezTo>
                  <a:cubicBezTo>
                    <a:pt x="563" y="173"/>
                    <a:pt x="564" y="173"/>
                    <a:pt x="565" y="174"/>
                  </a:cubicBezTo>
                  <a:cubicBezTo>
                    <a:pt x="565" y="175"/>
                    <a:pt x="565" y="176"/>
                    <a:pt x="565" y="177"/>
                  </a:cubicBezTo>
                  <a:cubicBezTo>
                    <a:pt x="565" y="178"/>
                    <a:pt x="567" y="180"/>
                    <a:pt x="568" y="181"/>
                  </a:cubicBezTo>
                  <a:cubicBezTo>
                    <a:pt x="568" y="183"/>
                    <a:pt x="568" y="184"/>
                    <a:pt x="568" y="186"/>
                  </a:cubicBezTo>
                  <a:cubicBezTo>
                    <a:pt x="568" y="187"/>
                    <a:pt x="569" y="188"/>
                    <a:pt x="569" y="188"/>
                  </a:cubicBezTo>
                  <a:cubicBezTo>
                    <a:pt x="570" y="188"/>
                    <a:pt x="571" y="188"/>
                    <a:pt x="571" y="189"/>
                  </a:cubicBezTo>
                  <a:cubicBezTo>
                    <a:pt x="572" y="189"/>
                    <a:pt x="571" y="190"/>
                    <a:pt x="571" y="191"/>
                  </a:cubicBezTo>
                  <a:cubicBezTo>
                    <a:pt x="571" y="193"/>
                    <a:pt x="570" y="193"/>
                    <a:pt x="569" y="194"/>
                  </a:cubicBezTo>
                  <a:cubicBezTo>
                    <a:pt x="568" y="195"/>
                    <a:pt x="568" y="196"/>
                    <a:pt x="567" y="196"/>
                  </a:cubicBezTo>
                  <a:cubicBezTo>
                    <a:pt x="567" y="197"/>
                    <a:pt x="567" y="198"/>
                    <a:pt x="567" y="199"/>
                  </a:cubicBezTo>
                  <a:cubicBezTo>
                    <a:pt x="568" y="199"/>
                    <a:pt x="568" y="199"/>
                    <a:pt x="569" y="200"/>
                  </a:cubicBezTo>
                  <a:cubicBezTo>
                    <a:pt x="571" y="202"/>
                    <a:pt x="573" y="204"/>
                    <a:pt x="575" y="207"/>
                  </a:cubicBezTo>
                  <a:cubicBezTo>
                    <a:pt x="576" y="207"/>
                    <a:pt x="575" y="209"/>
                    <a:pt x="575" y="209"/>
                  </a:cubicBezTo>
                  <a:cubicBezTo>
                    <a:pt x="576" y="210"/>
                    <a:pt x="576" y="211"/>
                    <a:pt x="577" y="212"/>
                  </a:cubicBezTo>
                  <a:cubicBezTo>
                    <a:pt x="578" y="212"/>
                    <a:pt x="579" y="212"/>
                    <a:pt x="580" y="212"/>
                  </a:cubicBezTo>
                  <a:cubicBezTo>
                    <a:pt x="581" y="213"/>
                    <a:pt x="581" y="214"/>
                    <a:pt x="581" y="214"/>
                  </a:cubicBezTo>
                  <a:cubicBezTo>
                    <a:pt x="582" y="215"/>
                    <a:pt x="583" y="214"/>
                    <a:pt x="584" y="214"/>
                  </a:cubicBezTo>
                  <a:cubicBezTo>
                    <a:pt x="585" y="213"/>
                    <a:pt x="586" y="213"/>
                    <a:pt x="587" y="214"/>
                  </a:cubicBezTo>
                  <a:cubicBezTo>
                    <a:pt x="587" y="215"/>
                    <a:pt x="587" y="217"/>
                    <a:pt x="587" y="217"/>
                  </a:cubicBezTo>
                  <a:cubicBezTo>
                    <a:pt x="588" y="218"/>
                    <a:pt x="588" y="218"/>
                    <a:pt x="589" y="217"/>
                  </a:cubicBezTo>
                  <a:cubicBezTo>
                    <a:pt x="590" y="217"/>
                    <a:pt x="591" y="216"/>
                    <a:pt x="593" y="217"/>
                  </a:cubicBezTo>
                  <a:cubicBezTo>
                    <a:pt x="594" y="217"/>
                    <a:pt x="594" y="218"/>
                    <a:pt x="594" y="218"/>
                  </a:cubicBezTo>
                  <a:cubicBezTo>
                    <a:pt x="595" y="219"/>
                    <a:pt x="596" y="219"/>
                    <a:pt x="597" y="219"/>
                  </a:cubicBezTo>
                  <a:cubicBezTo>
                    <a:pt x="597" y="220"/>
                    <a:pt x="597" y="221"/>
                    <a:pt x="597" y="221"/>
                  </a:cubicBezTo>
                  <a:cubicBezTo>
                    <a:pt x="595" y="222"/>
                    <a:pt x="594" y="222"/>
                    <a:pt x="593" y="222"/>
                  </a:cubicBezTo>
                  <a:cubicBezTo>
                    <a:pt x="591" y="223"/>
                    <a:pt x="589" y="224"/>
                    <a:pt x="587" y="225"/>
                  </a:cubicBezTo>
                  <a:cubicBezTo>
                    <a:pt x="587" y="225"/>
                    <a:pt x="586" y="226"/>
                    <a:pt x="585" y="226"/>
                  </a:cubicBezTo>
                  <a:cubicBezTo>
                    <a:pt x="583" y="228"/>
                    <a:pt x="580" y="228"/>
                    <a:pt x="577" y="229"/>
                  </a:cubicBezTo>
                  <a:cubicBezTo>
                    <a:pt x="576" y="230"/>
                    <a:pt x="575" y="231"/>
                    <a:pt x="576" y="231"/>
                  </a:cubicBezTo>
                  <a:cubicBezTo>
                    <a:pt x="577" y="232"/>
                    <a:pt x="577" y="231"/>
                    <a:pt x="578" y="230"/>
                  </a:cubicBezTo>
                  <a:cubicBezTo>
                    <a:pt x="580" y="230"/>
                    <a:pt x="582" y="229"/>
                    <a:pt x="584" y="228"/>
                  </a:cubicBezTo>
                  <a:cubicBezTo>
                    <a:pt x="586" y="227"/>
                    <a:pt x="588" y="226"/>
                    <a:pt x="591" y="225"/>
                  </a:cubicBezTo>
                  <a:cubicBezTo>
                    <a:pt x="591" y="225"/>
                    <a:pt x="591" y="225"/>
                    <a:pt x="592" y="225"/>
                  </a:cubicBezTo>
                  <a:cubicBezTo>
                    <a:pt x="593" y="225"/>
                    <a:pt x="594" y="225"/>
                    <a:pt x="595" y="225"/>
                  </a:cubicBezTo>
                  <a:cubicBezTo>
                    <a:pt x="596" y="225"/>
                    <a:pt x="597" y="226"/>
                    <a:pt x="597" y="227"/>
                  </a:cubicBezTo>
                  <a:cubicBezTo>
                    <a:pt x="597" y="228"/>
                    <a:pt x="597" y="230"/>
                    <a:pt x="597" y="231"/>
                  </a:cubicBezTo>
                  <a:cubicBezTo>
                    <a:pt x="598" y="231"/>
                    <a:pt x="598" y="231"/>
                    <a:pt x="598" y="231"/>
                  </a:cubicBezTo>
                  <a:cubicBezTo>
                    <a:pt x="599" y="230"/>
                    <a:pt x="600" y="230"/>
                    <a:pt x="600" y="229"/>
                  </a:cubicBezTo>
                  <a:cubicBezTo>
                    <a:pt x="601" y="229"/>
                    <a:pt x="602" y="229"/>
                    <a:pt x="602" y="230"/>
                  </a:cubicBezTo>
                  <a:cubicBezTo>
                    <a:pt x="603" y="230"/>
                    <a:pt x="605" y="231"/>
                    <a:pt x="605" y="232"/>
                  </a:cubicBezTo>
                  <a:cubicBezTo>
                    <a:pt x="605" y="233"/>
                    <a:pt x="606" y="233"/>
                    <a:pt x="606" y="234"/>
                  </a:cubicBezTo>
                  <a:cubicBezTo>
                    <a:pt x="606" y="234"/>
                    <a:pt x="606" y="234"/>
                    <a:pt x="606" y="235"/>
                  </a:cubicBezTo>
                  <a:cubicBezTo>
                    <a:pt x="607" y="236"/>
                    <a:pt x="607" y="237"/>
                    <a:pt x="606" y="238"/>
                  </a:cubicBezTo>
                  <a:cubicBezTo>
                    <a:pt x="605" y="239"/>
                    <a:pt x="603" y="240"/>
                    <a:pt x="604" y="242"/>
                  </a:cubicBezTo>
                  <a:cubicBezTo>
                    <a:pt x="605" y="243"/>
                    <a:pt x="606" y="244"/>
                    <a:pt x="606" y="245"/>
                  </a:cubicBezTo>
                  <a:cubicBezTo>
                    <a:pt x="607" y="248"/>
                    <a:pt x="605" y="249"/>
                    <a:pt x="603" y="251"/>
                  </a:cubicBezTo>
                  <a:cubicBezTo>
                    <a:pt x="602" y="252"/>
                    <a:pt x="601" y="252"/>
                    <a:pt x="599" y="253"/>
                  </a:cubicBezTo>
                  <a:cubicBezTo>
                    <a:pt x="598" y="254"/>
                    <a:pt x="597" y="255"/>
                    <a:pt x="596" y="256"/>
                  </a:cubicBezTo>
                  <a:cubicBezTo>
                    <a:pt x="595" y="256"/>
                    <a:pt x="593" y="256"/>
                    <a:pt x="592" y="256"/>
                  </a:cubicBezTo>
                  <a:cubicBezTo>
                    <a:pt x="589" y="256"/>
                    <a:pt x="587" y="257"/>
                    <a:pt x="584" y="258"/>
                  </a:cubicBezTo>
                  <a:cubicBezTo>
                    <a:pt x="583" y="258"/>
                    <a:pt x="583" y="259"/>
                    <a:pt x="583" y="259"/>
                  </a:cubicBezTo>
                  <a:cubicBezTo>
                    <a:pt x="582" y="260"/>
                    <a:pt x="581" y="262"/>
                    <a:pt x="581" y="263"/>
                  </a:cubicBezTo>
                  <a:cubicBezTo>
                    <a:pt x="580" y="264"/>
                    <a:pt x="579" y="263"/>
                    <a:pt x="579" y="264"/>
                  </a:cubicBezTo>
                  <a:cubicBezTo>
                    <a:pt x="578" y="264"/>
                    <a:pt x="578" y="265"/>
                    <a:pt x="577" y="266"/>
                  </a:cubicBezTo>
                  <a:cubicBezTo>
                    <a:pt x="576" y="266"/>
                    <a:pt x="575" y="267"/>
                    <a:pt x="575" y="267"/>
                  </a:cubicBezTo>
                  <a:cubicBezTo>
                    <a:pt x="574" y="268"/>
                    <a:pt x="573" y="269"/>
                    <a:pt x="573" y="269"/>
                  </a:cubicBezTo>
                  <a:cubicBezTo>
                    <a:pt x="568" y="270"/>
                    <a:pt x="563" y="270"/>
                    <a:pt x="558" y="270"/>
                  </a:cubicBezTo>
                  <a:cubicBezTo>
                    <a:pt x="555" y="268"/>
                    <a:pt x="551" y="266"/>
                    <a:pt x="547" y="269"/>
                  </a:cubicBezTo>
                  <a:cubicBezTo>
                    <a:pt x="545" y="269"/>
                    <a:pt x="542" y="268"/>
                    <a:pt x="540" y="268"/>
                  </a:cubicBezTo>
                  <a:cubicBezTo>
                    <a:pt x="539" y="267"/>
                    <a:pt x="537" y="267"/>
                    <a:pt x="535" y="268"/>
                  </a:cubicBezTo>
                  <a:cubicBezTo>
                    <a:pt x="534" y="268"/>
                    <a:pt x="533" y="268"/>
                    <a:pt x="532" y="268"/>
                  </a:cubicBezTo>
                  <a:cubicBezTo>
                    <a:pt x="530" y="269"/>
                    <a:pt x="527" y="269"/>
                    <a:pt x="525" y="269"/>
                  </a:cubicBezTo>
                  <a:cubicBezTo>
                    <a:pt x="524" y="269"/>
                    <a:pt x="523" y="270"/>
                    <a:pt x="522" y="270"/>
                  </a:cubicBezTo>
                  <a:cubicBezTo>
                    <a:pt x="521" y="270"/>
                    <a:pt x="520" y="271"/>
                    <a:pt x="520" y="272"/>
                  </a:cubicBezTo>
                  <a:cubicBezTo>
                    <a:pt x="519" y="273"/>
                    <a:pt x="519" y="275"/>
                    <a:pt x="518" y="276"/>
                  </a:cubicBezTo>
                  <a:cubicBezTo>
                    <a:pt x="517" y="277"/>
                    <a:pt x="516" y="278"/>
                    <a:pt x="514" y="278"/>
                  </a:cubicBezTo>
                  <a:cubicBezTo>
                    <a:pt x="513" y="279"/>
                    <a:pt x="511" y="279"/>
                    <a:pt x="509" y="279"/>
                  </a:cubicBezTo>
                  <a:cubicBezTo>
                    <a:pt x="509" y="279"/>
                    <a:pt x="508" y="280"/>
                    <a:pt x="508" y="280"/>
                  </a:cubicBezTo>
                  <a:cubicBezTo>
                    <a:pt x="505" y="283"/>
                    <a:pt x="503" y="285"/>
                    <a:pt x="500" y="288"/>
                  </a:cubicBezTo>
                  <a:cubicBezTo>
                    <a:pt x="497" y="292"/>
                    <a:pt x="494" y="295"/>
                    <a:pt x="491" y="299"/>
                  </a:cubicBezTo>
                  <a:cubicBezTo>
                    <a:pt x="490" y="301"/>
                    <a:pt x="488" y="301"/>
                    <a:pt x="487" y="303"/>
                  </a:cubicBezTo>
                  <a:cubicBezTo>
                    <a:pt x="487" y="303"/>
                    <a:pt x="487" y="304"/>
                    <a:pt x="487" y="304"/>
                  </a:cubicBezTo>
                  <a:cubicBezTo>
                    <a:pt x="489" y="303"/>
                    <a:pt x="491" y="302"/>
                    <a:pt x="493" y="300"/>
                  </a:cubicBezTo>
                  <a:cubicBezTo>
                    <a:pt x="495" y="298"/>
                    <a:pt x="496" y="296"/>
                    <a:pt x="498" y="294"/>
                  </a:cubicBezTo>
                  <a:cubicBezTo>
                    <a:pt x="501" y="292"/>
                    <a:pt x="504" y="289"/>
                    <a:pt x="507" y="288"/>
                  </a:cubicBezTo>
                  <a:cubicBezTo>
                    <a:pt x="507" y="287"/>
                    <a:pt x="508" y="287"/>
                    <a:pt x="508" y="287"/>
                  </a:cubicBezTo>
                  <a:cubicBezTo>
                    <a:pt x="513" y="284"/>
                    <a:pt x="517" y="281"/>
                    <a:pt x="522" y="279"/>
                  </a:cubicBezTo>
                  <a:cubicBezTo>
                    <a:pt x="525" y="278"/>
                    <a:pt x="528" y="279"/>
                    <a:pt x="531" y="279"/>
                  </a:cubicBezTo>
                  <a:cubicBezTo>
                    <a:pt x="533" y="279"/>
                    <a:pt x="534" y="280"/>
                    <a:pt x="535" y="281"/>
                  </a:cubicBezTo>
                  <a:cubicBezTo>
                    <a:pt x="536" y="281"/>
                    <a:pt x="537" y="281"/>
                    <a:pt x="539" y="281"/>
                  </a:cubicBezTo>
                  <a:cubicBezTo>
                    <a:pt x="539" y="281"/>
                    <a:pt x="539" y="282"/>
                    <a:pt x="539" y="282"/>
                  </a:cubicBezTo>
                  <a:cubicBezTo>
                    <a:pt x="538" y="282"/>
                    <a:pt x="538" y="282"/>
                    <a:pt x="538" y="282"/>
                  </a:cubicBezTo>
                  <a:cubicBezTo>
                    <a:pt x="538" y="283"/>
                    <a:pt x="539" y="284"/>
                    <a:pt x="539" y="284"/>
                  </a:cubicBezTo>
                  <a:cubicBezTo>
                    <a:pt x="540" y="286"/>
                    <a:pt x="538" y="287"/>
                    <a:pt x="538" y="288"/>
                  </a:cubicBezTo>
                  <a:cubicBezTo>
                    <a:pt x="538" y="287"/>
                    <a:pt x="538" y="287"/>
                    <a:pt x="538" y="287"/>
                  </a:cubicBezTo>
                  <a:cubicBezTo>
                    <a:pt x="536" y="289"/>
                    <a:pt x="535" y="291"/>
                    <a:pt x="532" y="291"/>
                  </a:cubicBezTo>
                  <a:cubicBezTo>
                    <a:pt x="531" y="291"/>
                    <a:pt x="530" y="291"/>
                    <a:pt x="529" y="291"/>
                  </a:cubicBezTo>
                  <a:cubicBezTo>
                    <a:pt x="529" y="291"/>
                    <a:pt x="528" y="291"/>
                    <a:pt x="528" y="290"/>
                  </a:cubicBezTo>
                  <a:cubicBezTo>
                    <a:pt x="527" y="290"/>
                    <a:pt x="525" y="290"/>
                    <a:pt x="524" y="290"/>
                  </a:cubicBezTo>
                  <a:cubicBezTo>
                    <a:pt x="523" y="291"/>
                    <a:pt x="522" y="291"/>
                    <a:pt x="520" y="291"/>
                  </a:cubicBezTo>
                  <a:cubicBezTo>
                    <a:pt x="520" y="291"/>
                    <a:pt x="520" y="292"/>
                    <a:pt x="521" y="292"/>
                  </a:cubicBezTo>
                  <a:cubicBezTo>
                    <a:pt x="523" y="293"/>
                    <a:pt x="525" y="294"/>
                    <a:pt x="527" y="296"/>
                  </a:cubicBezTo>
                  <a:cubicBezTo>
                    <a:pt x="527" y="296"/>
                    <a:pt x="528" y="296"/>
                    <a:pt x="528" y="296"/>
                  </a:cubicBezTo>
                  <a:cubicBezTo>
                    <a:pt x="530" y="295"/>
                    <a:pt x="532" y="294"/>
                    <a:pt x="532" y="295"/>
                  </a:cubicBezTo>
                  <a:cubicBezTo>
                    <a:pt x="533" y="297"/>
                    <a:pt x="532" y="301"/>
                    <a:pt x="530" y="302"/>
                  </a:cubicBezTo>
                  <a:cubicBezTo>
                    <a:pt x="529" y="302"/>
                    <a:pt x="529" y="303"/>
                    <a:pt x="529" y="303"/>
                  </a:cubicBezTo>
                  <a:cubicBezTo>
                    <a:pt x="530" y="304"/>
                    <a:pt x="530" y="304"/>
                    <a:pt x="531" y="304"/>
                  </a:cubicBezTo>
                  <a:cubicBezTo>
                    <a:pt x="531" y="304"/>
                    <a:pt x="531" y="304"/>
                    <a:pt x="531" y="305"/>
                  </a:cubicBezTo>
                  <a:cubicBezTo>
                    <a:pt x="532" y="306"/>
                    <a:pt x="531" y="308"/>
                    <a:pt x="532" y="309"/>
                  </a:cubicBezTo>
                  <a:cubicBezTo>
                    <a:pt x="533" y="311"/>
                    <a:pt x="535" y="313"/>
                    <a:pt x="537" y="313"/>
                  </a:cubicBezTo>
                  <a:cubicBezTo>
                    <a:pt x="538" y="313"/>
                    <a:pt x="538" y="314"/>
                    <a:pt x="539" y="315"/>
                  </a:cubicBezTo>
                  <a:cubicBezTo>
                    <a:pt x="539" y="315"/>
                    <a:pt x="539" y="316"/>
                    <a:pt x="540" y="316"/>
                  </a:cubicBezTo>
                  <a:cubicBezTo>
                    <a:pt x="542" y="316"/>
                    <a:pt x="546" y="315"/>
                    <a:pt x="547" y="318"/>
                  </a:cubicBezTo>
                  <a:cubicBezTo>
                    <a:pt x="549" y="318"/>
                    <a:pt x="551" y="316"/>
                    <a:pt x="553" y="317"/>
                  </a:cubicBezTo>
                  <a:cubicBezTo>
                    <a:pt x="554" y="318"/>
                    <a:pt x="556" y="319"/>
                    <a:pt x="556" y="320"/>
                  </a:cubicBezTo>
                  <a:cubicBezTo>
                    <a:pt x="557" y="320"/>
                    <a:pt x="556" y="321"/>
                    <a:pt x="556" y="322"/>
                  </a:cubicBezTo>
                  <a:cubicBezTo>
                    <a:pt x="556" y="322"/>
                    <a:pt x="556" y="322"/>
                    <a:pt x="556" y="322"/>
                  </a:cubicBezTo>
                  <a:cubicBezTo>
                    <a:pt x="553" y="324"/>
                    <a:pt x="550" y="326"/>
                    <a:pt x="547" y="327"/>
                  </a:cubicBezTo>
                  <a:cubicBezTo>
                    <a:pt x="544" y="328"/>
                    <a:pt x="541" y="329"/>
                    <a:pt x="539" y="330"/>
                  </a:cubicBezTo>
                  <a:cubicBezTo>
                    <a:pt x="538" y="330"/>
                    <a:pt x="537" y="330"/>
                    <a:pt x="536" y="330"/>
                  </a:cubicBezTo>
                  <a:cubicBezTo>
                    <a:pt x="535" y="329"/>
                    <a:pt x="534" y="329"/>
                    <a:pt x="533" y="329"/>
                  </a:cubicBezTo>
                  <a:cubicBezTo>
                    <a:pt x="531" y="331"/>
                    <a:pt x="529" y="333"/>
                    <a:pt x="529" y="336"/>
                  </a:cubicBezTo>
                  <a:cubicBezTo>
                    <a:pt x="529" y="336"/>
                    <a:pt x="529" y="337"/>
                    <a:pt x="528" y="337"/>
                  </a:cubicBezTo>
                  <a:cubicBezTo>
                    <a:pt x="527" y="338"/>
                    <a:pt x="526" y="339"/>
                    <a:pt x="524" y="340"/>
                  </a:cubicBezTo>
                  <a:cubicBezTo>
                    <a:pt x="524" y="340"/>
                    <a:pt x="523" y="340"/>
                    <a:pt x="523" y="340"/>
                  </a:cubicBezTo>
                  <a:cubicBezTo>
                    <a:pt x="521" y="339"/>
                    <a:pt x="520" y="339"/>
                    <a:pt x="518" y="338"/>
                  </a:cubicBezTo>
                  <a:cubicBezTo>
                    <a:pt x="518" y="338"/>
                    <a:pt x="518" y="337"/>
                    <a:pt x="518" y="337"/>
                  </a:cubicBezTo>
                  <a:cubicBezTo>
                    <a:pt x="517" y="335"/>
                    <a:pt x="517" y="334"/>
                    <a:pt x="518" y="332"/>
                  </a:cubicBezTo>
                  <a:cubicBezTo>
                    <a:pt x="518" y="329"/>
                    <a:pt x="522" y="328"/>
                    <a:pt x="524" y="327"/>
                  </a:cubicBezTo>
                  <a:cubicBezTo>
                    <a:pt x="526" y="326"/>
                    <a:pt x="527" y="325"/>
                    <a:pt x="528" y="324"/>
                  </a:cubicBezTo>
                  <a:cubicBezTo>
                    <a:pt x="531" y="323"/>
                    <a:pt x="534" y="324"/>
                    <a:pt x="537" y="322"/>
                  </a:cubicBezTo>
                  <a:cubicBezTo>
                    <a:pt x="537" y="322"/>
                    <a:pt x="537" y="320"/>
                    <a:pt x="536" y="320"/>
                  </a:cubicBezTo>
                  <a:cubicBezTo>
                    <a:pt x="535" y="320"/>
                    <a:pt x="533" y="321"/>
                    <a:pt x="532" y="320"/>
                  </a:cubicBezTo>
                  <a:cubicBezTo>
                    <a:pt x="531" y="320"/>
                    <a:pt x="532" y="319"/>
                    <a:pt x="532" y="319"/>
                  </a:cubicBezTo>
                  <a:cubicBezTo>
                    <a:pt x="532" y="319"/>
                    <a:pt x="532" y="318"/>
                    <a:pt x="532" y="318"/>
                  </a:cubicBezTo>
                  <a:cubicBezTo>
                    <a:pt x="531" y="318"/>
                    <a:pt x="530" y="318"/>
                    <a:pt x="530" y="318"/>
                  </a:cubicBezTo>
                  <a:cubicBezTo>
                    <a:pt x="528" y="319"/>
                    <a:pt x="526" y="321"/>
                    <a:pt x="523" y="323"/>
                  </a:cubicBezTo>
                  <a:cubicBezTo>
                    <a:pt x="521" y="323"/>
                    <a:pt x="519" y="322"/>
                    <a:pt x="518" y="323"/>
                  </a:cubicBezTo>
                  <a:cubicBezTo>
                    <a:pt x="516" y="324"/>
                    <a:pt x="514" y="324"/>
                    <a:pt x="512" y="325"/>
                  </a:cubicBezTo>
                  <a:cubicBezTo>
                    <a:pt x="512" y="325"/>
                    <a:pt x="512" y="325"/>
                    <a:pt x="512" y="325"/>
                  </a:cubicBezTo>
                  <a:lnTo>
                    <a:pt x="510" y="32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2" name="Freeform 22"/>
            <p:cNvSpPr>
              <a:spLocks/>
            </p:cNvSpPr>
            <p:nvPr/>
          </p:nvSpPr>
          <p:spPr bwMode="auto">
            <a:xfrm>
              <a:off x="6116794" y="4448840"/>
              <a:ext cx="9425" cy="7856"/>
            </a:xfrm>
            <a:custGeom>
              <a:avLst/>
              <a:gdLst>
                <a:gd name="T0" fmla="*/ 3397424 w 7"/>
                <a:gd name="T1" fmla="*/ 1724631 h 7"/>
                <a:gd name="T2" fmla="*/ 3397424 w 7"/>
                <a:gd name="T3" fmla="*/ 0 h 7"/>
                <a:gd name="T4" fmla="*/ 2642432 w 7"/>
                <a:gd name="T5" fmla="*/ 0 h 7"/>
                <a:gd name="T6" fmla="*/ 505778 w 7"/>
                <a:gd name="T7" fmla="*/ 2642432 h 7"/>
                <a:gd name="T8" fmla="*/ 505778 w 7"/>
                <a:gd name="T9" fmla="*/ 3397424 h 7"/>
                <a:gd name="T10" fmla="*/ 3942014 w 7"/>
                <a:gd name="T11" fmla="*/ 3397424 h 7"/>
                <a:gd name="T12" fmla="*/ 3942014 w 7"/>
                <a:gd name="T13" fmla="*/ 2642432 h 7"/>
                <a:gd name="T14" fmla="*/ 3397424 w 7"/>
                <a:gd name="T15" fmla="*/ 2234466 h 7"/>
                <a:gd name="T16" fmla="*/ 3397424 w 7"/>
                <a:gd name="T17" fmla="*/ 1724631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7"/>
                <a:gd name="T29" fmla="*/ 7 w 7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7">
                  <a:moveTo>
                    <a:pt x="6" y="3"/>
                  </a:moveTo>
                  <a:cubicBezTo>
                    <a:pt x="6" y="1"/>
                    <a:pt x="6" y="1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4" y="2"/>
                    <a:pt x="2" y="3"/>
                    <a:pt x="1" y="5"/>
                  </a:cubicBezTo>
                  <a:cubicBezTo>
                    <a:pt x="0" y="5"/>
                    <a:pt x="0" y="6"/>
                    <a:pt x="1" y="6"/>
                  </a:cubicBezTo>
                  <a:cubicBezTo>
                    <a:pt x="3" y="7"/>
                    <a:pt x="5" y="6"/>
                    <a:pt x="7" y="6"/>
                  </a:cubicBezTo>
                  <a:cubicBezTo>
                    <a:pt x="7" y="6"/>
                    <a:pt x="7" y="5"/>
                    <a:pt x="7" y="5"/>
                  </a:cubicBezTo>
                  <a:cubicBezTo>
                    <a:pt x="6" y="4"/>
                    <a:pt x="6" y="4"/>
                    <a:pt x="6" y="4"/>
                  </a:cubicBezTo>
                  <a:lnTo>
                    <a:pt x="6" y="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3" name="Freeform 32"/>
            <p:cNvSpPr>
              <a:spLocks/>
            </p:cNvSpPr>
            <p:nvPr/>
          </p:nvSpPr>
          <p:spPr bwMode="auto">
            <a:xfrm>
              <a:off x="5897858" y="4440983"/>
              <a:ext cx="18850" cy="15713"/>
            </a:xfrm>
            <a:custGeom>
              <a:avLst/>
              <a:gdLst>
                <a:gd name="T0" fmla="*/ 8174845 w 14"/>
                <a:gd name="T1" fmla="*/ 2970751 h 15"/>
                <a:gd name="T2" fmla="*/ 5415918 w 14"/>
                <a:gd name="T3" fmla="*/ 0 h 15"/>
                <a:gd name="T4" fmla="*/ 0 w 14"/>
                <a:gd name="T5" fmla="*/ 0 h 15"/>
                <a:gd name="T6" fmla="*/ 0 w 14"/>
                <a:gd name="T7" fmla="*/ 1697572 h 15"/>
                <a:gd name="T8" fmla="*/ 1947959 w 14"/>
                <a:gd name="T9" fmla="*/ 2970751 h 15"/>
                <a:gd name="T10" fmla="*/ 1947959 w 14"/>
                <a:gd name="T11" fmla="*/ 4688532 h 15"/>
                <a:gd name="T12" fmla="*/ 826407 w 14"/>
                <a:gd name="T13" fmla="*/ 6931751 h 15"/>
                <a:gd name="T14" fmla="*/ 3468116 w 14"/>
                <a:gd name="T15" fmla="*/ 7659284 h 15"/>
                <a:gd name="T16" fmla="*/ 3468116 w 14"/>
                <a:gd name="T17" fmla="*/ 9902491 h 15"/>
                <a:gd name="T18" fmla="*/ 5415918 w 14"/>
                <a:gd name="T19" fmla="*/ 9902491 h 15"/>
                <a:gd name="T20" fmla="*/ 6527726 w 14"/>
                <a:gd name="T21" fmla="*/ 9902491 h 15"/>
                <a:gd name="T22" fmla="*/ 9297269 w 14"/>
                <a:gd name="T23" fmla="*/ 11620011 h 15"/>
                <a:gd name="T24" fmla="*/ 9969095 w 14"/>
                <a:gd name="T25" fmla="*/ 11620011 h 15"/>
                <a:gd name="T26" fmla="*/ 11919092 w 14"/>
                <a:gd name="T27" fmla="*/ 9242333 h 15"/>
                <a:gd name="T28" fmla="*/ 11919092 w 14"/>
                <a:gd name="T29" fmla="*/ 8614993 h 15"/>
                <a:gd name="T30" fmla="*/ 9297269 w 14"/>
                <a:gd name="T31" fmla="*/ 7659284 h 15"/>
                <a:gd name="T32" fmla="*/ 9297269 w 14"/>
                <a:gd name="T33" fmla="*/ 6931751 h 15"/>
                <a:gd name="T34" fmla="*/ 10823097 w 14"/>
                <a:gd name="T35" fmla="*/ 5234181 h 15"/>
                <a:gd name="T36" fmla="*/ 9297269 w 14"/>
                <a:gd name="T37" fmla="*/ 4688532 h 15"/>
                <a:gd name="T38" fmla="*/ 9297269 w 14"/>
                <a:gd name="T39" fmla="*/ 2970751 h 15"/>
                <a:gd name="T40" fmla="*/ 8174845 w 14"/>
                <a:gd name="T41" fmla="*/ 2970751 h 1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4"/>
                <a:gd name="T64" fmla="*/ 0 h 15"/>
                <a:gd name="T65" fmla="*/ 14 w 14"/>
                <a:gd name="T66" fmla="*/ 15 h 1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4" h="15">
                  <a:moveTo>
                    <a:pt x="9" y="4"/>
                  </a:moveTo>
                  <a:cubicBezTo>
                    <a:pt x="8" y="3"/>
                    <a:pt x="7" y="1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0"/>
                    <a:pt x="0" y="2"/>
                    <a:pt x="0" y="2"/>
                  </a:cubicBezTo>
                  <a:cubicBezTo>
                    <a:pt x="0" y="3"/>
                    <a:pt x="1" y="3"/>
                    <a:pt x="2" y="4"/>
                  </a:cubicBezTo>
                  <a:cubicBezTo>
                    <a:pt x="3" y="5"/>
                    <a:pt x="2" y="6"/>
                    <a:pt x="2" y="6"/>
                  </a:cubicBezTo>
                  <a:cubicBezTo>
                    <a:pt x="1" y="7"/>
                    <a:pt x="0" y="8"/>
                    <a:pt x="1" y="9"/>
                  </a:cubicBezTo>
                  <a:cubicBezTo>
                    <a:pt x="2" y="9"/>
                    <a:pt x="3" y="9"/>
                    <a:pt x="4" y="10"/>
                  </a:cubicBezTo>
                  <a:cubicBezTo>
                    <a:pt x="5" y="10"/>
                    <a:pt x="3" y="12"/>
                    <a:pt x="4" y="13"/>
                  </a:cubicBezTo>
                  <a:cubicBezTo>
                    <a:pt x="5" y="14"/>
                    <a:pt x="5" y="13"/>
                    <a:pt x="6" y="13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8" y="14"/>
                    <a:pt x="9" y="14"/>
                    <a:pt x="10" y="15"/>
                  </a:cubicBezTo>
                  <a:cubicBezTo>
                    <a:pt x="10" y="15"/>
                    <a:pt x="10" y="15"/>
                    <a:pt x="11" y="15"/>
                  </a:cubicBezTo>
                  <a:cubicBezTo>
                    <a:pt x="12" y="14"/>
                    <a:pt x="12" y="13"/>
                    <a:pt x="13" y="12"/>
                  </a:cubicBezTo>
                  <a:cubicBezTo>
                    <a:pt x="14" y="12"/>
                    <a:pt x="14" y="11"/>
                    <a:pt x="13" y="11"/>
                  </a:cubicBezTo>
                  <a:cubicBezTo>
                    <a:pt x="12" y="10"/>
                    <a:pt x="11" y="10"/>
                    <a:pt x="10" y="10"/>
                  </a:cubicBezTo>
                  <a:cubicBezTo>
                    <a:pt x="10" y="10"/>
                    <a:pt x="10" y="10"/>
                    <a:pt x="10" y="9"/>
                  </a:cubicBezTo>
                  <a:cubicBezTo>
                    <a:pt x="11" y="9"/>
                    <a:pt x="13" y="8"/>
                    <a:pt x="12" y="7"/>
                  </a:cubicBezTo>
                  <a:cubicBezTo>
                    <a:pt x="11" y="6"/>
                    <a:pt x="10" y="7"/>
                    <a:pt x="10" y="6"/>
                  </a:cubicBezTo>
                  <a:cubicBezTo>
                    <a:pt x="9" y="6"/>
                    <a:pt x="10" y="5"/>
                    <a:pt x="10" y="4"/>
                  </a:cubicBezTo>
                  <a:lnTo>
                    <a:pt x="9" y="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4" name="Freeform 33"/>
            <p:cNvSpPr>
              <a:spLocks/>
            </p:cNvSpPr>
            <p:nvPr/>
          </p:nvSpPr>
          <p:spPr bwMode="auto">
            <a:xfrm>
              <a:off x="5911630" y="4440983"/>
              <a:ext cx="49297" cy="27195"/>
            </a:xfrm>
            <a:custGeom>
              <a:avLst/>
              <a:gdLst>
                <a:gd name="T0" fmla="*/ 4422579 w 37"/>
                <a:gd name="T1" fmla="*/ 11156751 h 26"/>
                <a:gd name="T2" fmla="*/ 0 w 37"/>
                <a:gd name="T3" fmla="*/ 14406455 h 26"/>
                <a:gd name="T4" fmla="*/ 0 w 37"/>
                <a:gd name="T5" fmla="*/ 15127963 h 26"/>
                <a:gd name="T6" fmla="*/ 2537837 w 37"/>
                <a:gd name="T7" fmla="*/ 15127963 h 26"/>
                <a:gd name="T8" fmla="*/ 7714651 w 37"/>
                <a:gd name="T9" fmla="*/ 13633585 h 26"/>
                <a:gd name="T10" fmla="*/ 14857087 w 37"/>
                <a:gd name="T11" fmla="*/ 13633585 h 26"/>
                <a:gd name="T12" fmla="*/ 19279667 w 37"/>
                <a:gd name="T13" fmla="*/ 12522682 h 26"/>
                <a:gd name="T14" fmla="*/ 19279667 w 37"/>
                <a:gd name="T15" fmla="*/ 13633585 h 26"/>
                <a:gd name="T16" fmla="*/ 15659020 w 37"/>
                <a:gd name="T17" fmla="*/ 14406455 h 26"/>
                <a:gd name="T18" fmla="*/ 11542003 w 37"/>
                <a:gd name="T19" fmla="*/ 16241531 h 26"/>
                <a:gd name="T20" fmla="*/ 10399030 w 37"/>
                <a:gd name="T21" fmla="*/ 16821088 h 26"/>
                <a:gd name="T22" fmla="*/ 10399030 w 37"/>
                <a:gd name="T23" fmla="*/ 21921488 h 26"/>
                <a:gd name="T24" fmla="*/ 14031321 w 37"/>
                <a:gd name="T25" fmla="*/ 21921488 h 26"/>
                <a:gd name="T26" fmla="*/ 19279667 w 37"/>
                <a:gd name="T27" fmla="*/ 21137273 h 26"/>
                <a:gd name="T28" fmla="*/ 24451758 w 37"/>
                <a:gd name="T29" fmla="*/ 21137273 h 26"/>
                <a:gd name="T30" fmla="*/ 27139296 w 37"/>
                <a:gd name="T31" fmla="*/ 16241531 h 26"/>
                <a:gd name="T32" fmla="*/ 29674221 w 37"/>
                <a:gd name="T33" fmla="*/ 15127963 h 26"/>
                <a:gd name="T34" fmla="*/ 31559834 w 37"/>
                <a:gd name="T35" fmla="*/ 15127963 h 26"/>
                <a:gd name="T36" fmla="*/ 31559834 w 37"/>
                <a:gd name="T37" fmla="*/ 14406455 h 26"/>
                <a:gd name="T38" fmla="*/ 30500015 w 37"/>
                <a:gd name="T39" fmla="*/ 10127813 h 26"/>
                <a:gd name="T40" fmla="*/ 30500015 w 37"/>
                <a:gd name="T41" fmla="*/ 9343585 h 26"/>
                <a:gd name="T42" fmla="*/ 32361494 w 37"/>
                <a:gd name="T43" fmla="*/ 5038211 h 26"/>
                <a:gd name="T44" fmla="*/ 32361494 w 37"/>
                <a:gd name="T45" fmla="*/ 3198282 h 26"/>
                <a:gd name="T46" fmla="*/ 27794212 w 37"/>
                <a:gd name="T47" fmla="*/ 784235 h 26"/>
                <a:gd name="T48" fmla="*/ 26394519 w 37"/>
                <a:gd name="T49" fmla="*/ 3198282 h 26"/>
                <a:gd name="T50" fmla="*/ 23362049 w 37"/>
                <a:gd name="T51" fmla="*/ 3198282 h 26"/>
                <a:gd name="T52" fmla="*/ 22570885 w 37"/>
                <a:gd name="T53" fmla="*/ 2476837 h 26"/>
                <a:gd name="T54" fmla="*/ 20081595 w 37"/>
                <a:gd name="T55" fmla="*/ 1839936 h 26"/>
                <a:gd name="T56" fmla="*/ 14857087 w 37"/>
                <a:gd name="T57" fmla="*/ 1839936 h 26"/>
                <a:gd name="T58" fmla="*/ 12971276 w 37"/>
                <a:gd name="T59" fmla="*/ 4316773 h 26"/>
                <a:gd name="T60" fmla="*/ 16713958 w 37"/>
                <a:gd name="T61" fmla="*/ 5811039 h 26"/>
                <a:gd name="T62" fmla="*/ 16713958 w 37"/>
                <a:gd name="T63" fmla="*/ 10127813 h 26"/>
                <a:gd name="T64" fmla="*/ 15659020 w 37"/>
                <a:gd name="T65" fmla="*/ 10127813 h 26"/>
                <a:gd name="T66" fmla="*/ 15659020 w 37"/>
                <a:gd name="T67" fmla="*/ 9343585 h 26"/>
                <a:gd name="T68" fmla="*/ 12971276 w 37"/>
                <a:gd name="T69" fmla="*/ 7503662 h 26"/>
                <a:gd name="T70" fmla="*/ 12279885 w 37"/>
                <a:gd name="T71" fmla="*/ 5811039 h 26"/>
                <a:gd name="T72" fmla="*/ 10399030 w 37"/>
                <a:gd name="T73" fmla="*/ 4316773 h 26"/>
                <a:gd name="T74" fmla="*/ 7714651 w 37"/>
                <a:gd name="T75" fmla="*/ 4316773 h 26"/>
                <a:gd name="T76" fmla="*/ 7108238 w 37"/>
                <a:gd name="T77" fmla="*/ 5038211 h 26"/>
                <a:gd name="T78" fmla="*/ 7108238 w 37"/>
                <a:gd name="T79" fmla="*/ 9343585 h 26"/>
                <a:gd name="T80" fmla="*/ 7714651 w 37"/>
                <a:gd name="T81" fmla="*/ 10127813 h 26"/>
                <a:gd name="T82" fmla="*/ 7714651 w 37"/>
                <a:gd name="T83" fmla="*/ 11156751 h 26"/>
                <a:gd name="T84" fmla="*/ 5222483 w 37"/>
                <a:gd name="T85" fmla="*/ 11156751 h 26"/>
                <a:gd name="T86" fmla="*/ 4422579 w 37"/>
                <a:gd name="T87" fmla="*/ 11156751 h 2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"/>
                <a:gd name="T133" fmla="*/ 0 h 26"/>
                <a:gd name="T134" fmla="*/ 37 w 37"/>
                <a:gd name="T135" fmla="*/ 26 h 2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" h="26">
                  <a:moveTo>
                    <a:pt x="5" y="13"/>
                  </a:moveTo>
                  <a:cubicBezTo>
                    <a:pt x="4" y="14"/>
                    <a:pt x="1" y="15"/>
                    <a:pt x="0" y="17"/>
                  </a:cubicBezTo>
                  <a:cubicBezTo>
                    <a:pt x="0" y="17"/>
                    <a:pt x="0" y="18"/>
                    <a:pt x="0" y="18"/>
                  </a:cubicBezTo>
                  <a:cubicBezTo>
                    <a:pt x="1" y="19"/>
                    <a:pt x="2" y="19"/>
                    <a:pt x="3" y="18"/>
                  </a:cubicBezTo>
                  <a:cubicBezTo>
                    <a:pt x="5" y="17"/>
                    <a:pt x="7" y="17"/>
                    <a:pt x="9" y="16"/>
                  </a:cubicBezTo>
                  <a:cubicBezTo>
                    <a:pt x="12" y="16"/>
                    <a:pt x="15" y="16"/>
                    <a:pt x="17" y="16"/>
                  </a:cubicBezTo>
                  <a:cubicBezTo>
                    <a:pt x="19" y="15"/>
                    <a:pt x="20" y="15"/>
                    <a:pt x="22" y="15"/>
                  </a:cubicBezTo>
                  <a:cubicBezTo>
                    <a:pt x="22" y="15"/>
                    <a:pt x="22" y="16"/>
                    <a:pt x="22" y="16"/>
                  </a:cubicBezTo>
                  <a:cubicBezTo>
                    <a:pt x="20" y="16"/>
                    <a:pt x="19" y="17"/>
                    <a:pt x="18" y="17"/>
                  </a:cubicBezTo>
                  <a:cubicBezTo>
                    <a:pt x="16" y="18"/>
                    <a:pt x="15" y="18"/>
                    <a:pt x="13" y="19"/>
                  </a:cubicBezTo>
                  <a:cubicBezTo>
                    <a:pt x="13" y="19"/>
                    <a:pt x="13" y="19"/>
                    <a:pt x="12" y="20"/>
                  </a:cubicBezTo>
                  <a:cubicBezTo>
                    <a:pt x="12" y="22"/>
                    <a:pt x="12" y="23"/>
                    <a:pt x="12" y="26"/>
                  </a:cubicBezTo>
                  <a:cubicBezTo>
                    <a:pt x="13" y="26"/>
                    <a:pt x="15" y="26"/>
                    <a:pt x="16" y="26"/>
                  </a:cubicBezTo>
                  <a:cubicBezTo>
                    <a:pt x="18" y="25"/>
                    <a:pt x="20" y="25"/>
                    <a:pt x="22" y="25"/>
                  </a:cubicBezTo>
                  <a:cubicBezTo>
                    <a:pt x="24" y="26"/>
                    <a:pt x="26" y="26"/>
                    <a:pt x="28" y="25"/>
                  </a:cubicBezTo>
                  <a:cubicBezTo>
                    <a:pt x="29" y="24"/>
                    <a:pt x="30" y="21"/>
                    <a:pt x="31" y="19"/>
                  </a:cubicBezTo>
                  <a:cubicBezTo>
                    <a:pt x="32" y="18"/>
                    <a:pt x="33" y="18"/>
                    <a:pt x="34" y="18"/>
                  </a:cubicBezTo>
                  <a:cubicBezTo>
                    <a:pt x="35" y="18"/>
                    <a:pt x="35" y="18"/>
                    <a:pt x="36" y="18"/>
                  </a:cubicBezTo>
                  <a:cubicBezTo>
                    <a:pt x="36" y="18"/>
                    <a:pt x="36" y="17"/>
                    <a:pt x="36" y="17"/>
                  </a:cubicBezTo>
                  <a:cubicBezTo>
                    <a:pt x="35" y="15"/>
                    <a:pt x="34" y="14"/>
                    <a:pt x="35" y="12"/>
                  </a:cubicBezTo>
                  <a:cubicBezTo>
                    <a:pt x="35" y="12"/>
                    <a:pt x="35" y="11"/>
                    <a:pt x="35" y="11"/>
                  </a:cubicBezTo>
                  <a:cubicBezTo>
                    <a:pt x="35" y="9"/>
                    <a:pt x="36" y="7"/>
                    <a:pt x="37" y="6"/>
                  </a:cubicBezTo>
                  <a:cubicBezTo>
                    <a:pt x="37" y="5"/>
                    <a:pt x="37" y="4"/>
                    <a:pt x="37" y="4"/>
                  </a:cubicBezTo>
                  <a:cubicBezTo>
                    <a:pt x="36" y="3"/>
                    <a:pt x="34" y="0"/>
                    <a:pt x="32" y="1"/>
                  </a:cubicBezTo>
                  <a:cubicBezTo>
                    <a:pt x="31" y="1"/>
                    <a:pt x="31" y="3"/>
                    <a:pt x="30" y="4"/>
                  </a:cubicBezTo>
                  <a:cubicBezTo>
                    <a:pt x="29" y="4"/>
                    <a:pt x="28" y="4"/>
                    <a:pt x="27" y="4"/>
                  </a:cubicBezTo>
                  <a:cubicBezTo>
                    <a:pt x="26" y="4"/>
                    <a:pt x="26" y="3"/>
                    <a:pt x="26" y="3"/>
                  </a:cubicBezTo>
                  <a:cubicBezTo>
                    <a:pt x="25" y="2"/>
                    <a:pt x="24" y="2"/>
                    <a:pt x="23" y="2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6" y="2"/>
                    <a:pt x="14" y="4"/>
                    <a:pt x="15" y="5"/>
                  </a:cubicBezTo>
                  <a:cubicBezTo>
                    <a:pt x="16" y="6"/>
                    <a:pt x="18" y="6"/>
                    <a:pt x="19" y="7"/>
                  </a:cubicBezTo>
                  <a:cubicBezTo>
                    <a:pt x="20" y="8"/>
                    <a:pt x="20" y="10"/>
                    <a:pt x="19" y="12"/>
                  </a:cubicBezTo>
                  <a:cubicBezTo>
                    <a:pt x="19" y="12"/>
                    <a:pt x="19" y="12"/>
                    <a:pt x="18" y="12"/>
                  </a:cubicBezTo>
                  <a:cubicBezTo>
                    <a:pt x="18" y="12"/>
                    <a:pt x="18" y="12"/>
                    <a:pt x="18" y="11"/>
                  </a:cubicBezTo>
                  <a:cubicBezTo>
                    <a:pt x="17" y="11"/>
                    <a:pt x="16" y="10"/>
                    <a:pt x="15" y="9"/>
                  </a:cubicBezTo>
                  <a:cubicBezTo>
                    <a:pt x="15" y="8"/>
                    <a:pt x="14" y="8"/>
                    <a:pt x="14" y="7"/>
                  </a:cubicBezTo>
                  <a:cubicBezTo>
                    <a:pt x="13" y="6"/>
                    <a:pt x="13" y="5"/>
                    <a:pt x="12" y="5"/>
                  </a:cubicBezTo>
                  <a:cubicBezTo>
                    <a:pt x="11" y="5"/>
                    <a:pt x="10" y="5"/>
                    <a:pt x="9" y="5"/>
                  </a:cubicBezTo>
                  <a:cubicBezTo>
                    <a:pt x="9" y="5"/>
                    <a:pt x="8" y="5"/>
                    <a:pt x="8" y="6"/>
                  </a:cubicBezTo>
                  <a:cubicBezTo>
                    <a:pt x="8" y="7"/>
                    <a:pt x="7" y="9"/>
                    <a:pt x="8" y="11"/>
                  </a:cubicBezTo>
                  <a:cubicBezTo>
                    <a:pt x="8" y="11"/>
                    <a:pt x="9" y="12"/>
                    <a:pt x="9" y="12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8" y="13"/>
                    <a:pt x="8" y="13"/>
                    <a:pt x="6" y="13"/>
                  </a:cubicBezTo>
                  <a:lnTo>
                    <a:pt x="5" y="1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5" name="Freeform 34"/>
            <p:cNvSpPr>
              <a:spLocks/>
            </p:cNvSpPr>
            <p:nvPr/>
          </p:nvSpPr>
          <p:spPr bwMode="auto">
            <a:xfrm>
              <a:off x="5886257" y="4460928"/>
              <a:ext cx="13050" cy="7253"/>
            </a:xfrm>
            <a:custGeom>
              <a:avLst/>
              <a:gdLst>
                <a:gd name="T0" fmla="*/ 6931749 w 9"/>
                <a:gd name="T1" fmla="*/ 1724631 h 7"/>
                <a:gd name="T2" fmla="*/ 5234180 w 9"/>
                <a:gd name="T3" fmla="*/ 505778 h 7"/>
                <a:gd name="T4" fmla="*/ 2243220 w 9"/>
                <a:gd name="T5" fmla="*/ 505778 h 7"/>
                <a:gd name="T6" fmla="*/ 727531 w 9"/>
                <a:gd name="T7" fmla="*/ 2642432 h 7"/>
                <a:gd name="T8" fmla="*/ 6253179 w 9"/>
                <a:gd name="T9" fmla="*/ 3397424 h 7"/>
                <a:gd name="T10" fmla="*/ 6931749 w 9"/>
                <a:gd name="T11" fmla="*/ 2234466 h 7"/>
                <a:gd name="T12" fmla="*/ 6931749 w 9"/>
                <a:gd name="T13" fmla="*/ 1724631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7"/>
                <a:gd name="T23" fmla="*/ 9 w 9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7">
                  <a:moveTo>
                    <a:pt x="9" y="3"/>
                  </a:moveTo>
                  <a:cubicBezTo>
                    <a:pt x="9" y="2"/>
                    <a:pt x="9" y="1"/>
                    <a:pt x="7" y="1"/>
                  </a:cubicBezTo>
                  <a:cubicBezTo>
                    <a:pt x="6" y="0"/>
                    <a:pt x="4" y="1"/>
                    <a:pt x="3" y="1"/>
                  </a:cubicBezTo>
                  <a:cubicBezTo>
                    <a:pt x="2" y="2"/>
                    <a:pt x="0" y="3"/>
                    <a:pt x="1" y="5"/>
                  </a:cubicBezTo>
                  <a:cubicBezTo>
                    <a:pt x="3" y="7"/>
                    <a:pt x="6" y="6"/>
                    <a:pt x="8" y="6"/>
                  </a:cubicBezTo>
                  <a:cubicBezTo>
                    <a:pt x="9" y="6"/>
                    <a:pt x="9" y="5"/>
                    <a:pt x="9" y="4"/>
                  </a:cubicBezTo>
                  <a:lnTo>
                    <a:pt x="9" y="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6" name="Freeform 35"/>
            <p:cNvSpPr>
              <a:spLocks/>
            </p:cNvSpPr>
            <p:nvPr/>
          </p:nvSpPr>
          <p:spPr bwMode="auto">
            <a:xfrm>
              <a:off x="5968903" y="4434939"/>
              <a:ext cx="33347" cy="15109"/>
            </a:xfrm>
            <a:custGeom>
              <a:avLst/>
              <a:gdLst>
                <a:gd name="T0" fmla="*/ 15644591 w 25"/>
                <a:gd name="T1" fmla="*/ 1947959 h 14"/>
                <a:gd name="T2" fmla="*/ 12953021 w 25"/>
                <a:gd name="T3" fmla="*/ 1947959 h 14"/>
                <a:gd name="T4" fmla="*/ 9524393 w 25"/>
                <a:gd name="T5" fmla="*/ 826407 h 14"/>
                <a:gd name="T6" fmla="*/ 835001 w 25"/>
                <a:gd name="T7" fmla="*/ 1947959 h 14"/>
                <a:gd name="T8" fmla="*/ 0 w 25"/>
                <a:gd name="T9" fmla="*/ 4591618 h 14"/>
                <a:gd name="T10" fmla="*/ 0 w 25"/>
                <a:gd name="T11" fmla="*/ 5415918 h 14"/>
                <a:gd name="T12" fmla="*/ 3515237 w 25"/>
                <a:gd name="T13" fmla="*/ 7350477 h 14"/>
                <a:gd name="T14" fmla="*/ 4650620 w 25"/>
                <a:gd name="T15" fmla="*/ 9297269 h 14"/>
                <a:gd name="T16" fmla="*/ 9524393 w 25"/>
                <a:gd name="T17" fmla="*/ 9969095 h 14"/>
                <a:gd name="T18" fmla="*/ 13821180 w 25"/>
                <a:gd name="T19" fmla="*/ 10823097 h 14"/>
                <a:gd name="T20" fmla="*/ 15644591 w 25"/>
                <a:gd name="T21" fmla="*/ 11919092 h 14"/>
                <a:gd name="T22" fmla="*/ 22477568 w 25"/>
                <a:gd name="T23" fmla="*/ 11919092 h 14"/>
                <a:gd name="T24" fmla="*/ 22477568 w 25"/>
                <a:gd name="T25" fmla="*/ 9969095 h 14"/>
                <a:gd name="T26" fmla="*/ 21138070 w 25"/>
                <a:gd name="T27" fmla="*/ 6527726 h 14"/>
                <a:gd name="T28" fmla="*/ 23108688 w 25"/>
                <a:gd name="T29" fmla="*/ 5415918 h 14"/>
                <a:gd name="T30" fmla="*/ 23108688 w 25"/>
                <a:gd name="T31" fmla="*/ 3468116 h 14"/>
                <a:gd name="T32" fmla="*/ 15644591 w 25"/>
                <a:gd name="T33" fmla="*/ 1947959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5"/>
                <a:gd name="T52" fmla="*/ 0 h 14"/>
                <a:gd name="T53" fmla="*/ 25 w 25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5" h="14">
                  <a:moveTo>
                    <a:pt x="17" y="2"/>
                  </a:moveTo>
                  <a:cubicBezTo>
                    <a:pt x="16" y="2"/>
                    <a:pt x="15" y="2"/>
                    <a:pt x="14" y="2"/>
                  </a:cubicBezTo>
                  <a:cubicBezTo>
                    <a:pt x="13" y="1"/>
                    <a:pt x="11" y="1"/>
                    <a:pt x="10" y="1"/>
                  </a:cubicBezTo>
                  <a:cubicBezTo>
                    <a:pt x="7" y="0"/>
                    <a:pt x="4" y="2"/>
                    <a:pt x="1" y="2"/>
                  </a:cubicBezTo>
                  <a:cubicBezTo>
                    <a:pt x="0" y="3"/>
                    <a:pt x="1" y="4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1" y="7"/>
                    <a:pt x="3" y="7"/>
                    <a:pt x="4" y="8"/>
                  </a:cubicBezTo>
                  <a:cubicBezTo>
                    <a:pt x="4" y="8"/>
                    <a:pt x="4" y="10"/>
                    <a:pt x="5" y="10"/>
                  </a:cubicBezTo>
                  <a:cubicBezTo>
                    <a:pt x="7" y="11"/>
                    <a:pt x="8" y="10"/>
                    <a:pt x="10" y="11"/>
                  </a:cubicBezTo>
                  <a:cubicBezTo>
                    <a:pt x="12" y="11"/>
                    <a:pt x="13" y="11"/>
                    <a:pt x="15" y="12"/>
                  </a:cubicBezTo>
                  <a:cubicBezTo>
                    <a:pt x="16" y="12"/>
                    <a:pt x="16" y="12"/>
                    <a:pt x="17" y="13"/>
                  </a:cubicBezTo>
                  <a:cubicBezTo>
                    <a:pt x="19" y="14"/>
                    <a:pt x="22" y="13"/>
                    <a:pt x="24" y="13"/>
                  </a:cubicBezTo>
                  <a:cubicBezTo>
                    <a:pt x="25" y="13"/>
                    <a:pt x="25" y="12"/>
                    <a:pt x="24" y="11"/>
                  </a:cubicBezTo>
                  <a:cubicBezTo>
                    <a:pt x="24" y="10"/>
                    <a:pt x="22" y="9"/>
                    <a:pt x="23" y="7"/>
                  </a:cubicBezTo>
                  <a:cubicBezTo>
                    <a:pt x="23" y="7"/>
                    <a:pt x="25" y="7"/>
                    <a:pt x="25" y="6"/>
                  </a:cubicBezTo>
                  <a:cubicBezTo>
                    <a:pt x="25" y="5"/>
                    <a:pt x="25" y="4"/>
                    <a:pt x="25" y="4"/>
                  </a:cubicBezTo>
                  <a:cubicBezTo>
                    <a:pt x="23" y="2"/>
                    <a:pt x="20" y="2"/>
                    <a:pt x="17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7" name="Freeform 36"/>
            <p:cNvSpPr>
              <a:spLocks/>
            </p:cNvSpPr>
            <p:nvPr/>
          </p:nvSpPr>
          <p:spPr bwMode="auto">
            <a:xfrm>
              <a:off x="5962379" y="4457906"/>
              <a:ext cx="31175" cy="18129"/>
            </a:xfrm>
            <a:custGeom>
              <a:avLst/>
              <a:gdLst>
                <a:gd name="T0" fmla="*/ 23001672 w 23"/>
                <a:gd name="T1" fmla="*/ 2560181 h 17"/>
                <a:gd name="T2" fmla="*/ 20557243 w 23"/>
                <a:gd name="T3" fmla="*/ 806887 h 17"/>
                <a:gd name="T4" fmla="*/ 17236329 w 23"/>
                <a:gd name="T5" fmla="*/ 806887 h 17"/>
                <a:gd name="T6" fmla="*/ 10626183 w 23"/>
                <a:gd name="T7" fmla="*/ 1898557 h 17"/>
                <a:gd name="T8" fmla="*/ 6610144 w 23"/>
                <a:gd name="T9" fmla="*/ 4467192 h 17"/>
                <a:gd name="T10" fmla="*/ 1010505 w 23"/>
                <a:gd name="T11" fmla="*/ 5300376 h 17"/>
                <a:gd name="T12" fmla="*/ 0 w 23"/>
                <a:gd name="T13" fmla="*/ 6023953 h 17"/>
                <a:gd name="T14" fmla="*/ 1010505 w 23"/>
                <a:gd name="T15" fmla="*/ 7807999 h 17"/>
                <a:gd name="T16" fmla="*/ 3423729 w 23"/>
                <a:gd name="T17" fmla="*/ 8957156 h 17"/>
                <a:gd name="T18" fmla="*/ 4750926 w 23"/>
                <a:gd name="T19" fmla="*/ 12471472 h 17"/>
                <a:gd name="T20" fmla="*/ 13817923 w 23"/>
                <a:gd name="T21" fmla="*/ 14174003 h 17"/>
                <a:gd name="T22" fmla="*/ 21564689 w 23"/>
                <a:gd name="T23" fmla="*/ 14174003 h 17"/>
                <a:gd name="T24" fmla="*/ 23980958 w 23"/>
                <a:gd name="T25" fmla="*/ 13070851 h 17"/>
                <a:gd name="T26" fmla="*/ 25410422 w 23"/>
                <a:gd name="T27" fmla="*/ 7807999 h 17"/>
                <a:gd name="T28" fmla="*/ 26432752 w 23"/>
                <a:gd name="T29" fmla="*/ 7173119 h 17"/>
                <a:gd name="T30" fmla="*/ 26432752 w 23"/>
                <a:gd name="T31" fmla="*/ 4467192 h 17"/>
                <a:gd name="T32" fmla="*/ 25410422 w 23"/>
                <a:gd name="T33" fmla="*/ 3318400 h 17"/>
                <a:gd name="T34" fmla="*/ 23001672 w 23"/>
                <a:gd name="T35" fmla="*/ 2560181 h 1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3"/>
                <a:gd name="T55" fmla="*/ 0 h 17"/>
                <a:gd name="T56" fmla="*/ 23 w 23"/>
                <a:gd name="T57" fmla="*/ 17 h 1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3" h="17">
                  <a:moveTo>
                    <a:pt x="20" y="3"/>
                  </a:moveTo>
                  <a:cubicBezTo>
                    <a:pt x="20" y="2"/>
                    <a:pt x="19" y="2"/>
                    <a:pt x="18" y="1"/>
                  </a:cubicBezTo>
                  <a:cubicBezTo>
                    <a:pt x="17" y="0"/>
                    <a:pt x="16" y="1"/>
                    <a:pt x="15" y="1"/>
                  </a:cubicBezTo>
                  <a:cubicBezTo>
                    <a:pt x="13" y="1"/>
                    <a:pt x="11" y="1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5" y="7"/>
                    <a:pt x="3" y="6"/>
                    <a:pt x="1" y="6"/>
                  </a:cubicBezTo>
                  <a:cubicBezTo>
                    <a:pt x="1" y="6"/>
                    <a:pt x="0" y="6"/>
                    <a:pt x="0" y="7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2" y="9"/>
                    <a:pt x="3" y="10"/>
                    <a:pt x="3" y="10"/>
                  </a:cubicBezTo>
                  <a:cubicBezTo>
                    <a:pt x="4" y="11"/>
                    <a:pt x="3" y="14"/>
                    <a:pt x="4" y="14"/>
                  </a:cubicBezTo>
                  <a:cubicBezTo>
                    <a:pt x="7" y="15"/>
                    <a:pt x="10" y="13"/>
                    <a:pt x="12" y="16"/>
                  </a:cubicBezTo>
                  <a:cubicBezTo>
                    <a:pt x="14" y="17"/>
                    <a:pt x="17" y="16"/>
                    <a:pt x="19" y="16"/>
                  </a:cubicBezTo>
                  <a:cubicBezTo>
                    <a:pt x="20" y="16"/>
                    <a:pt x="21" y="15"/>
                    <a:pt x="21" y="15"/>
                  </a:cubicBezTo>
                  <a:cubicBezTo>
                    <a:pt x="22" y="13"/>
                    <a:pt x="22" y="11"/>
                    <a:pt x="22" y="9"/>
                  </a:cubicBezTo>
                  <a:cubicBezTo>
                    <a:pt x="22" y="9"/>
                    <a:pt x="22" y="8"/>
                    <a:pt x="23" y="8"/>
                  </a:cubicBezTo>
                  <a:cubicBezTo>
                    <a:pt x="23" y="7"/>
                    <a:pt x="23" y="6"/>
                    <a:pt x="23" y="5"/>
                  </a:cubicBezTo>
                  <a:cubicBezTo>
                    <a:pt x="23" y="4"/>
                    <a:pt x="22" y="4"/>
                    <a:pt x="22" y="4"/>
                  </a:cubicBezTo>
                  <a:lnTo>
                    <a:pt x="20" y="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8" name="Freeform 37"/>
            <p:cNvSpPr>
              <a:spLocks/>
            </p:cNvSpPr>
            <p:nvPr/>
          </p:nvSpPr>
          <p:spPr bwMode="auto">
            <a:xfrm>
              <a:off x="6002250" y="4440983"/>
              <a:ext cx="114543" cy="37468"/>
            </a:xfrm>
            <a:custGeom>
              <a:avLst/>
              <a:gdLst>
                <a:gd name="T0" fmla="*/ 44088677 w 85"/>
                <a:gd name="T1" fmla="*/ 18544499 h 34"/>
                <a:gd name="T2" fmla="*/ 41218871 w 85"/>
                <a:gd name="T3" fmla="*/ 21659667 h 34"/>
                <a:gd name="T4" fmla="*/ 36444560 w 85"/>
                <a:gd name="T5" fmla="*/ 20288156 h 34"/>
                <a:gd name="T6" fmla="*/ 32306080 w 85"/>
                <a:gd name="T7" fmla="*/ 18544499 h 34"/>
                <a:gd name="T8" fmla="*/ 28704067 w 85"/>
                <a:gd name="T9" fmla="*/ 19345969 h 34"/>
                <a:gd name="T10" fmla="*/ 23941664 w 85"/>
                <a:gd name="T11" fmla="*/ 17284082 h 34"/>
                <a:gd name="T12" fmla="*/ 21033134 w 85"/>
                <a:gd name="T13" fmla="*/ 21659667 h 34"/>
                <a:gd name="T14" fmla="*/ 18954109 w 85"/>
                <a:gd name="T15" fmla="*/ 17284082 h 34"/>
                <a:gd name="T16" fmla="*/ 21033134 w 85"/>
                <a:gd name="T17" fmla="*/ 14003860 h 34"/>
                <a:gd name="T18" fmla="*/ 13300723 w 85"/>
                <a:gd name="T19" fmla="*/ 13061763 h 34"/>
                <a:gd name="T20" fmla="*/ 11284737 w 85"/>
                <a:gd name="T21" fmla="*/ 13061763 h 34"/>
                <a:gd name="T22" fmla="*/ 10420664 w 85"/>
                <a:gd name="T23" fmla="*/ 7784113 h 34"/>
                <a:gd name="T24" fmla="*/ 21913580 w 85"/>
                <a:gd name="T25" fmla="*/ 8516019 h 34"/>
                <a:gd name="T26" fmla="*/ 13300723 w 85"/>
                <a:gd name="T27" fmla="*/ 6284261 h 34"/>
                <a:gd name="T28" fmla="*/ 17430870 w 85"/>
                <a:gd name="T29" fmla="*/ 5482718 h 34"/>
                <a:gd name="T30" fmla="*/ 12503279 w 85"/>
                <a:gd name="T31" fmla="*/ 4545926 h 34"/>
                <a:gd name="T32" fmla="*/ 16265335 w 85"/>
                <a:gd name="T33" fmla="*/ 3267406 h 34"/>
                <a:gd name="T34" fmla="*/ 8533447 w 85"/>
                <a:gd name="T35" fmla="*/ 966015 h 34"/>
                <a:gd name="T36" fmla="*/ 2018075 w 85"/>
                <a:gd name="T37" fmla="*/ 2301388 h 34"/>
                <a:gd name="T38" fmla="*/ 0 w 85"/>
                <a:gd name="T39" fmla="*/ 6284261 h 34"/>
                <a:gd name="T40" fmla="*/ 853415 w 85"/>
                <a:gd name="T41" fmla="*/ 11800851 h 34"/>
                <a:gd name="T42" fmla="*/ 2908766 w 85"/>
                <a:gd name="T43" fmla="*/ 16318076 h 34"/>
                <a:gd name="T44" fmla="*/ 853415 w 85"/>
                <a:gd name="T45" fmla="*/ 21659667 h 34"/>
                <a:gd name="T46" fmla="*/ 2018075 w 85"/>
                <a:gd name="T47" fmla="*/ 25800861 h 34"/>
                <a:gd name="T48" fmla="*/ 853415 w 85"/>
                <a:gd name="T49" fmla="*/ 28816194 h 34"/>
                <a:gd name="T50" fmla="*/ 4772153 w 85"/>
                <a:gd name="T51" fmla="*/ 31117718 h 34"/>
                <a:gd name="T52" fmla="*/ 10420664 w 85"/>
                <a:gd name="T53" fmla="*/ 33362122 h 34"/>
                <a:gd name="T54" fmla="*/ 21913580 w 85"/>
                <a:gd name="T55" fmla="*/ 30346770 h 34"/>
                <a:gd name="T56" fmla="*/ 33471350 w 85"/>
                <a:gd name="T57" fmla="*/ 35666962 h 34"/>
                <a:gd name="T58" fmla="*/ 38462712 w 85"/>
                <a:gd name="T59" fmla="*/ 34333493 h 34"/>
                <a:gd name="T60" fmla="*/ 46126977 w 85"/>
                <a:gd name="T61" fmla="*/ 33362122 h 34"/>
                <a:gd name="T62" fmla="*/ 56614992 w 85"/>
                <a:gd name="T63" fmla="*/ 30346770 h 34"/>
                <a:gd name="T64" fmla="*/ 58270588 w 85"/>
                <a:gd name="T65" fmla="*/ 34333493 h 34"/>
                <a:gd name="T66" fmla="*/ 67164604 w 85"/>
                <a:gd name="T67" fmla="*/ 34333493 h 34"/>
                <a:gd name="T68" fmla="*/ 74375403 w 85"/>
                <a:gd name="T69" fmla="*/ 33362122 h 34"/>
                <a:gd name="T70" fmla="*/ 76394369 w 85"/>
                <a:gd name="T71" fmla="*/ 32085067 h 34"/>
                <a:gd name="T72" fmla="*/ 81205825 w 85"/>
                <a:gd name="T73" fmla="*/ 19345969 h 34"/>
                <a:gd name="T74" fmla="*/ 69916212 w 85"/>
                <a:gd name="T75" fmla="*/ 14003860 h 34"/>
                <a:gd name="T76" fmla="*/ 61018868 w 85"/>
                <a:gd name="T77" fmla="*/ 14971323 h 34"/>
                <a:gd name="T78" fmla="*/ 54508021 w 85"/>
                <a:gd name="T79" fmla="*/ 14003860 h 34"/>
                <a:gd name="T80" fmla="*/ 51819143 w 85"/>
                <a:gd name="T81" fmla="*/ 16318076 h 3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85"/>
                <a:gd name="T124" fmla="*/ 0 h 34"/>
                <a:gd name="T125" fmla="*/ 85 w 85"/>
                <a:gd name="T126" fmla="*/ 34 h 3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85" h="34">
                  <a:moveTo>
                    <a:pt x="54" y="15"/>
                  </a:moveTo>
                  <a:cubicBezTo>
                    <a:pt x="51" y="17"/>
                    <a:pt x="48" y="16"/>
                    <a:pt x="46" y="17"/>
                  </a:cubicBezTo>
                  <a:cubicBezTo>
                    <a:pt x="45" y="17"/>
                    <a:pt x="45" y="18"/>
                    <a:pt x="45" y="18"/>
                  </a:cubicBezTo>
                  <a:cubicBezTo>
                    <a:pt x="44" y="19"/>
                    <a:pt x="44" y="20"/>
                    <a:pt x="43" y="20"/>
                  </a:cubicBezTo>
                  <a:cubicBezTo>
                    <a:pt x="42" y="21"/>
                    <a:pt x="41" y="21"/>
                    <a:pt x="40" y="20"/>
                  </a:cubicBezTo>
                  <a:cubicBezTo>
                    <a:pt x="39" y="20"/>
                    <a:pt x="39" y="20"/>
                    <a:pt x="38" y="19"/>
                  </a:cubicBezTo>
                  <a:cubicBezTo>
                    <a:pt x="37" y="18"/>
                    <a:pt x="37" y="17"/>
                    <a:pt x="36" y="17"/>
                  </a:cubicBezTo>
                  <a:cubicBezTo>
                    <a:pt x="35" y="16"/>
                    <a:pt x="34" y="16"/>
                    <a:pt x="34" y="17"/>
                  </a:cubicBezTo>
                  <a:cubicBezTo>
                    <a:pt x="34" y="17"/>
                    <a:pt x="34" y="18"/>
                    <a:pt x="33" y="18"/>
                  </a:cubicBezTo>
                  <a:cubicBezTo>
                    <a:pt x="32" y="19"/>
                    <a:pt x="31" y="19"/>
                    <a:pt x="30" y="18"/>
                  </a:cubicBezTo>
                  <a:cubicBezTo>
                    <a:pt x="29" y="18"/>
                    <a:pt x="28" y="17"/>
                    <a:pt x="27" y="16"/>
                  </a:cubicBezTo>
                  <a:cubicBezTo>
                    <a:pt x="26" y="15"/>
                    <a:pt x="25" y="15"/>
                    <a:pt x="25" y="16"/>
                  </a:cubicBezTo>
                  <a:cubicBezTo>
                    <a:pt x="24" y="17"/>
                    <a:pt x="25" y="19"/>
                    <a:pt x="24" y="20"/>
                  </a:cubicBezTo>
                  <a:cubicBezTo>
                    <a:pt x="24" y="20"/>
                    <a:pt x="23" y="20"/>
                    <a:pt x="22" y="20"/>
                  </a:cubicBezTo>
                  <a:cubicBezTo>
                    <a:pt x="22" y="19"/>
                    <a:pt x="21" y="19"/>
                    <a:pt x="20" y="18"/>
                  </a:cubicBezTo>
                  <a:cubicBezTo>
                    <a:pt x="20" y="17"/>
                    <a:pt x="20" y="17"/>
                    <a:pt x="20" y="16"/>
                  </a:cubicBezTo>
                  <a:cubicBezTo>
                    <a:pt x="21" y="16"/>
                    <a:pt x="21" y="15"/>
                    <a:pt x="22" y="14"/>
                  </a:cubicBezTo>
                  <a:cubicBezTo>
                    <a:pt x="22" y="14"/>
                    <a:pt x="22" y="14"/>
                    <a:pt x="22" y="13"/>
                  </a:cubicBezTo>
                  <a:cubicBezTo>
                    <a:pt x="21" y="13"/>
                    <a:pt x="21" y="12"/>
                    <a:pt x="20" y="12"/>
                  </a:cubicBezTo>
                  <a:cubicBezTo>
                    <a:pt x="18" y="11"/>
                    <a:pt x="16" y="11"/>
                    <a:pt x="14" y="12"/>
                  </a:cubicBezTo>
                  <a:cubicBezTo>
                    <a:pt x="13" y="12"/>
                    <a:pt x="12" y="13"/>
                    <a:pt x="12" y="13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5" y="11"/>
                    <a:pt x="14" y="10"/>
                  </a:cubicBezTo>
                  <a:cubicBezTo>
                    <a:pt x="13" y="9"/>
                    <a:pt x="11" y="9"/>
                    <a:pt x="11" y="7"/>
                  </a:cubicBezTo>
                  <a:cubicBezTo>
                    <a:pt x="13" y="7"/>
                    <a:pt x="14" y="8"/>
                    <a:pt x="15" y="8"/>
                  </a:cubicBezTo>
                  <a:cubicBezTo>
                    <a:pt x="18" y="8"/>
                    <a:pt x="20" y="9"/>
                    <a:pt x="23" y="8"/>
                  </a:cubicBezTo>
                  <a:cubicBezTo>
                    <a:pt x="24" y="8"/>
                    <a:pt x="25" y="8"/>
                    <a:pt x="25" y="7"/>
                  </a:cubicBezTo>
                  <a:cubicBezTo>
                    <a:pt x="21" y="6"/>
                    <a:pt x="18" y="7"/>
                    <a:pt x="14" y="6"/>
                  </a:cubicBezTo>
                  <a:cubicBezTo>
                    <a:pt x="13" y="6"/>
                    <a:pt x="12" y="6"/>
                    <a:pt x="12" y="5"/>
                  </a:cubicBezTo>
                  <a:cubicBezTo>
                    <a:pt x="14" y="5"/>
                    <a:pt x="16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6" y="4"/>
                    <a:pt x="14" y="4"/>
                    <a:pt x="13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6" y="4"/>
                    <a:pt x="17" y="3"/>
                  </a:cubicBezTo>
                  <a:cubicBezTo>
                    <a:pt x="17" y="3"/>
                    <a:pt x="17" y="2"/>
                    <a:pt x="17" y="2"/>
                  </a:cubicBezTo>
                  <a:cubicBezTo>
                    <a:pt x="14" y="0"/>
                    <a:pt x="12" y="0"/>
                    <a:pt x="9" y="1"/>
                  </a:cubicBezTo>
                  <a:cubicBezTo>
                    <a:pt x="8" y="1"/>
                    <a:pt x="7" y="1"/>
                    <a:pt x="6" y="2"/>
                  </a:cubicBezTo>
                  <a:cubicBezTo>
                    <a:pt x="5" y="2"/>
                    <a:pt x="3" y="1"/>
                    <a:pt x="2" y="2"/>
                  </a:cubicBezTo>
                  <a:cubicBezTo>
                    <a:pt x="2" y="2"/>
                    <a:pt x="1" y="3"/>
                    <a:pt x="1" y="4"/>
                  </a:cubicBezTo>
                  <a:cubicBezTo>
                    <a:pt x="0" y="4"/>
                    <a:pt x="1" y="5"/>
                    <a:pt x="0" y="6"/>
                  </a:cubicBezTo>
                  <a:cubicBezTo>
                    <a:pt x="1" y="6"/>
                    <a:pt x="1" y="7"/>
                    <a:pt x="1" y="6"/>
                  </a:cubicBezTo>
                  <a:cubicBezTo>
                    <a:pt x="1" y="8"/>
                    <a:pt x="0" y="9"/>
                    <a:pt x="1" y="11"/>
                  </a:cubicBezTo>
                  <a:cubicBezTo>
                    <a:pt x="1" y="12"/>
                    <a:pt x="3" y="12"/>
                    <a:pt x="4" y="13"/>
                  </a:cubicBezTo>
                  <a:cubicBezTo>
                    <a:pt x="4" y="14"/>
                    <a:pt x="4" y="15"/>
                    <a:pt x="3" y="15"/>
                  </a:cubicBezTo>
                  <a:cubicBezTo>
                    <a:pt x="3" y="16"/>
                    <a:pt x="2" y="17"/>
                    <a:pt x="1" y="18"/>
                  </a:cubicBezTo>
                  <a:cubicBezTo>
                    <a:pt x="1" y="18"/>
                    <a:pt x="1" y="19"/>
                    <a:pt x="1" y="20"/>
                  </a:cubicBezTo>
                  <a:cubicBezTo>
                    <a:pt x="1" y="20"/>
                    <a:pt x="2" y="21"/>
                    <a:pt x="2" y="21"/>
                  </a:cubicBezTo>
                  <a:cubicBezTo>
                    <a:pt x="2" y="22"/>
                    <a:pt x="2" y="23"/>
                    <a:pt x="2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6"/>
                    <a:pt x="0" y="27"/>
                    <a:pt x="1" y="27"/>
                  </a:cubicBezTo>
                  <a:cubicBezTo>
                    <a:pt x="1" y="28"/>
                    <a:pt x="2" y="29"/>
                    <a:pt x="3" y="29"/>
                  </a:cubicBezTo>
                  <a:cubicBezTo>
                    <a:pt x="4" y="30"/>
                    <a:pt x="4" y="30"/>
                    <a:pt x="5" y="29"/>
                  </a:cubicBezTo>
                  <a:cubicBezTo>
                    <a:pt x="6" y="29"/>
                    <a:pt x="8" y="28"/>
                    <a:pt x="9" y="29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4" y="32"/>
                    <a:pt x="16" y="31"/>
                    <a:pt x="20" y="31"/>
                  </a:cubicBezTo>
                  <a:cubicBezTo>
                    <a:pt x="21" y="31"/>
                    <a:pt x="21" y="28"/>
                    <a:pt x="23" y="28"/>
                  </a:cubicBezTo>
                  <a:cubicBezTo>
                    <a:pt x="23" y="30"/>
                    <a:pt x="23" y="32"/>
                    <a:pt x="24" y="33"/>
                  </a:cubicBezTo>
                  <a:cubicBezTo>
                    <a:pt x="28" y="33"/>
                    <a:pt x="32" y="34"/>
                    <a:pt x="35" y="33"/>
                  </a:cubicBezTo>
                  <a:cubicBezTo>
                    <a:pt x="36" y="33"/>
                    <a:pt x="36" y="32"/>
                    <a:pt x="37" y="32"/>
                  </a:cubicBezTo>
                  <a:cubicBezTo>
                    <a:pt x="38" y="31"/>
                    <a:pt x="39" y="32"/>
                    <a:pt x="40" y="32"/>
                  </a:cubicBezTo>
                  <a:cubicBezTo>
                    <a:pt x="40" y="33"/>
                    <a:pt x="42" y="33"/>
                    <a:pt x="42" y="32"/>
                  </a:cubicBezTo>
                  <a:cubicBezTo>
                    <a:pt x="44" y="31"/>
                    <a:pt x="46" y="30"/>
                    <a:pt x="48" y="31"/>
                  </a:cubicBezTo>
                  <a:cubicBezTo>
                    <a:pt x="51" y="31"/>
                    <a:pt x="54" y="32"/>
                    <a:pt x="57" y="31"/>
                  </a:cubicBezTo>
                  <a:cubicBezTo>
                    <a:pt x="58" y="31"/>
                    <a:pt x="58" y="29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ubicBezTo>
                    <a:pt x="61" y="29"/>
                    <a:pt x="60" y="31"/>
                    <a:pt x="61" y="32"/>
                  </a:cubicBezTo>
                  <a:cubicBezTo>
                    <a:pt x="61" y="32"/>
                    <a:pt x="63" y="32"/>
                    <a:pt x="64" y="32"/>
                  </a:cubicBezTo>
                  <a:cubicBezTo>
                    <a:pt x="66" y="31"/>
                    <a:pt x="68" y="33"/>
                    <a:pt x="70" y="32"/>
                  </a:cubicBezTo>
                  <a:cubicBezTo>
                    <a:pt x="71" y="31"/>
                    <a:pt x="72" y="32"/>
                    <a:pt x="72" y="31"/>
                  </a:cubicBezTo>
                  <a:cubicBezTo>
                    <a:pt x="74" y="30"/>
                    <a:pt x="76" y="31"/>
                    <a:pt x="78" y="31"/>
                  </a:cubicBezTo>
                  <a:cubicBezTo>
                    <a:pt x="78" y="32"/>
                    <a:pt x="79" y="32"/>
                    <a:pt x="79" y="31"/>
                  </a:cubicBezTo>
                  <a:cubicBezTo>
                    <a:pt x="80" y="31"/>
                    <a:pt x="80" y="30"/>
                    <a:pt x="80" y="30"/>
                  </a:cubicBezTo>
                  <a:cubicBezTo>
                    <a:pt x="81" y="27"/>
                    <a:pt x="80" y="25"/>
                    <a:pt x="81" y="22"/>
                  </a:cubicBezTo>
                  <a:cubicBezTo>
                    <a:pt x="82" y="21"/>
                    <a:pt x="85" y="20"/>
                    <a:pt x="85" y="18"/>
                  </a:cubicBezTo>
                  <a:cubicBezTo>
                    <a:pt x="83" y="17"/>
                    <a:pt x="81" y="15"/>
                    <a:pt x="79" y="14"/>
                  </a:cubicBezTo>
                  <a:cubicBezTo>
                    <a:pt x="77" y="14"/>
                    <a:pt x="75" y="14"/>
                    <a:pt x="73" y="13"/>
                  </a:cubicBezTo>
                  <a:cubicBezTo>
                    <a:pt x="71" y="13"/>
                    <a:pt x="69" y="13"/>
                    <a:pt x="68" y="13"/>
                  </a:cubicBezTo>
                  <a:cubicBezTo>
                    <a:pt x="67" y="13"/>
                    <a:pt x="66" y="14"/>
                    <a:pt x="64" y="14"/>
                  </a:cubicBezTo>
                  <a:cubicBezTo>
                    <a:pt x="64" y="15"/>
                    <a:pt x="63" y="15"/>
                    <a:pt x="62" y="14"/>
                  </a:cubicBezTo>
                  <a:cubicBezTo>
                    <a:pt x="61" y="13"/>
                    <a:pt x="59" y="12"/>
                    <a:pt x="57" y="13"/>
                  </a:cubicBezTo>
                  <a:cubicBezTo>
                    <a:pt x="56" y="13"/>
                    <a:pt x="56" y="14"/>
                    <a:pt x="55" y="14"/>
                  </a:cubicBezTo>
                  <a:lnTo>
                    <a:pt x="54" y="15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9" name="Freeform 38"/>
            <p:cNvSpPr>
              <a:spLocks/>
            </p:cNvSpPr>
            <p:nvPr/>
          </p:nvSpPr>
          <p:spPr bwMode="auto">
            <a:xfrm>
              <a:off x="6111719" y="4466969"/>
              <a:ext cx="4350" cy="4834"/>
            </a:xfrm>
            <a:custGeom>
              <a:avLst/>
              <a:gdLst>
                <a:gd name="T0" fmla="*/ 19258026 w 3"/>
                <a:gd name="T1" fmla="*/ 940581 h 5"/>
                <a:gd name="T2" fmla="*/ 19258026 w 3"/>
                <a:gd name="T3" fmla="*/ 257371 h 5"/>
                <a:gd name="T4" fmla="*/ 7221760 w 3"/>
                <a:gd name="T5" fmla="*/ 0 h 5"/>
                <a:gd name="T6" fmla="*/ 7221760 w 3"/>
                <a:gd name="T7" fmla="*/ 1245675 h 5"/>
                <a:gd name="T8" fmla="*/ 19258026 w 3"/>
                <a:gd name="T9" fmla="*/ 1500783 h 5"/>
                <a:gd name="T10" fmla="*/ 19258026 w 3"/>
                <a:gd name="T11" fmla="*/ 940581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3"/>
                  </a:moveTo>
                  <a:cubicBezTo>
                    <a:pt x="3" y="2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1" y="3"/>
                    <a:pt x="1" y="4"/>
                  </a:cubicBezTo>
                  <a:cubicBezTo>
                    <a:pt x="1" y="5"/>
                    <a:pt x="2" y="5"/>
                    <a:pt x="3" y="5"/>
                  </a:cubicBezTo>
                  <a:cubicBezTo>
                    <a:pt x="3" y="4"/>
                    <a:pt x="3" y="3"/>
                    <a:pt x="3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0" name="Freeform 39"/>
            <p:cNvSpPr>
              <a:spLocks/>
            </p:cNvSpPr>
            <p:nvPr/>
          </p:nvSpPr>
          <p:spPr bwMode="auto">
            <a:xfrm>
              <a:off x="6099395" y="4486914"/>
              <a:ext cx="43498" cy="16923"/>
            </a:xfrm>
            <a:custGeom>
              <a:avLst/>
              <a:gdLst>
                <a:gd name="T0" fmla="*/ 20356391 w 32"/>
                <a:gd name="T1" fmla="*/ 896786 h 16"/>
                <a:gd name="T2" fmla="*/ 18521918 w 32"/>
                <a:gd name="T3" fmla="*/ 896786 h 16"/>
                <a:gd name="T4" fmla="*/ 15456858 w 32"/>
                <a:gd name="T5" fmla="*/ 2129866 h 16"/>
                <a:gd name="T6" fmla="*/ 12013775 w 32"/>
                <a:gd name="T7" fmla="*/ 2129866 h 16"/>
                <a:gd name="T8" fmla="*/ 12013775 w 32"/>
                <a:gd name="T9" fmla="*/ 2129866 h 16"/>
                <a:gd name="T10" fmla="*/ 7279645 w 32"/>
                <a:gd name="T11" fmla="*/ 0 h 16"/>
                <a:gd name="T12" fmla="*/ 3065115 w 32"/>
                <a:gd name="T13" fmla="*/ 0 h 16"/>
                <a:gd name="T14" fmla="*/ 896786 w 32"/>
                <a:gd name="T15" fmla="*/ 5955246 h 16"/>
                <a:gd name="T16" fmla="*/ 4351847 w 32"/>
                <a:gd name="T17" fmla="*/ 8176458 h 16"/>
                <a:gd name="T18" fmla="*/ 5058432 w 32"/>
                <a:gd name="T19" fmla="*/ 14143703 h 16"/>
                <a:gd name="T20" fmla="*/ 11241359 w 32"/>
                <a:gd name="T21" fmla="*/ 15456858 h 16"/>
                <a:gd name="T22" fmla="*/ 14143703 w 32"/>
                <a:gd name="T23" fmla="*/ 13463332 h 16"/>
                <a:gd name="T24" fmla="*/ 29754318 w 32"/>
                <a:gd name="T25" fmla="*/ 12013775 h 16"/>
                <a:gd name="T26" fmla="*/ 32656453 w 32"/>
                <a:gd name="T27" fmla="*/ 13463332 h 16"/>
                <a:gd name="T28" fmla="*/ 31975398 w 32"/>
                <a:gd name="T29" fmla="*/ 9111496 h 16"/>
                <a:gd name="T30" fmla="*/ 29754318 w 32"/>
                <a:gd name="T31" fmla="*/ 7279645 h 16"/>
                <a:gd name="T32" fmla="*/ 27594988 w 32"/>
                <a:gd name="T33" fmla="*/ 5955246 h 16"/>
                <a:gd name="T34" fmla="*/ 24547105 w 32"/>
                <a:gd name="T35" fmla="*/ 2129866 h 16"/>
                <a:gd name="T36" fmla="*/ 21639802 w 32"/>
                <a:gd name="T37" fmla="*/ 896786 h 16"/>
                <a:gd name="T38" fmla="*/ 20356391 w 32"/>
                <a:gd name="T39" fmla="*/ 896786 h 1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2"/>
                <a:gd name="T61" fmla="*/ 0 h 16"/>
                <a:gd name="T62" fmla="*/ 32 w 32"/>
                <a:gd name="T63" fmla="*/ 16 h 1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2" h="16">
                  <a:moveTo>
                    <a:pt x="20" y="1"/>
                  </a:moveTo>
                  <a:cubicBezTo>
                    <a:pt x="19" y="1"/>
                    <a:pt x="18" y="1"/>
                    <a:pt x="18" y="1"/>
                  </a:cubicBezTo>
                  <a:cubicBezTo>
                    <a:pt x="17" y="1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1"/>
                    <a:pt x="8" y="1"/>
                    <a:pt x="7" y="0"/>
                  </a:cubicBezTo>
                  <a:cubicBezTo>
                    <a:pt x="6" y="0"/>
                    <a:pt x="4" y="0"/>
                    <a:pt x="3" y="0"/>
                  </a:cubicBezTo>
                  <a:cubicBezTo>
                    <a:pt x="1" y="1"/>
                    <a:pt x="0" y="4"/>
                    <a:pt x="1" y="6"/>
                  </a:cubicBezTo>
                  <a:cubicBezTo>
                    <a:pt x="2" y="7"/>
                    <a:pt x="3" y="7"/>
                    <a:pt x="4" y="8"/>
                  </a:cubicBezTo>
                  <a:cubicBezTo>
                    <a:pt x="5" y="10"/>
                    <a:pt x="4" y="12"/>
                    <a:pt x="5" y="14"/>
                  </a:cubicBezTo>
                  <a:cubicBezTo>
                    <a:pt x="6" y="16"/>
                    <a:pt x="9" y="16"/>
                    <a:pt x="11" y="15"/>
                  </a:cubicBezTo>
                  <a:cubicBezTo>
                    <a:pt x="12" y="15"/>
                    <a:pt x="13" y="13"/>
                    <a:pt x="14" y="13"/>
                  </a:cubicBezTo>
                  <a:cubicBezTo>
                    <a:pt x="19" y="12"/>
                    <a:pt x="24" y="12"/>
                    <a:pt x="29" y="12"/>
                  </a:cubicBezTo>
                  <a:cubicBezTo>
                    <a:pt x="30" y="12"/>
                    <a:pt x="31" y="13"/>
                    <a:pt x="32" y="13"/>
                  </a:cubicBezTo>
                  <a:cubicBezTo>
                    <a:pt x="32" y="12"/>
                    <a:pt x="32" y="10"/>
                    <a:pt x="31" y="9"/>
                  </a:cubicBezTo>
                  <a:cubicBezTo>
                    <a:pt x="31" y="8"/>
                    <a:pt x="30" y="7"/>
                    <a:pt x="29" y="7"/>
                  </a:cubicBezTo>
                  <a:cubicBezTo>
                    <a:pt x="28" y="6"/>
                    <a:pt x="28" y="6"/>
                    <a:pt x="27" y="6"/>
                  </a:cubicBezTo>
                  <a:cubicBezTo>
                    <a:pt x="26" y="5"/>
                    <a:pt x="25" y="3"/>
                    <a:pt x="24" y="2"/>
                  </a:cubicBezTo>
                  <a:cubicBezTo>
                    <a:pt x="23" y="2"/>
                    <a:pt x="22" y="1"/>
                    <a:pt x="21" y="1"/>
                  </a:cubicBezTo>
                  <a:lnTo>
                    <a:pt x="20" y="1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1" name="Freeform 40"/>
            <p:cNvSpPr>
              <a:spLocks/>
            </p:cNvSpPr>
            <p:nvPr/>
          </p:nvSpPr>
          <p:spPr bwMode="auto">
            <a:xfrm>
              <a:off x="6094323" y="4553389"/>
              <a:ext cx="15222" cy="9669"/>
            </a:xfrm>
            <a:custGeom>
              <a:avLst/>
              <a:gdLst>
                <a:gd name="T0" fmla="*/ 6840539 w 11"/>
                <a:gd name="T1" fmla="*/ 727531 h 9"/>
                <a:gd name="T2" fmla="*/ 2007625 w 11"/>
                <a:gd name="T3" fmla="*/ 3961001 h 9"/>
                <a:gd name="T4" fmla="*/ 0 w 11"/>
                <a:gd name="T5" fmla="*/ 5234180 h 9"/>
                <a:gd name="T6" fmla="*/ 0 w 11"/>
                <a:gd name="T7" fmla="*/ 6253179 h 9"/>
                <a:gd name="T8" fmla="*/ 3587761 w 11"/>
                <a:gd name="T9" fmla="*/ 6253179 h 9"/>
                <a:gd name="T10" fmla="*/ 7630664 w 11"/>
                <a:gd name="T11" fmla="*/ 2970751 h 9"/>
                <a:gd name="T12" fmla="*/ 10341118 w 11"/>
                <a:gd name="T13" fmla="*/ 0 h 9"/>
                <a:gd name="T14" fmla="*/ 7630664 w 11"/>
                <a:gd name="T15" fmla="*/ 0 h 9"/>
                <a:gd name="T16" fmla="*/ 6840539 w 11"/>
                <a:gd name="T17" fmla="*/ 727531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9"/>
                <a:gd name="T29" fmla="*/ 11 w 11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9">
                  <a:moveTo>
                    <a:pt x="7" y="1"/>
                  </a:moveTo>
                  <a:cubicBezTo>
                    <a:pt x="5" y="2"/>
                    <a:pt x="3" y="4"/>
                    <a:pt x="2" y="5"/>
                  </a:cubicBezTo>
                  <a:cubicBezTo>
                    <a:pt x="1" y="6"/>
                    <a:pt x="1" y="6"/>
                    <a:pt x="0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1" y="9"/>
                    <a:pt x="3" y="8"/>
                    <a:pt x="4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9" y="2"/>
                    <a:pt x="11" y="1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8" y="0"/>
                    <a:pt x="7" y="1"/>
                    <a:pt x="7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2" name="Freeform 41"/>
            <p:cNvSpPr>
              <a:spLocks/>
            </p:cNvSpPr>
            <p:nvPr/>
          </p:nvSpPr>
          <p:spPr bwMode="auto">
            <a:xfrm>
              <a:off x="6110271" y="4568498"/>
              <a:ext cx="22474" cy="16317"/>
            </a:xfrm>
            <a:custGeom>
              <a:avLst/>
              <a:gdLst>
                <a:gd name="T0" fmla="*/ 7173119 w 17"/>
                <a:gd name="T1" fmla="*/ 727531 h 15"/>
                <a:gd name="T2" fmla="*/ 806887 w 17"/>
                <a:gd name="T3" fmla="*/ 5234181 h 15"/>
                <a:gd name="T4" fmla="*/ 1898557 w 17"/>
                <a:gd name="T5" fmla="*/ 10939910 h 15"/>
                <a:gd name="T6" fmla="*/ 2560181 w 17"/>
                <a:gd name="T7" fmla="*/ 11620011 h 15"/>
                <a:gd name="T8" fmla="*/ 9768793 w 17"/>
                <a:gd name="T9" fmla="*/ 11620011 h 15"/>
                <a:gd name="T10" fmla="*/ 11661007 w 17"/>
                <a:gd name="T11" fmla="*/ 10939910 h 15"/>
                <a:gd name="T12" fmla="*/ 13070851 w 17"/>
                <a:gd name="T13" fmla="*/ 9242333 h 15"/>
                <a:gd name="T14" fmla="*/ 13070851 w 17"/>
                <a:gd name="T15" fmla="*/ 8614993 h 15"/>
                <a:gd name="T16" fmla="*/ 14174003 w 17"/>
                <a:gd name="T17" fmla="*/ 3961001 h 15"/>
                <a:gd name="T18" fmla="*/ 14978991 w 17"/>
                <a:gd name="T19" fmla="*/ 727531 h 15"/>
                <a:gd name="T20" fmla="*/ 10511040 w 17"/>
                <a:gd name="T21" fmla="*/ 0 h 15"/>
                <a:gd name="T22" fmla="*/ 8957156 w 17"/>
                <a:gd name="T23" fmla="*/ 727531 h 15"/>
                <a:gd name="T24" fmla="*/ 7173119 w 17"/>
                <a:gd name="T25" fmla="*/ 727531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15"/>
                <a:gd name="T41" fmla="*/ 17 w 17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15">
                  <a:moveTo>
                    <a:pt x="8" y="1"/>
                  </a:moveTo>
                  <a:cubicBezTo>
                    <a:pt x="5" y="2"/>
                    <a:pt x="3" y="5"/>
                    <a:pt x="1" y="7"/>
                  </a:cubicBezTo>
                  <a:cubicBezTo>
                    <a:pt x="1" y="10"/>
                    <a:pt x="0" y="12"/>
                    <a:pt x="2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6" y="15"/>
                    <a:pt x="9" y="15"/>
                    <a:pt x="11" y="15"/>
                  </a:cubicBezTo>
                  <a:cubicBezTo>
                    <a:pt x="12" y="15"/>
                    <a:pt x="12" y="14"/>
                    <a:pt x="13" y="14"/>
                  </a:cubicBezTo>
                  <a:cubicBezTo>
                    <a:pt x="14" y="14"/>
                    <a:pt x="14" y="13"/>
                    <a:pt x="15" y="12"/>
                  </a:cubicBezTo>
                  <a:cubicBezTo>
                    <a:pt x="15" y="12"/>
                    <a:pt x="15" y="11"/>
                    <a:pt x="15" y="11"/>
                  </a:cubicBezTo>
                  <a:cubicBezTo>
                    <a:pt x="16" y="9"/>
                    <a:pt x="15" y="7"/>
                    <a:pt x="16" y="5"/>
                  </a:cubicBezTo>
                  <a:cubicBezTo>
                    <a:pt x="17" y="4"/>
                    <a:pt x="17" y="2"/>
                    <a:pt x="17" y="1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11" y="0"/>
                    <a:pt x="11" y="0"/>
                    <a:pt x="10" y="1"/>
                  </a:cubicBezTo>
                  <a:cubicBezTo>
                    <a:pt x="10" y="1"/>
                    <a:pt x="9" y="1"/>
                    <a:pt x="8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3" name="Freeform 42"/>
            <p:cNvSpPr>
              <a:spLocks/>
            </p:cNvSpPr>
            <p:nvPr/>
          </p:nvSpPr>
          <p:spPr bwMode="auto">
            <a:xfrm>
              <a:off x="6135645" y="4569708"/>
              <a:ext cx="12324" cy="9065"/>
            </a:xfrm>
            <a:custGeom>
              <a:avLst/>
              <a:gdLst>
                <a:gd name="T0" fmla="*/ 5234180 w 9"/>
                <a:gd name="T1" fmla="*/ 2243220 h 9"/>
                <a:gd name="T2" fmla="*/ 4688532 w 9"/>
                <a:gd name="T3" fmla="*/ 1697572 h 9"/>
                <a:gd name="T4" fmla="*/ 1697572 w 9"/>
                <a:gd name="T5" fmla="*/ 727531 h 9"/>
                <a:gd name="T6" fmla="*/ 0 w 9"/>
                <a:gd name="T7" fmla="*/ 2243220 h 9"/>
                <a:gd name="T8" fmla="*/ 0 w 9"/>
                <a:gd name="T9" fmla="*/ 4688532 h 9"/>
                <a:gd name="T10" fmla="*/ 6253179 w 9"/>
                <a:gd name="T11" fmla="*/ 5234180 h 9"/>
                <a:gd name="T12" fmla="*/ 6931749 w 9"/>
                <a:gd name="T13" fmla="*/ 2970751 h 9"/>
                <a:gd name="T14" fmla="*/ 5234180 w 9"/>
                <a:gd name="T15" fmla="*/ 2243220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9"/>
                <a:gd name="T26" fmla="*/ 9 w 9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9">
                  <a:moveTo>
                    <a:pt x="7" y="3"/>
                  </a:moveTo>
                  <a:cubicBezTo>
                    <a:pt x="7" y="3"/>
                    <a:pt x="6" y="3"/>
                    <a:pt x="6" y="2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1" y="9"/>
                    <a:pt x="5" y="7"/>
                    <a:pt x="8" y="7"/>
                  </a:cubicBezTo>
                  <a:cubicBezTo>
                    <a:pt x="9" y="7"/>
                    <a:pt x="9" y="5"/>
                    <a:pt x="9" y="4"/>
                  </a:cubicBezTo>
                  <a:cubicBezTo>
                    <a:pt x="8" y="4"/>
                    <a:pt x="8" y="3"/>
                    <a:pt x="7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4" name="Freeform 43"/>
            <p:cNvSpPr>
              <a:spLocks/>
            </p:cNvSpPr>
            <p:nvPr/>
          </p:nvSpPr>
          <p:spPr bwMode="auto">
            <a:xfrm>
              <a:off x="6006601" y="4485704"/>
              <a:ext cx="252287" cy="172840"/>
            </a:xfrm>
            <a:custGeom>
              <a:avLst/>
              <a:gdLst>
                <a:gd name="T0" fmla="*/ 125184759 w 187"/>
                <a:gd name="T1" fmla="*/ 37310641 h 159"/>
                <a:gd name="T2" fmla="*/ 127215973 w 187"/>
                <a:gd name="T3" fmla="*/ 42973842 h 159"/>
                <a:gd name="T4" fmla="*/ 130959669 w 187"/>
                <a:gd name="T5" fmla="*/ 47733934 h 159"/>
                <a:gd name="T6" fmla="*/ 144243831 w 187"/>
                <a:gd name="T7" fmla="*/ 48897556 h 159"/>
                <a:gd name="T8" fmla="*/ 137777983 w 187"/>
                <a:gd name="T9" fmla="*/ 55388477 h 159"/>
                <a:gd name="T10" fmla="*/ 148110285 w 187"/>
                <a:gd name="T11" fmla="*/ 61045899 h 159"/>
                <a:gd name="T12" fmla="*/ 139293130 w 187"/>
                <a:gd name="T13" fmla="*/ 63915189 h 159"/>
                <a:gd name="T14" fmla="*/ 145405000 w 187"/>
                <a:gd name="T15" fmla="*/ 74417835 h 159"/>
                <a:gd name="T16" fmla="*/ 155750084 w 187"/>
                <a:gd name="T17" fmla="*/ 77687738 h 159"/>
                <a:gd name="T18" fmla="*/ 166968807 w 187"/>
                <a:gd name="T19" fmla="*/ 86212009 h 159"/>
                <a:gd name="T20" fmla="*/ 176667957 w 187"/>
                <a:gd name="T21" fmla="*/ 92727221 h 159"/>
                <a:gd name="T22" fmla="*/ 167816387 w 187"/>
                <a:gd name="T23" fmla="*/ 101623633 h 159"/>
                <a:gd name="T24" fmla="*/ 161328907 w 187"/>
                <a:gd name="T25" fmla="*/ 105146283 h 159"/>
                <a:gd name="T26" fmla="*/ 151734400 w 187"/>
                <a:gd name="T27" fmla="*/ 101623633 h 159"/>
                <a:gd name="T28" fmla="*/ 140506866 w 187"/>
                <a:gd name="T29" fmla="*/ 93869352 h 159"/>
                <a:gd name="T30" fmla="*/ 132178473 w 187"/>
                <a:gd name="T31" fmla="*/ 100257661 h 159"/>
                <a:gd name="T32" fmla="*/ 135770443 w 187"/>
                <a:gd name="T33" fmla="*/ 107252942 h 159"/>
                <a:gd name="T34" fmla="*/ 148110285 w 187"/>
                <a:gd name="T35" fmla="*/ 124167809 h 159"/>
                <a:gd name="T36" fmla="*/ 146099871 w 187"/>
                <a:gd name="T37" fmla="*/ 133957464 h 159"/>
                <a:gd name="T38" fmla="*/ 142507901 w 187"/>
                <a:gd name="T39" fmla="*/ 139584805 h 159"/>
                <a:gd name="T40" fmla="*/ 123329022 w 187"/>
                <a:gd name="T41" fmla="*/ 128295767 h 159"/>
                <a:gd name="T42" fmla="*/ 138404478 w 187"/>
                <a:gd name="T43" fmla="*/ 149269351 h 159"/>
                <a:gd name="T44" fmla="*/ 127215973 w 187"/>
                <a:gd name="T45" fmla="*/ 147252667 h 159"/>
                <a:gd name="T46" fmla="*/ 110103100 w 187"/>
                <a:gd name="T47" fmla="*/ 139584805 h 159"/>
                <a:gd name="T48" fmla="*/ 103621066 w 187"/>
                <a:gd name="T49" fmla="*/ 131850730 h 159"/>
                <a:gd name="T50" fmla="*/ 91196209 w 187"/>
                <a:gd name="T51" fmla="*/ 122669258 h 159"/>
                <a:gd name="T52" fmla="*/ 77996968 w 187"/>
                <a:gd name="T53" fmla="*/ 119704241 h 159"/>
                <a:gd name="T54" fmla="*/ 66254010 w 187"/>
                <a:gd name="T55" fmla="*/ 112880208 h 159"/>
                <a:gd name="T56" fmla="*/ 88327247 w 187"/>
                <a:gd name="T57" fmla="*/ 107898356 h 159"/>
                <a:gd name="T58" fmla="*/ 98668171 w 187"/>
                <a:gd name="T59" fmla="*/ 93869352 h 159"/>
                <a:gd name="T60" fmla="*/ 106365228 w 187"/>
                <a:gd name="T61" fmla="*/ 83314266 h 159"/>
                <a:gd name="T62" fmla="*/ 94811172 w 187"/>
                <a:gd name="T63" fmla="*/ 69942235 h 159"/>
                <a:gd name="T64" fmla="*/ 81584721 w 187"/>
                <a:gd name="T65" fmla="*/ 63915189 h 159"/>
                <a:gd name="T66" fmla="*/ 80698263 w 187"/>
                <a:gd name="T67" fmla="*/ 53371567 h 159"/>
                <a:gd name="T68" fmla="*/ 67407313 w 187"/>
                <a:gd name="T69" fmla="*/ 44840996 h 159"/>
                <a:gd name="T70" fmla="*/ 57773475 w 187"/>
                <a:gd name="T71" fmla="*/ 55388477 h 159"/>
                <a:gd name="T72" fmla="*/ 55073901 w 187"/>
                <a:gd name="T73" fmla="*/ 51873470 h 159"/>
                <a:gd name="T74" fmla="*/ 40962051 w 187"/>
                <a:gd name="T75" fmla="*/ 51873470 h 159"/>
                <a:gd name="T76" fmla="*/ 9698940 w 187"/>
                <a:gd name="T77" fmla="*/ 46147564 h 159"/>
                <a:gd name="T78" fmla="*/ 17330096 w 187"/>
                <a:gd name="T79" fmla="*/ 37310641 h 159"/>
                <a:gd name="T80" fmla="*/ 6840539 w 187"/>
                <a:gd name="T81" fmla="*/ 34350373 h 159"/>
                <a:gd name="T82" fmla="*/ 17330096 w 187"/>
                <a:gd name="T83" fmla="*/ 4773185 h 159"/>
                <a:gd name="T84" fmla="*/ 26510887 w 187"/>
                <a:gd name="T85" fmla="*/ 13307486 h 159"/>
                <a:gd name="T86" fmla="*/ 22924760 w 187"/>
                <a:gd name="T87" fmla="*/ 37310641 h 159"/>
                <a:gd name="T88" fmla="*/ 34141572 w 187"/>
                <a:gd name="T89" fmla="*/ 36456691 h 159"/>
                <a:gd name="T90" fmla="*/ 33265628 w 187"/>
                <a:gd name="T91" fmla="*/ 21038105 h 159"/>
                <a:gd name="T92" fmla="*/ 33265628 w 187"/>
                <a:gd name="T93" fmla="*/ 18172451 h 159"/>
                <a:gd name="T94" fmla="*/ 39736175 w 187"/>
                <a:gd name="T95" fmla="*/ 8535833 h 159"/>
                <a:gd name="T96" fmla="*/ 50082167 w 187"/>
                <a:gd name="T97" fmla="*/ 2909278 h 159"/>
                <a:gd name="T98" fmla="*/ 66254010 w 187"/>
                <a:gd name="T99" fmla="*/ 15416529 h 159"/>
                <a:gd name="T100" fmla="*/ 73006898 w 187"/>
                <a:gd name="T101" fmla="*/ 21038105 h 159"/>
                <a:gd name="T102" fmla="*/ 76620311 w 187"/>
                <a:gd name="T103" fmla="*/ 23057456 h 159"/>
                <a:gd name="T104" fmla="*/ 78627813 w 187"/>
                <a:gd name="T105" fmla="*/ 18172451 h 159"/>
                <a:gd name="T106" fmla="*/ 99556520 w 187"/>
                <a:gd name="T107" fmla="*/ 18962023 h 159"/>
                <a:gd name="T108" fmla="*/ 100763676 w 187"/>
                <a:gd name="T109" fmla="*/ 32333462 h 159"/>
                <a:gd name="T110" fmla="*/ 108034900 w 187"/>
                <a:gd name="T111" fmla="*/ 31469258 h 159"/>
                <a:gd name="T112" fmla="*/ 124537690 w 187"/>
                <a:gd name="T113" fmla="*/ 31469258 h 15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7"/>
                <a:gd name="T172" fmla="*/ 0 h 159"/>
                <a:gd name="T173" fmla="*/ 187 w 187"/>
                <a:gd name="T174" fmla="*/ 159 h 15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7" h="159">
                  <a:moveTo>
                    <a:pt x="131" y="33"/>
                  </a:moveTo>
                  <a:cubicBezTo>
                    <a:pt x="131" y="34"/>
                    <a:pt x="131" y="36"/>
                    <a:pt x="130" y="37"/>
                  </a:cubicBezTo>
                  <a:cubicBezTo>
                    <a:pt x="128" y="38"/>
                    <a:pt x="126" y="39"/>
                    <a:pt x="124" y="41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6" y="42"/>
                    <a:pt x="128" y="42"/>
                    <a:pt x="129" y="41"/>
                  </a:cubicBezTo>
                  <a:cubicBezTo>
                    <a:pt x="130" y="40"/>
                    <a:pt x="131" y="40"/>
                    <a:pt x="132" y="39"/>
                  </a:cubicBezTo>
                  <a:cubicBezTo>
                    <a:pt x="133" y="38"/>
                    <a:pt x="134" y="38"/>
                    <a:pt x="134" y="39"/>
                  </a:cubicBezTo>
                  <a:cubicBezTo>
                    <a:pt x="135" y="39"/>
                    <a:pt x="134" y="40"/>
                    <a:pt x="134" y="41"/>
                  </a:cubicBezTo>
                  <a:cubicBezTo>
                    <a:pt x="133" y="42"/>
                    <a:pt x="133" y="43"/>
                    <a:pt x="132" y="43"/>
                  </a:cubicBezTo>
                  <a:cubicBezTo>
                    <a:pt x="129" y="45"/>
                    <a:pt x="127" y="45"/>
                    <a:pt x="124" y="47"/>
                  </a:cubicBezTo>
                  <a:cubicBezTo>
                    <a:pt x="126" y="47"/>
                    <a:pt x="128" y="47"/>
                    <a:pt x="129" y="46"/>
                  </a:cubicBezTo>
                  <a:cubicBezTo>
                    <a:pt x="131" y="45"/>
                    <a:pt x="132" y="45"/>
                    <a:pt x="134" y="45"/>
                  </a:cubicBezTo>
                  <a:cubicBezTo>
                    <a:pt x="136" y="44"/>
                    <a:pt x="139" y="44"/>
                    <a:pt x="141" y="44"/>
                  </a:cubicBezTo>
                  <a:cubicBezTo>
                    <a:pt x="143" y="44"/>
                    <a:pt x="145" y="45"/>
                    <a:pt x="147" y="46"/>
                  </a:cubicBezTo>
                  <a:cubicBezTo>
                    <a:pt x="147" y="46"/>
                    <a:pt x="147" y="46"/>
                    <a:pt x="147" y="46"/>
                  </a:cubicBezTo>
                  <a:cubicBezTo>
                    <a:pt x="148" y="47"/>
                    <a:pt x="148" y="48"/>
                    <a:pt x="147" y="48"/>
                  </a:cubicBezTo>
                  <a:cubicBezTo>
                    <a:pt x="146" y="49"/>
                    <a:pt x="145" y="49"/>
                    <a:pt x="145" y="49"/>
                  </a:cubicBezTo>
                  <a:cubicBezTo>
                    <a:pt x="143" y="50"/>
                    <a:pt x="140" y="49"/>
                    <a:pt x="138" y="50"/>
                  </a:cubicBezTo>
                  <a:cubicBezTo>
                    <a:pt x="138" y="52"/>
                    <a:pt x="140" y="51"/>
                    <a:pt x="141" y="52"/>
                  </a:cubicBezTo>
                  <a:cubicBezTo>
                    <a:pt x="142" y="52"/>
                    <a:pt x="141" y="54"/>
                    <a:pt x="142" y="54"/>
                  </a:cubicBezTo>
                  <a:cubicBezTo>
                    <a:pt x="142" y="55"/>
                    <a:pt x="143" y="54"/>
                    <a:pt x="143" y="54"/>
                  </a:cubicBezTo>
                  <a:cubicBezTo>
                    <a:pt x="145" y="53"/>
                    <a:pt x="147" y="54"/>
                    <a:pt x="148" y="52"/>
                  </a:cubicBezTo>
                  <a:cubicBezTo>
                    <a:pt x="148" y="51"/>
                    <a:pt x="148" y="51"/>
                    <a:pt x="149" y="50"/>
                  </a:cubicBezTo>
                  <a:cubicBezTo>
                    <a:pt x="150" y="50"/>
                    <a:pt x="151" y="50"/>
                    <a:pt x="152" y="51"/>
                  </a:cubicBezTo>
                  <a:cubicBezTo>
                    <a:pt x="154" y="52"/>
                    <a:pt x="155" y="53"/>
                    <a:pt x="155" y="55"/>
                  </a:cubicBezTo>
                  <a:cubicBezTo>
                    <a:pt x="155" y="56"/>
                    <a:pt x="155" y="57"/>
                    <a:pt x="155" y="58"/>
                  </a:cubicBezTo>
                  <a:cubicBezTo>
                    <a:pt x="155" y="58"/>
                    <a:pt x="154" y="58"/>
                    <a:pt x="153" y="58"/>
                  </a:cubicBezTo>
                  <a:cubicBezTo>
                    <a:pt x="153" y="58"/>
                    <a:pt x="152" y="57"/>
                    <a:pt x="152" y="57"/>
                  </a:cubicBezTo>
                  <a:cubicBezTo>
                    <a:pt x="151" y="57"/>
                    <a:pt x="150" y="57"/>
                    <a:pt x="149" y="57"/>
                  </a:cubicBezTo>
                  <a:cubicBezTo>
                    <a:pt x="148" y="58"/>
                    <a:pt x="147" y="58"/>
                    <a:pt x="145" y="58"/>
                  </a:cubicBezTo>
                  <a:cubicBezTo>
                    <a:pt x="145" y="58"/>
                    <a:pt x="145" y="59"/>
                    <a:pt x="145" y="59"/>
                  </a:cubicBezTo>
                  <a:cubicBezTo>
                    <a:pt x="147" y="59"/>
                    <a:pt x="148" y="60"/>
                    <a:pt x="149" y="60"/>
                  </a:cubicBezTo>
                  <a:cubicBezTo>
                    <a:pt x="151" y="61"/>
                    <a:pt x="153" y="60"/>
                    <a:pt x="155" y="61"/>
                  </a:cubicBezTo>
                  <a:cubicBezTo>
                    <a:pt x="156" y="61"/>
                    <a:pt x="156" y="61"/>
                    <a:pt x="157" y="62"/>
                  </a:cubicBezTo>
                  <a:cubicBezTo>
                    <a:pt x="158" y="63"/>
                    <a:pt x="159" y="64"/>
                    <a:pt x="158" y="64"/>
                  </a:cubicBezTo>
                  <a:cubicBezTo>
                    <a:pt x="158" y="65"/>
                    <a:pt x="156" y="65"/>
                    <a:pt x="156" y="64"/>
                  </a:cubicBezTo>
                  <a:cubicBezTo>
                    <a:pt x="155" y="63"/>
                    <a:pt x="153" y="64"/>
                    <a:pt x="152" y="65"/>
                  </a:cubicBezTo>
                  <a:cubicBezTo>
                    <a:pt x="151" y="65"/>
                    <a:pt x="150" y="65"/>
                    <a:pt x="149" y="65"/>
                  </a:cubicBezTo>
                  <a:cubicBezTo>
                    <a:pt x="148" y="64"/>
                    <a:pt x="148" y="64"/>
                    <a:pt x="147" y="64"/>
                  </a:cubicBezTo>
                  <a:cubicBezTo>
                    <a:pt x="147" y="64"/>
                    <a:pt x="147" y="65"/>
                    <a:pt x="148" y="65"/>
                  </a:cubicBezTo>
                  <a:cubicBezTo>
                    <a:pt x="148" y="66"/>
                    <a:pt x="148" y="66"/>
                    <a:pt x="148" y="67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6" y="69"/>
                    <a:pt x="147" y="70"/>
                    <a:pt x="145" y="71"/>
                  </a:cubicBezTo>
                  <a:cubicBezTo>
                    <a:pt x="145" y="71"/>
                    <a:pt x="143" y="70"/>
                    <a:pt x="143" y="71"/>
                  </a:cubicBezTo>
                  <a:cubicBezTo>
                    <a:pt x="142" y="71"/>
                    <a:pt x="143" y="72"/>
                    <a:pt x="144" y="73"/>
                  </a:cubicBezTo>
                  <a:cubicBezTo>
                    <a:pt x="145" y="73"/>
                    <a:pt x="147" y="72"/>
                    <a:pt x="148" y="73"/>
                  </a:cubicBezTo>
                  <a:cubicBezTo>
                    <a:pt x="150" y="73"/>
                    <a:pt x="151" y="73"/>
                    <a:pt x="152" y="74"/>
                  </a:cubicBezTo>
                  <a:cubicBezTo>
                    <a:pt x="153" y="75"/>
                    <a:pt x="152" y="77"/>
                    <a:pt x="153" y="78"/>
                  </a:cubicBezTo>
                  <a:cubicBezTo>
                    <a:pt x="153" y="79"/>
                    <a:pt x="155" y="78"/>
                    <a:pt x="156" y="78"/>
                  </a:cubicBezTo>
                  <a:cubicBezTo>
                    <a:pt x="157" y="79"/>
                    <a:pt x="157" y="80"/>
                    <a:pt x="156" y="81"/>
                  </a:cubicBezTo>
                  <a:cubicBezTo>
                    <a:pt x="156" y="82"/>
                    <a:pt x="155" y="82"/>
                    <a:pt x="155" y="82"/>
                  </a:cubicBezTo>
                  <a:cubicBezTo>
                    <a:pt x="154" y="83"/>
                    <a:pt x="155" y="83"/>
                    <a:pt x="155" y="83"/>
                  </a:cubicBezTo>
                  <a:cubicBezTo>
                    <a:pt x="157" y="84"/>
                    <a:pt x="159" y="83"/>
                    <a:pt x="161" y="81"/>
                  </a:cubicBezTo>
                  <a:cubicBezTo>
                    <a:pt x="161" y="81"/>
                    <a:pt x="163" y="81"/>
                    <a:pt x="164" y="81"/>
                  </a:cubicBezTo>
                  <a:cubicBezTo>
                    <a:pt x="165" y="81"/>
                    <a:pt x="165" y="83"/>
                    <a:pt x="165" y="83"/>
                  </a:cubicBezTo>
                  <a:cubicBezTo>
                    <a:pt x="167" y="84"/>
                    <a:pt x="169" y="85"/>
                    <a:pt x="170" y="87"/>
                  </a:cubicBezTo>
                  <a:cubicBezTo>
                    <a:pt x="170" y="88"/>
                    <a:pt x="170" y="89"/>
                    <a:pt x="169" y="90"/>
                  </a:cubicBezTo>
                  <a:cubicBezTo>
                    <a:pt x="169" y="90"/>
                    <a:pt x="169" y="90"/>
                    <a:pt x="169" y="90"/>
                  </a:cubicBezTo>
                  <a:cubicBezTo>
                    <a:pt x="171" y="90"/>
                    <a:pt x="173" y="90"/>
                    <a:pt x="174" y="89"/>
                  </a:cubicBezTo>
                  <a:cubicBezTo>
                    <a:pt x="175" y="89"/>
                    <a:pt x="176" y="89"/>
                    <a:pt x="176" y="90"/>
                  </a:cubicBezTo>
                  <a:cubicBezTo>
                    <a:pt x="177" y="91"/>
                    <a:pt x="176" y="93"/>
                    <a:pt x="174" y="94"/>
                  </a:cubicBezTo>
                  <a:cubicBezTo>
                    <a:pt x="173" y="94"/>
                    <a:pt x="174" y="95"/>
                    <a:pt x="174" y="95"/>
                  </a:cubicBezTo>
                  <a:cubicBezTo>
                    <a:pt x="174" y="95"/>
                    <a:pt x="175" y="95"/>
                    <a:pt x="176" y="95"/>
                  </a:cubicBezTo>
                  <a:cubicBezTo>
                    <a:pt x="177" y="94"/>
                    <a:pt x="178" y="94"/>
                    <a:pt x="179" y="95"/>
                  </a:cubicBezTo>
                  <a:cubicBezTo>
                    <a:pt x="180" y="95"/>
                    <a:pt x="180" y="95"/>
                    <a:pt x="181" y="94"/>
                  </a:cubicBezTo>
                  <a:cubicBezTo>
                    <a:pt x="183" y="93"/>
                    <a:pt x="185" y="95"/>
                    <a:pt x="186" y="97"/>
                  </a:cubicBezTo>
                  <a:cubicBezTo>
                    <a:pt x="187" y="97"/>
                    <a:pt x="186" y="99"/>
                    <a:pt x="185" y="99"/>
                  </a:cubicBezTo>
                  <a:cubicBezTo>
                    <a:pt x="184" y="100"/>
                    <a:pt x="186" y="102"/>
                    <a:pt x="185" y="102"/>
                  </a:cubicBezTo>
                  <a:cubicBezTo>
                    <a:pt x="183" y="103"/>
                    <a:pt x="180" y="102"/>
                    <a:pt x="178" y="102"/>
                  </a:cubicBezTo>
                  <a:cubicBezTo>
                    <a:pt x="178" y="103"/>
                    <a:pt x="179" y="104"/>
                    <a:pt x="180" y="105"/>
                  </a:cubicBezTo>
                  <a:cubicBezTo>
                    <a:pt x="180" y="105"/>
                    <a:pt x="180" y="106"/>
                    <a:pt x="180" y="106"/>
                  </a:cubicBezTo>
                  <a:cubicBezTo>
                    <a:pt x="179" y="106"/>
                    <a:pt x="178" y="106"/>
                    <a:pt x="177" y="106"/>
                  </a:cubicBezTo>
                  <a:cubicBezTo>
                    <a:pt x="177" y="107"/>
                    <a:pt x="177" y="107"/>
                    <a:pt x="177" y="107"/>
                  </a:cubicBezTo>
                  <a:cubicBezTo>
                    <a:pt x="178" y="107"/>
                    <a:pt x="178" y="108"/>
                    <a:pt x="178" y="109"/>
                  </a:cubicBezTo>
                  <a:cubicBezTo>
                    <a:pt x="177" y="110"/>
                    <a:pt x="176" y="111"/>
                    <a:pt x="175" y="112"/>
                  </a:cubicBezTo>
                  <a:cubicBezTo>
                    <a:pt x="174" y="113"/>
                    <a:pt x="173" y="113"/>
                    <a:pt x="172" y="112"/>
                  </a:cubicBezTo>
                  <a:cubicBezTo>
                    <a:pt x="171" y="112"/>
                    <a:pt x="171" y="111"/>
                    <a:pt x="170" y="110"/>
                  </a:cubicBezTo>
                  <a:cubicBezTo>
                    <a:pt x="170" y="110"/>
                    <a:pt x="170" y="110"/>
                    <a:pt x="170" y="110"/>
                  </a:cubicBezTo>
                  <a:cubicBezTo>
                    <a:pt x="169" y="114"/>
                    <a:pt x="170" y="117"/>
                    <a:pt x="169" y="120"/>
                  </a:cubicBezTo>
                  <a:cubicBezTo>
                    <a:pt x="167" y="120"/>
                    <a:pt x="166" y="118"/>
                    <a:pt x="164" y="117"/>
                  </a:cubicBezTo>
                  <a:cubicBezTo>
                    <a:pt x="163" y="116"/>
                    <a:pt x="162" y="117"/>
                    <a:pt x="161" y="116"/>
                  </a:cubicBezTo>
                  <a:cubicBezTo>
                    <a:pt x="159" y="115"/>
                    <a:pt x="160" y="113"/>
                    <a:pt x="159" y="112"/>
                  </a:cubicBezTo>
                  <a:cubicBezTo>
                    <a:pt x="158" y="111"/>
                    <a:pt x="157" y="110"/>
                    <a:pt x="158" y="109"/>
                  </a:cubicBezTo>
                  <a:cubicBezTo>
                    <a:pt x="158" y="108"/>
                    <a:pt x="159" y="107"/>
                    <a:pt x="160" y="106"/>
                  </a:cubicBezTo>
                  <a:cubicBezTo>
                    <a:pt x="160" y="106"/>
                    <a:pt x="160" y="106"/>
                    <a:pt x="160" y="106"/>
                  </a:cubicBezTo>
                  <a:cubicBezTo>
                    <a:pt x="160" y="106"/>
                    <a:pt x="159" y="106"/>
                    <a:pt x="159" y="106"/>
                  </a:cubicBezTo>
                  <a:cubicBezTo>
                    <a:pt x="158" y="106"/>
                    <a:pt x="157" y="107"/>
                    <a:pt x="157" y="107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3" y="107"/>
                    <a:pt x="154" y="105"/>
                    <a:pt x="153" y="105"/>
                  </a:cubicBezTo>
                  <a:cubicBezTo>
                    <a:pt x="151" y="103"/>
                    <a:pt x="149" y="100"/>
                    <a:pt x="148" y="98"/>
                  </a:cubicBezTo>
                  <a:cubicBezTo>
                    <a:pt x="148" y="98"/>
                    <a:pt x="147" y="98"/>
                    <a:pt x="147" y="98"/>
                  </a:cubicBezTo>
                  <a:cubicBezTo>
                    <a:pt x="146" y="99"/>
                    <a:pt x="147" y="101"/>
                    <a:pt x="146" y="102"/>
                  </a:cubicBezTo>
                  <a:cubicBezTo>
                    <a:pt x="146" y="102"/>
                    <a:pt x="144" y="101"/>
                    <a:pt x="144" y="101"/>
                  </a:cubicBezTo>
                  <a:cubicBezTo>
                    <a:pt x="143" y="102"/>
                    <a:pt x="144" y="103"/>
                    <a:pt x="144" y="104"/>
                  </a:cubicBezTo>
                  <a:cubicBezTo>
                    <a:pt x="145" y="105"/>
                    <a:pt x="145" y="107"/>
                    <a:pt x="144" y="107"/>
                  </a:cubicBezTo>
                  <a:cubicBezTo>
                    <a:pt x="142" y="108"/>
                    <a:pt x="140" y="107"/>
                    <a:pt x="139" y="105"/>
                  </a:cubicBezTo>
                  <a:cubicBezTo>
                    <a:pt x="139" y="105"/>
                    <a:pt x="139" y="104"/>
                    <a:pt x="138" y="104"/>
                  </a:cubicBezTo>
                  <a:cubicBezTo>
                    <a:pt x="138" y="105"/>
                    <a:pt x="138" y="106"/>
                    <a:pt x="138" y="107"/>
                  </a:cubicBezTo>
                  <a:cubicBezTo>
                    <a:pt x="138" y="108"/>
                    <a:pt x="139" y="108"/>
                    <a:pt x="139" y="109"/>
                  </a:cubicBezTo>
                  <a:cubicBezTo>
                    <a:pt x="139" y="110"/>
                    <a:pt x="139" y="110"/>
                    <a:pt x="139" y="110"/>
                  </a:cubicBezTo>
                  <a:cubicBezTo>
                    <a:pt x="139" y="110"/>
                    <a:pt x="139" y="111"/>
                    <a:pt x="140" y="111"/>
                  </a:cubicBezTo>
                  <a:cubicBezTo>
                    <a:pt x="141" y="111"/>
                    <a:pt x="142" y="112"/>
                    <a:pt x="143" y="112"/>
                  </a:cubicBezTo>
                  <a:cubicBezTo>
                    <a:pt x="143" y="112"/>
                    <a:pt x="144" y="113"/>
                    <a:pt x="144" y="113"/>
                  </a:cubicBezTo>
                  <a:cubicBezTo>
                    <a:pt x="145" y="115"/>
                    <a:pt x="144" y="116"/>
                    <a:pt x="145" y="118"/>
                  </a:cubicBezTo>
                  <a:cubicBezTo>
                    <a:pt x="145" y="119"/>
                    <a:pt x="146" y="120"/>
                    <a:pt x="148" y="121"/>
                  </a:cubicBezTo>
                  <a:cubicBezTo>
                    <a:pt x="149" y="122"/>
                    <a:pt x="152" y="121"/>
                    <a:pt x="153" y="123"/>
                  </a:cubicBezTo>
                  <a:cubicBezTo>
                    <a:pt x="154" y="123"/>
                    <a:pt x="154" y="123"/>
                    <a:pt x="154" y="123"/>
                  </a:cubicBezTo>
                  <a:cubicBezTo>
                    <a:pt x="155" y="126"/>
                    <a:pt x="153" y="129"/>
                    <a:pt x="156" y="130"/>
                  </a:cubicBezTo>
                  <a:cubicBezTo>
                    <a:pt x="157" y="131"/>
                    <a:pt x="158" y="132"/>
                    <a:pt x="160" y="133"/>
                  </a:cubicBezTo>
                  <a:cubicBezTo>
                    <a:pt x="159" y="136"/>
                    <a:pt x="160" y="139"/>
                    <a:pt x="159" y="142"/>
                  </a:cubicBezTo>
                  <a:cubicBezTo>
                    <a:pt x="156" y="142"/>
                    <a:pt x="158" y="137"/>
                    <a:pt x="156" y="135"/>
                  </a:cubicBezTo>
                  <a:cubicBezTo>
                    <a:pt x="156" y="135"/>
                    <a:pt x="155" y="135"/>
                    <a:pt x="155" y="135"/>
                  </a:cubicBezTo>
                  <a:cubicBezTo>
                    <a:pt x="155" y="137"/>
                    <a:pt x="155" y="138"/>
                    <a:pt x="155" y="139"/>
                  </a:cubicBezTo>
                  <a:cubicBezTo>
                    <a:pt x="155" y="140"/>
                    <a:pt x="154" y="140"/>
                    <a:pt x="154" y="140"/>
                  </a:cubicBezTo>
                  <a:cubicBezTo>
                    <a:pt x="154" y="141"/>
                    <a:pt x="154" y="141"/>
                    <a:pt x="154" y="142"/>
                  </a:cubicBezTo>
                  <a:cubicBezTo>
                    <a:pt x="155" y="142"/>
                    <a:pt x="155" y="143"/>
                    <a:pt x="156" y="144"/>
                  </a:cubicBezTo>
                  <a:cubicBezTo>
                    <a:pt x="156" y="144"/>
                    <a:pt x="156" y="145"/>
                    <a:pt x="156" y="146"/>
                  </a:cubicBezTo>
                  <a:cubicBezTo>
                    <a:pt x="156" y="146"/>
                    <a:pt x="155" y="146"/>
                    <a:pt x="155" y="146"/>
                  </a:cubicBezTo>
                  <a:cubicBezTo>
                    <a:pt x="154" y="146"/>
                    <a:pt x="154" y="147"/>
                    <a:pt x="153" y="148"/>
                  </a:cubicBezTo>
                  <a:cubicBezTo>
                    <a:pt x="152" y="148"/>
                    <a:pt x="151" y="146"/>
                    <a:pt x="150" y="146"/>
                  </a:cubicBezTo>
                  <a:cubicBezTo>
                    <a:pt x="147" y="144"/>
                    <a:pt x="145" y="144"/>
                    <a:pt x="142" y="143"/>
                  </a:cubicBezTo>
                  <a:cubicBezTo>
                    <a:pt x="141" y="142"/>
                    <a:pt x="140" y="140"/>
                    <a:pt x="138" y="139"/>
                  </a:cubicBezTo>
                  <a:cubicBezTo>
                    <a:pt x="137" y="138"/>
                    <a:pt x="138" y="137"/>
                    <a:pt x="137" y="136"/>
                  </a:cubicBezTo>
                  <a:cubicBezTo>
                    <a:pt x="135" y="135"/>
                    <a:pt x="136" y="138"/>
                    <a:pt x="136" y="139"/>
                  </a:cubicBezTo>
                  <a:cubicBezTo>
                    <a:pt x="136" y="139"/>
                    <a:pt x="135" y="139"/>
                    <a:pt x="135" y="139"/>
                  </a:cubicBezTo>
                  <a:cubicBezTo>
                    <a:pt x="133" y="137"/>
                    <a:pt x="132" y="136"/>
                    <a:pt x="130" y="134"/>
                  </a:cubicBezTo>
                  <a:cubicBezTo>
                    <a:pt x="130" y="134"/>
                    <a:pt x="129" y="134"/>
                    <a:pt x="129" y="134"/>
                  </a:cubicBezTo>
                  <a:cubicBezTo>
                    <a:pt x="129" y="134"/>
                    <a:pt x="129" y="135"/>
                    <a:pt x="129" y="135"/>
                  </a:cubicBezTo>
                  <a:cubicBezTo>
                    <a:pt x="129" y="136"/>
                    <a:pt x="130" y="136"/>
                    <a:pt x="130" y="137"/>
                  </a:cubicBezTo>
                  <a:cubicBezTo>
                    <a:pt x="131" y="138"/>
                    <a:pt x="131" y="139"/>
                    <a:pt x="132" y="140"/>
                  </a:cubicBezTo>
                  <a:cubicBezTo>
                    <a:pt x="136" y="144"/>
                    <a:pt x="139" y="149"/>
                    <a:pt x="144" y="151"/>
                  </a:cubicBezTo>
                  <a:cubicBezTo>
                    <a:pt x="146" y="152"/>
                    <a:pt x="146" y="155"/>
                    <a:pt x="146" y="156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6" y="157"/>
                    <a:pt x="146" y="158"/>
                    <a:pt x="146" y="159"/>
                  </a:cubicBezTo>
                  <a:cubicBezTo>
                    <a:pt x="145" y="159"/>
                    <a:pt x="145" y="159"/>
                    <a:pt x="144" y="159"/>
                  </a:cubicBezTo>
                  <a:cubicBezTo>
                    <a:pt x="143" y="158"/>
                    <a:pt x="142" y="157"/>
                    <a:pt x="141" y="157"/>
                  </a:cubicBezTo>
                  <a:cubicBezTo>
                    <a:pt x="140" y="156"/>
                    <a:pt x="139" y="156"/>
                    <a:pt x="138" y="155"/>
                  </a:cubicBezTo>
                  <a:cubicBezTo>
                    <a:pt x="136" y="155"/>
                    <a:pt x="135" y="154"/>
                    <a:pt x="134" y="154"/>
                  </a:cubicBezTo>
                  <a:cubicBezTo>
                    <a:pt x="132" y="154"/>
                    <a:pt x="130" y="154"/>
                    <a:pt x="129" y="154"/>
                  </a:cubicBezTo>
                  <a:cubicBezTo>
                    <a:pt x="126" y="154"/>
                    <a:pt x="124" y="153"/>
                    <a:pt x="123" y="151"/>
                  </a:cubicBezTo>
                  <a:cubicBezTo>
                    <a:pt x="123" y="151"/>
                    <a:pt x="123" y="151"/>
                    <a:pt x="123" y="151"/>
                  </a:cubicBezTo>
                  <a:cubicBezTo>
                    <a:pt x="122" y="150"/>
                    <a:pt x="121" y="149"/>
                    <a:pt x="119" y="148"/>
                  </a:cubicBezTo>
                  <a:cubicBezTo>
                    <a:pt x="119" y="147"/>
                    <a:pt x="118" y="147"/>
                    <a:pt x="118" y="146"/>
                  </a:cubicBezTo>
                  <a:cubicBezTo>
                    <a:pt x="117" y="146"/>
                    <a:pt x="116" y="146"/>
                    <a:pt x="116" y="146"/>
                  </a:cubicBezTo>
                  <a:cubicBezTo>
                    <a:pt x="116" y="148"/>
                    <a:pt x="116" y="148"/>
                    <a:pt x="116" y="150"/>
                  </a:cubicBezTo>
                  <a:cubicBezTo>
                    <a:pt x="113" y="149"/>
                    <a:pt x="113" y="147"/>
                    <a:pt x="112" y="145"/>
                  </a:cubicBezTo>
                  <a:cubicBezTo>
                    <a:pt x="111" y="144"/>
                    <a:pt x="111" y="144"/>
                    <a:pt x="110" y="143"/>
                  </a:cubicBezTo>
                  <a:cubicBezTo>
                    <a:pt x="108" y="143"/>
                    <a:pt x="106" y="142"/>
                    <a:pt x="104" y="140"/>
                  </a:cubicBezTo>
                  <a:cubicBezTo>
                    <a:pt x="104" y="140"/>
                    <a:pt x="104" y="139"/>
                    <a:pt x="105" y="139"/>
                  </a:cubicBezTo>
                  <a:cubicBezTo>
                    <a:pt x="106" y="138"/>
                    <a:pt x="108" y="139"/>
                    <a:pt x="109" y="138"/>
                  </a:cubicBezTo>
                  <a:cubicBezTo>
                    <a:pt x="110" y="138"/>
                    <a:pt x="110" y="137"/>
                    <a:pt x="109" y="137"/>
                  </a:cubicBezTo>
                  <a:cubicBezTo>
                    <a:pt x="109" y="136"/>
                    <a:pt x="107" y="136"/>
                    <a:pt x="106" y="136"/>
                  </a:cubicBezTo>
                  <a:cubicBezTo>
                    <a:pt x="105" y="136"/>
                    <a:pt x="104" y="136"/>
                    <a:pt x="103" y="135"/>
                  </a:cubicBezTo>
                  <a:cubicBezTo>
                    <a:pt x="102" y="135"/>
                    <a:pt x="102" y="135"/>
                    <a:pt x="101" y="134"/>
                  </a:cubicBezTo>
                  <a:cubicBezTo>
                    <a:pt x="100" y="132"/>
                    <a:pt x="101" y="130"/>
                    <a:pt x="99" y="129"/>
                  </a:cubicBezTo>
                  <a:cubicBezTo>
                    <a:pt x="99" y="129"/>
                    <a:pt x="97" y="129"/>
                    <a:pt x="96" y="128"/>
                  </a:cubicBezTo>
                  <a:cubicBezTo>
                    <a:pt x="95" y="128"/>
                    <a:pt x="96" y="126"/>
                    <a:pt x="95" y="126"/>
                  </a:cubicBezTo>
                  <a:cubicBezTo>
                    <a:pt x="94" y="125"/>
                    <a:pt x="93" y="126"/>
                    <a:pt x="92" y="125"/>
                  </a:cubicBezTo>
                  <a:cubicBezTo>
                    <a:pt x="91" y="124"/>
                    <a:pt x="92" y="121"/>
                    <a:pt x="90" y="121"/>
                  </a:cubicBezTo>
                  <a:cubicBezTo>
                    <a:pt x="90" y="123"/>
                    <a:pt x="90" y="125"/>
                    <a:pt x="90" y="127"/>
                  </a:cubicBezTo>
                  <a:cubicBezTo>
                    <a:pt x="88" y="127"/>
                    <a:pt x="86" y="126"/>
                    <a:pt x="84" y="125"/>
                  </a:cubicBezTo>
                  <a:cubicBezTo>
                    <a:pt x="83" y="124"/>
                    <a:pt x="82" y="124"/>
                    <a:pt x="82" y="125"/>
                  </a:cubicBezTo>
                  <a:cubicBezTo>
                    <a:pt x="81" y="127"/>
                    <a:pt x="79" y="128"/>
                    <a:pt x="77" y="129"/>
                  </a:cubicBezTo>
                  <a:cubicBezTo>
                    <a:pt x="75" y="130"/>
                    <a:pt x="74" y="130"/>
                    <a:pt x="71" y="130"/>
                  </a:cubicBezTo>
                  <a:cubicBezTo>
                    <a:pt x="70" y="129"/>
                    <a:pt x="70" y="128"/>
                    <a:pt x="70" y="128"/>
                  </a:cubicBezTo>
                  <a:cubicBezTo>
                    <a:pt x="68" y="127"/>
                    <a:pt x="66" y="128"/>
                    <a:pt x="65" y="128"/>
                  </a:cubicBezTo>
                  <a:cubicBezTo>
                    <a:pt x="65" y="125"/>
                    <a:pt x="65" y="123"/>
                    <a:pt x="65" y="120"/>
                  </a:cubicBezTo>
                  <a:cubicBezTo>
                    <a:pt x="65" y="118"/>
                    <a:pt x="68" y="118"/>
                    <a:pt x="70" y="118"/>
                  </a:cubicBezTo>
                  <a:cubicBezTo>
                    <a:pt x="70" y="118"/>
                    <a:pt x="70" y="118"/>
                    <a:pt x="70" y="117"/>
                  </a:cubicBezTo>
                  <a:cubicBezTo>
                    <a:pt x="70" y="116"/>
                    <a:pt x="70" y="115"/>
                    <a:pt x="71" y="115"/>
                  </a:cubicBezTo>
                  <a:cubicBezTo>
                    <a:pt x="74" y="114"/>
                    <a:pt x="78" y="114"/>
                    <a:pt x="81" y="115"/>
                  </a:cubicBezTo>
                  <a:cubicBezTo>
                    <a:pt x="83" y="115"/>
                    <a:pt x="85" y="115"/>
                    <a:pt x="87" y="116"/>
                  </a:cubicBezTo>
                  <a:cubicBezTo>
                    <a:pt x="88" y="116"/>
                    <a:pt x="90" y="116"/>
                    <a:pt x="91" y="116"/>
                  </a:cubicBezTo>
                  <a:cubicBezTo>
                    <a:pt x="92" y="115"/>
                    <a:pt x="92" y="113"/>
                    <a:pt x="93" y="113"/>
                  </a:cubicBezTo>
                  <a:cubicBezTo>
                    <a:pt x="95" y="112"/>
                    <a:pt x="96" y="113"/>
                    <a:pt x="97" y="114"/>
                  </a:cubicBezTo>
                  <a:cubicBezTo>
                    <a:pt x="98" y="114"/>
                    <a:pt x="99" y="114"/>
                    <a:pt x="99" y="114"/>
                  </a:cubicBezTo>
                  <a:cubicBezTo>
                    <a:pt x="99" y="113"/>
                    <a:pt x="100" y="111"/>
                    <a:pt x="99" y="110"/>
                  </a:cubicBezTo>
                  <a:cubicBezTo>
                    <a:pt x="98" y="109"/>
                    <a:pt x="96" y="109"/>
                    <a:pt x="96" y="107"/>
                  </a:cubicBezTo>
                  <a:cubicBezTo>
                    <a:pt x="95" y="106"/>
                    <a:pt x="95" y="105"/>
                    <a:pt x="96" y="104"/>
                  </a:cubicBezTo>
                  <a:cubicBezTo>
                    <a:pt x="98" y="101"/>
                    <a:pt x="101" y="100"/>
                    <a:pt x="104" y="98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5" y="96"/>
                    <a:pt x="105" y="95"/>
                    <a:pt x="106" y="94"/>
                  </a:cubicBezTo>
                  <a:cubicBezTo>
                    <a:pt x="106" y="93"/>
                    <a:pt x="107" y="92"/>
                    <a:pt x="108" y="92"/>
                  </a:cubicBezTo>
                  <a:cubicBezTo>
                    <a:pt x="109" y="91"/>
                    <a:pt x="110" y="91"/>
                    <a:pt x="111" y="91"/>
                  </a:cubicBezTo>
                  <a:cubicBezTo>
                    <a:pt x="111" y="91"/>
                    <a:pt x="112" y="90"/>
                    <a:pt x="112" y="90"/>
                  </a:cubicBezTo>
                  <a:cubicBezTo>
                    <a:pt x="112" y="89"/>
                    <a:pt x="112" y="88"/>
                    <a:pt x="112" y="87"/>
                  </a:cubicBezTo>
                  <a:cubicBezTo>
                    <a:pt x="111" y="86"/>
                    <a:pt x="110" y="85"/>
                    <a:pt x="109" y="83"/>
                  </a:cubicBezTo>
                  <a:cubicBezTo>
                    <a:pt x="109" y="83"/>
                    <a:pt x="108" y="82"/>
                    <a:pt x="109" y="82"/>
                  </a:cubicBezTo>
                  <a:cubicBezTo>
                    <a:pt x="109" y="81"/>
                    <a:pt x="110" y="81"/>
                    <a:pt x="110" y="81"/>
                  </a:cubicBezTo>
                  <a:cubicBezTo>
                    <a:pt x="110" y="81"/>
                    <a:pt x="110" y="80"/>
                    <a:pt x="110" y="79"/>
                  </a:cubicBezTo>
                  <a:cubicBezTo>
                    <a:pt x="108" y="77"/>
                    <a:pt x="106" y="76"/>
                    <a:pt x="104" y="75"/>
                  </a:cubicBezTo>
                  <a:cubicBezTo>
                    <a:pt x="103" y="74"/>
                    <a:pt x="101" y="74"/>
                    <a:pt x="100" y="73"/>
                  </a:cubicBezTo>
                  <a:cubicBezTo>
                    <a:pt x="99" y="73"/>
                    <a:pt x="98" y="72"/>
                    <a:pt x="98" y="71"/>
                  </a:cubicBezTo>
                  <a:cubicBezTo>
                    <a:pt x="97" y="71"/>
                    <a:pt x="98" y="69"/>
                    <a:pt x="97" y="69"/>
                  </a:cubicBezTo>
                  <a:cubicBezTo>
                    <a:pt x="97" y="68"/>
                    <a:pt x="96" y="68"/>
                    <a:pt x="95" y="69"/>
                  </a:cubicBezTo>
                  <a:cubicBezTo>
                    <a:pt x="94" y="70"/>
                    <a:pt x="92" y="71"/>
                    <a:pt x="90" y="72"/>
                  </a:cubicBezTo>
                  <a:cubicBezTo>
                    <a:pt x="89" y="73"/>
                    <a:pt x="87" y="74"/>
                    <a:pt x="85" y="73"/>
                  </a:cubicBezTo>
                  <a:cubicBezTo>
                    <a:pt x="85" y="71"/>
                    <a:pt x="84" y="68"/>
                    <a:pt x="86" y="67"/>
                  </a:cubicBezTo>
                  <a:cubicBezTo>
                    <a:pt x="87" y="66"/>
                    <a:pt x="89" y="67"/>
                    <a:pt x="90" y="67"/>
                  </a:cubicBezTo>
                  <a:cubicBezTo>
                    <a:pt x="91" y="67"/>
                    <a:pt x="92" y="66"/>
                    <a:pt x="93" y="66"/>
                  </a:cubicBezTo>
                  <a:cubicBezTo>
                    <a:pt x="93" y="65"/>
                    <a:pt x="93" y="64"/>
                    <a:pt x="93" y="63"/>
                  </a:cubicBezTo>
                  <a:cubicBezTo>
                    <a:pt x="92" y="62"/>
                    <a:pt x="91" y="60"/>
                    <a:pt x="89" y="60"/>
                  </a:cubicBezTo>
                  <a:cubicBezTo>
                    <a:pt x="88" y="60"/>
                    <a:pt x="86" y="59"/>
                    <a:pt x="85" y="58"/>
                  </a:cubicBezTo>
                  <a:cubicBezTo>
                    <a:pt x="85" y="57"/>
                    <a:pt x="85" y="56"/>
                    <a:pt x="85" y="56"/>
                  </a:cubicBezTo>
                  <a:cubicBezTo>
                    <a:pt x="84" y="56"/>
                    <a:pt x="83" y="56"/>
                    <a:pt x="83" y="57"/>
                  </a:cubicBezTo>
                  <a:cubicBezTo>
                    <a:pt x="83" y="57"/>
                    <a:pt x="82" y="57"/>
                    <a:pt x="82" y="57"/>
                  </a:cubicBezTo>
                  <a:cubicBezTo>
                    <a:pt x="81" y="55"/>
                    <a:pt x="82" y="52"/>
                    <a:pt x="80" y="50"/>
                  </a:cubicBezTo>
                  <a:cubicBezTo>
                    <a:pt x="79" y="49"/>
                    <a:pt x="77" y="49"/>
                    <a:pt x="75" y="49"/>
                  </a:cubicBezTo>
                  <a:cubicBezTo>
                    <a:pt x="74" y="48"/>
                    <a:pt x="73" y="48"/>
                    <a:pt x="72" y="47"/>
                  </a:cubicBezTo>
                  <a:cubicBezTo>
                    <a:pt x="72" y="47"/>
                    <a:pt x="71" y="47"/>
                    <a:pt x="71" y="47"/>
                  </a:cubicBezTo>
                  <a:cubicBezTo>
                    <a:pt x="71" y="49"/>
                    <a:pt x="73" y="50"/>
                    <a:pt x="74" y="52"/>
                  </a:cubicBezTo>
                  <a:cubicBezTo>
                    <a:pt x="75" y="53"/>
                    <a:pt x="74" y="54"/>
                    <a:pt x="73" y="55"/>
                  </a:cubicBezTo>
                  <a:cubicBezTo>
                    <a:pt x="72" y="56"/>
                    <a:pt x="71" y="56"/>
                    <a:pt x="70" y="56"/>
                  </a:cubicBezTo>
                  <a:cubicBezTo>
                    <a:pt x="68" y="57"/>
                    <a:pt x="67" y="58"/>
                    <a:pt x="66" y="59"/>
                  </a:cubicBezTo>
                  <a:cubicBezTo>
                    <a:pt x="64" y="60"/>
                    <a:pt x="63" y="60"/>
                    <a:pt x="61" y="59"/>
                  </a:cubicBezTo>
                  <a:cubicBezTo>
                    <a:pt x="61" y="59"/>
                    <a:pt x="61" y="58"/>
                    <a:pt x="61" y="58"/>
                  </a:cubicBezTo>
                  <a:cubicBezTo>
                    <a:pt x="63" y="57"/>
                    <a:pt x="64" y="58"/>
                    <a:pt x="66" y="57"/>
                  </a:cubicBezTo>
                  <a:cubicBezTo>
                    <a:pt x="67" y="56"/>
                    <a:pt x="67" y="55"/>
                    <a:pt x="66" y="54"/>
                  </a:cubicBezTo>
                  <a:cubicBezTo>
                    <a:pt x="65" y="53"/>
                    <a:pt x="63" y="54"/>
                    <a:pt x="61" y="53"/>
                  </a:cubicBezTo>
                  <a:cubicBezTo>
                    <a:pt x="60" y="53"/>
                    <a:pt x="60" y="53"/>
                    <a:pt x="59" y="53"/>
                  </a:cubicBezTo>
                  <a:cubicBezTo>
                    <a:pt x="59" y="52"/>
                    <a:pt x="58" y="52"/>
                    <a:pt x="58" y="53"/>
                  </a:cubicBezTo>
                  <a:cubicBezTo>
                    <a:pt x="58" y="53"/>
                    <a:pt x="58" y="53"/>
                    <a:pt x="58" y="54"/>
                  </a:cubicBezTo>
                  <a:cubicBezTo>
                    <a:pt x="59" y="54"/>
                    <a:pt x="59" y="55"/>
                    <a:pt x="59" y="56"/>
                  </a:cubicBezTo>
                  <a:cubicBezTo>
                    <a:pt x="56" y="57"/>
                    <a:pt x="54" y="54"/>
                    <a:pt x="52" y="53"/>
                  </a:cubicBezTo>
                  <a:cubicBezTo>
                    <a:pt x="52" y="53"/>
                    <a:pt x="51" y="53"/>
                    <a:pt x="51" y="53"/>
                  </a:cubicBezTo>
                  <a:cubicBezTo>
                    <a:pt x="50" y="53"/>
                    <a:pt x="51" y="55"/>
                    <a:pt x="50" y="55"/>
                  </a:cubicBezTo>
                  <a:cubicBezTo>
                    <a:pt x="48" y="55"/>
                    <a:pt x="47" y="54"/>
                    <a:pt x="46" y="53"/>
                  </a:cubicBezTo>
                  <a:cubicBezTo>
                    <a:pt x="45" y="53"/>
                    <a:pt x="43" y="54"/>
                    <a:pt x="43" y="54"/>
                  </a:cubicBezTo>
                  <a:cubicBezTo>
                    <a:pt x="40" y="54"/>
                    <a:pt x="38" y="54"/>
                    <a:pt x="36" y="53"/>
                  </a:cubicBezTo>
                  <a:cubicBezTo>
                    <a:pt x="35" y="53"/>
                    <a:pt x="35" y="52"/>
                    <a:pt x="34" y="52"/>
                  </a:cubicBezTo>
                  <a:cubicBezTo>
                    <a:pt x="33" y="52"/>
                    <a:pt x="32" y="52"/>
                    <a:pt x="30" y="53"/>
                  </a:cubicBezTo>
                  <a:cubicBezTo>
                    <a:pt x="28" y="54"/>
                    <a:pt x="23" y="53"/>
                    <a:pt x="22" y="50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18" y="49"/>
                    <a:pt x="14" y="50"/>
                    <a:pt x="10" y="48"/>
                  </a:cubicBezTo>
                  <a:cubicBezTo>
                    <a:pt x="10" y="48"/>
                    <a:pt x="9" y="47"/>
                    <a:pt x="8" y="46"/>
                  </a:cubicBezTo>
                  <a:cubicBezTo>
                    <a:pt x="8" y="46"/>
                    <a:pt x="7" y="46"/>
                    <a:pt x="7" y="46"/>
                  </a:cubicBezTo>
                  <a:cubicBezTo>
                    <a:pt x="6" y="45"/>
                    <a:pt x="5" y="44"/>
                    <a:pt x="4" y="43"/>
                  </a:cubicBezTo>
                  <a:cubicBezTo>
                    <a:pt x="2" y="41"/>
                    <a:pt x="2" y="40"/>
                    <a:pt x="2" y="38"/>
                  </a:cubicBezTo>
                  <a:cubicBezTo>
                    <a:pt x="7" y="38"/>
                    <a:pt x="11" y="37"/>
                    <a:pt x="15" y="39"/>
                  </a:cubicBezTo>
                  <a:cubicBezTo>
                    <a:pt x="16" y="40"/>
                    <a:pt x="17" y="40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7" y="38"/>
                    <a:pt x="15" y="37"/>
                    <a:pt x="14" y="37"/>
                  </a:cubicBezTo>
                  <a:cubicBezTo>
                    <a:pt x="14" y="37"/>
                    <a:pt x="13" y="36"/>
                    <a:pt x="13" y="36"/>
                  </a:cubicBezTo>
                  <a:cubicBezTo>
                    <a:pt x="12" y="35"/>
                    <a:pt x="11" y="36"/>
                    <a:pt x="10" y="36"/>
                  </a:cubicBezTo>
                  <a:cubicBezTo>
                    <a:pt x="9" y="36"/>
                    <a:pt x="8" y="36"/>
                    <a:pt x="8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5" y="36"/>
                    <a:pt x="3" y="35"/>
                    <a:pt x="1" y="35"/>
                  </a:cubicBezTo>
                  <a:cubicBezTo>
                    <a:pt x="1" y="32"/>
                    <a:pt x="0" y="28"/>
                    <a:pt x="2" y="26"/>
                  </a:cubicBezTo>
                  <a:cubicBezTo>
                    <a:pt x="2" y="25"/>
                    <a:pt x="3" y="25"/>
                    <a:pt x="4" y="24"/>
                  </a:cubicBezTo>
                  <a:cubicBezTo>
                    <a:pt x="4" y="22"/>
                    <a:pt x="3" y="20"/>
                    <a:pt x="4" y="18"/>
                  </a:cubicBezTo>
                  <a:cubicBezTo>
                    <a:pt x="5" y="16"/>
                    <a:pt x="9" y="15"/>
                    <a:pt x="11" y="13"/>
                  </a:cubicBezTo>
                  <a:cubicBezTo>
                    <a:pt x="11" y="9"/>
                    <a:pt x="15" y="7"/>
                    <a:pt x="18" y="5"/>
                  </a:cubicBezTo>
                  <a:cubicBezTo>
                    <a:pt x="20" y="3"/>
                    <a:pt x="24" y="2"/>
                    <a:pt x="27" y="1"/>
                  </a:cubicBezTo>
                  <a:cubicBezTo>
                    <a:pt x="31" y="0"/>
                    <a:pt x="35" y="1"/>
                    <a:pt x="39" y="0"/>
                  </a:cubicBezTo>
                  <a:cubicBezTo>
                    <a:pt x="40" y="0"/>
                    <a:pt x="41" y="0"/>
                    <a:pt x="42" y="0"/>
                  </a:cubicBezTo>
                  <a:cubicBezTo>
                    <a:pt x="43" y="0"/>
                    <a:pt x="44" y="1"/>
                    <a:pt x="43" y="2"/>
                  </a:cubicBezTo>
                  <a:cubicBezTo>
                    <a:pt x="41" y="3"/>
                    <a:pt x="38" y="3"/>
                    <a:pt x="36" y="5"/>
                  </a:cubicBezTo>
                  <a:cubicBezTo>
                    <a:pt x="33" y="8"/>
                    <a:pt x="31" y="12"/>
                    <a:pt x="28" y="14"/>
                  </a:cubicBezTo>
                  <a:cubicBezTo>
                    <a:pt x="28" y="16"/>
                    <a:pt x="28" y="17"/>
                    <a:pt x="29" y="18"/>
                  </a:cubicBezTo>
                  <a:cubicBezTo>
                    <a:pt x="30" y="20"/>
                    <a:pt x="29" y="22"/>
                    <a:pt x="28" y="23"/>
                  </a:cubicBezTo>
                  <a:cubicBezTo>
                    <a:pt x="27" y="27"/>
                    <a:pt x="30" y="31"/>
                    <a:pt x="34" y="31"/>
                  </a:cubicBezTo>
                  <a:cubicBezTo>
                    <a:pt x="35" y="32"/>
                    <a:pt x="35" y="33"/>
                    <a:pt x="35" y="34"/>
                  </a:cubicBezTo>
                  <a:cubicBezTo>
                    <a:pt x="32" y="35"/>
                    <a:pt x="30" y="35"/>
                    <a:pt x="27" y="36"/>
                  </a:cubicBezTo>
                  <a:cubicBezTo>
                    <a:pt x="26" y="37"/>
                    <a:pt x="25" y="37"/>
                    <a:pt x="24" y="39"/>
                  </a:cubicBezTo>
                  <a:cubicBezTo>
                    <a:pt x="27" y="38"/>
                    <a:pt x="29" y="37"/>
                    <a:pt x="32" y="37"/>
                  </a:cubicBezTo>
                  <a:cubicBezTo>
                    <a:pt x="33" y="37"/>
                    <a:pt x="33" y="36"/>
                    <a:pt x="34" y="36"/>
                  </a:cubicBezTo>
                  <a:cubicBezTo>
                    <a:pt x="34" y="35"/>
                    <a:pt x="35" y="35"/>
                    <a:pt x="35" y="36"/>
                  </a:cubicBezTo>
                  <a:cubicBezTo>
                    <a:pt x="35" y="36"/>
                    <a:pt x="35" y="37"/>
                    <a:pt x="34" y="38"/>
                  </a:cubicBezTo>
                  <a:cubicBezTo>
                    <a:pt x="34" y="38"/>
                    <a:pt x="34" y="39"/>
                    <a:pt x="34" y="40"/>
                  </a:cubicBezTo>
                  <a:cubicBezTo>
                    <a:pt x="35" y="39"/>
                    <a:pt x="36" y="38"/>
                    <a:pt x="36" y="38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8" y="34"/>
                    <a:pt x="38" y="33"/>
                    <a:pt x="37" y="32"/>
                  </a:cubicBezTo>
                  <a:cubicBezTo>
                    <a:pt x="37" y="31"/>
                    <a:pt x="36" y="30"/>
                    <a:pt x="36" y="29"/>
                  </a:cubicBezTo>
                  <a:cubicBezTo>
                    <a:pt x="35" y="28"/>
                    <a:pt x="34" y="28"/>
                    <a:pt x="33" y="28"/>
                  </a:cubicBezTo>
                  <a:cubicBezTo>
                    <a:pt x="31" y="26"/>
                    <a:pt x="33" y="24"/>
                    <a:pt x="35" y="23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1"/>
                    <a:pt x="37" y="21"/>
                    <a:pt x="38" y="22"/>
                  </a:cubicBezTo>
                  <a:cubicBezTo>
                    <a:pt x="38" y="22"/>
                    <a:pt x="39" y="22"/>
                    <a:pt x="39" y="23"/>
                  </a:cubicBezTo>
                  <a:cubicBezTo>
                    <a:pt x="39" y="23"/>
                    <a:pt x="39" y="23"/>
                    <a:pt x="40" y="23"/>
                  </a:cubicBezTo>
                  <a:cubicBezTo>
                    <a:pt x="40" y="23"/>
                    <a:pt x="40" y="22"/>
                    <a:pt x="40" y="22"/>
                  </a:cubicBezTo>
                  <a:cubicBezTo>
                    <a:pt x="39" y="21"/>
                    <a:pt x="39" y="21"/>
                    <a:pt x="38" y="20"/>
                  </a:cubicBezTo>
                  <a:cubicBezTo>
                    <a:pt x="37" y="19"/>
                    <a:pt x="36" y="20"/>
                    <a:pt x="35" y="19"/>
                  </a:cubicBezTo>
                  <a:cubicBezTo>
                    <a:pt x="34" y="17"/>
                    <a:pt x="34" y="14"/>
                    <a:pt x="35" y="12"/>
                  </a:cubicBezTo>
                  <a:cubicBezTo>
                    <a:pt x="35" y="12"/>
                    <a:pt x="36" y="12"/>
                    <a:pt x="37" y="12"/>
                  </a:cubicBezTo>
                  <a:cubicBezTo>
                    <a:pt x="38" y="13"/>
                    <a:pt x="40" y="14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2"/>
                    <a:pt x="38" y="11"/>
                    <a:pt x="39" y="10"/>
                  </a:cubicBezTo>
                  <a:cubicBezTo>
                    <a:pt x="40" y="10"/>
                    <a:pt x="43" y="11"/>
                    <a:pt x="42" y="9"/>
                  </a:cubicBezTo>
                  <a:cubicBezTo>
                    <a:pt x="42" y="9"/>
                    <a:pt x="41" y="8"/>
                    <a:pt x="41" y="7"/>
                  </a:cubicBezTo>
                  <a:cubicBezTo>
                    <a:pt x="42" y="6"/>
                    <a:pt x="42" y="6"/>
                    <a:pt x="43" y="5"/>
                  </a:cubicBezTo>
                  <a:cubicBezTo>
                    <a:pt x="44" y="4"/>
                    <a:pt x="46" y="5"/>
                    <a:pt x="47" y="5"/>
                  </a:cubicBezTo>
                  <a:cubicBezTo>
                    <a:pt x="47" y="5"/>
                    <a:pt x="48" y="5"/>
                    <a:pt x="49" y="5"/>
                  </a:cubicBezTo>
                  <a:cubicBezTo>
                    <a:pt x="49" y="5"/>
                    <a:pt x="49" y="4"/>
                    <a:pt x="49" y="4"/>
                  </a:cubicBezTo>
                  <a:cubicBezTo>
                    <a:pt x="50" y="4"/>
                    <a:pt x="52" y="3"/>
                    <a:pt x="53" y="3"/>
                  </a:cubicBezTo>
                  <a:cubicBezTo>
                    <a:pt x="53" y="3"/>
                    <a:pt x="54" y="2"/>
                    <a:pt x="54" y="2"/>
                  </a:cubicBezTo>
                  <a:cubicBezTo>
                    <a:pt x="59" y="2"/>
                    <a:pt x="63" y="2"/>
                    <a:pt x="67" y="2"/>
                  </a:cubicBezTo>
                  <a:cubicBezTo>
                    <a:pt x="67" y="4"/>
                    <a:pt x="66" y="6"/>
                    <a:pt x="67" y="7"/>
                  </a:cubicBezTo>
                  <a:cubicBezTo>
                    <a:pt x="67" y="8"/>
                    <a:pt x="69" y="9"/>
                    <a:pt x="69" y="10"/>
                  </a:cubicBezTo>
                  <a:cubicBezTo>
                    <a:pt x="70" y="11"/>
                    <a:pt x="70" y="12"/>
                    <a:pt x="70" y="12"/>
                  </a:cubicBezTo>
                  <a:cubicBezTo>
                    <a:pt x="70" y="14"/>
                    <a:pt x="70" y="15"/>
                    <a:pt x="70" y="16"/>
                  </a:cubicBezTo>
                  <a:cubicBezTo>
                    <a:pt x="68" y="19"/>
                    <a:pt x="67" y="23"/>
                    <a:pt x="64" y="25"/>
                  </a:cubicBezTo>
                  <a:cubicBezTo>
                    <a:pt x="64" y="25"/>
                    <a:pt x="64" y="26"/>
                    <a:pt x="64" y="26"/>
                  </a:cubicBezTo>
                  <a:cubicBezTo>
                    <a:pt x="65" y="26"/>
                    <a:pt x="66" y="26"/>
                    <a:pt x="67" y="25"/>
                  </a:cubicBezTo>
                  <a:cubicBezTo>
                    <a:pt x="68" y="25"/>
                    <a:pt x="69" y="24"/>
                    <a:pt x="71" y="23"/>
                  </a:cubicBezTo>
                  <a:cubicBezTo>
                    <a:pt x="72" y="23"/>
                    <a:pt x="73" y="22"/>
                    <a:pt x="73" y="22"/>
                  </a:cubicBezTo>
                  <a:cubicBezTo>
                    <a:pt x="74" y="21"/>
                    <a:pt x="77" y="21"/>
                    <a:pt x="77" y="22"/>
                  </a:cubicBezTo>
                  <a:cubicBezTo>
                    <a:pt x="78" y="23"/>
                    <a:pt x="77" y="25"/>
                    <a:pt x="78" y="26"/>
                  </a:cubicBezTo>
                  <a:cubicBezTo>
                    <a:pt x="78" y="26"/>
                    <a:pt x="79" y="25"/>
                    <a:pt x="79" y="25"/>
                  </a:cubicBezTo>
                  <a:cubicBezTo>
                    <a:pt x="79" y="25"/>
                    <a:pt x="80" y="25"/>
                    <a:pt x="81" y="25"/>
                  </a:cubicBezTo>
                  <a:cubicBezTo>
                    <a:pt x="81" y="25"/>
                    <a:pt x="82" y="26"/>
                    <a:pt x="82" y="26"/>
                  </a:cubicBezTo>
                  <a:cubicBezTo>
                    <a:pt x="82" y="26"/>
                    <a:pt x="82" y="25"/>
                    <a:pt x="82" y="25"/>
                  </a:cubicBezTo>
                  <a:cubicBezTo>
                    <a:pt x="82" y="25"/>
                    <a:pt x="82" y="24"/>
                    <a:pt x="81" y="24"/>
                  </a:cubicBezTo>
                  <a:cubicBezTo>
                    <a:pt x="80" y="24"/>
                    <a:pt x="81" y="23"/>
                    <a:pt x="81" y="23"/>
                  </a:cubicBezTo>
                  <a:cubicBezTo>
                    <a:pt x="83" y="22"/>
                    <a:pt x="85" y="23"/>
                    <a:pt x="87" y="24"/>
                  </a:cubicBezTo>
                  <a:cubicBezTo>
                    <a:pt x="87" y="24"/>
                    <a:pt x="88" y="24"/>
                    <a:pt x="88" y="24"/>
                  </a:cubicBezTo>
                  <a:cubicBezTo>
                    <a:pt x="88" y="24"/>
                    <a:pt x="88" y="23"/>
                    <a:pt x="88" y="23"/>
                  </a:cubicBezTo>
                  <a:cubicBezTo>
                    <a:pt x="87" y="21"/>
                    <a:pt x="84" y="21"/>
                    <a:pt x="83" y="20"/>
                  </a:cubicBezTo>
                  <a:cubicBezTo>
                    <a:pt x="82" y="20"/>
                    <a:pt x="82" y="19"/>
                    <a:pt x="83" y="19"/>
                  </a:cubicBezTo>
                  <a:cubicBezTo>
                    <a:pt x="83" y="18"/>
                    <a:pt x="84" y="18"/>
                    <a:pt x="85" y="17"/>
                  </a:cubicBezTo>
                  <a:cubicBezTo>
                    <a:pt x="86" y="16"/>
                    <a:pt x="88" y="16"/>
                    <a:pt x="89" y="16"/>
                  </a:cubicBezTo>
                  <a:cubicBezTo>
                    <a:pt x="91" y="16"/>
                    <a:pt x="93" y="16"/>
                    <a:pt x="95" y="16"/>
                  </a:cubicBezTo>
                  <a:cubicBezTo>
                    <a:pt x="95" y="17"/>
                    <a:pt x="97" y="17"/>
                    <a:pt x="98" y="18"/>
                  </a:cubicBezTo>
                  <a:cubicBezTo>
                    <a:pt x="99" y="18"/>
                    <a:pt x="101" y="17"/>
                    <a:pt x="102" y="18"/>
                  </a:cubicBezTo>
                  <a:cubicBezTo>
                    <a:pt x="103" y="18"/>
                    <a:pt x="105" y="19"/>
                    <a:pt x="105" y="20"/>
                  </a:cubicBezTo>
                  <a:cubicBezTo>
                    <a:pt x="105" y="21"/>
                    <a:pt x="105" y="22"/>
                    <a:pt x="105" y="22"/>
                  </a:cubicBezTo>
                  <a:cubicBezTo>
                    <a:pt x="105" y="23"/>
                    <a:pt x="103" y="23"/>
                    <a:pt x="104" y="25"/>
                  </a:cubicBezTo>
                  <a:cubicBezTo>
                    <a:pt x="106" y="25"/>
                    <a:pt x="109" y="24"/>
                    <a:pt x="110" y="26"/>
                  </a:cubicBezTo>
                  <a:cubicBezTo>
                    <a:pt x="111" y="27"/>
                    <a:pt x="110" y="27"/>
                    <a:pt x="110" y="28"/>
                  </a:cubicBezTo>
                  <a:cubicBezTo>
                    <a:pt x="109" y="29"/>
                    <a:pt x="107" y="30"/>
                    <a:pt x="106" y="32"/>
                  </a:cubicBezTo>
                  <a:cubicBezTo>
                    <a:pt x="106" y="32"/>
                    <a:pt x="106" y="33"/>
                    <a:pt x="106" y="34"/>
                  </a:cubicBezTo>
                  <a:cubicBezTo>
                    <a:pt x="106" y="34"/>
                    <a:pt x="107" y="34"/>
                    <a:pt x="107" y="33"/>
                  </a:cubicBezTo>
                  <a:cubicBezTo>
                    <a:pt x="108" y="33"/>
                    <a:pt x="109" y="31"/>
                    <a:pt x="110" y="30"/>
                  </a:cubicBezTo>
                  <a:cubicBezTo>
                    <a:pt x="111" y="30"/>
                    <a:pt x="112" y="30"/>
                    <a:pt x="112" y="30"/>
                  </a:cubicBezTo>
                  <a:cubicBezTo>
                    <a:pt x="113" y="30"/>
                    <a:pt x="112" y="31"/>
                    <a:pt x="112" y="31"/>
                  </a:cubicBezTo>
                  <a:cubicBezTo>
                    <a:pt x="112" y="32"/>
                    <a:pt x="111" y="33"/>
                    <a:pt x="111" y="33"/>
                  </a:cubicBezTo>
                  <a:cubicBezTo>
                    <a:pt x="112" y="34"/>
                    <a:pt x="113" y="34"/>
                    <a:pt x="114" y="33"/>
                  </a:cubicBezTo>
                  <a:cubicBezTo>
                    <a:pt x="114" y="32"/>
                    <a:pt x="115" y="33"/>
                    <a:pt x="115" y="33"/>
                  </a:cubicBezTo>
                  <a:cubicBezTo>
                    <a:pt x="115" y="34"/>
                    <a:pt x="115" y="34"/>
                    <a:pt x="115" y="35"/>
                  </a:cubicBezTo>
                  <a:cubicBezTo>
                    <a:pt x="119" y="36"/>
                    <a:pt x="120" y="31"/>
                    <a:pt x="122" y="30"/>
                  </a:cubicBezTo>
                  <a:cubicBezTo>
                    <a:pt x="123" y="30"/>
                    <a:pt x="124" y="30"/>
                    <a:pt x="126" y="30"/>
                  </a:cubicBezTo>
                  <a:cubicBezTo>
                    <a:pt x="127" y="31"/>
                    <a:pt x="127" y="31"/>
                    <a:pt x="129" y="32"/>
                  </a:cubicBezTo>
                  <a:lnTo>
                    <a:pt x="131" y="3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5" name="Freeform 44"/>
            <p:cNvSpPr>
              <a:spLocks/>
            </p:cNvSpPr>
            <p:nvPr/>
          </p:nvSpPr>
          <p:spPr bwMode="auto">
            <a:xfrm>
              <a:off x="6084898" y="4635580"/>
              <a:ext cx="12324" cy="7856"/>
            </a:xfrm>
            <a:custGeom>
              <a:avLst/>
              <a:gdLst>
                <a:gd name="T0" fmla="*/ 5234180 w 9"/>
                <a:gd name="T1" fmla="*/ 2947589 h 7"/>
                <a:gd name="T2" fmla="*/ 3961001 w 9"/>
                <a:gd name="T3" fmla="*/ 0 h 7"/>
                <a:gd name="T4" fmla="*/ 2243220 w 9"/>
                <a:gd name="T5" fmla="*/ 0 h 7"/>
                <a:gd name="T6" fmla="*/ 727531 w 9"/>
                <a:gd name="T7" fmla="*/ 1213713 h 7"/>
                <a:gd name="T8" fmla="*/ 0 w 9"/>
                <a:gd name="T9" fmla="*/ 2947589 h 7"/>
                <a:gd name="T10" fmla="*/ 727531 w 9"/>
                <a:gd name="T11" fmla="*/ 4210842 h 7"/>
                <a:gd name="T12" fmla="*/ 3961001 w 9"/>
                <a:gd name="T13" fmla="*/ 8872004 h 7"/>
                <a:gd name="T14" fmla="*/ 6931749 w 9"/>
                <a:gd name="T15" fmla="*/ 7158428 h 7"/>
                <a:gd name="T16" fmla="*/ 6931749 w 9"/>
                <a:gd name="T17" fmla="*/ 4210842 h 7"/>
                <a:gd name="T18" fmla="*/ 5234180 w 9"/>
                <a:gd name="T19" fmla="*/ 2947589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7"/>
                <a:gd name="T32" fmla="*/ 9 w 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7">
                  <a:moveTo>
                    <a:pt x="7" y="2"/>
                  </a:moveTo>
                  <a:cubicBezTo>
                    <a:pt x="7" y="1"/>
                    <a:pt x="6" y="0"/>
                    <a:pt x="5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3" y="7"/>
                    <a:pt x="5" y="6"/>
                  </a:cubicBezTo>
                  <a:cubicBezTo>
                    <a:pt x="6" y="5"/>
                    <a:pt x="8" y="5"/>
                    <a:pt x="9" y="5"/>
                  </a:cubicBezTo>
                  <a:cubicBezTo>
                    <a:pt x="9" y="4"/>
                    <a:pt x="9" y="4"/>
                    <a:pt x="9" y="3"/>
                  </a:cubicBezTo>
                  <a:cubicBezTo>
                    <a:pt x="9" y="2"/>
                    <a:pt x="8" y="3"/>
                    <a:pt x="7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6" name="Freeform 45"/>
            <p:cNvSpPr>
              <a:spLocks/>
            </p:cNvSpPr>
            <p:nvPr/>
          </p:nvSpPr>
          <p:spPr bwMode="auto">
            <a:xfrm>
              <a:off x="6065322" y="4647668"/>
              <a:ext cx="10151" cy="13901"/>
            </a:xfrm>
            <a:custGeom>
              <a:avLst/>
              <a:gdLst>
                <a:gd name="T0" fmla="*/ 4351847 w 8"/>
                <a:gd name="T1" fmla="*/ 11938254 h 13"/>
                <a:gd name="T2" fmla="*/ 5955246 w 8"/>
                <a:gd name="T3" fmla="*/ 8621839 h 13"/>
                <a:gd name="T4" fmla="*/ 7279645 w 8"/>
                <a:gd name="T5" fmla="*/ 6350665 h 13"/>
                <a:gd name="T6" fmla="*/ 7279645 w 8"/>
                <a:gd name="T7" fmla="*/ 4595099 h 13"/>
                <a:gd name="T8" fmla="*/ 5955246 w 8"/>
                <a:gd name="T9" fmla="*/ 979497 h 13"/>
                <a:gd name="T10" fmla="*/ 3065115 w 8"/>
                <a:gd name="T11" fmla="*/ 4595099 h 13"/>
                <a:gd name="T12" fmla="*/ 0 w 8"/>
                <a:gd name="T13" fmla="*/ 8621839 h 13"/>
                <a:gd name="T14" fmla="*/ 0 w 8"/>
                <a:gd name="T15" fmla="*/ 10957538 h 13"/>
                <a:gd name="T16" fmla="*/ 2129866 w 8"/>
                <a:gd name="T17" fmla="*/ 14203962 h 13"/>
                <a:gd name="T18" fmla="*/ 4351847 w 8"/>
                <a:gd name="T19" fmla="*/ 10957538 h 13"/>
                <a:gd name="T20" fmla="*/ 4351847 w 8"/>
                <a:gd name="T21" fmla="*/ 11938254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"/>
                <a:gd name="T34" fmla="*/ 0 h 13"/>
                <a:gd name="T35" fmla="*/ 8 w 8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" h="13">
                  <a:moveTo>
                    <a:pt x="4" y="11"/>
                  </a:moveTo>
                  <a:cubicBezTo>
                    <a:pt x="5" y="10"/>
                    <a:pt x="5" y="9"/>
                    <a:pt x="6" y="8"/>
                  </a:cubicBezTo>
                  <a:cubicBezTo>
                    <a:pt x="6" y="8"/>
                    <a:pt x="7" y="7"/>
                    <a:pt x="7" y="6"/>
                  </a:cubicBezTo>
                  <a:cubicBezTo>
                    <a:pt x="8" y="5"/>
                    <a:pt x="8" y="4"/>
                    <a:pt x="7" y="4"/>
                  </a:cubicBezTo>
                  <a:cubicBezTo>
                    <a:pt x="7" y="3"/>
                    <a:pt x="7" y="2"/>
                    <a:pt x="6" y="1"/>
                  </a:cubicBezTo>
                  <a:cubicBezTo>
                    <a:pt x="4" y="0"/>
                    <a:pt x="4" y="3"/>
                    <a:pt x="3" y="4"/>
                  </a:cubicBezTo>
                  <a:cubicBezTo>
                    <a:pt x="2" y="5"/>
                    <a:pt x="1" y="7"/>
                    <a:pt x="0" y="8"/>
                  </a:cubicBezTo>
                  <a:cubicBezTo>
                    <a:pt x="0" y="8"/>
                    <a:pt x="0" y="10"/>
                    <a:pt x="0" y="10"/>
                  </a:cubicBezTo>
                  <a:cubicBezTo>
                    <a:pt x="1" y="11"/>
                    <a:pt x="1" y="12"/>
                    <a:pt x="2" y="13"/>
                  </a:cubicBezTo>
                  <a:cubicBezTo>
                    <a:pt x="3" y="13"/>
                    <a:pt x="4" y="12"/>
                    <a:pt x="4" y="10"/>
                  </a:cubicBezTo>
                  <a:lnTo>
                    <a:pt x="4" y="11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7" name="Freeform 46"/>
            <p:cNvSpPr>
              <a:spLocks/>
            </p:cNvSpPr>
            <p:nvPr/>
          </p:nvSpPr>
          <p:spPr bwMode="auto">
            <a:xfrm>
              <a:off x="6029801" y="4641624"/>
              <a:ext cx="23923" cy="12088"/>
            </a:xfrm>
            <a:custGeom>
              <a:avLst/>
              <a:gdLst>
                <a:gd name="T0" fmla="*/ 15574178 w 18"/>
                <a:gd name="T1" fmla="*/ 0 h 11"/>
                <a:gd name="T2" fmla="*/ 11221395 w 18"/>
                <a:gd name="T3" fmla="*/ 2007625 h 11"/>
                <a:gd name="T4" fmla="*/ 10471513 w 18"/>
                <a:gd name="T5" fmla="*/ 2007625 h 11"/>
                <a:gd name="T6" fmla="*/ 8080076 w 18"/>
                <a:gd name="T7" fmla="*/ 849380 h 11"/>
                <a:gd name="T8" fmla="*/ 5695489 w 18"/>
                <a:gd name="T9" fmla="*/ 3587761 h 11"/>
                <a:gd name="T10" fmla="*/ 998020 w 18"/>
                <a:gd name="T11" fmla="*/ 7630664 h 11"/>
                <a:gd name="T12" fmla="*/ 998020 w 18"/>
                <a:gd name="T13" fmla="*/ 9698926 h 11"/>
                <a:gd name="T14" fmla="*/ 8850068 w 18"/>
                <a:gd name="T15" fmla="*/ 8480159 h 11"/>
                <a:gd name="T16" fmla="*/ 13605887 w 18"/>
                <a:gd name="T17" fmla="*/ 4745295 h 11"/>
                <a:gd name="T18" fmla="*/ 19302400 w 18"/>
                <a:gd name="T19" fmla="*/ 2894074 h 11"/>
                <a:gd name="T20" fmla="*/ 19302400 w 18"/>
                <a:gd name="T21" fmla="*/ 0 h 11"/>
                <a:gd name="T22" fmla="*/ 15574178 w 18"/>
                <a:gd name="T23" fmla="*/ 0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"/>
                <a:gd name="T37" fmla="*/ 0 h 11"/>
                <a:gd name="T38" fmla="*/ 18 w 18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" h="11">
                  <a:moveTo>
                    <a:pt x="14" y="0"/>
                  </a:moveTo>
                  <a:cubicBezTo>
                    <a:pt x="13" y="1"/>
                    <a:pt x="12" y="1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8" y="1"/>
                    <a:pt x="7" y="0"/>
                    <a:pt x="7" y="1"/>
                  </a:cubicBezTo>
                  <a:cubicBezTo>
                    <a:pt x="6" y="2"/>
                    <a:pt x="6" y="3"/>
                    <a:pt x="5" y="4"/>
                  </a:cubicBezTo>
                  <a:cubicBezTo>
                    <a:pt x="4" y="6"/>
                    <a:pt x="2" y="6"/>
                    <a:pt x="1" y="8"/>
                  </a:cubicBezTo>
                  <a:cubicBezTo>
                    <a:pt x="0" y="9"/>
                    <a:pt x="0" y="10"/>
                    <a:pt x="1" y="10"/>
                  </a:cubicBezTo>
                  <a:cubicBezTo>
                    <a:pt x="3" y="10"/>
                    <a:pt x="6" y="11"/>
                    <a:pt x="8" y="9"/>
                  </a:cubicBezTo>
                  <a:cubicBezTo>
                    <a:pt x="9" y="8"/>
                    <a:pt x="10" y="6"/>
                    <a:pt x="12" y="5"/>
                  </a:cubicBezTo>
                  <a:cubicBezTo>
                    <a:pt x="13" y="4"/>
                    <a:pt x="15" y="4"/>
                    <a:pt x="17" y="3"/>
                  </a:cubicBezTo>
                  <a:cubicBezTo>
                    <a:pt x="17" y="3"/>
                    <a:pt x="18" y="1"/>
                    <a:pt x="17" y="0"/>
                  </a:cubicBezTo>
                  <a:cubicBezTo>
                    <a:pt x="16" y="0"/>
                    <a:pt x="15" y="0"/>
                    <a:pt x="14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8" name="Freeform 47"/>
            <p:cNvSpPr>
              <a:spLocks/>
            </p:cNvSpPr>
            <p:nvPr/>
          </p:nvSpPr>
          <p:spPr bwMode="auto">
            <a:xfrm>
              <a:off x="6004427" y="4601738"/>
              <a:ext cx="67421" cy="38678"/>
            </a:xfrm>
            <a:custGeom>
              <a:avLst/>
              <a:gdLst>
                <a:gd name="T0" fmla="*/ 32617975 w 50"/>
                <a:gd name="T1" fmla="*/ 13031094 h 36"/>
                <a:gd name="T2" fmla="*/ 31432311 w 50"/>
                <a:gd name="T3" fmla="*/ 13031094 h 36"/>
                <a:gd name="T4" fmla="*/ 25070678 w 50"/>
                <a:gd name="T5" fmla="*/ 8379337 h 36"/>
                <a:gd name="T6" fmla="*/ 23940031 w 50"/>
                <a:gd name="T7" fmla="*/ 7500980 h 36"/>
                <a:gd name="T8" fmla="*/ 22477568 w 50"/>
                <a:gd name="T9" fmla="*/ 5519055 h 36"/>
                <a:gd name="T10" fmla="*/ 19578455 w 50"/>
                <a:gd name="T11" fmla="*/ 7500980 h 36"/>
                <a:gd name="T12" fmla="*/ 18442993 w 50"/>
                <a:gd name="T13" fmla="*/ 8379337 h 36"/>
                <a:gd name="T14" fmla="*/ 18442993 w 50"/>
                <a:gd name="T15" fmla="*/ 5519055 h 36"/>
                <a:gd name="T16" fmla="*/ 17606647 w 50"/>
                <a:gd name="T17" fmla="*/ 2821556 h 36"/>
                <a:gd name="T18" fmla="*/ 18442993 w 50"/>
                <a:gd name="T19" fmla="*/ 2821556 h 36"/>
                <a:gd name="T20" fmla="*/ 18442993 w 50"/>
                <a:gd name="T21" fmla="*/ 1982086 h 36"/>
                <a:gd name="T22" fmla="*/ 14926566 w 50"/>
                <a:gd name="T23" fmla="*/ 839472 h 36"/>
                <a:gd name="T24" fmla="*/ 12953021 w 50"/>
                <a:gd name="T25" fmla="*/ 2821556 h 36"/>
                <a:gd name="T26" fmla="*/ 12117629 w 50"/>
                <a:gd name="T27" fmla="*/ 5519055 h 36"/>
                <a:gd name="T28" fmla="*/ 9524393 w 50"/>
                <a:gd name="T29" fmla="*/ 10210418 h 36"/>
                <a:gd name="T30" fmla="*/ 8295957 w 50"/>
                <a:gd name="T31" fmla="*/ 12191625 h 36"/>
                <a:gd name="T32" fmla="*/ 6629066 w 50"/>
                <a:gd name="T33" fmla="*/ 21259350 h 36"/>
                <a:gd name="T34" fmla="*/ 0 w 50"/>
                <a:gd name="T35" fmla="*/ 26929207 h 36"/>
                <a:gd name="T36" fmla="*/ 2808927 w 50"/>
                <a:gd name="T37" fmla="*/ 26929207 h 36"/>
                <a:gd name="T38" fmla="*/ 8295957 w 50"/>
                <a:gd name="T39" fmla="*/ 26089842 h 36"/>
                <a:gd name="T40" fmla="*/ 10144084 w 50"/>
                <a:gd name="T41" fmla="*/ 28123853 h 36"/>
                <a:gd name="T42" fmla="*/ 10144084 w 50"/>
                <a:gd name="T43" fmla="*/ 33681736 h 36"/>
                <a:gd name="T44" fmla="*/ 12953021 w 50"/>
                <a:gd name="T45" fmla="*/ 33681736 h 36"/>
                <a:gd name="T46" fmla="*/ 12953021 w 50"/>
                <a:gd name="T47" fmla="*/ 32815247 h 36"/>
                <a:gd name="T48" fmla="*/ 17606647 w 50"/>
                <a:gd name="T49" fmla="*/ 28123853 h 36"/>
                <a:gd name="T50" fmla="*/ 17606647 w 50"/>
                <a:gd name="T51" fmla="*/ 28123853 h 36"/>
                <a:gd name="T52" fmla="*/ 22477568 w 50"/>
                <a:gd name="T53" fmla="*/ 26089842 h 36"/>
                <a:gd name="T54" fmla="*/ 23940031 w 50"/>
                <a:gd name="T55" fmla="*/ 21259350 h 36"/>
                <a:gd name="T56" fmla="*/ 26625087 w 50"/>
                <a:gd name="T57" fmla="*/ 21259350 h 36"/>
                <a:gd name="T58" fmla="*/ 27916384 w 50"/>
                <a:gd name="T59" fmla="*/ 23229971 h 36"/>
                <a:gd name="T60" fmla="*/ 31432311 w 50"/>
                <a:gd name="T61" fmla="*/ 26089842 h 36"/>
                <a:gd name="T62" fmla="*/ 38894799 w 50"/>
                <a:gd name="T63" fmla="*/ 28123853 h 36"/>
                <a:gd name="T64" fmla="*/ 41551677 w 50"/>
                <a:gd name="T65" fmla="*/ 28785776 h 36"/>
                <a:gd name="T66" fmla="*/ 46205142 w 50"/>
                <a:gd name="T67" fmla="*/ 26929207 h 36"/>
                <a:gd name="T68" fmla="*/ 46205142 w 50"/>
                <a:gd name="T69" fmla="*/ 25303554 h 36"/>
                <a:gd name="T70" fmla="*/ 44380995 w 50"/>
                <a:gd name="T71" fmla="*/ 24107926 h 36"/>
                <a:gd name="T72" fmla="*/ 43525467 w 50"/>
                <a:gd name="T73" fmla="*/ 21259350 h 36"/>
                <a:gd name="T74" fmla="*/ 42780613 w 50"/>
                <a:gd name="T75" fmla="*/ 20558989 h 36"/>
                <a:gd name="T76" fmla="*/ 41551677 w 50"/>
                <a:gd name="T77" fmla="*/ 22604843 h 36"/>
                <a:gd name="T78" fmla="*/ 39573289 w 50"/>
                <a:gd name="T79" fmla="*/ 22604843 h 36"/>
                <a:gd name="T80" fmla="*/ 39573289 w 50"/>
                <a:gd name="T81" fmla="*/ 21259350 h 36"/>
                <a:gd name="T82" fmla="*/ 35226680 w 50"/>
                <a:gd name="T83" fmla="*/ 22604843 h 36"/>
                <a:gd name="T84" fmla="*/ 35226680 w 50"/>
                <a:gd name="T85" fmla="*/ 21259350 h 36"/>
                <a:gd name="T86" fmla="*/ 36921216 w 50"/>
                <a:gd name="T87" fmla="*/ 19784540 h 36"/>
                <a:gd name="T88" fmla="*/ 36921216 w 50"/>
                <a:gd name="T89" fmla="*/ 15729730 h 36"/>
                <a:gd name="T90" fmla="*/ 32617975 w 50"/>
                <a:gd name="T91" fmla="*/ 13898226 h 36"/>
                <a:gd name="T92" fmla="*/ 32617975 w 50"/>
                <a:gd name="T93" fmla="*/ 13031094 h 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0"/>
                <a:gd name="T142" fmla="*/ 0 h 36"/>
                <a:gd name="T143" fmla="*/ 50 w 50"/>
                <a:gd name="T144" fmla="*/ 36 h 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0" h="36">
                  <a:moveTo>
                    <a:pt x="35" y="14"/>
                  </a:moveTo>
                  <a:cubicBezTo>
                    <a:pt x="35" y="14"/>
                    <a:pt x="35" y="14"/>
                    <a:pt x="34" y="14"/>
                  </a:cubicBezTo>
                  <a:cubicBezTo>
                    <a:pt x="32" y="12"/>
                    <a:pt x="29" y="11"/>
                    <a:pt x="27" y="9"/>
                  </a:cubicBezTo>
                  <a:cubicBezTo>
                    <a:pt x="27" y="9"/>
                    <a:pt x="27" y="9"/>
                    <a:pt x="26" y="8"/>
                  </a:cubicBezTo>
                  <a:cubicBezTo>
                    <a:pt x="25" y="8"/>
                    <a:pt x="25" y="7"/>
                    <a:pt x="24" y="6"/>
                  </a:cubicBezTo>
                  <a:cubicBezTo>
                    <a:pt x="22" y="5"/>
                    <a:pt x="22" y="7"/>
                    <a:pt x="21" y="8"/>
                  </a:cubicBezTo>
                  <a:cubicBezTo>
                    <a:pt x="21" y="9"/>
                    <a:pt x="20" y="9"/>
                    <a:pt x="20" y="9"/>
                  </a:cubicBezTo>
                  <a:cubicBezTo>
                    <a:pt x="20" y="8"/>
                    <a:pt x="20" y="7"/>
                    <a:pt x="20" y="6"/>
                  </a:cubicBezTo>
                  <a:cubicBezTo>
                    <a:pt x="19" y="5"/>
                    <a:pt x="19" y="4"/>
                    <a:pt x="19" y="3"/>
                  </a:cubicBezTo>
                  <a:cubicBezTo>
                    <a:pt x="19" y="3"/>
                    <a:pt x="19" y="3"/>
                    <a:pt x="20" y="3"/>
                  </a:cubicBezTo>
                  <a:cubicBezTo>
                    <a:pt x="20" y="3"/>
                    <a:pt x="20" y="2"/>
                    <a:pt x="20" y="2"/>
                  </a:cubicBezTo>
                  <a:cubicBezTo>
                    <a:pt x="19" y="0"/>
                    <a:pt x="17" y="0"/>
                    <a:pt x="16" y="1"/>
                  </a:cubicBezTo>
                  <a:cubicBezTo>
                    <a:pt x="15" y="1"/>
                    <a:pt x="14" y="2"/>
                    <a:pt x="14" y="3"/>
                  </a:cubicBezTo>
                  <a:cubicBezTo>
                    <a:pt x="13" y="4"/>
                    <a:pt x="13" y="5"/>
                    <a:pt x="13" y="6"/>
                  </a:cubicBezTo>
                  <a:cubicBezTo>
                    <a:pt x="12" y="8"/>
                    <a:pt x="11" y="10"/>
                    <a:pt x="10" y="11"/>
                  </a:cubicBezTo>
                  <a:cubicBezTo>
                    <a:pt x="10" y="12"/>
                    <a:pt x="9" y="12"/>
                    <a:pt x="9" y="13"/>
                  </a:cubicBezTo>
                  <a:cubicBezTo>
                    <a:pt x="8" y="16"/>
                    <a:pt x="10" y="21"/>
                    <a:pt x="7" y="23"/>
                  </a:cubicBezTo>
                  <a:cubicBezTo>
                    <a:pt x="5" y="25"/>
                    <a:pt x="0" y="26"/>
                    <a:pt x="0" y="29"/>
                  </a:cubicBezTo>
                  <a:cubicBezTo>
                    <a:pt x="0" y="30"/>
                    <a:pt x="2" y="29"/>
                    <a:pt x="3" y="29"/>
                  </a:cubicBezTo>
                  <a:cubicBezTo>
                    <a:pt x="5" y="30"/>
                    <a:pt x="7" y="29"/>
                    <a:pt x="9" y="28"/>
                  </a:cubicBezTo>
                  <a:cubicBezTo>
                    <a:pt x="10" y="28"/>
                    <a:pt x="11" y="29"/>
                    <a:pt x="11" y="30"/>
                  </a:cubicBezTo>
                  <a:cubicBezTo>
                    <a:pt x="12" y="32"/>
                    <a:pt x="11" y="34"/>
                    <a:pt x="11" y="36"/>
                  </a:cubicBezTo>
                  <a:cubicBezTo>
                    <a:pt x="12" y="36"/>
                    <a:pt x="13" y="36"/>
                    <a:pt x="14" y="36"/>
                  </a:cubicBezTo>
                  <a:cubicBezTo>
                    <a:pt x="14" y="36"/>
                    <a:pt x="14" y="35"/>
                    <a:pt x="14" y="35"/>
                  </a:cubicBezTo>
                  <a:cubicBezTo>
                    <a:pt x="16" y="34"/>
                    <a:pt x="18" y="33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1" y="29"/>
                    <a:pt x="23" y="29"/>
                    <a:pt x="24" y="28"/>
                  </a:cubicBezTo>
                  <a:cubicBezTo>
                    <a:pt x="26" y="27"/>
                    <a:pt x="26" y="25"/>
                    <a:pt x="26" y="23"/>
                  </a:cubicBezTo>
                  <a:cubicBezTo>
                    <a:pt x="27" y="23"/>
                    <a:pt x="28" y="23"/>
                    <a:pt x="29" y="23"/>
                  </a:cubicBezTo>
                  <a:cubicBezTo>
                    <a:pt x="29" y="23"/>
                    <a:pt x="30" y="24"/>
                    <a:pt x="30" y="25"/>
                  </a:cubicBezTo>
                  <a:cubicBezTo>
                    <a:pt x="32" y="26"/>
                    <a:pt x="33" y="28"/>
                    <a:pt x="34" y="28"/>
                  </a:cubicBezTo>
                  <a:cubicBezTo>
                    <a:pt x="37" y="28"/>
                    <a:pt x="39" y="30"/>
                    <a:pt x="42" y="30"/>
                  </a:cubicBezTo>
                  <a:cubicBezTo>
                    <a:pt x="43" y="31"/>
                    <a:pt x="44" y="31"/>
                    <a:pt x="45" y="31"/>
                  </a:cubicBezTo>
                  <a:cubicBezTo>
                    <a:pt x="47" y="30"/>
                    <a:pt x="48" y="29"/>
                    <a:pt x="50" y="29"/>
                  </a:cubicBezTo>
                  <a:cubicBezTo>
                    <a:pt x="50" y="28"/>
                    <a:pt x="50" y="28"/>
                    <a:pt x="50" y="27"/>
                  </a:cubicBezTo>
                  <a:cubicBezTo>
                    <a:pt x="49" y="26"/>
                    <a:pt x="48" y="27"/>
                    <a:pt x="48" y="26"/>
                  </a:cubicBezTo>
                  <a:cubicBezTo>
                    <a:pt x="48" y="25"/>
                    <a:pt x="48" y="23"/>
                    <a:pt x="47" y="23"/>
                  </a:cubicBezTo>
                  <a:cubicBezTo>
                    <a:pt x="47" y="22"/>
                    <a:pt x="46" y="22"/>
                    <a:pt x="46" y="22"/>
                  </a:cubicBezTo>
                  <a:cubicBezTo>
                    <a:pt x="46" y="23"/>
                    <a:pt x="45" y="23"/>
                    <a:pt x="45" y="24"/>
                  </a:cubicBezTo>
                  <a:cubicBezTo>
                    <a:pt x="45" y="24"/>
                    <a:pt x="44" y="24"/>
                    <a:pt x="43" y="24"/>
                  </a:cubicBezTo>
                  <a:cubicBezTo>
                    <a:pt x="43" y="24"/>
                    <a:pt x="43" y="24"/>
                    <a:pt x="43" y="23"/>
                  </a:cubicBezTo>
                  <a:cubicBezTo>
                    <a:pt x="41" y="23"/>
                    <a:pt x="40" y="24"/>
                    <a:pt x="38" y="24"/>
                  </a:cubicBezTo>
                  <a:cubicBezTo>
                    <a:pt x="38" y="24"/>
                    <a:pt x="38" y="23"/>
                    <a:pt x="38" y="23"/>
                  </a:cubicBezTo>
                  <a:cubicBezTo>
                    <a:pt x="39" y="22"/>
                    <a:pt x="40" y="22"/>
                    <a:pt x="40" y="21"/>
                  </a:cubicBezTo>
                  <a:cubicBezTo>
                    <a:pt x="40" y="20"/>
                    <a:pt x="40" y="18"/>
                    <a:pt x="40" y="17"/>
                  </a:cubicBezTo>
                  <a:cubicBezTo>
                    <a:pt x="39" y="16"/>
                    <a:pt x="37" y="15"/>
                    <a:pt x="35" y="15"/>
                  </a:cubicBezTo>
                  <a:cubicBezTo>
                    <a:pt x="35" y="14"/>
                    <a:pt x="35" y="14"/>
                    <a:pt x="35" y="1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9" name="Freeform 48"/>
            <p:cNvSpPr>
              <a:spLocks/>
            </p:cNvSpPr>
            <p:nvPr/>
          </p:nvSpPr>
          <p:spPr bwMode="auto">
            <a:xfrm>
              <a:off x="6039948" y="4599925"/>
              <a:ext cx="8699" cy="7253"/>
            </a:xfrm>
            <a:custGeom>
              <a:avLst/>
              <a:gdLst>
                <a:gd name="T0" fmla="*/ 3961001 w 6"/>
                <a:gd name="T1" fmla="*/ 5930334 h 7"/>
                <a:gd name="T2" fmla="*/ 2970751 w 6"/>
                <a:gd name="T3" fmla="*/ 4210842 h 7"/>
                <a:gd name="T4" fmla="*/ 2243220 w 6"/>
                <a:gd name="T5" fmla="*/ 2947589 h 7"/>
                <a:gd name="T6" fmla="*/ 2243220 w 6"/>
                <a:gd name="T7" fmla="*/ 0 h 7"/>
                <a:gd name="T8" fmla="*/ 0 w 6"/>
                <a:gd name="T9" fmla="*/ 1213713 h 7"/>
                <a:gd name="T10" fmla="*/ 0 w 6"/>
                <a:gd name="T11" fmla="*/ 4210842 h 7"/>
                <a:gd name="T12" fmla="*/ 727531 w 6"/>
                <a:gd name="T13" fmla="*/ 7158428 h 7"/>
                <a:gd name="T14" fmla="*/ 4688532 w 6"/>
                <a:gd name="T15" fmla="*/ 8872004 h 7"/>
                <a:gd name="T16" fmla="*/ 3961001 w 6"/>
                <a:gd name="T17" fmla="*/ 5930334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7"/>
                <a:gd name="T29" fmla="*/ 6 w 6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7">
                  <a:moveTo>
                    <a:pt x="5" y="4"/>
                  </a:moveTo>
                  <a:cubicBezTo>
                    <a:pt x="4" y="4"/>
                    <a:pt x="4" y="4"/>
                    <a:pt x="4" y="3"/>
                  </a:cubicBezTo>
                  <a:cubicBezTo>
                    <a:pt x="3" y="3"/>
                    <a:pt x="4" y="2"/>
                    <a:pt x="3" y="2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0"/>
                    <a:pt x="0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0" y="5"/>
                    <a:pt x="1" y="5"/>
                  </a:cubicBezTo>
                  <a:cubicBezTo>
                    <a:pt x="3" y="6"/>
                    <a:pt x="4" y="7"/>
                    <a:pt x="6" y="6"/>
                  </a:cubicBezTo>
                  <a:cubicBezTo>
                    <a:pt x="6" y="6"/>
                    <a:pt x="6" y="4"/>
                    <a:pt x="5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0" name="Freeform 49"/>
            <p:cNvSpPr>
              <a:spLocks/>
            </p:cNvSpPr>
            <p:nvPr/>
          </p:nvSpPr>
          <p:spPr bwMode="auto">
            <a:xfrm>
              <a:off x="6020375" y="4566686"/>
              <a:ext cx="7248" cy="10879"/>
            </a:xfrm>
            <a:custGeom>
              <a:avLst/>
              <a:gdLst>
                <a:gd name="T0" fmla="*/ 5085394 w 5"/>
                <a:gd name="T1" fmla="*/ 10015063 h 9"/>
                <a:gd name="T2" fmla="*/ 5085394 w 5"/>
                <a:gd name="T3" fmla="*/ 0 h 9"/>
                <a:gd name="T4" fmla="*/ 2554647 w 5"/>
                <a:gd name="T5" fmla="*/ 3238158 h 9"/>
                <a:gd name="T6" fmla="*/ 1064436 w 5"/>
                <a:gd name="T7" fmla="*/ 13330806 h 9"/>
                <a:gd name="T8" fmla="*/ 3577445 w 5"/>
                <a:gd name="T9" fmla="*/ 14708563 h 9"/>
                <a:gd name="T10" fmla="*/ 5085394 w 5"/>
                <a:gd name="T11" fmla="*/ 1001506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4" y="6"/>
                  </a:moveTo>
                  <a:cubicBezTo>
                    <a:pt x="5" y="4"/>
                    <a:pt x="4" y="2"/>
                    <a:pt x="4" y="0"/>
                  </a:cubicBezTo>
                  <a:cubicBezTo>
                    <a:pt x="3" y="0"/>
                    <a:pt x="2" y="1"/>
                    <a:pt x="2" y="2"/>
                  </a:cubicBezTo>
                  <a:cubicBezTo>
                    <a:pt x="0" y="4"/>
                    <a:pt x="1" y="6"/>
                    <a:pt x="1" y="8"/>
                  </a:cubicBezTo>
                  <a:cubicBezTo>
                    <a:pt x="1" y="8"/>
                    <a:pt x="2" y="9"/>
                    <a:pt x="3" y="9"/>
                  </a:cubicBezTo>
                  <a:cubicBezTo>
                    <a:pt x="4" y="8"/>
                    <a:pt x="4" y="7"/>
                    <a:pt x="4" y="6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1" name="Freeform 50"/>
            <p:cNvSpPr>
              <a:spLocks/>
            </p:cNvSpPr>
            <p:nvPr/>
          </p:nvSpPr>
          <p:spPr bwMode="auto">
            <a:xfrm>
              <a:off x="5906557" y="4544325"/>
              <a:ext cx="39874" cy="22360"/>
            </a:xfrm>
            <a:custGeom>
              <a:avLst/>
              <a:gdLst>
                <a:gd name="T0" fmla="*/ 25373006 w 29"/>
                <a:gd name="T1" fmla="*/ 7659274 h 21"/>
                <a:gd name="T2" fmla="*/ 24415991 w 29"/>
                <a:gd name="T3" fmla="*/ 6931750 h 21"/>
                <a:gd name="T4" fmla="*/ 23101146 w 29"/>
                <a:gd name="T5" fmla="*/ 4688532 h 21"/>
                <a:gd name="T6" fmla="*/ 19977817 w 29"/>
                <a:gd name="T7" fmla="*/ 2970751 h 21"/>
                <a:gd name="T8" fmla="*/ 16752030 w 29"/>
                <a:gd name="T9" fmla="*/ 727531 h 21"/>
                <a:gd name="T10" fmla="*/ 14721498 w 29"/>
                <a:gd name="T11" fmla="*/ 727531 h 21"/>
                <a:gd name="T12" fmla="*/ 11592554 w 29"/>
                <a:gd name="T13" fmla="*/ 2243220 h 21"/>
                <a:gd name="T14" fmla="*/ 6187297 w 29"/>
                <a:gd name="T15" fmla="*/ 8614988 h 21"/>
                <a:gd name="T16" fmla="*/ 2268059 w 29"/>
                <a:gd name="T17" fmla="*/ 8614988 h 21"/>
                <a:gd name="T18" fmla="*/ 0 w 29"/>
                <a:gd name="T19" fmla="*/ 9242332 h 21"/>
                <a:gd name="T20" fmla="*/ 0 w 29"/>
                <a:gd name="T21" fmla="*/ 9902490 h 21"/>
                <a:gd name="T22" fmla="*/ 2268059 w 29"/>
                <a:gd name="T23" fmla="*/ 11620010 h 21"/>
                <a:gd name="T24" fmla="*/ 8396477 w 29"/>
                <a:gd name="T25" fmla="*/ 12213087 h 21"/>
                <a:gd name="T26" fmla="*/ 12839740 w 29"/>
                <a:gd name="T27" fmla="*/ 13184929 h 21"/>
                <a:gd name="T28" fmla="*/ 16060441 w 29"/>
                <a:gd name="T29" fmla="*/ 14590762 h 21"/>
                <a:gd name="T30" fmla="*/ 16752030 w 29"/>
                <a:gd name="T31" fmla="*/ 15628432 h 21"/>
                <a:gd name="T32" fmla="*/ 22147900 w 29"/>
                <a:gd name="T33" fmla="*/ 15628432 h 21"/>
                <a:gd name="T34" fmla="*/ 26065557 w 29"/>
                <a:gd name="T35" fmla="*/ 13906433 h 21"/>
                <a:gd name="T36" fmla="*/ 29589619 w 29"/>
                <a:gd name="T37" fmla="*/ 13184929 h 21"/>
                <a:gd name="T38" fmla="*/ 30549718 w 29"/>
                <a:gd name="T39" fmla="*/ 11620010 h 21"/>
                <a:gd name="T40" fmla="*/ 25373006 w 29"/>
                <a:gd name="T41" fmla="*/ 8614988 h 21"/>
                <a:gd name="T42" fmla="*/ 25373006 w 29"/>
                <a:gd name="T43" fmla="*/ 7659274 h 2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9"/>
                <a:gd name="T67" fmla="*/ 0 h 21"/>
                <a:gd name="T68" fmla="*/ 29 w 29"/>
                <a:gd name="T69" fmla="*/ 21 h 2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9" h="21">
                  <a:moveTo>
                    <a:pt x="24" y="10"/>
                  </a:moveTo>
                  <a:cubicBezTo>
                    <a:pt x="23" y="10"/>
                    <a:pt x="23" y="9"/>
                    <a:pt x="23" y="9"/>
                  </a:cubicBezTo>
                  <a:cubicBezTo>
                    <a:pt x="23" y="8"/>
                    <a:pt x="22" y="7"/>
                    <a:pt x="22" y="6"/>
                  </a:cubicBezTo>
                  <a:cubicBezTo>
                    <a:pt x="21" y="5"/>
                    <a:pt x="20" y="5"/>
                    <a:pt x="19" y="4"/>
                  </a:cubicBezTo>
                  <a:cubicBezTo>
                    <a:pt x="17" y="3"/>
                    <a:pt x="17" y="1"/>
                    <a:pt x="16" y="1"/>
                  </a:cubicBezTo>
                  <a:cubicBezTo>
                    <a:pt x="15" y="0"/>
                    <a:pt x="14" y="0"/>
                    <a:pt x="14" y="1"/>
                  </a:cubicBezTo>
                  <a:cubicBezTo>
                    <a:pt x="13" y="1"/>
                    <a:pt x="12" y="2"/>
                    <a:pt x="11" y="3"/>
                  </a:cubicBezTo>
                  <a:cubicBezTo>
                    <a:pt x="9" y="6"/>
                    <a:pt x="9" y="9"/>
                    <a:pt x="6" y="11"/>
                  </a:cubicBezTo>
                  <a:cubicBezTo>
                    <a:pt x="4" y="11"/>
                    <a:pt x="3" y="11"/>
                    <a:pt x="2" y="11"/>
                  </a:cubicBezTo>
                  <a:cubicBezTo>
                    <a:pt x="1" y="11"/>
                    <a:pt x="1" y="11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4"/>
                    <a:pt x="1" y="15"/>
                    <a:pt x="2" y="15"/>
                  </a:cubicBezTo>
                  <a:cubicBezTo>
                    <a:pt x="4" y="15"/>
                    <a:pt x="6" y="15"/>
                    <a:pt x="8" y="16"/>
                  </a:cubicBezTo>
                  <a:cubicBezTo>
                    <a:pt x="9" y="17"/>
                    <a:pt x="10" y="17"/>
                    <a:pt x="12" y="17"/>
                  </a:cubicBezTo>
                  <a:cubicBezTo>
                    <a:pt x="13" y="17"/>
                    <a:pt x="14" y="18"/>
                    <a:pt x="15" y="19"/>
                  </a:cubicBezTo>
                  <a:cubicBezTo>
                    <a:pt x="15" y="19"/>
                    <a:pt x="16" y="20"/>
                    <a:pt x="16" y="20"/>
                  </a:cubicBezTo>
                  <a:cubicBezTo>
                    <a:pt x="18" y="21"/>
                    <a:pt x="20" y="21"/>
                    <a:pt x="21" y="20"/>
                  </a:cubicBezTo>
                  <a:cubicBezTo>
                    <a:pt x="23" y="20"/>
                    <a:pt x="24" y="18"/>
                    <a:pt x="25" y="18"/>
                  </a:cubicBezTo>
                  <a:cubicBezTo>
                    <a:pt x="26" y="18"/>
                    <a:pt x="27" y="17"/>
                    <a:pt x="28" y="17"/>
                  </a:cubicBezTo>
                  <a:cubicBezTo>
                    <a:pt x="29" y="17"/>
                    <a:pt x="29" y="16"/>
                    <a:pt x="29" y="15"/>
                  </a:cubicBezTo>
                  <a:cubicBezTo>
                    <a:pt x="26" y="16"/>
                    <a:pt x="25" y="13"/>
                    <a:pt x="24" y="11"/>
                  </a:cubicBezTo>
                  <a:cubicBezTo>
                    <a:pt x="24" y="11"/>
                    <a:pt x="24" y="10"/>
                    <a:pt x="24" y="1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2" name="Freeform 51"/>
            <p:cNvSpPr>
              <a:spLocks/>
            </p:cNvSpPr>
            <p:nvPr/>
          </p:nvSpPr>
          <p:spPr bwMode="auto">
            <a:xfrm>
              <a:off x="5960203" y="4480267"/>
              <a:ext cx="56548" cy="34448"/>
            </a:xfrm>
            <a:custGeom>
              <a:avLst/>
              <a:gdLst>
                <a:gd name="T0" fmla="*/ 2648104 w 42"/>
                <a:gd name="T1" fmla="*/ 11125821 h 31"/>
                <a:gd name="T2" fmla="*/ 826407 w 42"/>
                <a:gd name="T3" fmla="*/ 17740703 h 31"/>
                <a:gd name="T4" fmla="*/ 826407 w 42"/>
                <a:gd name="T5" fmla="*/ 20852555 h 31"/>
                <a:gd name="T6" fmla="*/ 2648104 w 42"/>
                <a:gd name="T7" fmla="*/ 25567452 h 31"/>
                <a:gd name="T8" fmla="*/ 2648104 w 42"/>
                <a:gd name="T9" fmla="*/ 29815337 h 31"/>
                <a:gd name="T10" fmla="*/ 1947959 w 42"/>
                <a:gd name="T11" fmla="*/ 33587484 h 31"/>
                <a:gd name="T12" fmla="*/ 4591617 w 42"/>
                <a:gd name="T13" fmla="*/ 33587484 h 31"/>
                <a:gd name="T14" fmla="*/ 9297268 w 42"/>
                <a:gd name="T15" fmla="*/ 33587484 h 31"/>
                <a:gd name="T16" fmla="*/ 11919091 w 42"/>
                <a:gd name="T17" fmla="*/ 28853739 h 31"/>
                <a:gd name="T18" fmla="*/ 12766088 w 42"/>
                <a:gd name="T19" fmla="*/ 27862635 h 31"/>
                <a:gd name="T20" fmla="*/ 12766088 w 42"/>
                <a:gd name="T21" fmla="*/ 22456359 h 31"/>
                <a:gd name="T22" fmla="*/ 9969094 w 42"/>
                <a:gd name="T23" fmla="*/ 22456359 h 31"/>
                <a:gd name="T24" fmla="*/ 7350476 w 42"/>
                <a:gd name="T25" fmla="*/ 23201725 h 31"/>
                <a:gd name="T26" fmla="*/ 5415918 w 42"/>
                <a:gd name="T27" fmla="*/ 19128895 h 31"/>
                <a:gd name="T28" fmla="*/ 8174844 w 42"/>
                <a:gd name="T29" fmla="*/ 20088589 h 31"/>
                <a:gd name="T30" fmla="*/ 20120347 w 42"/>
                <a:gd name="T31" fmla="*/ 20852555 h 31"/>
                <a:gd name="T32" fmla="*/ 20744537 w 42"/>
                <a:gd name="T33" fmla="*/ 22456359 h 31"/>
                <a:gd name="T34" fmla="*/ 24685188 w 42"/>
                <a:gd name="T35" fmla="*/ 20088589 h 31"/>
                <a:gd name="T36" fmla="*/ 32039415 w 42"/>
                <a:gd name="T37" fmla="*/ 11125821 h 31"/>
                <a:gd name="T38" fmla="*/ 32039415 w 42"/>
                <a:gd name="T39" fmla="*/ 11125821 h 31"/>
                <a:gd name="T40" fmla="*/ 33474537 w 42"/>
                <a:gd name="T41" fmla="*/ 8013456 h 31"/>
                <a:gd name="T42" fmla="*/ 38064251 w 42"/>
                <a:gd name="T43" fmla="*/ 5652026 h 31"/>
                <a:gd name="T44" fmla="*/ 38064251 w 42"/>
                <a:gd name="T45" fmla="*/ 4660816 h 31"/>
                <a:gd name="T46" fmla="*/ 32648180 w 42"/>
                <a:gd name="T47" fmla="*/ 991891 h 31"/>
                <a:gd name="T48" fmla="*/ 28921406 w 42"/>
                <a:gd name="T49" fmla="*/ 991891 h 31"/>
                <a:gd name="T50" fmla="*/ 28094992 w 42"/>
                <a:gd name="T51" fmla="*/ 3356989 h 31"/>
                <a:gd name="T52" fmla="*/ 26147031 w 42"/>
                <a:gd name="T53" fmla="*/ 3356989 h 31"/>
                <a:gd name="T54" fmla="*/ 19269273 w 42"/>
                <a:gd name="T55" fmla="*/ 0 h 31"/>
                <a:gd name="T56" fmla="*/ 15386777 w 42"/>
                <a:gd name="T57" fmla="*/ 991891 h 31"/>
                <a:gd name="T58" fmla="*/ 12766088 w 42"/>
                <a:gd name="T59" fmla="*/ 991891 h 31"/>
                <a:gd name="T60" fmla="*/ 7350476 w 42"/>
                <a:gd name="T61" fmla="*/ 2367740 h 31"/>
                <a:gd name="T62" fmla="*/ 6241960 w 42"/>
                <a:gd name="T63" fmla="*/ 4660816 h 31"/>
                <a:gd name="T64" fmla="*/ 8174844 w 42"/>
                <a:gd name="T65" fmla="*/ 6470336 h 31"/>
                <a:gd name="T66" fmla="*/ 8174844 w 42"/>
                <a:gd name="T67" fmla="*/ 8013456 h 31"/>
                <a:gd name="T68" fmla="*/ 5415918 w 42"/>
                <a:gd name="T69" fmla="*/ 6470336 h 31"/>
                <a:gd name="T70" fmla="*/ 4591617 w 42"/>
                <a:gd name="T71" fmla="*/ 6470336 h 31"/>
                <a:gd name="T72" fmla="*/ 2648104 w 42"/>
                <a:gd name="T73" fmla="*/ 8735528 h 31"/>
                <a:gd name="T74" fmla="*/ 2648104 w 42"/>
                <a:gd name="T75" fmla="*/ 11125821 h 3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2"/>
                <a:gd name="T115" fmla="*/ 0 h 31"/>
                <a:gd name="T116" fmla="*/ 42 w 42"/>
                <a:gd name="T117" fmla="*/ 31 h 3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2" h="31">
                  <a:moveTo>
                    <a:pt x="3" y="10"/>
                  </a:moveTo>
                  <a:cubicBezTo>
                    <a:pt x="3" y="12"/>
                    <a:pt x="2" y="14"/>
                    <a:pt x="1" y="16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1" y="21"/>
                    <a:pt x="2" y="22"/>
                    <a:pt x="3" y="23"/>
                  </a:cubicBezTo>
                  <a:cubicBezTo>
                    <a:pt x="3" y="24"/>
                    <a:pt x="3" y="26"/>
                    <a:pt x="3" y="27"/>
                  </a:cubicBezTo>
                  <a:cubicBezTo>
                    <a:pt x="3" y="28"/>
                    <a:pt x="2" y="29"/>
                    <a:pt x="2" y="30"/>
                  </a:cubicBezTo>
                  <a:cubicBezTo>
                    <a:pt x="3" y="30"/>
                    <a:pt x="4" y="30"/>
                    <a:pt x="5" y="30"/>
                  </a:cubicBezTo>
                  <a:cubicBezTo>
                    <a:pt x="7" y="30"/>
                    <a:pt x="9" y="31"/>
                    <a:pt x="10" y="30"/>
                  </a:cubicBezTo>
                  <a:cubicBezTo>
                    <a:pt x="11" y="29"/>
                    <a:pt x="12" y="27"/>
                    <a:pt x="13" y="26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5" y="23"/>
                    <a:pt x="16" y="21"/>
                    <a:pt x="14" y="20"/>
                  </a:cubicBezTo>
                  <a:cubicBezTo>
                    <a:pt x="13" y="20"/>
                    <a:pt x="12" y="20"/>
                    <a:pt x="11" y="20"/>
                  </a:cubicBezTo>
                  <a:cubicBezTo>
                    <a:pt x="10" y="21"/>
                    <a:pt x="9" y="22"/>
                    <a:pt x="8" y="21"/>
                  </a:cubicBezTo>
                  <a:cubicBezTo>
                    <a:pt x="6" y="20"/>
                    <a:pt x="5" y="19"/>
                    <a:pt x="6" y="17"/>
                  </a:cubicBezTo>
                  <a:cubicBezTo>
                    <a:pt x="7" y="17"/>
                    <a:pt x="8" y="18"/>
                    <a:pt x="9" y="18"/>
                  </a:cubicBezTo>
                  <a:cubicBezTo>
                    <a:pt x="14" y="19"/>
                    <a:pt x="18" y="18"/>
                    <a:pt x="22" y="19"/>
                  </a:cubicBezTo>
                  <a:cubicBezTo>
                    <a:pt x="22" y="19"/>
                    <a:pt x="23" y="20"/>
                    <a:pt x="23" y="20"/>
                  </a:cubicBezTo>
                  <a:cubicBezTo>
                    <a:pt x="24" y="20"/>
                    <a:pt x="26" y="20"/>
                    <a:pt x="27" y="18"/>
                  </a:cubicBezTo>
                  <a:cubicBezTo>
                    <a:pt x="30" y="16"/>
                    <a:pt x="32" y="13"/>
                    <a:pt x="35" y="10"/>
                  </a:cubicBezTo>
                  <a:cubicBezTo>
                    <a:pt x="35" y="10"/>
                    <a:pt x="35" y="11"/>
                    <a:pt x="35" y="10"/>
                  </a:cubicBezTo>
                  <a:cubicBezTo>
                    <a:pt x="36" y="9"/>
                    <a:pt x="36" y="7"/>
                    <a:pt x="37" y="7"/>
                  </a:cubicBezTo>
                  <a:cubicBezTo>
                    <a:pt x="39" y="7"/>
                    <a:pt x="40" y="6"/>
                    <a:pt x="42" y="5"/>
                  </a:cubicBezTo>
                  <a:cubicBezTo>
                    <a:pt x="42" y="5"/>
                    <a:pt x="42" y="4"/>
                    <a:pt x="42" y="4"/>
                  </a:cubicBezTo>
                  <a:cubicBezTo>
                    <a:pt x="40" y="3"/>
                    <a:pt x="38" y="2"/>
                    <a:pt x="36" y="1"/>
                  </a:cubicBezTo>
                  <a:cubicBezTo>
                    <a:pt x="35" y="1"/>
                    <a:pt x="34" y="1"/>
                    <a:pt x="32" y="1"/>
                  </a:cubicBezTo>
                  <a:cubicBezTo>
                    <a:pt x="32" y="1"/>
                    <a:pt x="31" y="3"/>
                    <a:pt x="31" y="3"/>
                  </a:cubicBezTo>
                  <a:cubicBezTo>
                    <a:pt x="30" y="3"/>
                    <a:pt x="29" y="3"/>
                    <a:pt x="29" y="3"/>
                  </a:cubicBezTo>
                  <a:cubicBezTo>
                    <a:pt x="26" y="1"/>
                    <a:pt x="23" y="0"/>
                    <a:pt x="21" y="0"/>
                  </a:cubicBezTo>
                  <a:cubicBezTo>
                    <a:pt x="19" y="1"/>
                    <a:pt x="18" y="1"/>
                    <a:pt x="17" y="1"/>
                  </a:cubicBezTo>
                  <a:cubicBezTo>
                    <a:pt x="16" y="1"/>
                    <a:pt x="15" y="0"/>
                    <a:pt x="14" y="1"/>
                  </a:cubicBezTo>
                  <a:cubicBezTo>
                    <a:pt x="12" y="2"/>
                    <a:pt x="10" y="2"/>
                    <a:pt x="8" y="2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8" y="5"/>
                    <a:pt x="9" y="5"/>
                    <a:pt x="9" y="6"/>
                  </a:cubicBezTo>
                  <a:cubicBezTo>
                    <a:pt x="9" y="6"/>
                    <a:pt x="9" y="7"/>
                    <a:pt x="9" y="7"/>
                  </a:cubicBezTo>
                  <a:cubicBezTo>
                    <a:pt x="8" y="7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4" y="7"/>
                    <a:pt x="4" y="7"/>
                    <a:pt x="3" y="8"/>
                  </a:cubicBezTo>
                  <a:cubicBezTo>
                    <a:pt x="3" y="8"/>
                    <a:pt x="3" y="9"/>
                    <a:pt x="3" y="1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3" name="Freeform 52"/>
            <p:cNvSpPr>
              <a:spLocks/>
            </p:cNvSpPr>
            <p:nvPr/>
          </p:nvSpPr>
          <p:spPr bwMode="auto">
            <a:xfrm>
              <a:off x="5949329" y="4493561"/>
              <a:ext cx="4350" cy="6647"/>
            </a:xfrm>
            <a:custGeom>
              <a:avLst/>
              <a:gdLst>
                <a:gd name="T0" fmla="*/ 1699274 w 4"/>
                <a:gd name="T1" fmla="*/ 3961001 h 6"/>
                <a:gd name="T2" fmla="*/ 1359459 w 4"/>
                <a:gd name="T3" fmla="*/ 727531 h 6"/>
                <a:gd name="T4" fmla="*/ 418284 w 4"/>
                <a:gd name="T5" fmla="*/ 4688532 h 6"/>
                <a:gd name="T6" fmla="*/ 1359459 w 4"/>
                <a:gd name="T7" fmla="*/ 4688532 h 6"/>
                <a:gd name="T8" fmla="*/ 1699274 w 4"/>
                <a:gd name="T9" fmla="*/ 396100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4" y="5"/>
                  </a:moveTo>
                  <a:cubicBezTo>
                    <a:pt x="4" y="3"/>
                    <a:pt x="4" y="2"/>
                    <a:pt x="3" y="1"/>
                  </a:cubicBezTo>
                  <a:cubicBezTo>
                    <a:pt x="1" y="0"/>
                    <a:pt x="0" y="4"/>
                    <a:pt x="1" y="6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3" y="6"/>
                    <a:pt x="3" y="5"/>
                    <a:pt x="4" y="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4" name="Freeform 53"/>
            <p:cNvSpPr>
              <a:spLocks/>
            </p:cNvSpPr>
            <p:nvPr/>
          </p:nvSpPr>
          <p:spPr bwMode="auto">
            <a:xfrm>
              <a:off x="5897858" y="4482683"/>
              <a:ext cx="55098" cy="41096"/>
            </a:xfrm>
            <a:custGeom>
              <a:avLst/>
              <a:gdLst>
                <a:gd name="T0" fmla="*/ 18261455 w 41"/>
                <a:gd name="T1" fmla="*/ 3671997 h 38"/>
                <a:gd name="T2" fmla="*/ 16367097 w 41"/>
                <a:gd name="T3" fmla="*/ 2959271 h 38"/>
                <a:gd name="T4" fmla="*/ 13466827 w 41"/>
                <a:gd name="T5" fmla="*/ 2959271 h 38"/>
                <a:gd name="T6" fmla="*/ 12581458 w 41"/>
                <a:gd name="T7" fmla="*/ 5759327 h 38"/>
                <a:gd name="T8" fmla="*/ 9811288 w 41"/>
                <a:gd name="T9" fmla="*/ 7881242 h 38"/>
                <a:gd name="T10" fmla="*/ 12581458 w 41"/>
                <a:gd name="T11" fmla="*/ 9968069 h 38"/>
                <a:gd name="T12" fmla="*/ 14272456 w 41"/>
                <a:gd name="T13" fmla="*/ 10840510 h 38"/>
                <a:gd name="T14" fmla="*/ 15493426 w 41"/>
                <a:gd name="T15" fmla="*/ 16599778 h 38"/>
                <a:gd name="T16" fmla="*/ 9811288 w 41"/>
                <a:gd name="T17" fmla="*/ 18666092 h 38"/>
                <a:gd name="T18" fmla="*/ 5692164 w 41"/>
                <a:gd name="T19" fmla="*/ 14822601 h 38"/>
                <a:gd name="T20" fmla="*/ 2924127 w 41"/>
                <a:gd name="T21" fmla="*/ 14822601 h 38"/>
                <a:gd name="T22" fmla="*/ 0 w 41"/>
                <a:gd name="T23" fmla="*/ 17849252 h 38"/>
                <a:gd name="T24" fmla="*/ 0 w 41"/>
                <a:gd name="T25" fmla="*/ 19416389 h 38"/>
                <a:gd name="T26" fmla="*/ 5692164 w 41"/>
                <a:gd name="T27" fmla="*/ 25674877 h 38"/>
                <a:gd name="T28" fmla="*/ 6918054 w 41"/>
                <a:gd name="T29" fmla="*/ 25674877 h 38"/>
                <a:gd name="T30" fmla="*/ 7718763 w 41"/>
                <a:gd name="T31" fmla="*/ 26570670 h 38"/>
                <a:gd name="T32" fmla="*/ 10695836 w 41"/>
                <a:gd name="T33" fmla="*/ 27228977 h 38"/>
                <a:gd name="T34" fmla="*/ 16367097 w 41"/>
                <a:gd name="T35" fmla="*/ 31441222 h 38"/>
                <a:gd name="T36" fmla="*/ 17537106 w 41"/>
                <a:gd name="T37" fmla="*/ 35106153 h 38"/>
                <a:gd name="T38" fmla="*/ 19134776 w 41"/>
                <a:gd name="T39" fmla="*/ 37200348 h 38"/>
                <a:gd name="T40" fmla="*/ 22042224 w 41"/>
                <a:gd name="T41" fmla="*/ 37200348 h 38"/>
                <a:gd name="T42" fmla="*/ 25304773 w 41"/>
                <a:gd name="T43" fmla="*/ 35106153 h 38"/>
                <a:gd name="T44" fmla="*/ 25304773 w 41"/>
                <a:gd name="T45" fmla="*/ 32306434 h 38"/>
                <a:gd name="T46" fmla="*/ 26836862 w 41"/>
                <a:gd name="T47" fmla="*/ 33584529 h 38"/>
                <a:gd name="T48" fmla="*/ 32535444 w 41"/>
                <a:gd name="T49" fmla="*/ 32306434 h 38"/>
                <a:gd name="T50" fmla="*/ 35798050 w 41"/>
                <a:gd name="T51" fmla="*/ 29374918 h 38"/>
                <a:gd name="T52" fmla="*/ 36655170 w 41"/>
                <a:gd name="T53" fmla="*/ 24492638 h 38"/>
                <a:gd name="T54" fmla="*/ 38722149 w 41"/>
                <a:gd name="T55" fmla="*/ 23608573 h 38"/>
                <a:gd name="T56" fmla="*/ 39423198 w 41"/>
                <a:gd name="T57" fmla="*/ 18666092 h 38"/>
                <a:gd name="T58" fmla="*/ 38722149 w 41"/>
                <a:gd name="T59" fmla="*/ 18666092 h 38"/>
                <a:gd name="T60" fmla="*/ 34628202 w 41"/>
                <a:gd name="T61" fmla="*/ 19416389 h 38"/>
                <a:gd name="T62" fmla="*/ 34628202 w 41"/>
                <a:gd name="T63" fmla="*/ 15706817 h 38"/>
                <a:gd name="T64" fmla="*/ 31003375 w 41"/>
                <a:gd name="T65" fmla="*/ 13640503 h 38"/>
                <a:gd name="T66" fmla="*/ 26836862 w 41"/>
                <a:gd name="T67" fmla="*/ 15706817 h 38"/>
                <a:gd name="T68" fmla="*/ 26836862 w 41"/>
                <a:gd name="T69" fmla="*/ 14822601 h 38"/>
                <a:gd name="T70" fmla="*/ 31860532 w 41"/>
                <a:gd name="T71" fmla="*/ 10840510 h 38"/>
                <a:gd name="T72" fmla="*/ 32535444 w 41"/>
                <a:gd name="T73" fmla="*/ 10840510 h 38"/>
                <a:gd name="T74" fmla="*/ 34628202 w 41"/>
                <a:gd name="T75" fmla="*/ 8696832 h 38"/>
                <a:gd name="T76" fmla="*/ 36655170 w 41"/>
                <a:gd name="T77" fmla="*/ 5759327 h 38"/>
                <a:gd name="T78" fmla="*/ 38722149 w 41"/>
                <a:gd name="T79" fmla="*/ 5759327 h 38"/>
                <a:gd name="T80" fmla="*/ 39423198 w 41"/>
                <a:gd name="T81" fmla="*/ 4854159 h 38"/>
                <a:gd name="T82" fmla="*/ 38722149 w 41"/>
                <a:gd name="T83" fmla="*/ 2959271 h 38"/>
                <a:gd name="T84" fmla="*/ 34628202 w 41"/>
                <a:gd name="T85" fmla="*/ 2049534 h 38"/>
                <a:gd name="T86" fmla="*/ 33766539 w 41"/>
                <a:gd name="T87" fmla="*/ 0 h 38"/>
                <a:gd name="T88" fmla="*/ 29765882 w 41"/>
                <a:gd name="T89" fmla="*/ 865359 h 38"/>
                <a:gd name="T90" fmla="*/ 28880504 w 41"/>
                <a:gd name="T91" fmla="*/ 2959271 h 38"/>
                <a:gd name="T92" fmla="*/ 26836862 w 41"/>
                <a:gd name="T93" fmla="*/ 3671997 h 38"/>
                <a:gd name="T94" fmla="*/ 25304773 w 41"/>
                <a:gd name="T95" fmla="*/ 3671997 h 38"/>
                <a:gd name="T96" fmla="*/ 23212072 w 41"/>
                <a:gd name="T97" fmla="*/ 3671997 h 38"/>
                <a:gd name="T98" fmla="*/ 22042224 w 41"/>
                <a:gd name="T99" fmla="*/ 3671997 h 38"/>
                <a:gd name="T100" fmla="*/ 18261455 w 41"/>
                <a:gd name="T101" fmla="*/ 3671997 h 3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1"/>
                <a:gd name="T154" fmla="*/ 0 h 38"/>
                <a:gd name="T155" fmla="*/ 41 w 41"/>
                <a:gd name="T156" fmla="*/ 38 h 3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1" h="38">
                  <a:moveTo>
                    <a:pt x="19" y="4"/>
                  </a:moveTo>
                  <a:cubicBezTo>
                    <a:pt x="18" y="4"/>
                    <a:pt x="18" y="4"/>
                    <a:pt x="17" y="3"/>
                  </a:cubicBezTo>
                  <a:cubicBezTo>
                    <a:pt x="16" y="3"/>
                    <a:pt x="15" y="3"/>
                    <a:pt x="14" y="3"/>
                  </a:cubicBezTo>
                  <a:cubicBezTo>
                    <a:pt x="13" y="4"/>
                    <a:pt x="13" y="5"/>
                    <a:pt x="13" y="6"/>
                  </a:cubicBezTo>
                  <a:cubicBezTo>
                    <a:pt x="12" y="7"/>
                    <a:pt x="9" y="6"/>
                    <a:pt x="10" y="8"/>
                  </a:cubicBezTo>
                  <a:cubicBezTo>
                    <a:pt x="11" y="9"/>
                    <a:pt x="12" y="10"/>
                    <a:pt x="13" y="10"/>
                  </a:cubicBezTo>
                  <a:cubicBezTo>
                    <a:pt x="14" y="11"/>
                    <a:pt x="15" y="11"/>
                    <a:pt x="15" y="11"/>
                  </a:cubicBezTo>
                  <a:cubicBezTo>
                    <a:pt x="17" y="13"/>
                    <a:pt x="16" y="15"/>
                    <a:pt x="16" y="17"/>
                  </a:cubicBezTo>
                  <a:cubicBezTo>
                    <a:pt x="15" y="20"/>
                    <a:pt x="12" y="19"/>
                    <a:pt x="10" y="19"/>
                  </a:cubicBezTo>
                  <a:cubicBezTo>
                    <a:pt x="9" y="18"/>
                    <a:pt x="8" y="16"/>
                    <a:pt x="6" y="15"/>
                  </a:cubicBezTo>
                  <a:cubicBezTo>
                    <a:pt x="5" y="15"/>
                    <a:pt x="4" y="15"/>
                    <a:pt x="3" y="15"/>
                  </a:cubicBezTo>
                  <a:cubicBezTo>
                    <a:pt x="2" y="16"/>
                    <a:pt x="1" y="17"/>
                    <a:pt x="0" y="18"/>
                  </a:cubicBezTo>
                  <a:cubicBezTo>
                    <a:pt x="0" y="18"/>
                    <a:pt x="0" y="19"/>
                    <a:pt x="0" y="20"/>
                  </a:cubicBezTo>
                  <a:cubicBezTo>
                    <a:pt x="2" y="22"/>
                    <a:pt x="4" y="23"/>
                    <a:pt x="6" y="26"/>
                  </a:cubicBezTo>
                  <a:cubicBezTo>
                    <a:pt x="6" y="26"/>
                    <a:pt x="7" y="26"/>
                    <a:pt x="7" y="26"/>
                  </a:cubicBezTo>
                  <a:cubicBezTo>
                    <a:pt x="7" y="26"/>
                    <a:pt x="8" y="26"/>
                    <a:pt x="8" y="27"/>
                  </a:cubicBezTo>
                  <a:cubicBezTo>
                    <a:pt x="9" y="27"/>
                    <a:pt x="10" y="27"/>
                    <a:pt x="11" y="28"/>
                  </a:cubicBezTo>
                  <a:cubicBezTo>
                    <a:pt x="13" y="29"/>
                    <a:pt x="14" y="31"/>
                    <a:pt x="17" y="32"/>
                  </a:cubicBezTo>
                  <a:cubicBezTo>
                    <a:pt x="18" y="33"/>
                    <a:pt x="18" y="34"/>
                    <a:pt x="18" y="36"/>
                  </a:cubicBezTo>
                  <a:cubicBezTo>
                    <a:pt x="19" y="36"/>
                    <a:pt x="19" y="37"/>
                    <a:pt x="20" y="38"/>
                  </a:cubicBezTo>
                  <a:cubicBezTo>
                    <a:pt x="21" y="38"/>
                    <a:pt x="22" y="38"/>
                    <a:pt x="23" y="38"/>
                  </a:cubicBezTo>
                  <a:cubicBezTo>
                    <a:pt x="24" y="38"/>
                    <a:pt x="26" y="38"/>
                    <a:pt x="26" y="36"/>
                  </a:cubicBezTo>
                  <a:cubicBezTo>
                    <a:pt x="26" y="35"/>
                    <a:pt x="25" y="34"/>
                    <a:pt x="26" y="33"/>
                  </a:cubicBezTo>
                  <a:cubicBezTo>
                    <a:pt x="27" y="32"/>
                    <a:pt x="27" y="33"/>
                    <a:pt x="28" y="34"/>
                  </a:cubicBezTo>
                  <a:cubicBezTo>
                    <a:pt x="30" y="35"/>
                    <a:pt x="32" y="34"/>
                    <a:pt x="34" y="33"/>
                  </a:cubicBezTo>
                  <a:cubicBezTo>
                    <a:pt x="35" y="33"/>
                    <a:pt x="37" y="32"/>
                    <a:pt x="37" y="30"/>
                  </a:cubicBezTo>
                  <a:cubicBezTo>
                    <a:pt x="38" y="29"/>
                    <a:pt x="37" y="27"/>
                    <a:pt x="38" y="25"/>
                  </a:cubicBezTo>
                  <a:cubicBezTo>
                    <a:pt x="38" y="24"/>
                    <a:pt x="40" y="25"/>
                    <a:pt x="40" y="24"/>
                  </a:cubicBezTo>
                  <a:cubicBezTo>
                    <a:pt x="41" y="23"/>
                    <a:pt x="41" y="21"/>
                    <a:pt x="41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9" y="20"/>
                    <a:pt x="37" y="21"/>
                    <a:pt x="36" y="20"/>
                  </a:cubicBezTo>
                  <a:cubicBezTo>
                    <a:pt x="36" y="19"/>
                    <a:pt x="36" y="17"/>
                    <a:pt x="36" y="16"/>
                  </a:cubicBezTo>
                  <a:cubicBezTo>
                    <a:pt x="35" y="14"/>
                    <a:pt x="34" y="13"/>
                    <a:pt x="32" y="14"/>
                  </a:cubicBezTo>
                  <a:cubicBezTo>
                    <a:pt x="31" y="15"/>
                    <a:pt x="30" y="15"/>
                    <a:pt x="28" y="16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4"/>
                    <a:pt x="31" y="12"/>
                    <a:pt x="33" y="11"/>
                  </a:cubicBezTo>
                  <a:cubicBezTo>
                    <a:pt x="33" y="11"/>
                    <a:pt x="34" y="11"/>
                    <a:pt x="34" y="11"/>
                  </a:cubicBezTo>
                  <a:cubicBezTo>
                    <a:pt x="35" y="10"/>
                    <a:pt x="35" y="9"/>
                    <a:pt x="36" y="9"/>
                  </a:cubicBezTo>
                  <a:cubicBezTo>
                    <a:pt x="37" y="9"/>
                    <a:pt x="38" y="8"/>
                    <a:pt x="38" y="6"/>
                  </a:cubicBezTo>
                  <a:cubicBezTo>
                    <a:pt x="38" y="6"/>
                    <a:pt x="39" y="6"/>
                    <a:pt x="40" y="6"/>
                  </a:cubicBezTo>
                  <a:cubicBezTo>
                    <a:pt x="40" y="6"/>
                    <a:pt x="41" y="5"/>
                    <a:pt x="41" y="5"/>
                  </a:cubicBezTo>
                  <a:cubicBezTo>
                    <a:pt x="41" y="4"/>
                    <a:pt x="41" y="3"/>
                    <a:pt x="40" y="3"/>
                  </a:cubicBezTo>
                  <a:cubicBezTo>
                    <a:pt x="39" y="2"/>
                    <a:pt x="37" y="4"/>
                    <a:pt x="36" y="2"/>
                  </a:cubicBezTo>
                  <a:cubicBezTo>
                    <a:pt x="36" y="1"/>
                    <a:pt x="36" y="1"/>
                    <a:pt x="35" y="0"/>
                  </a:cubicBezTo>
                  <a:cubicBezTo>
                    <a:pt x="33" y="0"/>
                    <a:pt x="32" y="0"/>
                    <a:pt x="31" y="1"/>
                  </a:cubicBezTo>
                  <a:cubicBezTo>
                    <a:pt x="30" y="2"/>
                    <a:pt x="30" y="3"/>
                    <a:pt x="30" y="3"/>
                  </a:cubicBezTo>
                  <a:cubicBezTo>
                    <a:pt x="29" y="3"/>
                    <a:pt x="29" y="3"/>
                    <a:pt x="28" y="4"/>
                  </a:cubicBezTo>
                  <a:cubicBezTo>
                    <a:pt x="28" y="4"/>
                    <a:pt x="27" y="4"/>
                    <a:pt x="26" y="4"/>
                  </a:cubicBezTo>
                  <a:cubicBezTo>
                    <a:pt x="25" y="4"/>
                    <a:pt x="24" y="5"/>
                    <a:pt x="24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2" y="3"/>
                    <a:pt x="20" y="3"/>
                    <a:pt x="19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5" name="Freeform 54"/>
            <p:cNvSpPr>
              <a:spLocks/>
            </p:cNvSpPr>
            <p:nvPr/>
          </p:nvSpPr>
          <p:spPr bwMode="auto">
            <a:xfrm>
              <a:off x="5860160" y="4485704"/>
              <a:ext cx="23201" cy="13295"/>
            </a:xfrm>
            <a:custGeom>
              <a:avLst/>
              <a:gdLst>
                <a:gd name="T0" fmla="*/ 5300376 w 17"/>
                <a:gd name="T1" fmla="*/ 727531 h 12"/>
                <a:gd name="T2" fmla="*/ 0 w 17"/>
                <a:gd name="T3" fmla="*/ 1697572 h 12"/>
                <a:gd name="T4" fmla="*/ 0 w 17"/>
                <a:gd name="T5" fmla="*/ 2970751 h 12"/>
                <a:gd name="T6" fmla="*/ 3318400 w 17"/>
                <a:gd name="T7" fmla="*/ 4688532 h 12"/>
                <a:gd name="T8" fmla="*/ 7807999 w 17"/>
                <a:gd name="T9" fmla="*/ 8614988 h 12"/>
                <a:gd name="T10" fmla="*/ 10511040 w 17"/>
                <a:gd name="T11" fmla="*/ 8614988 h 12"/>
                <a:gd name="T12" fmla="*/ 12471472 w 17"/>
                <a:gd name="T13" fmla="*/ 6253184 h 12"/>
                <a:gd name="T14" fmla="*/ 14174003 w 17"/>
                <a:gd name="T15" fmla="*/ 2243220 h 12"/>
                <a:gd name="T16" fmla="*/ 11661007 w 17"/>
                <a:gd name="T17" fmla="*/ 727531 h 12"/>
                <a:gd name="T18" fmla="*/ 7807999 w 17"/>
                <a:gd name="T19" fmla="*/ 727531 h 12"/>
                <a:gd name="T20" fmla="*/ 5300376 w 17"/>
                <a:gd name="T21" fmla="*/ 727531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"/>
                <a:gd name="T34" fmla="*/ 0 h 12"/>
                <a:gd name="T35" fmla="*/ 17 w 17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" h="12">
                  <a:moveTo>
                    <a:pt x="6" y="1"/>
                  </a:moveTo>
                  <a:cubicBezTo>
                    <a:pt x="4" y="1"/>
                    <a:pt x="2" y="1"/>
                    <a:pt x="0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5"/>
                    <a:pt x="3" y="5"/>
                    <a:pt x="4" y="6"/>
                  </a:cubicBezTo>
                  <a:cubicBezTo>
                    <a:pt x="6" y="8"/>
                    <a:pt x="7" y="10"/>
                    <a:pt x="9" y="11"/>
                  </a:cubicBezTo>
                  <a:cubicBezTo>
                    <a:pt x="10" y="12"/>
                    <a:pt x="12" y="12"/>
                    <a:pt x="12" y="11"/>
                  </a:cubicBezTo>
                  <a:cubicBezTo>
                    <a:pt x="13" y="10"/>
                    <a:pt x="13" y="9"/>
                    <a:pt x="14" y="8"/>
                  </a:cubicBezTo>
                  <a:cubicBezTo>
                    <a:pt x="16" y="7"/>
                    <a:pt x="17" y="4"/>
                    <a:pt x="16" y="3"/>
                  </a:cubicBezTo>
                  <a:cubicBezTo>
                    <a:pt x="16" y="2"/>
                    <a:pt x="14" y="1"/>
                    <a:pt x="13" y="1"/>
                  </a:cubicBezTo>
                  <a:cubicBezTo>
                    <a:pt x="12" y="0"/>
                    <a:pt x="10" y="0"/>
                    <a:pt x="9" y="1"/>
                  </a:cubicBezTo>
                  <a:cubicBezTo>
                    <a:pt x="8" y="1"/>
                    <a:pt x="7" y="1"/>
                    <a:pt x="6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6" name="Freeform 55"/>
            <p:cNvSpPr>
              <a:spLocks/>
            </p:cNvSpPr>
            <p:nvPr/>
          </p:nvSpPr>
          <p:spPr bwMode="auto">
            <a:xfrm>
              <a:off x="5737639" y="4491748"/>
              <a:ext cx="163117" cy="74334"/>
            </a:xfrm>
            <a:custGeom>
              <a:avLst/>
              <a:gdLst>
                <a:gd name="T0" fmla="*/ 103621225 w 121"/>
                <a:gd name="T1" fmla="*/ 35879062 h 69"/>
                <a:gd name="T2" fmla="*/ 93921847 w 121"/>
                <a:gd name="T3" fmla="*/ 31044002 h 69"/>
                <a:gd name="T4" fmla="*/ 96819400 w 121"/>
                <a:gd name="T5" fmla="*/ 23408387 h 69"/>
                <a:gd name="T6" fmla="*/ 94811255 w 121"/>
                <a:gd name="T7" fmla="*/ 12259962 h 69"/>
                <a:gd name="T8" fmla="*/ 89188222 w 121"/>
                <a:gd name="T9" fmla="*/ 3567250 h 69"/>
                <a:gd name="T10" fmla="*/ 84223755 w 121"/>
                <a:gd name="T11" fmla="*/ 1997758 h 69"/>
                <a:gd name="T12" fmla="*/ 76620317 w 121"/>
                <a:gd name="T13" fmla="*/ 15188073 h 69"/>
                <a:gd name="T14" fmla="*/ 73006942 w 121"/>
                <a:gd name="T15" fmla="*/ 22769238 h 69"/>
                <a:gd name="T16" fmla="*/ 62662121 w 121"/>
                <a:gd name="T17" fmla="*/ 5562897 h 69"/>
                <a:gd name="T18" fmla="*/ 63396588 w 121"/>
                <a:gd name="T19" fmla="*/ 9638519 h 69"/>
                <a:gd name="T20" fmla="*/ 57075015 w 121"/>
                <a:gd name="T21" fmla="*/ 13141333 h 69"/>
                <a:gd name="T22" fmla="*/ 52177676 w 121"/>
                <a:gd name="T23" fmla="*/ 13141333 h 69"/>
                <a:gd name="T24" fmla="*/ 52962856 w 121"/>
                <a:gd name="T25" fmla="*/ 7556145 h 69"/>
                <a:gd name="T26" fmla="*/ 43839752 w 121"/>
                <a:gd name="T27" fmla="*/ 5562897 h 69"/>
                <a:gd name="T28" fmla="*/ 34141575 w 121"/>
                <a:gd name="T29" fmla="*/ 9638519 h 69"/>
                <a:gd name="T30" fmla="*/ 38886791 w 121"/>
                <a:gd name="T31" fmla="*/ 845677 h 69"/>
                <a:gd name="T32" fmla="*/ 28518504 w 121"/>
                <a:gd name="T33" fmla="*/ 3567250 h 69"/>
                <a:gd name="T34" fmla="*/ 8480165 w 121"/>
                <a:gd name="T35" fmla="*/ 11148586 h 69"/>
                <a:gd name="T36" fmla="*/ 7630665 w 121"/>
                <a:gd name="T37" fmla="*/ 15831786 h 69"/>
                <a:gd name="T38" fmla="*/ 3587762 w 121"/>
                <a:gd name="T39" fmla="*/ 23408387 h 69"/>
                <a:gd name="T40" fmla="*/ 14073924 w 121"/>
                <a:gd name="T41" fmla="*/ 27451503 h 69"/>
                <a:gd name="T42" fmla="*/ 18036115 w 121"/>
                <a:gd name="T43" fmla="*/ 27451503 h 69"/>
                <a:gd name="T44" fmla="*/ 6840539 w 121"/>
                <a:gd name="T45" fmla="*/ 30325537 h 69"/>
                <a:gd name="T46" fmla="*/ 6840539 w 121"/>
                <a:gd name="T47" fmla="*/ 35879062 h 69"/>
                <a:gd name="T48" fmla="*/ 42630818 w 121"/>
                <a:gd name="T49" fmla="*/ 39445954 h 69"/>
                <a:gd name="T50" fmla="*/ 32133921 w 121"/>
                <a:gd name="T51" fmla="*/ 41464252 h 69"/>
                <a:gd name="T52" fmla="*/ 5595820 w 121"/>
                <a:gd name="T53" fmla="*/ 43320694 h 69"/>
                <a:gd name="T54" fmla="*/ 6840539 w 121"/>
                <a:gd name="T55" fmla="*/ 50860116 h 69"/>
                <a:gd name="T56" fmla="*/ 18819604 w 121"/>
                <a:gd name="T57" fmla="*/ 54583507 h 69"/>
                <a:gd name="T58" fmla="*/ 26510907 w 121"/>
                <a:gd name="T59" fmla="*/ 61369369 h 69"/>
                <a:gd name="T60" fmla="*/ 31262591 w 121"/>
                <a:gd name="T61" fmla="*/ 64055268 h 69"/>
                <a:gd name="T62" fmla="*/ 49435631 w 121"/>
                <a:gd name="T63" fmla="*/ 62854454 h 69"/>
                <a:gd name="T64" fmla="*/ 66254015 w 121"/>
                <a:gd name="T65" fmla="*/ 58134203 h 69"/>
                <a:gd name="T66" fmla="*/ 75952902 w 121"/>
                <a:gd name="T67" fmla="*/ 51742792 h 69"/>
                <a:gd name="T68" fmla="*/ 82733341 w 121"/>
                <a:gd name="T69" fmla="*/ 58134203 h 69"/>
                <a:gd name="T70" fmla="*/ 103621225 w 121"/>
                <a:gd name="T71" fmla="*/ 57296279 h 69"/>
                <a:gd name="T72" fmla="*/ 103621225 w 121"/>
                <a:gd name="T73" fmla="*/ 51742792 h 69"/>
                <a:gd name="T74" fmla="*/ 95929841 w 121"/>
                <a:gd name="T75" fmla="*/ 47714832 h 69"/>
                <a:gd name="T76" fmla="*/ 100763759 w 121"/>
                <a:gd name="T77" fmla="*/ 49748693 h 69"/>
                <a:gd name="T78" fmla="*/ 105140910 w 121"/>
                <a:gd name="T79" fmla="*/ 49020381 h 69"/>
                <a:gd name="T80" fmla="*/ 111263445 w 121"/>
                <a:gd name="T81" fmla="*/ 49020381 h 69"/>
                <a:gd name="T82" fmla="*/ 114839683 w 121"/>
                <a:gd name="T83" fmla="*/ 42167429 h 69"/>
                <a:gd name="T84" fmla="*/ 106365311 w 121"/>
                <a:gd name="T85" fmla="*/ 37399715 h 6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21"/>
                <a:gd name="T130" fmla="*/ 0 h 69"/>
                <a:gd name="T131" fmla="*/ 121 w 121"/>
                <a:gd name="T132" fmla="*/ 69 h 6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21" h="69">
                  <a:moveTo>
                    <a:pt x="112" y="40"/>
                  </a:moveTo>
                  <a:cubicBezTo>
                    <a:pt x="112" y="39"/>
                    <a:pt x="112" y="38"/>
                    <a:pt x="111" y="38"/>
                  </a:cubicBezTo>
                  <a:cubicBezTo>
                    <a:pt x="110" y="38"/>
                    <a:pt x="109" y="38"/>
                    <a:pt x="109" y="38"/>
                  </a:cubicBezTo>
                  <a:cubicBezTo>
                    <a:pt x="108" y="39"/>
                    <a:pt x="107" y="38"/>
                    <a:pt x="106" y="38"/>
                  </a:cubicBezTo>
                  <a:cubicBezTo>
                    <a:pt x="105" y="37"/>
                    <a:pt x="104" y="37"/>
                    <a:pt x="103" y="36"/>
                  </a:cubicBezTo>
                  <a:cubicBezTo>
                    <a:pt x="102" y="35"/>
                    <a:pt x="101" y="34"/>
                    <a:pt x="99" y="33"/>
                  </a:cubicBezTo>
                  <a:cubicBezTo>
                    <a:pt x="99" y="32"/>
                    <a:pt x="99" y="31"/>
                    <a:pt x="99" y="30"/>
                  </a:cubicBezTo>
                  <a:cubicBezTo>
                    <a:pt x="100" y="28"/>
                    <a:pt x="102" y="28"/>
                    <a:pt x="102" y="27"/>
                  </a:cubicBezTo>
                  <a:cubicBezTo>
                    <a:pt x="102" y="26"/>
                    <a:pt x="102" y="25"/>
                    <a:pt x="102" y="25"/>
                  </a:cubicBezTo>
                  <a:cubicBezTo>
                    <a:pt x="102" y="24"/>
                    <a:pt x="101" y="23"/>
                    <a:pt x="100" y="22"/>
                  </a:cubicBezTo>
                  <a:cubicBezTo>
                    <a:pt x="99" y="21"/>
                    <a:pt x="99" y="20"/>
                    <a:pt x="100" y="19"/>
                  </a:cubicBezTo>
                  <a:cubicBezTo>
                    <a:pt x="100" y="17"/>
                    <a:pt x="100" y="15"/>
                    <a:pt x="100" y="13"/>
                  </a:cubicBezTo>
                  <a:cubicBezTo>
                    <a:pt x="100" y="12"/>
                    <a:pt x="100" y="10"/>
                    <a:pt x="100" y="9"/>
                  </a:cubicBezTo>
                  <a:cubicBezTo>
                    <a:pt x="99" y="7"/>
                    <a:pt x="97" y="6"/>
                    <a:pt x="95" y="5"/>
                  </a:cubicBezTo>
                  <a:cubicBezTo>
                    <a:pt x="95" y="5"/>
                    <a:pt x="94" y="4"/>
                    <a:pt x="94" y="4"/>
                  </a:cubicBezTo>
                  <a:cubicBezTo>
                    <a:pt x="94" y="3"/>
                    <a:pt x="94" y="2"/>
                    <a:pt x="93" y="2"/>
                  </a:cubicBezTo>
                  <a:cubicBezTo>
                    <a:pt x="92" y="1"/>
                    <a:pt x="91" y="1"/>
                    <a:pt x="90" y="1"/>
                  </a:cubicBezTo>
                  <a:cubicBezTo>
                    <a:pt x="89" y="1"/>
                    <a:pt x="89" y="2"/>
                    <a:pt x="89" y="2"/>
                  </a:cubicBezTo>
                  <a:cubicBezTo>
                    <a:pt x="88" y="2"/>
                    <a:pt x="87" y="2"/>
                    <a:pt x="87" y="2"/>
                  </a:cubicBezTo>
                  <a:cubicBezTo>
                    <a:pt x="86" y="1"/>
                    <a:pt x="85" y="0"/>
                    <a:pt x="84" y="1"/>
                  </a:cubicBezTo>
                  <a:cubicBezTo>
                    <a:pt x="79" y="5"/>
                    <a:pt x="81" y="11"/>
                    <a:pt x="81" y="16"/>
                  </a:cubicBezTo>
                  <a:cubicBezTo>
                    <a:pt x="82" y="18"/>
                    <a:pt x="82" y="21"/>
                    <a:pt x="81" y="23"/>
                  </a:cubicBezTo>
                  <a:cubicBezTo>
                    <a:pt x="81" y="24"/>
                    <a:pt x="79" y="24"/>
                    <a:pt x="78" y="24"/>
                  </a:cubicBezTo>
                  <a:cubicBezTo>
                    <a:pt x="78" y="24"/>
                    <a:pt x="77" y="24"/>
                    <a:pt x="77" y="24"/>
                  </a:cubicBezTo>
                  <a:cubicBezTo>
                    <a:pt x="76" y="24"/>
                    <a:pt x="76" y="23"/>
                    <a:pt x="76" y="23"/>
                  </a:cubicBezTo>
                  <a:cubicBezTo>
                    <a:pt x="75" y="19"/>
                    <a:pt x="75" y="15"/>
                    <a:pt x="75" y="11"/>
                  </a:cubicBezTo>
                  <a:cubicBezTo>
                    <a:pt x="74" y="8"/>
                    <a:pt x="70" y="5"/>
                    <a:pt x="66" y="6"/>
                  </a:cubicBezTo>
                  <a:cubicBezTo>
                    <a:pt x="66" y="7"/>
                    <a:pt x="65" y="7"/>
                    <a:pt x="66" y="8"/>
                  </a:cubicBezTo>
                  <a:cubicBezTo>
                    <a:pt x="66" y="8"/>
                    <a:pt x="67" y="8"/>
                    <a:pt x="67" y="9"/>
                  </a:cubicBezTo>
                  <a:cubicBezTo>
                    <a:pt x="67" y="9"/>
                    <a:pt x="67" y="10"/>
                    <a:pt x="67" y="10"/>
                  </a:cubicBezTo>
                  <a:cubicBezTo>
                    <a:pt x="66" y="11"/>
                    <a:pt x="66" y="12"/>
                    <a:pt x="65" y="12"/>
                  </a:cubicBezTo>
                  <a:cubicBezTo>
                    <a:pt x="64" y="12"/>
                    <a:pt x="63" y="12"/>
                    <a:pt x="62" y="12"/>
                  </a:cubicBezTo>
                  <a:cubicBezTo>
                    <a:pt x="61" y="12"/>
                    <a:pt x="61" y="13"/>
                    <a:pt x="60" y="14"/>
                  </a:cubicBezTo>
                  <a:cubicBezTo>
                    <a:pt x="58" y="14"/>
                    <a:pt x="57" y="15"/>
                    <a:pt x="56" y="15"/>
                  </a:cubicBezTo>
                  <a:cubicBezTo>
                    <a:pt x="55" y="15"/>
                    <a:pt x="54" y="15"/>
                    <a:pt x="53" y="15"/>
                  </a:cubicBezTo>
                  <a:cubicBezTo>
                    <a:pt x="54" y="15"/>
                    <a:pt x="54" y="15"/>
                    <a:pt x="55" y="14"/>
                  </a:cubicBezTo>
                  <a:cubicBezTo>
                    <a:pt x="56" y="13"/>
                    <a:pt x="57" y="13"/>
                    <a:pt x="58" y="11"/>
                  </a:cubicBezTo>
                  <a:cubicBezTo>
                    <a:pt x="59" y="10"/>
                    <a:pt x="59" y="9"/>
                    <a:pt x="58" y="9"/>
                  </a:cubicBezTo>
                  <a:cubicBezTo>
                    <a:pt x="58" y="8"/>
                    <a:pt x="57" y="8"/>
                    <a:pt x="56" y="8"/>
                  </a:cubicBezTo>
                  <a:cubicBezTo>
                    <a:pt x="55" y="7"/>
                    <a:pt x="54" y="7"/>
                    <a:pt x="53" y="6"/>
                  </a:cubicBezTo>
                  <a:cubicBezTo>
                    <a:pt x="51" y="5"/>
                    <a:pt x="49" y="6"/>
                    <a:pt x="48" y="6"/>
                  </a:cubicBezTo>
                  <a:cubicBezTo>
                    <a:pt x="47" y="6"/>
                    <a:pt x="47" y="6"/>
                    <a:pt x="46" y="6"/>
                  </a:cubicBezTo>
                  <a:cubicBezTo>
                    <a:pt x="45" y="8"/>
                    <a:pt x="43" y="10"/>
                    <a:pt x="41" y="11"/>
                  </a:cubicBezTo>
                  <a:cubicBezTo>
                    <a:pt x="39" y="11"/>
                    <a:pt x="37" y="12"/>
                    <a:pt x="36" y="11"/>
                  </a:cubicBezTo>
                  <a:cubicBezTo>
                    <a:pt x="36" y="11"/>
                    <a:pt x="36" y="10"/>
                    <a:pt x="36" y="10"/>
                  </a:cubicBezTo>
                  <a:cubicBezTo>
                    <a:pt x="36" y="10"/>
                    <a:pt x="37" y="9"/>
                    <a:pt x="37" y="9"/>
                  </a:cubicBezTo>
                  <a:cubicBezTo>
                    <a:pt x="39" y="8"/>
                    <a:pt x="40" y="9"/>
                    <a:pt x="41" y="8"/>
                  </a:cubicBezTo>
                  <a:cubicBezTo>
                    <a:pt x="41" y="5"/>
                    <a:pt x="41" y="3"/>
                    <a:pt x="41" y="1"/>
                  </a:cubicBezTo>
                  <a:cubicBezTo>
                    <a:pt x="40" y="0"/>
                    <a:pt x="38" y="0"/>
                    <a:pt x="37" y="0"/>
                  </a:cubicBezTo>
                  <a:cubicBezTo>
                    <a:pt x="35" y="1"/>
                    <a:pt x="33" y="3"/>
                    <a:pt x="30" y="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7" y="5"/>
                    <a:pt x="23" y="5"/>
                    <a:pt x="20" y="6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4" y="8"/>
                    <a:pt x="11" y="10"/>
                    <a:pt x="9" y="12"/>
                  </a:cubicBezTo>
                  <a:cubicBezTo>
                    <a:pt x="9" y="12"/>
                    <a:pt x="9" y="12"/>
                    <a:pt x="8" y="12"/>
                  </a:cubicBezTo>
                  <a:cubicBezTo>
                    <a:pt x="7" y="13"/>
                    <a:pt x="6" y="14"/>
                    <a:pt x="7" y="15"/>
                  </a:cubicBezTo>
                  <a:cubicBezTo>
                    <a:pt x="8" y="15"/>
                    <a:pt x="9" y="17"/>
                    <a:pt x="8" y="17"/>
                  </a:cubicBezTo>
                  <a:cubicBezTo>
                    <a:pt x="7" y="19"/>
                    <a:pt x="4" y="21"/>
                    <a:pt x="2" y="22"/>
                  </a:cubicBezTo>
                  <a:cubicBezTo>
                    <a:pt x="0" y="22"/>
                    <a:pt x="0" y="24"/>
                    <a:pt x="0" y="25"/>
                  </a:cubicBezTo>
                  <a:cubicBezTo>
                    <a:pt x="1" y="26"/>
                    <a:pt x="3" y="26"/>
                    <a:pt x="4" y="25"/>
                  </a:cubicBezTo>
                  <a:cubicBezTo>
                    <a:pt x="4" y="25"/>
                    <a:pt x="5" y="25"/>
                    <a:pt x="6" y="25"/>
                  </a:cubicBezTo>
                  <a:cubicBezTo>
                    <a:pt x="8" y="26"/>
                    <a:pt x="9" y="28"/>
                    <a:pt x="10" y="29"/>
                  </a:cubicBezTo>
                  <a:cubicBezTo>
                    <a:pt x="12" y="29"/>
                    <a:pt x="13" y="29"/>
                    <a:pt x="15" y="29"/>
                  </a:cubicBezTo>
                  <a:cubicBezTo>
                    <a:pt x="17" y="28"/>
                    <a:pt x="19" y="28"/>
                    <a:pt x="20" y="28"/>
                  </a:cubicBezTo>
                  <a:cubicBezTo>
                    <a:pt x="20" y="28"/>
                    <a:pt x="20" y="29"/>
                    <a:pt x="20" y="29"/>
                  </a:cubicBezTo>
                  <a:cubicBezTo>
                    <a:pt x="20" y="29"/>
                    <a:pt x="19" y="29"/>
                    <a:pt x="19" y="29"/>
                  </a:cubicBezTo>
                  <a:cubicBezTo>
                    <a:pt x="16" y="30"/>
                    <a:pt x="13" y="30"/>
                    <a:pt x="10" y="31"/>
                  </a:cubicBezTo>
                  <a:cubicBezTo>
                    <a:pt x="10" y="31"/>
                    <a:pt x="9" y="31"/>
                    <a:pt x="9" y="31"/>
                  </a:cubicBezTo>
                  <a:cubicBezTo>
                    <a:pt x="8" y="32"/>
                    <a:pt x="7" y="31"/>
                    <a:pt x="7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4" y="32"/>
                    <a:pt x="2" y="34"/>
                    <a:pt x="3" y="35"/>
                  </a:cubicBezTo>
                  <a:cubicBezTo>
                    <a:pt x="4" y="36"/>
                    <a:pt x="5" y="37"/>
                    <a:pt x="7" y="38"/>
                  </a:cubicBezTo>
                  <a:cubicBezTo>
                    <a:pt x="11" y="39"/>
                    <a:pt x="15" y="39"/>
                    <a:pt x="20" y="39"/>
                  </a:cubicBezTo>
                  <a:cubicBezTo>
                    <a:pt x="22" y="39"/>
                    <a:pt x="23" y="40"/>
                    <a:pt x="24" y="39"/>
                  </a:cubicBezTo>
                  <a:cubicBezTo>
                    <a:pt x="32" y="34"/>
                    <a:pt x="38" y="40"/>
                    <a:pt x="45" y="42"/>
                  </a:cubicBezTo>
                  <a:cubicBezTo>
                    <a:pt x="46" y="42"/>
                    <a:pt x="47" y="42"/>
                    <a:pt x="47" y="43"/>
                  </a:cubicBezTo>
                  <a:cubicBezTo>
                    <a:pt x="48" y="43"/>
                    <a:pt x="47" y="43"/>
                    <a:pt x="47" y="44"/>
                  </a:cubicBezTo>
                  <a:cubicBezTo>
                    <a:pt x="43" y="44"/>
                    <a:pt x="39" y="44"/>
                    <a:pt x="34" y="44"/>
                  </a:cubicBezTo>
                  <a:cubicBezTo>
                    <a:pt x="29" y="43"/>
                    <a:pt x="23" y="43"/>
                    <a:pt x="18" y="44"/>
                  </a:cubicBezTo>
                  <a:cubicBezTo>
                    <a:pt x="17" y="44"/>
                    <a:pt x="16" y="45"/>
                    <a:pt x="16" y="45"/>
                  </a:cubicBezTo>
                  <a:cubicBezTo>
                    <a:pt x="13" y="46"/>
                    <a:pt x="9" y="45"/>
                    <a:pt x="6" y="46"/>
                  </a:cubicBezTo>
                  <a:cubicBezTo>
                    <a:pt x="5" y="46"/>
                    <a:pt x="4" y="48"/>
                    <a:pt x="5" y="49"/>
                  </a:cubicBezTo>
                  <a:cubicBezTo>
                    <a:pt x="5" y="50"/>
                    <a:pt x="6" y="50"/>
                    <a:pt x="6" y="51"/>
                  </a:cubicBezTo>
                  <a:cubicBezTo>
                    <a:pt x="7" y="52"/>
                    <a:pt x="6" y="53"/>
                    <a:pt x="7" y="54"/>
                  </a:cubicBezTo>
                  <a:cubicBezTo>
                    <a:pt x="8" y="55"/>
                    <a:pt x="9" y="56"/>
                    <a:pt x="10" y="56"/>
                  </a:cubicBezTo>
                  <a:cubicBezTo>
                    <a:pt x="11" y="56"/>
                    <a:pt x="13" y="57"/>
                    <a:pt x="15" y="57"/>
                  </a:cubicBezTo>
                  <a:cubicBezTo>
                    <a:pt x="16" y="58"/>
                    <a:pt x="18" y="57"/>
                    <a:pt x="20" y="58"/>
                  </a:cubicBezTo>
                  <a:cubicBezTo>
                    <a:pt x="21" y="58"/>
                    <a:pt x="23" y="58"/>
                    <a:pt x="25" y="59"/>
                  </a:cubicBezTo>
                  <a:cubicBezTo>
                    <a:pt x="26" y="60"/>
                    <a:pt x="28" y="60"/>
                    <a:pt x="28" y="61"/>
                  </a:cubicBezTo>
                  <a:cubicBezTo>
                    <a:pt x="28" y="62"/>
                    <a:pt x="28" y="64"/>
                    <a:pt x="28" y="65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30" y="67"/>
                    <a:pt x="30" y="67"/>
                    <a:pt x="31" y="67"/>
                  </a:cubicBezTo>
                  <a:cubicBezTo>
                    <a:pt x="32" y="68"/>
                    <a:pt x="32" y="68"/>
                    <a:pt x="33" y="68"/>
                  </a:cubicBezTo>
                  <a:cubicBezTo>
                    <a:pt x="36" y="68"/>
                    <a:pt x="39" y="68"/>
                    <a:pt x="42" y="68"/>
                  </a:cubicBezTo>
                  <a:cubicBezTo>
                    <a:pt x="42" y="68"/>
                    <a:pt x="47" y="67"/>
                    <a:pt x="47" y="67"/>
                  </a:cubicBezTo>
                  <a:cubicBezTo>
                    <a:pt x="47" y="69"/>
                    <a:pt x="50" y="67"/>
                    <a:pt x="52" y="67"/>
                  </a:cubicBezTo>
                  <a:cubicBezTo>
                    <a:pt x="55" y="66"/>
                    <a:pt x="57" y="65"/>
                    <a:pt x="60" y="64"/>
                  </a:cubicBezTo>
                  <a:cubicBezTo>
                    <a:pt x="61" y="64"/>
                    <a:pt x="61" y="64"/>
                    <a:pt x="62" y="63"/>
                  </a:cubicBezTo>
                  <a:cubicBezTo>
                    <a:pt x="64" y="63"/>
                    <a:pt x="67" y="63"/>
                    <a:pt x="70" y="62"/>
                  </a:cubicBezTo>
                  <a:cubicBezTo>
                    <a:pt x="71" y="61"/>
                    <a:pt x="73" y="60"/>
                    <a:pt x="74" y="59"/>
                  </a:cubicBezTo>
                  <a:cubicBezTo>
                    <a:pt x="75" y="58"/>
                    <a:pt x="76" y="57"/>
                    <a:pt x="77" y="56"/>
                  </a:cubicBezTo>
                  <a:cubicBezTo>
                    <a:pt x="78" y="55"/>
                    <a:pt x="79" y="55"/>
                    <a:pt x="80" y="55"/>
                  </a:cubicBezTo>
                  <a:cubicBezTo>
                    <a:pt x="80" y="55"/>
                    <a:pt x="80" y="56"/>
                    <a:pt x="80" y="57"/>
                  </a:cubicBezTo>
                  <a:cubicBezTo>
                    <a:pt x="79" y="57"/>
                    <a:pt x="80" y="58"/>
                    <a:pt x="80" y="58"/>
                  </a:cubicBezTo>
                  <a:cubicBezTo>
                    <a:pt x="82" y="59"/>
                    <a:pt x="86" y="58"/>
                    <a:pt x="87" y="62"/>
                  </a:cubicBezTo>
                  <a:cubicBezTo>
                    <a:pt x="87" y="63"/>
                    <a:pt x="88" y="63"/>
                    <a:pt x="89" y="63"/>
                  </a:cubicBezTo>
                  <a:cubicBezTo>
                    <a:pt x="94" y="63"/>
                    <a:pt x="98" y="64"/>
                    <a:pt x="103" y="63"/>
                  </a:cubicBezTo>
                  <a:cubicBezTo>
                    <a:pt x="105" y="63"/>
                    <a:pt x="107" y="62"/>
                    <a:pt x="109" y="61"/>
                  </a:cubicBezTo>
                  <a:cubicBezTo>
                    <a:pt x="109" y="61"/>
                    <a:pt x="110" y="61"/>
                    <a:pt x="111" y="61"/>
                  </a:cubicBezTo>
                  <a:cubicBezTo>
                    <a:pt x="112" y="60"/>
                    <a:pt x="111" y="59"/>
                    <a:pt x="111" y="58"/>
                  </a:cubicBezTo>
                  <a:cubicBezTo>
                    <a:pt x="110" y="57"/>
                    <a:pt x="110" y="56"/>
                    <a:pt x="109" y="55"/>
                  </a:cubicBezTo>
                  <a:cubicBezTo>
                    <a:pt x="108" y="54"/>
                    <a:pt x="107" y="54"/>
                    <a:pt x="106" y="55"/>
                  </a:cubicBezTo>
                  <a:cubicBezTo>
                    <a:pt x="105" y="56"/>
                    <a:pt x="103" y="57"/>
                    <a:pt x="102" y="56"/>
                  </a:cubicBezTo>
                  <a:cubicBezTo>
                    <a:pt x="101" y="55"/>
                    <a:pt x="100" y="53"/>
                    <a:pt x="101" y="51"/>
                  </a:cubicBezTo>
                  <a:cubicBezTo>
                    <a:pt x="101" y="51"/>
                    <a:pt x="102" y="51"/>
                    <a:pt x="102" y="52"/>
                  </a:cubicBezTo>
                  <a:cubicBezTo>
                    <a:pt x="103" y="52"/>
                    <a:pt x="103" y="53"/>
                    <a:pt x="103" y="53"/>
                  </a:cubicBezTo>
                  <a:cubicBezTo>
                    <a:pt x="104" y="54"/>
                    <a:pt x="105" y="54"/>
                    <a:pt x="106" y="53"/>
                  </a:cubicBezTo>
                  <a:cubicBezTo>
                    <a:pt x="106" y="53"/>
                    <a:pt x="106" y="52"/>
                    <a:pt x="106" y="51"/>
                  </a:cubicBezTo>
                  <a:cubicBezTo>
                    <a:pt x="107" y="51"/>
                    <a:pt x="107" y="51"/>
                    <a:pt x="108" y="51"/>
                  </a:cubicBezTo>
                  <a:cubicBezTo>
                    <a:pt x="109" y="52"/>
                    <a:pt x="110" y="52"/>
                    <a:pt x="111" y="52"/>
                  </a:cubicBezTo>
                  <a:cubicBezTo>
                    <a:pt x="111" y="52"/>
                    <a:pt x="111" y="51"/>
                    <a:pt x="112" y="51"/>
                  </a:cubicBezTo>
                  <a:cubicBezTo>
                    <a:pt x="113" y="51"/>
                    <a:pt x="115" y="51"/>
                    <a:pt x="117" y="51"/>
                  </a:cubicBezTo>
                  <a:cubicBezTo>
                    <a:pt x="117" y="51"/>
                    <a:pt x="117" y="52"/>
                    <a:pt x="117" y="52"/>
                  </a:cubicBezTo>
                  <a:cubicBezTo>
                    <a:pt x="118" y="53"/>
                    <a:pt x="118" y="52"/>
                    <a:pt x="118" y="51"/>
                  </a:cubicBezTo>
                  <a:cubicBezTo>
                    <a:pt x="119" y="49"/>
                    <a:pt x="120" y="48"/>
                    <a:pt x="121" y="46"/>
                  </a:cubicBezTo>
                  <a:cubicBezTo>
                    <a:pt x="121" y="46"/>
                    <a:pt x="121" y="45"/>
                    <a:pt x="121" y="45"/>
                  </a:cubicBezTo>
                  <a:cubicBezTo>
                    <a:pt x="120" y="44"/>
                    <a:pt x="118" y="45"/>
                    <a:pt x="117" y="45"/>
                  </a:cubicBezTo>
                  <a:cubicBezTo>
                    <a:pt x="117" y="45"/>
                    <a:pt x="116" y="44"/>
                    <a:pt x="116" y="44"/>
                  </a:cubicBezTo>
                  <a:cubicBezTo>
                    <a:pt x="114" y="43"/>
                    <a:pt x="113" y="41"/>
                    <a:pt x="112" y="4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7" name="Freeform 56"/>
            <p:cNvSpPr>
              <a:spLocks/>
            </p:cNvSpPr>
            <p:nvPr/>
          </p:nvSpPr>
          <p:spPr bwMode="auto">
            <a:xfrm>
              <a:off x="5676743" y="4474825"/>
              <a:ext cx="108021" cy="51974"/>
            </a:xfrm>
            <a:custGeom>
              <a:avLst/>
              <a:gdLst>
                <a:gd name="T0" fmla="*/ 66990136 w 80"/>
                <a:gd name="T1" fmla="*/ 5955246 h 48"/>
                <a:gd name="T2" fmla="*/ 64146708 w 80"/>
                <a:gd name="T3" fmla="*/ 4351850 h 48"/>
                <a:gd name="T4" fmla="*/ 60219441 w 80"/>
                <a:gd name="T5" fmla="*/ 3065439 h 48"/>
                <a:gd name="T6" fmla="*/ 59440232 w 80"/>
                <a:gd name="T7" fmla="*/ 3065439 h 48"/>
                <a:gd name="T8" fmla="*/ 53846665 w 80"/>
                <a:gd name="T9" fmla="*/ 5955246 h 48"/>
                <a:gd name="T10" fmla="*/ 52631471 w 80"/>
                <a:gd name="T11" fmla="*/ 5955246 h 48"/>
                <a:gd name="T12" fmla="*/ 51786982 w 80"/>
                <a:gd name="T13" fmla="*/ 4351850 h 48"/>
                <a:gd name="T14" fmla="*/ 47063949 w 80"/>
                <a:gd name="T15" fmla="*/ 4351850 h 48"/>
                <a:gd name="T16" fmla="*/ 43558832 w 80"/>
                <a:gd name="T17" fmla="*/ 2226282 h 48"/>
                <a:gd name="T18" fmla="*/ 39476103 w 80"/>
                <a:gd name="T19" fmla="*/ 0 h 48"/>
                <a:gd name="T20" fmla="*/ 35922205 w 80"/>
                <a:gd name="T21" fmla="*/ 0 h 48"/>
                <a:gd name="T22" fmla="*/ 26361304 w 80"/>
                <a:gd name="T23" fmla="*/ 937382 h 48"/>
                <a:gd name="T24" fmla="*/ 20767473 w 80"/>
                <a:gd name="T25" fmla="*/ 2226282 h 48"/>
                <a:gd name="T26" fmla="*/ 17197344 w 80"/>
                <a:gd name="T27" fmla="*/ 3065439 h 48"/>
                <a:gd name="T28" fmla="*/ 17197344 w 80"/>
                <a:gd name="T29" fmla="*/ 5955246 h 48"/>
                <a:gd name="T30" fmla="*/ 19921263 w 80"/>
                <a:gd name="T31" fmla="*/ 9111497 h 48"/>
                <a:gd name="T32" fmla="*/ 19921263 w 80"/>
                <a:gd name="T33" fmla="*/ 11242634 h 48"/>
                <a:gd name="T34" fmla="*/ 13157424 w 80"/>
                <a:gd name="T35" fmla="*/ 17290978 h 48"/>
                <a:gd name="T36" fmla="*/ 12272271 w 80"/>
                <a:gd name="T37" fmla="*/ 18521930 h 48"/>
                <a:gd name="T38" fmla="*/ 11158230 w 80"/>
                <a:gd name="T39" fmla="*/ 23798965 h 48"/>
                <a:gd name="T40" fmla="*/ 8432281 w 80"/>
                <a:gd name="T41" fmla="*/ 26701252 h 48"/>
                <a:gd name="T42" fmla="*/ 5569282 w 80"/>
                <a:gd name="T43" fmla="*/ 29824338 h 48"/>
                <a:gd name="T44" fmla="*/ 2865554 w 80"/>
                <a:gd name="T45" fmla="*/ 32884610 h 48"/>
                <a:gd name="T46" fmla="*/ 0 w 80"/>
                <a:gd name="T47" fmla="*/ 35788854 h 48"/>
                <a:gd name="T48" fmla="*/ 0 w 80"/>
                <a:gd name="T49" fmla="*/ 37005842 h 48"/>
                <a:gd name="T50" fmla="*/ 6769871 w 80"/>
                <a:gd name="T51" fmla="*/ 37005842 h 48"/>
                <a:gd name="T52" fmla="*/ 7561856 w 80"/>
                <a:gd name="T53" fmla="*/ 37943206 h 48"/>
                <a:gd name="T54" fmla="*/ 11158230 w 80"/>
                <a:gd name="T55" fmla="*/ 41066074 h 48"/>
                <a:gd name="T56" fmla="*/ 12272271 w 80"/>
                <a:gd name="T57" fmla="*/ 46120338 h 48"/>
                <a:gd name="T58" fmla="*/ 13157424 w 80"/>
                <a:gd name="T59" fmla="*/ 48346530 h 48"/>
                <a:gd name="T60" fmla="*/ 18708285 w 80"/>
                <a:gd name="T61" fmla="*/ 48346530 h 48"/>
                <a:gd name="T62" fmla="*/ 20767473 w 80"/>
                <a:gd name="T63" fmla="*/ 47055898 h 48"/>
                <a:gd name="T64" fmla="*/ 24277976 w 80"/>
                <a:gd name="T65" fmla="*/ 43989565 h 48"/>
                <a:gd name="T66" fmla="*/ 25489712 w 80"/>
                <a:gd name="T67" fmla="*/ 43989565 h 48"/>
                <a:gd name="T68" fmla="*/ 26361304 w 80"/>
                <a:gd name="T69" fmla="*/ 46120338 h 48"/>
                <a:gd name="T70" fmla="*/ 28993222 w 80"/>
                <a:gd name="T71" fmla="*/ 45228631 h 48"/>
                <a:gd name="T72" fmla="*/ 31926123 w 80"/>
                <a:gd name="T73" fmla="*/ 43989565 h 48"/>
                <a:gd name="T74" fmla="*/ 33923399 w 80"/>
                <a:gd name="T75" fmla="*/ 40170186 h 48"/>
                <a:gd name="T76" fmla="*/ 34796540 w 80"/>
                <a:gd name="T77" fmla="*/ 37005842 h 48"/>
                <a:gd name="T78" fmla="*/ 38629932 w 80"/>
                <a:gd name="T79" fmla="*/ 31975403 h 48"/>
                <a:gd name="T80" fmla="*/ 40628729 w 80"/>
                <a:gd name="T81" fmla="*/ 31975403 h 48"/>
                <a:gd name="T82" fmla="*/ 44198295 w 80"/>
                <a:gd name="T83" fmla="*/ 30663511 h 48"/>
                <a:gd name="T84" fmla="*/ 47063949 w 80"/>
                <a:gd name="T85" fmla="*/ 24547147 h 48"/>
                <a:gd name="T86" fmla="*/ 49788194 w 80"/>
                <a:gd name="T87" fmla="*/ 23798965 h 48"/>
                <a:gd name="T88" fmla="*/ 56510544 w 80"/>
                <a:gd name="T89" fmla="*/ 20751062 h 48"/>
                <a:gd name="T90" fmla="*/ 56510544 w 80"/>
                <a:gd name="T91" fmla="*/ 20751062 h 48"/>
                <a:gd name="T92" fmla="*/ 62906679 w 80"/>
                <a:gd name="T93" fmla="*/ 18521930 h 48"/>
                <a:gd name="T94" fmla="*/ 64992898 w 80"/>
                <a:gd name="T95" fmla="*/ 17290978 h 48"/>
                <a:gd name="T96" fmla="*/ 67836251 w 80"/>
                <a:gd name="T97" fmla="*/ 15581415 h 48"/>
                <a:gd name="T98" fmla="*/ 74551229 w 80"/>
                <a:gd name="T99" fmla="*/ 14143705 h 48"/>
                <a:gd name="T100" fmla="*/ 74551229 w 80"/>
                <a:gd name="T101" fmla="*/ 11242634 h 48"/>
                <a:gd name="T102" fmla="*/ 69716347 w 80"/>
                <a:gd name="T103" fmla="*/ 9111497 h 48"/>
                <a:gd name="T104" fmla="*/ 66990136 w 80"/>
                <a:gd name="T105" fmla="*/ 5955246 h 48"/>
                <a:gd name="T106" fmla="*/ 66990136 w 80"/>
                <a:gd name="T107" fmla="*/ 5955246 h 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0"/>
                <a:gd name="T163" fmla="*/ 0 h 48"/>
                <a:gd name="T164" fmla="*/ 80 w 80"/>
                <a:gd name="T165" fmla="*/ 48 h 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0" h="48">
                  <a:moveTo>
                    <a:pt x="71" y="6"/>
                  </a:moveTo>
                  <a:cubicBezTo>
                    <a:pt x="70" y="6"/>
                    <a:pt x="69" y="4"/>
                    <a:pt x="68" y="4"/>
                  </a:cubicBezTo>
                  <a:cubicBezTo>
                    <a:pt x="67" y="3"/>
                    <a:pt x="66" y="3"/>
                    <a:pt x="64" y="3"/>
                  </a:cubicBezTo>
                  <a:cubicBezTo>
                    <a:pt x="64" y="3"/>
                    <a:pt x="64" y="3"/>
                    <a:pt x="63" y="3"/>
                  </a:cubicBezTo>
                  <a:cubicBezTo>
                    <a:pt x="61" y="2"/>
                    <a:pt x="59" y="4"/>
                    <a:pt x="57" y="6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6" y="5"/>
                    <a:pt x="56" y="4"/>
                    <a:pt x="55" y="4"/>
                  </a:cubicBezTo>
                  <a:cubicBezTo>
                    <a:pt x="54" y="3"/>
                    <a:pt x="52" y="4"/>
                    <a:pt x="50" y="4"/>
                  </a:cubicBezTo>
                  <a:cubicBezTo>
                    <a:pt x="48" y="3"/>
                    <a:pt x="48" y="2"/>
                    <a:pt x="46" y="2"/>
                  </a:cubicBezTo>
                  <a:cubicBezTo>
                    <a:pt x="45" y="1"/>
                    <a:pt x="44" y="0"/>
                    <a:pt x="42" y="0"/>
                  </a:cubicBezTo>
                  <a:cubicBezTo>
                    <a:pt x="41" y="0"/>
                    <a:pt x="39" y="0"/>
                    <a:pt x="38" y="0"/>
                  </a:cubicBezTo>
                  <a:cubicBezTo>
                    <a:pt x="34" y="2"/>
                    <a:pt x="31" y="0"/>
                    <a:pt x="28" y="1"/>
                  </a:cubicBezTo>
                  <a:cubicBezTo>
                    <a:pt x="25" y="1"/>
                    <a:pt x="24" y="2"/>
                    <a:pt x="22" y="2"/>
                  </a:cubicBezTo>
                  <a:cubicBezTo>
                    <a:pt x="21" y="3"/>
                    <a:pt x="19" y="2"/>
                    <a:pt x="18" y="3"/>
                  </a:cubicBezTo>
                  <a:cubicBezTo>
                    <a:pt x="17" y="3"/>
                    <a:pt x="17" y="5"/>
                    <a:pt x="18" y="6"/>
                  </a:cubicBezTo>
                  <a:cubicBezTo>
                    <a:pt x="18" y="7"/>
                    <a:pt x="20" y="8"/>
                    <a:pt x="21" y="9"/>
                  </a:cubicBezTo>
                  <a:cubicBezTo>
                    <a:pt x="21" y="10"/>
                    <a:pt x="21" y="11"/>
                    <a:pt x="21" y="11"/>
                  </a:cubicBezTo>
                  <a:cubicBezTo>
                    <a:pt x="18" y="13"/>
                    <a:pt x="17" y="15"/>
                    <a:pt x="14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1" y="20"/>
                    <a:pt x="12" y="21"/>
                    <a:pt x="12" y="23"/>
                  </a:cubicBezTo>
                  <a:cubicBezTo>
                    <a:pt x="11" y="24"/>
                    <a:pt x="9" y="25"/>
                    <a:pt x="9" y="26"/>
                  </a:cubicBezTo>
                  <a:cubicBezTo>
                    <a:pt x="8" y="27"/>
                    <a:pt x="7" y="28"/>
                    <a:pt x="6" y="29"/>
                  </a:cubicBezTo>
                  <a:cubicBezTo>
                    <a:pt x="5" y="30"/>
                    <a:pt x="4" y="31"/>
                    <a:pt x="3" y="32"/>
                  </a:cubicBezTo>
                  <a:cubicBezTo>
                    <a:pt x="2" y="33"/>
                    <a:pt x="1" y="34"/>
                    <a:pt x="0" y="35"/>
                  </a:cubicBezTo>
                  <a:cubicBezTo>
                    <a:pt x="0" y="35"/>
                    <a:pt x="0" y="36"/>
                    <a:pt x="0" y="36"/>
                  </a:cubicBezTo>
                  <a:cubicBezTo>
                    <a:pt x="3" y="37"/>
                    <a:pt x="5" y="36"/>
                    <a:pt x="7" y="36"/>
                  </a:cubicBezTo>
                  <a:cubicBezTo>
                    <a:pt x="7" y="36"/>
                    <a:pt x="8" y="37"/>
                    <a:pt x="8" y="37"/>
                  </a:cubicBezTo>
                  <a:cubicBezTo>
                    <a:pt x="9" y="38"/>
                    <a:pt x="11" y="38"/>
                    <a:pt x="12" y="40"/>
                  </a:cubicBezTo>
                  <a:cubicBezTo>
                    <a:pt x="13" y="41"/>
                    <a:pt x="12" y="43"/>
                    <a:pt x="13" y="45"/>
                  </a:cubicBezTo>
                  <a:cubicBezTo>
                    <a:pt x="13" y="46"/>
                    <a:pt x="14" y="47"/>
                    <a:pt x="14" y="47"/>
                  </a:cubicBezTo>
                  <a:cubicBezTo>
                    <a:pt x="16" y="48"/>
                    <a:pt x="18" y="48"/>
                    <a:pt x="20" y="47"/>
                  </a:cubicBezTo>
                  <a:cubicBezTo>
                    <a:pt x="20" y="47"/>
                    <a:pt x="21" y="46"/>
                    <a:pt x="22" y="46"/>
                  </a:cubicBezTo>
                  <a:cubicBezTo>
                    <a:pt x="23" y="44"/>
                    <a:pt x="24" y="44"/>
                    <a:pt x="26" y="43"/>
                  </a:cubicBezTo>
                  <a:cubicBezTo>
                    <a:pt x="26" y="43"/>
                    <a:pt x="27" y="43"/>
                    <a:pt x="27" y="43"/>
                  </a:cubicBezTo>
                  <a:cubicBezTo>
                    <a:pt x="27" y="44"/>
                    <a:pt x="28" y="45"/>
                    <a:pt x="28" y="45"/>
                  </a:cubicBezTo>
                  <a:cubicBezTo>
                    <a:pt x="29" y="45"/>
                    <a:pt x="30" y="45"/>
                    <a:pt x="31" y="44"/>
                  </a:cubicBezTo>
                  <a:cubicBezTo>
                    <a:pt x="32" y="44"/>
                    <a:pt x="33" y="44"/>
                    <a:pt x="34" y="43"/>
                  </a:cubicBezTo>
                  <a:cubicBezTo>
                    <a:pt x="35" y="42"/>
                    <a:pt x="36" y="41"/>
                    <a:pt x="36" y="39"/>
                  </a:cubicBezTo>
                  <a:cubicBezTo>
                    <a:pt x="37" y="38"/>
                    <a:pt x="36" y="37"/>
                    <a:pt x="37" y="36"/>
                  </a:cubicBezTo>
                  <a:cubicBezTo>
                    <a:pt x="38" y="34"/>
                    <a:pt x="39" y="32"/>
                    <a:pt x="41" y="31"/>
                  </a:cubicBezTo>
                  <a:cubicBezTo>
                    <a:pt x="41" y="31"/>
                    <a:pt x="42" y="31"/>
                    <a:pt x="43" y="31"/>
                  </a:cubicBezTo>
                  <a:cubicBezTo>
                    <a:pt x="44" y="32"/>
                    <a:pt x="46" y="32"/>
                    <a:pt x="47" y="30"/>
                  </a:cubicBezTo>
                  <a:cubicBezTo>
                    <a:pt x="48" y="28"/>
                    <a:pt x="48" y="26"/>
                    <a:pt x="50" y="24"/>
                  </a:cubicBezTo>
                  <a:cubicBezTo>
                    <a:pt x="50" y="24"/>
                    <a:pt x="52" y="23"/>
                    <a:pt x="53" y="23"/>
                  </a:cubicBezTo>
                  <a:cubicBezTo>
                    <a:pt x="56" y="22"/>
                    <a:pt x="58" y="22"/>
                    <a:pt x="60" y="20"/>
                  </a:cubicBezTo>
                  <a:cubicBezTo>
                    <a:pt x="60" y="20"/>
                    <a:pt x="60" y="21"/>
                    <a:pt x="60" y="20"/>
                  </a:cubicBezTo>
                  <a:cubicBezTo>
                    <a:pt x="62" y="20"/>
                    <a:pt x="65" y="19"/>
                    <a:pt x="67" y="18"/>
                  </a:cubicBezTo>
                  <a:cubicBezTo>
                    <a:pt x="67" y="17"/>
                    <a:pt x="68" y="17"/>
                    <a:pt x="69" y="17"/>
                  </a:cubicBezTo>
                  <a:cubicBezTo>
                    <a:pt x="70" y="16"/>
                    <a:pt x="71" y="16"/>
                    <a:pt x="72" y="15"/>
                  </a:cubicBezTo>
                  <a:cubicBezTo>
                    <a:pt x="74" y="15"/>
                    <a:pt x="77" y="15"/>
                    <a:pt x="79" y="14"/>
                  </a:cubicBezTo>
                  <a:cubicBezTo>
                    <a:pt x="80" y="13"/>
                    <a:pt x="80" y="11"/>
                    <a:pt x="79" y="11"/>
                  </a:cubicBezTo>
                  <a:cubicBezTo>
                    <a:pt x="77" y="10"/>
                    <a:pt x="75" y="9"/>
                    <a:pt x="74" y="9"/>
                  </a:cubicBezTo>
                  <a:cubicBezTo>
                    <a:pt x="73" y="8"/>
                    <a:pt x="72" y="7"/>
                    <a:pt x="71" y="6"/>
                  </a:cubicBezTo>
                  <a:cubicBezTo>
                    <a:pt x="71" y="6"/>
                    <a:pt x="71" y="6"/>
                    <a:pt x="71" y="6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8" name="Freeform 58"/>
            <p:cNvSpPr>
              <a:spLocks/>
            </p:cNvSpPr>
            <p:nvPr/>
          </p:nvSpPr>
          <p:spPr bwMode="auto">
            <a:xfrm>
              <a:off x="5760113" y="4450049"/>
              <a:ext cx="18850" cy="9669"/>
            </a:xfrm>
            <a:custGeom>
              <a:avLst/>
              <a:gdLst>
                <a:gd name="T0" fmla="*/ 9969095 w 14"/>
                <a:gd name="T1" fmla="*/ 0 h 9"/>
                <a:gd name="T2" fmla="*/ 9297269 w 14"/>
                <a:gd name="T3" fmla="*/ 727531 h 9"/>
                <a:gd name="T4" fmla="*/ 6527726 w 14"/>
                <a:gd name="T5" fmla="*/ 2243220 h 9"/>
                <a:gd name="T6" fmla="*/ 2769339 w 14"/>
                <a:gd name="T7" fmla="*/ 2970751 h 9"/>
                <a:gd name="T8" fmla="*/ 0 w 14"/>
                <a:gd name="T9" fmla="*/ 4688532 h 9"/>
                <a:gd name="T10" fmla="*/ 0 w 14"/>
                <a:gd name="T11" fmla="*/ 5234180 h 9"/>
                <a:gd name="T12" fmla="*/ 5415918 w 14"/>
                <a:gd name="T13" fmla="*/ 6931749 h 9"/>
                <a:gd name="T14" fmla="*/ 9297269 w 14"/>
                <a:gd name="T15" fmla="*/ 3961001 h 9"/>
                <a:gd name="T16" fmla="*/ 11919092 w 14"/>
                <a:gd name="T17" fmla="*/ 1697572 h 9"/>
                <a:gd name="T18" fmla="*/ 12766089 w 14"/>
                <a:gd name="T19" fmla="*/ 0 h 9"/>
                <a:gd name="T20" fmla="*/ 9969095 w 14"/>
                <a:gd name="T21" fmla="*/ 0 h 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9"/>
                <a:gd name="T35" fmla="*/ 14 w 14"/>
                <a:gd name="T36" fmla="*/ 9 h 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9">
                  <a:moveTo>
                    <a:pt x="11" y="0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2"/>
                    <a:pt x="7" y="3"/>
                  </a:cubicBezTo>
                  <a:cubicBezTo>
                    <a:pt x="6" y="3"/>
                    <a:pt x="4" y="3"/>
                    <a:pt x="3" y="4"/>
                  </a:cubicBezTo>
                  <a:cubicBezTo>
                    <a:pt x="2" y="5"/>
                    <a:pt x="1" y="5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2" y="9"/>
                    <a:pt x="4" y="9"/>
                    <a:pt x="6" y="9"/>
                  </a:cubicBezTo>
                  <a:cubicBezTo>
                    <a:pt x="7" y="7"/>
                    <a:pt x="9" y="6"/>
                    <a:pt x="10" y="5"/>
                  </a:cubicBezTo>
                  <a:cubicBezTo>
                    <a:pt x="11" y="4"/>
                    <a:pt x="12" y="3"/>
                    <a:pt x="13" y="2"/>
                  </a:cubicBezTo>
                  <a:cubicBezTo>
                    <a:pt x="14" y="1"/>
                    <a:pt x="14" y="1"/>
                    <a:pt x="14" y="0"/>
                  </a:cubicBezTo>
                  <a:cubicBezTo>
                    <a:pt x="13" y="0"/>
                    <a:pt x="11" y="0"/>
                    <a:pt x="11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9" name="Freeform 59"/>
            <p:cNvSpPr>
              <a:spLocks/>
            </p:cNvSpPr>
            <p:nvPr/>
          </p:nvSpPr>
          <p:spPr bwMode="auto">
            <a:xfrm>
              <a:off x="5807236" y="4437357"/>
              <a:ext cx="11598" cy="3626"/>
            </a:xfrm>
            <a:custGeom>
              <a:avLst/>
              <a:gdLst>
                <a:gd name="T0" fmla="*/ 5955246 w 8"/>
                <a:gd name="T1" fmla="*/ 0 h 4"/>
                <a:gd name="T2" fmla="*/ 2129866 w 8"/>
                <a:gd name="T3" fmla="*/ 0 h 4"/>
                <a:gd name="T4" fmla="*/ 0 w 8"/>
                <a:gd name="T5" fmla="*/ 941139 h 4"/>
                <a:gd name="T6" fmla="*/ 8176458 w 8"/>
                <a:gd name="T7" fmla="*/ 1359459 h 4"/>
                <a:gd name="T8" fmla="*/ 8176458 w 8"/>
                <a:gd name="T9" fmla="*/ 941139 h 4"/>
                <a:gd name="T10" fmla="*/ 8176458 w 8"/>
                <a:gd name="T11" fmla="*/ 418284 h 4"/>
                <a:gd name="T12" fmla="*/ 5955246 w 8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4"/>
                <a:gd name="T23" fmla="*/ 8 w 8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4">
                  <a:moveTo>
                    <a:pt x="6" y="0"/>
                  </a:moveTo>
                  <a:cubicBezTo>
                    <a:pt x="4" y="0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2" y="3"/>
                    <a:pt x="5" y="4"/>
                    <a:pt x="8" y="3"/>
                  </a:cubicBezTo>
                  <a:cubicBezTo>
                    <a:pt x="8" y="3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0" name="Freeform 60"/>
            <p:cNvSpPr>
              <a:spLocks/>
            </p:cNvSpPr>
            <p:nvPr/>
          </p:nvSpPr>
          <p:spPr bwMode="auto">
            <a:xfrm>
              <a:off x="5771712" y="4437961"/>
              <a:ext cx="114543" cy="40490"/>
            </a:xfrm>
            <a:custGeom>
              <a:avLst/>
              <a:gdLst>
                <a:gd name="T0" fmla="*/ 27822959 w 85"/>
                <a:gd name="T1" fmla="*/ 10580673 h 37"/>
                <a:gd name="T2" fmla="*/ 21913580 w 85"/>
                <a:gd name="T3" fmla="*/ 5374365 h 37"/>
                <a:gd name="T4" fmla="*/ 16265335 w 85"/>
                <a:gd name="T5" fmla="*/ 8323201 h 37"/>
                <a:gd name="T6" fmla="*/ 18954109 w 85"/>
                <a:gd name="T7" fmla="*/ 10580673 h 37"/>
                <a:gd name="T8" fmla="*/ 8533447 w 85"/>
                <a:gd name="T9" fmla="*/ 14479671 h 37"/>
                <a:gd name="T10" fmla="*/ 4772153 w 85"/>
                <a:gd name="T11" fmla="*/ 18938643 h 37"/>
                <a:gd name="T12" fmla="*/ 13300723 w 85"/>
                <a:gd name="T13" fmla="*/ 18938643 h 37"/>
                <a:gd name="T14" fmla="*/ 5624685 w 85"/>
                <a:gd name="T15" fmla="*/ 22055388 h 37"/>
                <a:gd name="T16" fmla="*/ 0 w 85"/>
                <a:gd name="T17" fmla="*/ 23005635 h 37"/>
                <a:gd name="T18" fmla="*/ 6878376 w 85"/>
                <a:gd name="T19" fmla="*/ 25164841 h 37"/>
                <a:gd name="T20" fmla="*/ 11284737 w 85"/>
                <a:gd name="T21" fmla="*/ 27261904 h 37"/>
                <a:gd name="T22" fmla="*/ 15411885 w 85"/>
                <a:gd name="T23" fmla="*/ 27261904 h 37"/>
                <a:gd name="T24" fmla="*/ 23050662 w 85"/>
                <a:gd name="T25" fmla="*/ 23005635 h 37"/>
                <a:gd name="T26" fmla="*/ 24641806 w 85"/>
                <a:gd name="T27" fmla="*/ 24313001 h 37"/>
                <a:gd name="T28" fmla="*/ 24641806 w 85"/>
                <a:gd name="T29" fmla="*/ 28211999 h 37"/>
                <a:gd name="T30" fmla="*/ 33471350 w 85"/>
                <a:gd name="T31" fmla="*/ 25954329 h 37"/>
                <a:gd name="T32" fmla="*/ 39201087 w 85"/>
                <a:gd name="T33" fmla="*/ 25954329 h 37"/>
                <a:gd name="T34" fmla="*/ 41218871 w 85"/>
                <a:gd name="T35" fmla="*/ 27261904 h 37"/>
                <a:gd name="T36" fmla="*/ 27822959 w 85"/>
                <a:gd name="T37" fmla="*/ 29450962 h 37"/>
                <a:gd name="T38" fmla="*/ 24641806 w 85"/>
                <a:gd name="T39" fmla="*/ 31321432 h 37"/>
                <a:gd name="T40" fmla="*/ 18954109 w 85"/>
                <a:gd name="T41" fmla="*/ 34438115 h 37"/>
                <a:gd name="T42" fmla="*/ 23050662 w 85"/>
                <a:gd name="T43" fmla="*/ 36527796 h 37"/>
                <a:gd name="T44" fmla="*/ 27822959 w 85"/>
                <a:gd name="T45" fmla="*/ 38034850 h 37"/>
                <a:gd name="T46" fmla="*/ 37297159 w 85"/>
                <a:gd name="T47" fmla="*/ 36527796 h 37"/>
                <a:gd name="T48" fmla="*/ 41218871 w 85"/>
                <a:gd name="T49" fmla="*/ 34438115 h 37"/>
                <a:gd name="T50" fmla="*/ 51819143 w 85"/>
                <a:gd name="T51" fmla="*/ 30401057 h 37"/>
                <a:gd name="T52" fmla="*/ 56614992 w 85"/>
                <a:gd name="T53" fmla="*/ 28211999 h 37"/>
                <a:gd name="T54" fmla="*/ 63102343 w 85"/>
                <a:gd name="T55" fmla="*/ 28211999 h 37"/>
                <a:gd name="T56" fmla="*/ 68757620 w 85"/>
                <a:gd name="T57" fmla="*/ 29450962 h 37"/>
                <a:gd name="T58" fmla="*/ 76394369 w 85"/>
                <a:gd name="T59" fmla="*/ 23005635 h 37"/>
                <a:gd name="T60" fmla="*/ 80532281 w 85"/>
                <a:gd name="T61" fmla="*/ 16681192 h 37"/>
                <a:gd name="T62" fmla="*/ 72784770 w 85"/>
                <a:gd name="T63" fmla="*/ 12782271 h 37"/>
                <a:gd name="T64" fmla="*/ 70768755 w 85"/>
                <a:gd name="T65" fmla="*/ 15991929 h 37"/>
                <a:gd name="T66" fmla="*/ 67876664 w 85"/>
                <a:gd name="T67" fmla="*/ 15991929 h 37"/>
                <a:gd name="T68" fmla="*/ 65148551 w 85"/>
                <a:gd name="T69" fmla="*/ 12782271 h 37"/>
                <a:gd name="T70" fmla="*/ 65148551 w 85"/>
                <a:gd name="T71" fmla="*/ 6088044 h 37"/>
                <a:gd name="T72" fmla="*/ 59495581 w 85"/>
                <a:gd name="T73" fmla="*/ 2259676 h 37"/>
                <a:gd name="T74" fmla="*/ 55361812 w 85"/>
                <a:gd name="T75" fmla="*/ 6088044 h 37"/>
                <a:gd name="T76" fmla="*/ 51819143 w 85"/>
                <a:gd name="T77" fmla="*/ 9273291 h 37"/>
                <a:gd name="T78" fmla="*/ 54508021 w 85"/>
                <a:gd name="T79" fmla="*/ 12782271 h 37"/>
                <a:gd name="T80" fmla="*/ 55361812 w 85"/>
                <a:gd name="T81" fmla="*/ 17630051 h 37"/>
                <a:gd name="T82" fmla="*/ 55361812 w 85"/>
                <a:gd name="T83" fmla="*/ 21127764 h 37"/>
                <a:gd name="T84" fmla="*/ 49737144 w 85"/>
                <a:gd name="T85" fmla="*/ 19795716 h 37"/>
                <a:gd name="T86" fmla="*/ 44088677 w 85"/>
                <a:gd name="T87" fmla="*/ 21127764 h 37"/>
                <a:gd name="T88" fmla="*/ 39986992 w 85"/>
                <a:gd name="T89" fmla="*/ 13732337 h 37"/>
                <a:gd name="T90" fmla="*/ 33471350 w 85"/>
                <a:gd name="T91" fmla="*/ 10580673 h 3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5"/>
                <a:gd name="T139" fmla="*/ 0 h 37"/>
                <a:gd name="T140" fmla="*/ 85 w 85"/>
                <a:gd name="T141" fmla="*/ 37 h 3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5" h="37">
                  <a:moveTo>
                    <a:pt x="35" y="10"/>
                  </a:moveTo>
                  <a:cubicBezTo>
                    <a:pt x="33" y="10"/>
                    <a:pt x="31" y="10"/>
                    <a:pt x="29" y="10"/>
                  </a:cubicBezTo>
                  <a:cubicBezTo>
                    <a:pt x="28" y="8"/>
                    <a:pt x="29" y="7"/>
                    <a:pt x="28" y="6"/>
                  </a:cubicBezTo>
                  <a:cubicBezTo>
                    <a:pt x="27" y="4"/>
                    <a:pt x="25" y="4"/>
                    <a:pt x="23" y="5"/>
                  </a:cubicBezTo>
                  <a:cubicBezTo>
                    <a:pt x="23" y="5"/>
                    <a:pt x="23" y="6"/>
                    <a:pt x="22" y="6"/>
                  </a:cubicBezTo>
                  <a:cubicBezTo>
                    <a:pt x="20" y="6"/>
                    <a:pt x="18" y="6"/>
                    <a:pt x="17" y="8"/>
                  </a:cubicBezTo>
                  <a:cubicBezTo>
                    <a:pt x="16" y="9"/>
                    <a:pt x="19" y="9"/>
                    <a:pt x="20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8" y="11"/>
                    <a:pt x="15" y="10"/>
                    <a:pt x="13" y="11"/>
                  </a:cubicBezTo>
                  <a:cubicBezTo>
                    <a:pt x="12" y="12"/>
                    <a:pt x="9" y="12"/>
                    <a:pt x="9" y="14"/>
                  </a:cubicBezTo>
                  <a:cubicBezTo>
                    <a:pt x="10" y="14"/>
                    <a:pt x="12" y="14"/>
                    <a:pt x="12" y="16"/>
                  </a:cubicBezTo>
                  <a:cubicBezTo>
                    <a:pt x="10" y="17"/>
                    <a:pt x="7" y="16"/>
                    <a:pt x="5" y="18"/>
                  </a:cubicBezTo>
                  <a:cubicBezTo>
                    <a:pt x="5" y="18"/>
                    <a:pt x="5" y="19"/>
                    <a:pt x="5" y="19"/>
                  </a:cubicBezTo>
                  <a:cubicBezTo>
                    <a:pt x="8" y="21"/>
                    <a:pt x="11" y="19"/>
                    <a:pt x="14" y="18"/>
                  </a:cubicBezTo>
                  <a:cubicBezTo>
                    <a:pt x="15" y="18"/>
                    <a:pt x="16" y="18"/>
                    <a:pt x="17" y="18"/>
                  </a:cubicBezTo>
                  <a:cubicBezTo>
                    <a:pt x="13" y="20"/>
                    <a:pt x="9" y="20"/>
                    <a:pt x="6" y="21"/>
                  </a:cubicBezTo>
                  <a:cubicBezTo>
                    <a:pt x="5" y="21"/>
                    <a:pt x="3" y="21"/>
                    <a:pt x="2" y="21"/>
                  </a:cubicBezTo>
                  <a:cubicBezTo>
                    <a:pt x="2" y="22"/>
                    <a:pt x="1" y="22"/>
                    <a:pt x="0" y="22"/>
                  </a:cubicBezTo>
                  <a:cubicBezTo>
                    <a:pt x="0" y="23"/>
                    <a:pt x="0" y="24"/>
                    <a:pt x="0" y="24"/>
                  </a:cubicBezTo>
                  <a:cubicBezTo>
                    <a:pt x="2" y="25"/>
                    <a:pt x="4" y="24"/>
                    <a:pt x="7" y="24"/>
                  </a:cubicBezTo>
                  <a:cubicBezTo>
                    <a:pt x="8" y="25"/>
                    <a:pt x="8" y="26"/>
                    <a:pt x="9" y="26"/>
                  </a:cubicBezTo>
                  <a:cubicBezTo>
                    <a:pt x="10" y="26"/>
                    <a:pt x="12" y="26"/>
                    <a:pt x="12" y="26"/>
                  </a:cubicBezTo>
                  <a:cubicBezTo>
                    <a:pt x="13" y="25"/>
                    <a:pt x="14" y="25"/>
                    <a:pt x="15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8" y="27"/>
                    <a:pt x="19" y="27"/>
                    <a:pt x="20" y="27"/>
                  </a:cubicBezTo>
                  <a:cubicBezTo>
                    <a:pt x="22" y="26"/>
                    <a:pt x="22" y="24"/>
                    <a:pt x="24" y="22"/>
                  </a:cubicBezTo>
                  <a:cubicBezTo>
                    <a:pt x="25" y="22"/>
                    <a:pt x="25" y="22"/>
                    <a:pt x="26" y="22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5" y="23"/>
                    <a:pt x="24" y="25"/>
                    <a:pt x="25" y="27"/>
                  </a:cubicBezTo>
                  <a:cubicBezTo>
                    <a:pt x="25" y="27"/>
                    <a:pt x="26" y="27"/>
                    <a:pt x="26" y="27"/>
                  </a:cubicBezTo>
                  <a:cubicBezTo>
                    <a:pt x="28" y="25"/>
                    <a:pt x="31" y="26"/>
                    <a:pt x="33" y="25"/>
                  </a:cubicBezTo>
                  <a:cubicBezTo>
                    <a:pt x="33" y="25"/>
                    <a:pt x="34" y="25"/>
                    <a:pt x="35" y="25"/>
                  </a:cubicBezTo>
                  <a:cubicBezTo>
                    <a:pt x="36" y="24"/>
                    <a:pt x="37" y="24"/>
                    <a:pt x="39" y="25"/>
                  </a:cubicBezTo>
                  <a:cubicBezTo>
                    <a:pt x="39" y="25"/>
                    <a:pt x="41" y="25"/>
                    <a:pt x="41" y="25"/>
                  </a:cubicBezTo>
                  <a:cubicBezTo>
                    <a:pt x="42" y="24"/>
                    <a:pt x="42" y="24"/>
                    <a:pt x="43" y="24"/>
                  </a:cubicBezTo>
                  <a:cubicBezTo>
                    <a:pt x="43" y="25"/>
                    <a:pt x="43" y="26"/>
                    <a:pt x="43" y="26"/>
                  </a:cubicBezTo>
                  <a:cubicBezTo>
                    <a:pt x="42" y="26"/>
                    <a:pt x="42" y="27"/>
                    <a:pt x="41" y="26"/>
                  </a:cubicBezTo>
                  <a:cubicBezTo>
                    <a:pt x="37" y="26"/>
                    <a:pt x="33" y="27"/>
                    <a:pt x="29" y="28"/>
                  </a:cubicBezTo>
                  <a:cubicBezTo>
                    <a:pt x="28" y="28"/>
                    <a:pt x="28" y="28"/>
                    <a:pt x="27" y="28"/>
                  </a:cubicBezTo>
                  <a:cubicBezTo>
                    <a:pt x="27" y="29"/>
                    <a:pt x="26" y="30"/>
                    <a:pt x="26" y="30"/>
                  </a:cubicBezTo>
                  <a:cubicBezTo>
                    <a:pt x="24" y="30"/>
                    <a:pt x="23" y="30"/>
                    <a:pt x="21" y="30"/>
                  </a:cubicBezTo>
                  <a:cubicBezTo>
                    <a:pt x="20" y="31"/>
                    <a:pt x="19" y="32"/>
                    <a:pt x="20" y="33"/>
                  </a:cubicBezTo>
                  <a:cubicBezTo>
                    <a:pt x="20" y="34"/>
                    <a:pt x="21" y="34"/>
                    <a:pt x="21" y="34"/>
                  </a:cubicBezTo>
                  <a:cubicBezTo>
                    <a:pt x="22" y="34"/>
                    <a:pt x="23" y="35"/>
                    <a:pt x="24" y="35"/>
                  </a:cubicBezTo>
                  <a:cubicBezTo>
                    <a:pt x="25" y="36"/>
                    <a:pt x="26" y="36"/>
                    <a:pt x="27" y="36"/>
                  </a:cubicBezTo>
                  <a:cubicBezTo>
                    <a:pt x="28" y="36"/>
                    <a:pt x="28" y="36"/>
                    <a:pt x="29" y="36"/>
                  </a:cubicBezTo>
                  <a:cubicBezTo>
                    <a:pt x="31" y="37"/>
                    <a:pt x="33" y="37"/>
                    <a:pt x="34" y="36"/>
                  </a:cubicBezTo>
                  <a:cubicBezTo>
                    <a:pt x="36" y="36"/>
                    <a:pt x="37" y="36"/>
                    <a:pt x="39" y="35"/>
                  </a:cubicBezTo>
                  <a:cubicBezTo>
                    <a:pt x="40" y="34"/>
                    <a:pt x="42" y="34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5" y="32"/>
                    <a:pt x="47" y="30"/>
                    <a:pt x="49" y="30"/>
                  </a:cubicBezTo>
                  <a:cubicBezTo>
                    <a:pt x="51" y="30"/>
                    <a:pt x="53" y="30"/>
                    <a:pt x="54" y="29"/>
                  </a:cubicBezTo>
                  <a:cubicBezTo>
                    <a:pt x="55" y="29"/>
                    <a:pt x="56" y="28"/>
                    <a:pt x="57" y="27"/>
                  </a:cubicBezTo>
                  <a:cubicBezTo>
                    <a:pt x="57" y="27"/>
                    <a:pt x="58" y="27"/>
                    <a:pt x="59" y="27"/>
                  </a:cubicBezTo>
                  <a:cubicBezTo>
                    <a:pt x="60" y="28"/>
                    <a:pt x="62" y="30"/>
                    <a:pt x="63" y="29"/>
                  </a:cubicBezTo>
                  <a:cubicBezTo>
                    <a:pt x="64" y="29"/>
                    <a:pt x="65" y="28"/>
                    <a:pt x="66" y="27"/>
                  </a:cubicBezTo>
                  <a:cubicBezTo>
                    <a:pt x="67" y="27"/>
                    <a:pt x="68" y="28"/>
                    <a:pt x="69" y="28"/>
                  </a:cubicBezTo>
                  <a:cubicBezTo>
                    <a:pt x="70" y="29"/>
                    <a:pt x="71" y="29"/>
                    <a:pt x="72" y="28"/>
                  </a:cubicBezTo>
                  <a:cubicBezTo>
                    <a:pt x="74" y="26"/>
                    <a:pt x="76" y="27"/>
                    <a:pt x="78" y="26"/>
                  </a:cubicBezTo>
                  <a:cubicBezTo>
                    <a:pt x="79" y="25"/>
                    <a:pt x="79" y="23"/>
                    <a:pt x="80" y="22"/>
                  </a:cubicBezTo>
                  <a:cubicBezTo>
                    <a:pt x="80" y="21"/>
                    <a:pt x="82" y="22"/>
                    <a:pt x="83" y="21"/>
                  </a:cubicBezTo>
                  <a:cubicBezTo>
                    <a:pt x="84" y="19"/>
                    <a:pt x="85" y="17"/>
                    <a:pt x="84" y="16"/>
                  </a:cubicBezTo>
                  <a:cubicBezTo>
                    <a:pt x="83" y="14"/>
                    <a:pt x="81" y="13"/>
                    <a:pt x="79" y="12"/>
                  </a:cubicBezTo>
                  <a:cubicBezTo>
                    <a:pt x="78" y="12"/>
                    <a:pt x="77" y="11"/>
                    <a:pt x="76" y="12"/>
                  </a:cubicBezTo>
                  <a:cubicBezTo>
                    <a:pt x="76" y="13"/>
                    <a:pt x="76" y="14"/>
                    <a:pt x="75" y="15"/>
                  </a:cubicBezTo>
                  <a:cubicBezTo>
                    <a:pt x="75" y="16"/>
                    <a:pt x="74" y="16"/>
                    <a:pt x="74" y="15"/>
                  </a:cubicBezTo>
                  <a:cubicBezTo>
                    <a:pt x="73" y="15"/>
                    <a:pt x="73" y="15"/>
                    <a:pt x="72" y="14"/>
                  </a:cubicBezTo>
                  <a:cubicBezTo>
                    <a:pt x="72" y="14"/>
                    <a:pt x="71" y="14"/>
                    <a:pt x="71" y="15"/>
                  </a:cubicBezTo>
                  <a:cubicBezTo>
                    <a:pt x="70" y="15"/>
                    <a:pt x="69" y="17"/>
                    <a:pt x="68" y="16"/>
                  </a:cubicBezTo>
                  <a:cubicBezTo>
                    <a:pt x="68" y="15"/>
                    <a:pt x="69" y="14"/>
                    <a:pt x="68" y="12"/>
                  </a:cubicBezTo>
                  <a:cubicBezTo>
                    <a:pt x="67" y="12"/>
                    <a:pt x="67" y="11"/>
                    <a:pt x="68" y="10"/>
                  </a:cubicBezTo>
                  <a:cubicBezTo>
                    <a:pt x="68" y="9"/>
                    <a:pt x="68" y="7"/>
                    <a:pt x="68" y="6"/>
                  </a:cubicBezTo>
                  <a:cubicBezTo>
                    <a:pt x="67" y="5"/>
                    <a:pt x="68" y="3"/>
                    <a:pt x="68" y="1"/>
                  </a:cubicBezTo>
                  <a:cubicBezTo>
                    <a:pt x="66" y="0"/>
                    <a:pt x="64" y="1"/>
                    <a:pt x="62" y="2"/>
                  </a:cubicBezTo>
                  <a:cubicBezTo>
                    <a:pt x="62" y="2"/>
                    <a:pt x="62" y="3"/>
                    <a:pt x="61" y="3"/>
                  </a:cubicBezTo>
                  <a:cubicBezTo>
                    <a:pt x="60" y="4"/>
                    <a:pt x="59" y="5"/>
                    <a:pt x="58" y="6"/>
                  </a:cubicBezTo>
                  <a:cubicBezTo>
                    <a:pt x="57" y="7"/>
                    <a:pt x="56" y="6"/>
                    <a:pt x="54" y="7"/>
                  </a:cubicBezTo>
                  <a:cubicBezTo>
                    <a:pt x="54" y="8"/>
                    <a:pt x="53" y="9"/>
                    <a:pt x="54" y="9"/>
                  </a:cubicBezTo>
                  <a:cubicBezTo>
                    <a:pt x="55" y="10"/>
                    <a:pt x="56" y="10"/>
                    <a:pt x="57" y="10"/>
                  </a:cubicBezTo>
                  <a:cubicBezTo>
                    <a:pt x="57" y="11"/>
                    <a:pt x="58" y="12"/>
                    <a:pt x="57" y="12"/>
                  </a:cubicBezTo>
                  <a:cubicBezTo>
                    <a:pt x="56" y="13"/>
                    <a:pt x="54" y="12"/>
                    <a:pt x="54" y="14"/>
                  </a:cubicBezTo>
                  <a:cubicBezTo>
                    <a:pt x="55" y="16"/>
                    <a:pt x="57" y="15"/>
                    <a:pt x="58" y="17"/>
                  </a:cubicBezTo>
                  <a:cubicBezTo>
                    <a:pt x="59" y="18"/>
                    <a:pt x="59" y="19"/>
                    <a:pt x="59" y="20"/>
                  </a:cubicBezTo>
                  <a:cubicBezTo>
                    <a:pt x="59" y="20"/>
                    <a:pt x="58" y="20"/>
                    <a:pt x="58" y="20"/>
                  </a:cubicBezTo>
                  <a:cubicBezTo>
                    <a:pt x="57" y="20"/>
                    <a:pt x="56" y="20"/>
                    <a:pt x="55" y="20"/>
                  </a:cubicBezTo>
                  <a:cubicBezTo>
                    <a:pt x="54" y="20"/>
                    <a:pt x="53" y="19"/>
                    <a:pt x="52" y="19"/>
                  </a:cubicBezTo>
                  <a:cubicBezTo>
                    <a:pt x="51" y="18"/>
                    <a:pt x="50" y="18"/>
                    <a:pt x="49" y="19"/>
                  </a:cubicBezTo>
                  <a:cubicBezTo>
                    <a:pt x="48" y="20"/>
                    <a:pt x="47" y="20"/>
                    <a:pt x="46" y="20"/>
                  </a:cubicBezTo>
                  <a:cubicBezTo>
                    <a:pt x="45" y="19"/>
                    <a:pt x="43" y="17"/>
                    <a:pt x="42" y="16"/>
                  </a:cubicBezTo>
                  <a:cubicBezTo>
                    <a:pt x="42" y="15"/>
                    <a:pt x="42" y="14"/>
                    <a:pt x="42" y="13"/>
                  </a:cubicBezTo>
                  <a:cubicBezTo>
                    <a:pt x="41" y="12"/>
                    <a:pt x="40" y="11"/>
                    <a:pt x="39" y="10"/>
                  </a:cubicBezTo>
                  <a:cubicBezTo>
                    <a:pt x="38" y="9"/>
                    <a:pt x="36" y="10"/>
                    <a:pt x="35" y="1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1" name="Freeform 64"/>
            <p:cNvSpPr>
              <a:spLocks/>
            </p:cNvSpPr>
            <p:nvPr/>
          </p:nvSpPr>
          <p:spPr bwMode="auto">
            <a:xfrm>
              <a:off x="5571622" y="4546139"/>
              <a:ext cx="16674" cy="10276"/>
            </a:xfrm>
            <a:custGeom>
              <a:avLst/>
              <a:gdLst>
                <a:gd name="T0" fmla="*/ 9492531 w 12"/>
                <a:gd name="T1" fmla="*/ 3238158 h 9"/>
                <a:gd name="T2" fmla="*/ 1147259 w 12"/>
                <a:gd name="T3" fmla="*/ 6550065 h 9"/>
                <a:gd name="T4" fmla="*/ 1147259 w 12"/>
                <a:gd name="T5" fmla="*/ 11470653 h 9"/>
                <a:gd name="T6" fmla="*/ 3927944 w 12"/>
                <a:gd name="T7" fmla="*/ 14708563 h 9"/>
                <a:gd name="T8" fmla="*/ 6700310 w 12"/>
                <a:gd name="T9" fmla="*/ 14708563 h 9"/>
                <a:gd name="T10" fmla="*/ 10639125 w 12"/>
                <a:gd name="T11" fmla="*/ 10015063 h 9"/>
                <a:gd name="T12" fmla="*/ 15045123 w 12"/>
                <a:gd name="T13" fmla="*/ 6550065 h 9"/>
                <a:gd name="T14" fmla="*/ 12264884 w 12"/>
                <a:gd name="T15" fmla="*/ 0 h 9"/>
                <a:gd name="T16" fmla="*/ 9492531 w 12"/>
                <a:gd name="T17" fmla="*/ 0 h 9"/>
                <a:gd name="T18" fmla="*/ 9492531 w 12"/>
                <a:gd name="T19" fmla="*/ 3238158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9"/>
                <a:gd name="T32" fmla="*/ 12 w 1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9">
                  <a:moveTo>
                    <a:pt x="7" y="2"/>
                  </a:moveTo>
                  <a:cubicBezTo>
                    <a:pt x="5" y="3"/>
                    <a:pt x="3" y="3"/>
                    <a:pt x="1" y="4"/>
                  </a:cubicBezTo>
                  <a:cubicBezTo>
                    <a:pt x="0" y="5"/>
                    <a:pt x="1" y="6"/>
                    <a:pt x="1" y="7"/>
                  </a:cubicBezTo>
                  <a:cubicBezTo>
                    <a:pt x="1" y="8"/>
                    <a:pt x="2" y="8"/>
                    <a:pt x="3" y="9"/>
                  </a:cubicBezTo>
                  <a:cubicBezTo>
                    <a:pt x="4" y="9"/>
                    <a:pt x="5" y="9"/>
                    <a:pt x="5" y="9"/>
                  </a:cubicBezTo>
                  <a:cubicBezTo>
                    <a:pt x="6" y="8"/>
                    <a:pt x="7" y="7"/>
                    <a:pt x="8" y="6"/>
                  </a:cubicBezTo>
                  <a:cubicBezTo>
                    <a:pt x="9" y="5"/>
                    <a:pt x="10" y="5"/>
                    <a:pt x="11" y="4"/>
                  </a:cubicBezTo>
                  <a:cubicBezTo>
                    <a:pt x="12" y="3"/>
                    <a:pt x="10" y="1"/>
                    <a:pt x="9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7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2" name="Freeform 65"/>
            <p:cNvSpPr>
              <a:spLocks/>
            </p:cNvSpPr>
            <p:nvPr/>
          </p:nvSpPr>
          <p:spPr bwMode="auto">
            <a:xfrm>
              <a:off x="5567272" y="4553389"/>
              <a:ext cx="6526" cy="4834"/>
            </a:xfrm>
            <a:custGeom>
              <a:avLst/>
              <a:gdLst>
                <a:gd name="T0" fmla="*/ 6243820 w 4"/>
                <a:gd name="T1" fmla="*/ 566216 h 5"/>
                <a:gd name="T2" fmla="*/ 2497529 w 4"/>
                <a:gd name="T3" fmla="*/ 257371 h 5"/>
                <a:gd name="T4" fmla="*/ 6243820 w 4"/>
                <a:gd name="T5" fmla="*/ 1245675 h 5"/>
                <a:gd name="T6" fmla="*/ 6243820 w 4"/>
                <a:gd name="T7" fmla="*/ 566216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5"/>
                <a:gd name="T14" fmla="*/ 4 w 4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5">
                  <a:moveTo>
                    <a:pt x="3" y="2"/>
                  </a:moveTo>
                  <a:cubicBezTo>
                    <a:pt x="3" y="1"/>
                    <a:pt x="1" y="0"/>
                    <a:pt x="1" y="1"/>
                  </a:cubicBezTo>
                  <a:cubicBezTo>
                    <a:pt x="0" y="2"/>
                    <a:pt x="1" y="5"/>
                    <a:pt x="3" y="4"/>
                  </a:cubicBezTo>
                  <a:cubicBezTo>
                    <a:pt x="4" y="4"/>
                    <a:pt x="4" y="3"/>
                    <a:pt x="3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3" name="Freeform 66"/>
            <p:cNvSpPr>
              <a:spLocks/>
            </p:cNvSpPr>
            <p:nvPr/>
          </p:nvSpPr>
          <p:spPr bwMode="auto">
            <a:xfrm>
              <a:off x="5515078" y="4754636"/>
              <a:ext cx="14500" cy="24776"/>
            </a:xfrm>
            <a:custGeom>
              <a:avLst/>
              <a:gdLst>
                <a:gd name="T0" fmla="*/ 6840539 w 11"/>
                <a:gd name="T1" fmla="*/ 1852956 h 23"/>
                <a:gd name="T2" fmla="*/ 3587761 w 11"/>
                <a:gd name="T3" fmla="*/ 1852956 h 23"/>
                <a:gd name="T4" fmla="*/ 2007625 w 11"/>
                <a:gd name="T5" fmla="*/ 789222 h 23"/>
                <a:gd name="T6" fmla="*/ 849380 w 11"/>
                <a:gd name="T7" fmla="*/ 789222 h 23"/>
                <a:gd name="T8" fmla="*/ 0 w 11"/>
                <a:gd name="T9" fmla="*/ 5868462 h 23"/>
                <a:gd name="T10" fmla="*/ 2007625 w 11"/>
                <a:gd name="T11" fmla="*/ 9424793 h 23"/>
                <a:gd name="T12" fmla="*/ 2894074 w 11"/>
                <a:gd name="T13" fmla="*/ 13778124 h 23"/>
                <a:gd name="T14" fmla="*/ 3587761 w 11"/>
                <a:gd name="T15" fmla="*/ 15292894 h 23"/>
                <a:gd name="T16" fmla="*/ 8480159 w 11"/>
                <a:gd name="T17" fmla="*/ 19630332 h 23"/>
                <a:gd name="T18" fmla="*/ 9698926 w 11"/>
                <a:gd name="T19" fmla="*/ 19630332 h 23"/>
                <a:gd name="T20" fmla="*/ 8480159 w 11"/>
                <a:gd name="T21" fmla="*/ 17792257 h 23"/>
                <a:gd name="T22" fmla="*/ 7630664 w 11"/>
                <a:gd name="T23" fmla="*/ 15292894 h 23"/>
                <a:gd name="T24" fmla="*/ 6840539 w 11"/>
                <a:gd name="T25" fmla="*/ 11923961 h 23"/>
                <a:gd name="T26" fmla="*/ 5595820 w 11"/>
                <a:gd name="T27" fmla="*/ 10214021 h 23"/>
                <a:gd name="T28" fmla="*/ 9698926 w 11"/>
                <a:gd name="T29" fmla="*/ 4350418 h 23"/>
                <a:gd name="T30" fmla="*/ 9698926 w 11"/>
                <a:gd name="T31" fmla="*/ 3227747 h 23"/>
                <a:gd name="T32" fmla="*/ 6840539 w 11"/>
                <a:gd name="T33" fmla="*/ 1852956 h 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1"/>
                <a:gd name="T52" fmla="*/ 0 h 23"/>
                <a:gd name="T53" fmla="*/ 11 w 11"/>
                <a:gd name="T54" fmla="*/ 23 h 2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1" h="23">
                  <a:moveTo>
                    <a:pt x="7" y="2"/>
                  </a:moveTo>
                  <a:cubicBezTo>
                    <a:pt x="6" y="2"/>
                    <a:pt x="5" y="3"/>
                    <a:pt x="4" y="2"/>
                  </a:cubicBezTo>
                  <a:cubicBezTo>
                    <a:pt x="4" y="2"/>
                    <a:pt x="3" y="1"/>
                    <a:pt x="2" y="1"/>
                  </a:cubicBezTo>
                  <a:cubicBezTo>
                    <a:pt x="2" y="1"/>
                    <a:pt x="1" y="0"/>
                    <a:pt x="1" y="1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1" y="9"/>
                    <a:pt x="2" y="10"/>
                    <a:pt x="2" y="11"/>
                  </a:cubicBezTo>
                  <a:cubicBezTo>
                    <a:pt x="3" y="13"/>
                    <a:pt x="3" y="14"/>
                    <a:pt x="3" y="16"/>
                  </a:cubicBezTo>
                  <a:cubicBezTo>
                    <a:pt x="4" y="17"/>
                    <a:pt x="4" y="17"/>
                    <a:pt x="4" y="18"/>
                  </a:cubicBezTo>
                  <a:cubicBezTo>
                    <a:pt x="5" y="20"/>
                    <a:pt x="7" y="22"/>
                    <a:pt x="9" y="23"/>
                  </a:cubicBezTo>
                  <a:cubicBezTo>
                    <a:pt x="9" y="23"/>
                    <a:pt x="9" y="23"/>
                    <a:pt x="10" y="23"/>
                  </a:cubicBezTo>
                  <a:cubicBezTo>
                    <a:pt x="9" y="22"/>
                    <a:pt x="10" y="22"/>
                    <a:pt x="9" y="21"/>
                  </a:cubicBezTo>
                  <a:cubicBezTo>
                    <a:pt x="9" y="20"/>
                    <a:pt x="8" y="19"/>
                    <a:pt x="8" y="18"/>
                  </a:cubicBezTo>
                  <a:cubicBezTo>
                    <a:pt x="7" y="16"/>
                    <a:pt x="7" y="15"/>
                    <a:pt x="7" y="14"/>
                  </a:cubicBezTo>
                  <a:cubicBezTo>
                    <a:pt x="6" y="13"/>
                    <a:pt x="6" y="12"/>
                    <a:pt x="6" y="12"/>
                  </a:cubicBezTo>
                  <a:cubicBezTo>
                    <a:pt x="8" y="9"/>
                    <a:pt x="9" y="7"/>
                    <a:pt x="10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1" y="2"/>
                    <a:pt x="9" y="2"/>
                    <a:pt x="7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4" name="Freeform 67"/>
            <p:cNvSpPr>
              <a:spLocks/>
            </p:cNvSpPr>
            <p:nvPr/>
          </p:nvSpPr>
          <p:spPr bwMode="auto">
            <a:xfrm>
              <a:off x="5548425" y="4795729"/>
              <a:ext cx="43498" cy="32634"/>
            </a:xfrm>
            <a:custGeom>
              <a:avLst/>
              <a:gdLst>
                <a:gd name="T0" fmla="*/ 28532695 w 32"/>
                <a:gd name="T1" fmla="*/ 17602945 h 30"/>
                <a:gd name="T2" fmla="*/ 23798961 w 32"/>
                <a:gd name="T3" fmla="*/ 13529051 h 30"/>
                <a:gd name="T4" fmla="*/ 23798961 w 32"/>
                <a:gd name="T5" fmla="*/ 10749866 h 30"/>
                <a:gd name="T6" fmla="*/ 19419078 w 32"/>
                <a:gd name="T7" fmla="*/ 6950446 h 30"/>
                <a:gd name="T8" fmla="*/ 17289151 w 32"/>
                <a:gd name="T9" fmla="*/ 5716500 h 30"/>
                <a:gd name="T10" fmla="*/ 13463332 w 32"/>
                <a:gd name="T11" fmla="*/ 3638831 h 30"/>
                <a:gd name="T12" fmla="*/ 9111496 w 32"/>
                <a:gd name="T13" fmla="*/ 2033596 h 30"/>
                <a:gd name="T14" fmla="*/ 2129866 w 32"/>
                <a:gd name="T15" fmla="*/ 859266 h 30"/>
                <a:gd name="T16" fmla="*/ 896786 w 32"/>
                <a:gd name="T17" fmla="*/ 3638831 h 30"/>
                <a:gd name="T18" fmla="*/ 5955246 w 32"/>
                <a:gd name="T19" fmla="*/ 4812844 h 30"/>
                <a:gd name="T20" fmla="*/ 5955246 w 32"/>
                <a:gd name="T21" fmla="*/ 5716500 h 30"/>
                <a:gd name="T22" fmla="*/ 5058432 w 32"/>
                <a:gd name="T23" fmla="*/ 7817668 h 30"/>
                <a:gd name="T24" fmla="*/ 5955246 w 32"/>
                <a:gd name="T25" fmla="*/ 8611898 h 30"/>
                <a:gd name="T26" fmla="*/ 10335629 w 32"/>
                <a:gd name="T27" fmla="*/ 12629529 h 30"/>
                <a:gd name="T28" fmla="*/ 11241359 w 32"/>
                <a:gd name="T29" fmla="*/ 16449385 h 30"/>
                <a:gd name="T30" fmla="*/ 16353582 w 32"/>
                <a:gd name="T31" fmla="*/ 18501814 h 30"/>
                <a:gd name="T32" fmla="*/ 18521918 w 32"/>
                <a:gd name="T33" fmla="*/ 20381491 h 30"/>
                <a:gd name="T34" fmla="*/ 23798961 w 32"/>
                <a:gd name="T35" fmla="*/ 26091007 h 30"/>
                <a:gd name="T36" fmla="*/ 26698208 w 32"/>
                <a:gd name="T37" fmla="*/ 28219852 h 30"/>
                <a:gd name="T38" fmla="*/ 31975398 w 32"/>
                <a:gd name="T39" fmla="*/ 26957264 h 30"/>
                <a:gd name="T40" fmla="*/ 31975398 w 32"/>
                <a:gd name="T41" fmla="*/ 20381491 h 30"/>
                <a:gd name="T42" fmla="*/ 28532695 w 32"/>
                <a:gd name="T43" fmla="*/ 17602945 h 3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2"/>
                <a:gd name="T67" fmla="*/ 0 h 30"/>
                <a:gd name="T68" fmla="*/ 32 w 32"/>
                <a:gd name="T69" fmla="*/ 30 h 3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2" h="30">
                  <a:moveTo>
                    <a:pt x="28" y="18"/>
                  </a:moveTo>
                  <a:cubicBezTo>
                    <a:pt x="26" y="18"/>
                    <a:pt x="21" y="17"/>
                    <a:pt x="23" y="14"/>
                  </a:cubicBezTo>
                  <a:cubicBezTo>
                    <a:pt x="23" y="13"/>
                    <a:pt x="24" y="12"/>
                    <a:pt x="23" y="11"/>
                  </a:cubicBezTo>
                  <a:cubicBezTo>
                    <a:pt x="22" y="9"/>
                    <a:pt x="21" y="7"/>
                    <a:pt x="19" y="7"/>
                  </a:cubicBezTo>
                  <a:cubicBezTo>
                    <a:pt x="19" y="6"/>
                    <a:pt x="18" y="7"/>
                    <a:pt x="17" y="6"/>
                  </a:cubicBezTo>
                  <a:cubicBezTo>
                    <a:pt x="16" y="6"/>
                    <a:pt x="14" y="5"/>
                    <a:pt x="13" y="4"/>
                  </a:cubicBezTo>
                  <a:cubicBezTo>
                    <a:pt x="12" y="3"/>
                    <a:pt x="11" y="3"/>
                    <a:pt x="9" y="2"/>
                  </a:cubicBezTo>
                  <a:cubicBezTo>
                    <a:pt x="7" y="1"/>
                    <a:pt x="5" y="0"/>
                    <a:pt x="2" y="1"/>
                  </a:cubicBezTo>
                  <a:cubicBezTo>
                    <a:pt x="1" y="1"/>
                    <a:pt x="0" y="3"/>
                    <a:pt x="1" y="4"/>
                  </a:cubicBezTo>
                  <a:cubicBezTo>
                    <a:pt x="2" y="6"/>
                    <a:pt x="4" y="5"/>
                    <a:pt x="6" y="5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6"/>
                    <a:pt x="4" y="8"/>
                    <a:pt x="5" y="8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8" y="10"/>
                    <a:pt x="9" y="11"/>
                    <a:pt x="10" y="13"/>
                  </a:cubicBezTo>
                  <a:cubicBezTo>
                    <a:pt x="11" y="14"/>
                    <a:pt x="10" y="16"/>
                    <a:pt x="11" y="17"/>
                  </a:cubicBezTo>
                  <a:cubicBezTo>
                    <a:pt x="12" y="18"/>
                    <a:pt x="14" y="18"/>
                    <a:pt x="16" y="19"/>
                  </a:cubicBezTo>
                  <a:cubicBezTo>
                    <a:pt x="16" y="20"/>
                    <a:pt x="17" y="20"/>
                    <a:pt x="18" y="21"/>
                  </a:cubicBezTo>
                  <a:cubicBezTo>
                    <a:pt x="20" y="22"/>
                    <a:pt x="21" y="25"/>
                    <a:pt x="23" y="27"/>
                  </a:cubicBezTo>
                  <a:cubicBezTo>
                    <a:pt x="24" y="28"/>
                    <a:pt x="25" y="29"/>
                    <a:pt x="26" y="29"/>
                  </a:cubicBezTo>
                  <a:cubicBezTo>
                    <a:pt x="28" y="29"/>
                    <a:pt x="30" y="30"/>
                    <a:pt x="31" y="28"/>
                  </a:cubicBezTo>
                  <a:cubicBezTo>
                    <a:pt x="32" y="26"/>
                    <a:pt x="32" y="23"/>
                    <a:pt x="31" y="21"/>
                  </a:cubicBezTo>
                  <a:cubicBezTo>
                    <a:pt x="30" y="20"/>
                    <a:pt x="29" y="19"/>
                    <a:pt x="28" y="18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5" name="Freeform 68"/>
            <p:cNvSpPr>
              <a:spLocks/>
            </p:cNvSpPr>
            <p:nvPr/>
          </p:nvSpPr>
          <p:spPr bwMode="auto">
            <a:xfrm>
              <a:off x="6187118" y="4843472"/>
              <a:ext cx="24648" cy="11481"/>
            </a:xfrm>
            <a:custGeom>
              <a:avLst/>
              <a:gdLst>
                <a:gd name="T0" fmla="*/ 9902490 w 18"/>
                <a:gd name="T1" fmla="*/ 4745295 h 11"/>
                <a:gd name="T2" fmla="*/ 6253179 w 18"/>
                <a:gd name="T3" fmla="*/ 4745295 h 11"/>
                <a:gd name="T4" fmla="*/ 2970751 w 18"/>
                <a:gd name="T5" fmla="*/ 2007625 h 11"/>
                <a:gd name="T6" fmla="*/ 2970751 w 18"/>
                <a:gd name="T7" fmla="*/ 849380 h 11"/>
                <a:gd name="T8" fmla="*/ 727531 w 18"/>
                <a:gd name="T9" fmla="*/ 0 h 11"/>
                <a:gd name="T10" fmla="*/ 727531 w 18"/>
                <a:gd name="T11" fmla="*/ 2894074 h 11"/>
                <a:gd name="T12" fmla="*/ 2243220 w 18"/>
                <a:gd name="T13" fmla="*/ 5595820 h 11"/>
                <a:gd name="T14" fmla="*/ 4688532 w 18"/>
                <a:gd name="T15" fmla="*/ 7630664 h 11"/>
                <a:gd name="T16" fmla="*/ 5234180 w 18"/>
                <a:gd name="T17" fmla="*/ 7630664 h 11"/>
                <a:gd name="T18" fmla="*/ 9902490 w 18"/>
                <a:gd name="T19" fmla="*/ 9698926 h 11"/>
                <a:gd name="T20" fmla="*/ 10939908 w 18"/>
                <a:gd name="T21" fmla="*/ 9698926 h 11"/>
                <a:gd name="T22" fmla="*/ 10939908 w 18"/>
                <a:gd name="T23" fmla="*/ 8480159 h 11"/>
                <a:gd name="T24" fmla="*/ 13184928 w 18"/>
                <a:gd name="T25" fmla="*/ 6840539 h 11"/>
                <a:gd name="T26" fmla="*/ 13906432 w 18"/>
                <a:gd name="T27" fmla="*/ 5595820 h 11"/>
                <a:gd name="T28" fmla="*/ 13906432 w 18"/>
                <a:gd name="T29" fmla="*/ 4745295 h 11"/>
                <a:gd name="T30" fmla="*/ 9902490 w 18"/>
                <a:gd name="T31" fmla="*/ 4745295 h 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"/>
                <a:gd name="T49" fmla="*/ 0 h 11"/>
                <a:gd name="T50" fmla="*/ 18 w 18"/>
                <a:gd name="T51" fmla="*/ 11 h 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" h="11">
                  <a:moveTo>
                    <a:pt x="13" y="5"/>
                  </a:moveTo>
                  <a:cubicBezTo>
                    <a:pt x="11" y="6"/>
                    <a:pt x="9" y="6"/>
                    <a:pt x="8" y="5"/>
                  </a:cubicBezTo>
                  <a:cubicBezTo>
                    <a:pt x="6" y="5"/>
                    <a:pt x="5" y="3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1" y="4"/>
                    <a:pt x="2" y="5"/>
                    <a:pt x="3" y="6"/>
                  </a:cubicBezTo>
                  <a:cubicBezTo>
                    <a:pt x="4" y="7"/>
                    <a:pt x="5" y="7"/>
                    <a:pt x="6" y="8"/>
                  </a:cubicBezTo>
                  <a:cubicBezTo>
                    <a:pt x="6" y="8"/>
                    <a:pt x="7" y="8"/>
                    <a:pt x="7" y="8"/>
                  </a:cubicBezTo>
                  <a:cubicBezTo>
                    <a:pt x="9" y="9"/>
                    <a:pt x="11" y="9"/>
                    <a:pt x="13" y="10"/>
                  </a:cubicBezTo>
                  <a:cubicBezTo>
                    <a:pt x="13" y="11"/>
                    <a:pt x="13" y="11"/>
                    <a:pt x="14" y="10"/>
                  </a:cubicBezTo>
                  <a:cubicBezTo>
                    <a:pt x="14" y="10"/>
                    <a:pt x="14" y="10"/>
                    <a:pt x="14" y="9"/>
                  </a:cubicBezTo>
                  <a:cubicBezTo>
                    <a:pt x="15" y="9"/>
                    <a:pt x="16" y="8"/>
                    <a:pt x="17" y="7"/>
                  </a:cubicBezTo>
                  <a:cubicBezTo>
                    <a:pt x="17" y="7"/>
                    <a:pt x="17" y="6"/>
                    <a:pt x="18" y="6"/>
                  </a:cubicBezTo>
                  <a:cubicBezTo>
                    <a:pt x="18" y="6"/>
                    <a:pt x="18" y="5"/>
                    <a:pt x="18" y="5"/>
                  </a:cubicBezTo>
                  <a:cubicBezTo>
                    <a:pt x="17" y="4"/>
                    <a:pt x="15" y="5"/>
                    <a:pt x="13" y="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6" name="Freeform 69"/>
            <p:cNvSpPr>
              <a:spLocks/>
            </p:cNvSpPr>
            <p:nvPr/>
          </p:nvSpPr>
          <p:spPr bwMode="auto">
            <a:xfrm>
              <a:off x="6215391" y="4843472"/>
              <a:ext cx="17399" cy="14504"/>
            </a:xfrm>
            <a:custGeom>
              <a:avLst/>
              <a:gdLst>
                <a:gd name="T0" fmla="*/ 6350665 w 13"/>
                <a:gd name="T1" fmla="*/ 1947959 h 14"/>
                <a:gd name="T2" fmla="*/ 3318681 w 13"/>
                <a:gd name="T3" fmla="*/ 4591618 h 14"/>
                <a:gd name="T4" fmla="*/ 979497 w 13"/>
                <a:gd name="T5" fmla="*/ 6527726 h 14"/>
                <a:gd name="T6" fmla="*/ 0 w 13"/>
                <a:gd name="T7" fmla="*/ 8174845 h 14"/>
                <a:gd name="T8" fmla="*/ 0 w 13"/>
                <a:gd name="T9" fmla="*/ 11919092 h 14"/>
                <a:gd name="T10" fmla="*/ 4595099 w 13"/>
                <a:gd name="T11" fmla="*/ 12766089 h 14"/>
                <a:gd name="T12" fmla="*/ 6350665 w 13"/>
                <a:gd name="T13" fmla="*/ 9297269 h 14"/>
                <a:gd name="T14" fmla="*/ 7913775 w 13"/>
                <a:gd name="T15" fmla="*/ 9297269 h 14"/>
                <a:gd name="T16" fmla="*/ 7913775 w 13"/>
                <a:gd name="T17" fmla="*/ 12766089 h 14"/>
                <a:gd name="T18" fmla="*/ 8621839 w 13"/>
                <a:gd name="T19" fmla="*/ 12766089 h 14"/>
                <a:gd name="T20" fmla="*/ 9596174 w 13"/>
                <a:gd name="T21" fmla="*/ 11919092 h 14"/>
                <a:gd name="T22" fmla="*/ 13281841 w 13"/>
                <a:gd name="T23" fmla="*/ 10823097 h 14"/>
                <a:gd name="T24" fmla="*/ 13281841 w 13"/>
                <a:gd name="T25" fmla="*/ 7350477 h 14"/>
                <a:gd name="T26" fmla="*/ 9596174 w 13"/>
                <a:gd name="T27" fmla="*/ 7350477 h 14"/>
                <a:gd name="T28" fmla="*/ 9596174 w 13"/>
                <a:gd name="T29" fmla="*/ 4591618 h 14"/>
                <a:gd name="T30" fmla="*/ 10957538 w 13"/>
                <a:gd name="T31" fmla="*/ 3468116 h 14"/>
                <a:gd name="T32" fmla="*/ 10957538 w 13"/>
                <a:gd name="T33" fmla="*/ 1947959 h 14"/>
                <a:gd name="T34" fmla="*/ 9596174 w 13"/>
                <a:gd name="T35" fmla="*/ 0 h 14"/>
                <a:gd name="T36" fmla="*/ 7913775 w 13"/>
                <a:gd name="T37" fmla="*/ 0 h 14"/>
                <a:gd name="T38" fmla="*/ 6350665 w 13"/>
                <a:gd name="T39" fmla="*/ 1947959 h 1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3"/>
                <a:gd name="T61" fmla="*/ 0 h 14"/>
                <a:gd name="T62" fmla="*/ 13 w 13"/>
                <a:gd name="T63" fmla="*/ 14 h 1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3" h="14">
                  <a:moveTo>
                    <a:pt x="6" y="2"/>
                  </a:moveTo>
                  <a:cubicBezTo>
                    <a:pt x="4" y="3"/>
                    <a:pt x="4" y="4"/>
                    <a:pt x="3" y="5"/>
                  </a:cubicBezTo>
                  <a:cubicBezTo>
                    <a:pt x="2" y="6"/>
                    <a:pt x="2" y="6"/>
                    <a:pt x="1" y="7"/>
                  </a:cubicBezTo>
                  <a:cubicBezTo>
                    <a:pt x="1" y="7"/>
                    <a:pt x="1" y="8"/>
                    <a:pt x="0" y="9"/>
                  </a:cubicBezTo>
                  <a:cubicBezTo>
                    <a:pt x="0" y="10"/>
                    <a:pt x="0" y="12"/>
                    <a:pt x="0" y="13"/>
                  </a:cubicBezTo>
                  <a:cubicBezTo>
                    <a:pt x="1" y="14"/>
                    <a:pt x="3" y="14"/>
                    <a:pt x="4" y="14"/>
                  </a:cubicBezTo>
                  <a:cubicBezTo>
                    <a:pt x="5" y="13"/>
                    <a:pt x="5" y="11"/>
                    <a:pt x="6" y="10"/>
                  </a:cubicBezTo>
                  <a:cubicBezTo>
                    <a:pt x="6" y="10"/>
                    <a:pt x="7" y="10"/>
                    <a:pt x="7" y="10"/>
                  </a:cubicBezTo>
                  <a:cubicBezTo>
                    <a:pt x="7" y="12"/>
                    <a:pt x="6" y="13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9" y="13"/>
                    <a:pt x="9" y="13"/>
                  </a:cubicBezTo>
                  <a:cubicBezTo>
                    <a:pt x="10" y="12"/>
                    <a:pt x="11" y="12"/>
                    <a:pt x="12" y="12"/>
                  </a:cubicBezTo>
                  <a:cubicBezTo>
                    <a:pt x="13" y="11"/>
                    <a:pt x="13" y="9"/>
                    <a:pt x="12" y="8"/>
                  </a:cubicBezTo>
                  <a:cubicBezTo>
                    <a:pt x="12" y="7"/>
                    <a:pt x="10" y="8"/>
                    <a:pt x="9" y="8"/>
                  </a:cubicBezTo>
                  <a:cubicBezTo>
                    <a:pt x="8" y="7"/>
                    <a:pt x="8" y="6"/>
                    <a:pt x="9" y="5"/>
                  </a:cubicBezTo>
                  <a:cubicBezTo>
                    <a:pt x="9" y="5"/>
                    <a:pt x="10" y="4"/>
                    <a:pt x="10" y="4"/>
                  </a:cubicBezTo>
                  <a:cubicBezTo>
                    <a:pt x="11" y="3"/>
                    <a:pt x="11" y="2"/>
                    <a:pt x="10" y="2"/>
                  </a:cubicBezTo>
                  <a:cubicBezTo>
                    <a:pt x="10" y="1"/>
                    <a:pt x="9" y="1"/>
                    <a:pt x="9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7" y="1"/>
                    <a:pt x="6" y="2"/>
                    <a:pt x="6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7" name="Freeform 70"/>
            <p:cNvSpPr>
              <a:spLocks/>
            </p:cNvSpPr>
            <p:nvPr/>
          </p:nvSpPr>
          <p:spPr bwMode="auto">
            <a:xfrm>
              <a:off x="6240038" y="4787872"/>
              <a:ext cx="67421" cy="61037"/>
            </a:xfrm>
            <a:custGeom>
              <a:avLst/>
              <a:gdLst>
                <a:gd name="T0" fmla="*/ 17606647 w 50"/>
                <a:gd name="T1" fmla="*/ 11242634 h 56"/>
                <a:gd name="T2" fmla="*/ 9524393 w 50"/>
                <a:gd name="T3" fmla="*/ 24547148 h 56"/>
                <a:gd name="T4" fmla="*/ 5488568 w 50"/>
                <a:gd name="T5" fmla="*/ 29824358 h 56"/>
                <a:gd name="T6" fmla="*/ 2808927 w 50"/>
                <a:gd name="T7" fmla="*/ 32884631 h 56"/>
                <a:gd name="T8" fmla="*/ 8295957 w 50"/>
                <a:gd name="T9" fmla="*/ 34882765 h 56"/>
                <a:gd name="T10" fmla="*/ 5488568 w 50"/>
                <a:gd name="T11" fmla="*/ 35791972 h 56"/>
                <a:gd name="T12" fmla="*/ 835001 w 50"/>
                <a:gd name="T13" fmla="*/ 45228633 h 56"/>
                <a:gd name="T14" fmla="*/ 5488568 w 50"/>
                <a:gd name="T15" fmla="*/ 45228633 h 56"/>
                <a:gd name="T16" fmla="*/ 23108688 w 50"/>
                <a:gd name="T17" fmla="*/ 43218205 h 56"/>
                <a:gd name="T18" fmla="*/ 23940031 w 50"/>
                <a:gd name="T19" fmla="*/ 43218205 h 56"/>
                <a:gd name="T20" fmla="*/ 25902097 w 50"/>
                <a:gd name="T21" fmla="*/ 46120340 h 56"/>
                <a:gd name="T22" fmla="*/ 29733301 w 50"/>
                <a:gd name="T23" fmla="*/ 43994811 h 56"/>
                <a:gd name="T24" fmla="*/ 23108688 w 50"/>
                <a:gd name="T25" fmla="*/ 52183049 h 56"/>
                <a:gd name="T26" fmla="*/ 25070678 w 50"/>
                <a:gd name="T27" fmla="*/ 54296646 h 56"/>
                <a:gd name="T28" fmla="*/ 30569118 w 50"/>
                <a:gd name="T29" fmla="*/ 49283764 h 56"/>
                <a:gd name="T30" fmla="*/ 36921216 w 50"/>
                <a:gd name="T31" fmla="*/ 43994811 h 56"/>
                <a:gd name="T32" fmla="*/ 35226680 w 50"/>
                <a:gd name="T33" fmla="*/ 51413701 h 56"/>
                <a:gd name="T34" fmla="*/ 33406215 w 50"/>
                <a:gd name="T35" fmla="*/ 55231826 h 56"/>
                <a:gd name="T36" fmla="*/ 36921216 w 50"/>
                <a:gd name="T37" fmla="*/ 53405052 h 56"/>
                <a:gd name="T38" fmla="*/ 39573289 w 50"/>
                <a:gd name="T39" fmla="*/ 56522952 h 56"/>
                <a:gd name="T40" fmla="*/ 45582442 w 50"/>
                <a:gd name="T41" fmla="*/ 48346608 h 56"/>
                <a:gd name="T42" fmla="*/ 43525467 w 50"/>
                <a:gd name="T43" fmla="*/ 45228633 h 56"/>
                <a:gd name="T44" fmla="*/ 44380995 w 50"/>
                <a:gd name="T45" fmla="*/ 40170188 h 56"/>
                <a:gd name="T46" fmla="*/ 38894799 w 50"/>
                <a:gd name="T47" fmla="*/ 43994811 h 56"/>
                <a:gd name="T48" fmla="*/ 41551677 w 50"/>
                <a:gd name="T49" fmla="*/ 37103826 h 56"/>
                <a:gd name="T50" fmla="*/ 42780613 w 50"/>
                <a:gd name="T51" fmla="*/ 33592209 h 56"/>
                <a:gd name="T52" fmla="*/ 38894799 w 50"/>
                <a:gd name="T53" fmla="*/ 34882765 h 56"/>
                <a:gd name="T54" fmla="*/ 38894799 w 50"/>
                <a:gd name="T55" fmla="*/ 31976336 h 56"/>
                <a:gd name="T56" fmla="*/ 41551677 w 50"/>
                <a:gd name="T57" fmla="*/ 27595564 h 56"/>
                <a:gd name="T58" fmla="*/ 40715331 w 50"/>
                <a:gd name="T59" fmla="*/ 24547148 h 56"/>
                <a:gd name="T60" fmla="*/ 29733301 w 50"/>
                <a:gd name="T61" fmla="*/ 25484912 h 56"/>
                <a:gd name="T62" fmla="*/ 25902097 w 50"/>
                <a:gd name="T63" fmla="*/ 22486351 h 56"/>
                <a:gd name="T64" fmla="*/ 23940031 w 50"/>
                <a:gd name="T65" fmla="*/ 17290988 h 56"/>
                <a:gd name="T66" fmla="*/ 21138070 w 50"/>
                <a:gd name="T67" fmla="*/ 20751063 h 56"/>
                <a:gd name="T68" fmla="*/ 25070678 w 50"/>
                <a:gd name="T69" fmla="*/ 11242634 h 56"/>
                <a:gd name="T70" fmla="*/ 26625087 w 50"/>
                <a:gd name="T71" fmla="*/ 5955408 h 56"/>
                <a:gd name="T72" fmla="*/ 31432311 w 50"/>
                <a:gd name="T73" fmla="*/ 937382 h 56"/>
                <a:gd name="T74" fmla="*/ 23940031 w 50"/>
                <a:gd name="T75" fmla="*/ 2226282 h 5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0"/>
                <a:gd name="T115" fmla="*/ 0 h 56"/>
                <a:gd name="T116" fmla="*/ 50 w 50"/>
                <a:gd name="T117" fmla="*/ 56 h 5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0" h="56">
                  <a:moveTo>
                    <a:pt x="26" y="2"/>
                  </a:moveTo>
                  <a:cubicBezTo>
                    <a:pt x="22" y="2"/>
                    <a:pt x="21" y="8"/>
                    <a:pt x="19" y="11"/>
                  </a:cubicBezTo>
                  <a:cubicBezTo>
                    <a:pt x="18" y="12"/>
                    <a:pt x="18" y="13"/>
                    <a:pt x="17" y="15"/>
                  </a:cubicBezTo>
                  <a:cubicBezTo>
                    <a:pt x="16" y="18"/>
                    <a:pt x="14" y="22"/>
                    <a:pt x="10" y="24"/>
                  </a:cubicBezTo>
                  <a:cubicBezTo>
                    <a:pt x="10" y="25"/>
                    <a:pt x="11" y="27"/>
                    <a:pt x="10" y="27"/>
                  </a:cubicBezTo>
                  <a:cubicBezTo>
                    <a:pt x="9" y="28"/>
                    <a:pt x="7" y="28"/>
                    <a:pt x="6" y="29"/>
                  </a:cubicBezTo>
                  <a:cubicBezTo>
                    <a:pt x="6" y="30"/>
                    <a:pt x="6" y="30"/>
                    <a:pt x="6" y="31"/>
                  </a:cubicBezTo>
                  <a:cubicBezTo>
                    <a:pt x="5" y="31"/>
                    <a:pt x="4" y="31"/>
                    <a:pt x="3" y="32"/>
                  </a:cubicBezTo>
                  <a:cubicBezTo>
                    <a:pt x="3" y="32"/>
                    <a:pt x="3" y="33"/>
                    <a:pt x="4" y="33"/>
                  </a:cubicBezTo>
                  <a:cubicBezTo>
                    <a:pt x="6" y="33"/>
                    <a:pt x="8" y="33"/>
                    <a:pt x="9" y="34"/>
                  </a:cubicBezTo>
                  <a:cubicBezTo>
                    <a:pt x="9" y="34"/>
                    <a:pt x="9" y="35"/>
                    <a:pt x="9" y="35"/>
                  </a:cubicBezTo>
                  <a:cubicBezTo>
                    <a:pt x="8" y="35"/>
                    <a:pt x="6" y="34"/>
                    <a:pt x="6" y="35"/>
                  </a:cubicBezTo>
                  <a:cubicBezTo>
                    <a:pt x="5" y="37"/>
                    <a:pt x="3" y="38"/>
                    <a:pt x="2" y="39"/>
                  </a:cubicBezTo>
                  <a:cubicBezTo>
                    <a:pt x="0" y="41"/>
                    <a:pt x="0" y="43"/>
                    <a:pt x="1" y="44"/>
                  </a:cubicBezTo>
                  <a:cubicBezTo>
                    <a:pt x="1" y="45"/>
                    <a:pt x="3" y="45"/>
                    <a:pt x="4" y="45"/>
                  </a:cubicBezTo>
                  <a:cubicBezTo>
                    <a:pt x="5" y="44"/>
                    <a:pt x="5" y="44"/>
                    <a:pt x="6" y="44"/>
                  </a:cubicBezTo>
                  <a:cubicBezTo>
                    <a:pt x="11" y="43"/>
                    <a:pt x="16" y="44"/>
                    <a:pt x="21" y="43"/>
                  </a:cubicBezTo>
                  <a:cubicBezTo>
                    <a:pt x="22" y="43"/>
                    <a:pt x="24" y="42"/>
                    <a:pt x="25" y="42"/>
                  </a:cubicBezTo>
                  <a:cubicBezTo>
                    <a:pt x="25" y="42"/>
                    <a:pt x="26" y="42"/>
                    <a:pt x="26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5" y="43"/>
                    <a:pt x="24" y="44"/>
                    <a:pt x="25" y="45"/>
                  </a:cubicBezTo>
                  <a:cubicBezTo>
                    <a:pt x="26" y="46"/>
                    <a:pt x="27" y="46"/>
                    <a:pt x="28" y="45"/>
                  </a:cubicBezTo>
                  <a:cubicBezTo>
                    <a:pt x="29" y="45"/>
                    <a:pt x="29" y="44"/>
                    <a:pt x="29" y="43"/>
                  </a:cubicBezTo>
                  <a:cubicBezTo>
                    <a:pt x="30" y="43"/>
                    <a:pt x="31" y="43"/>
                    <a:pt x="32" y="43"/>
                  </a:cubicBezTo>
                  <a:cubicBezTo>
                    <a:pt x="33" y="43"/>
                    <a:pt x="33" y="44"/>
                    <a:pt x="33" y="44"/>
                  </a:cubicBezTo>
                  <a:cubicBezTo>
                    <a:pt x="30" y="47"/>
                    <a:pt x="27" y="48"/>
                    <a:pt x="25" y="51"/>
                  </a:cubicBezTo>
                  <a:cubicBezTo>
                    <a:pt x="25" y="52"/>
                    <a:pt x="25" y="53"/>
                    <a:pt x="25" y="53"/>
                  </a:cubicBezTo>
                  <a:cubicBezTo>
                    <a:pt x="26" y="53"/>
                    <a:pt x="26" y="53"/>
                    <a:pt x="27" y="53"/>
                  </a:cubicBezTo>
                  <a:cubicBezTo>
                    <a:pt x="28" y="53"/>
                    <a:pt x="29" y="52"/>
                    <a:pt x="29" y="52"/>
                  </a:cubicBezTo>
                  <a:cubicBezTo>
                    <a:pt x="31" y="51"/>
                    <a:pt x="32" y="49"/>
                    <a:pt x="33" y="48"/>
                  </a:cubicBezTo>
                  <a:cubicBezTo>
                    <a:pt x="35" y="46"/>
                    <a:pt x="36" y="45"/>
                    <a:pt x="37" y="43"/>
                  </a:cubicBezTo>
                  <a:cubicBezTo>
                    <a:pt x="38" y="42"/>
                    <a:pt x="40" y="42"/>
                    <a:pt x="40" y="43"/>
                  </a:cubicBezTo>
                  <a:cubicBezTo>
                    <a:pt x="41" y="44"/>
                    <a:pt x="41" y="46"/>
                    <a:pt x="40" y="47"/>
                  </a:cubicBezTo>
                  <a:cubicBezTo>
                    <a:pt x="40" y="48"/>
                    <a:pt x="38" y="49"/>
                    <a:pt x="38" y="50"/>
                  </a:cubicBezTo>
                  <a:cubicBezTo>
                    <a:pt x="37" y="51"/>
                    <a:pt x="37" y="52"/>
                    <a:pt x="36" y="53"/>
                  </a:cubicBezTo>
                  <a:cubicBezTo>
                    <a:pt x="36" y="53"/>
                    <a:pt x="36" y="54"/>
                    <a:pt x="36" y="54"/>
                  </a:cubicBezTo>
                  <a:cubicBezTo>
                    <a:pt x="37" y="54"/>
                    <a:pt x="37" y="54"/>
                    <a:pt x="38" y="54"/>
                  </a:cubicBezTo>
                  <a:cubicBezTo>
                    <a:pt x="39" y="53"/>
                    <a:pt x="39" y="52"/>
                    <a:pt x="40" y="52"/>
                  </a:cubicBezTo>
                  <a:cubicBezTo>
                    <a:pt x="41" y="52"/>
                    <a:pt x="41" y="51"/>
                    <a:pt x="42" y="52"/>
                  </a:cubicBezTo>
                  <a:cubicBezTo>
                    <a:pt x="42" y="53"/>
                    <a:pt x="42" y="54"/>
                    <a:pt x="43" y="55"/>
                  </a:cubicBezTo>
                  <a:cubicBezTo>
                    <a:pt x="44" y="56"/>
                    <a:pt x="46" y="55"/>
                    <a:pt x="46" y="54"/>
                  </a:cubicBezTo>
                  <a:cubicBezTo>
                    <a:pt x="47" y="52"/>
                    <a:pt x="48" y="49"/>
                    <a:pt x="49" y="47"/>
                  </a:cubicBezTo>
                  <a:cubicBezTo>
                    <a:pt x="50" y="46"/>
                    <a:pt x="50" y="46"/>
                    <a:pt x="49" y="45"/>
                  </a:cubicBezTo>
                  <a:cubicBezTo>
                    <a:pt x="49" y="44"/>
                    <a:pt x="47" y="45"/>
                    <a:pt x="47" y="44"/>
                  </a:cubicBezTo>
                  <a:cubicBezTo>
                    <a:pt x="46" y="44"/>
                    <a:pt x="46" y="43"/>
                    <a:pt x="47" y="43"/>
                  </a:cubicBezTo>
                  <a:cubicBezTo>
                    <a:pt x="48" y="41"/>
                    <a:pt x="48" y="40"/>
                    <a:pt x="48" y="39"/>
                  </a:cubicBezTo>
                  <a:cubicBezTo>
                    <a:pt x="47" y="39"/>
                    <a:pt x="46" y="38"/>
                    <a:pt x="45" y="40"/>
                  </a:cubicBezTo>
                  <a:cubicBezTo>
                    <a:pt x="44" y="41"/>
                    <a:pt x="43" y="43"/>
                    <a:pt x="42" y="43"/>
                  </a:cubicBezTo>
                  <a:cubicBezTo>
                    <a:pt x="42" y="43"/>
                    <a:pt x="42" y="42"/>
                    <a:pt x="42" y="42"/>
                  </a:cubicBezTo>
                  <a:cubicBezTo>
                    <a:pt x="44" y="40"/>
                    <a:pt x="44" y="38"/>
                    <a:pt x="45" y="36"/>
                  </a:cubicBezTo>
                  <a:cubicBezTo>
                    <a:pt x="46" y="35"/>
                    <a:pt x="47" y="35"/>
                    <a:pt x="48" y="34"/>
                  </a:cubicBezTo>
                  <a:cubicBezTo>
                    <a:pt x="48" y="33"/>
                    <a:pt x="47" y="33"/>
                    <a:pt x="46" y="33"/>
                  </a:cubicBezTo>
                  <a:cubicBezTo>
                    <a:pt x="44" y="34"/>
                    <a:pt x="43" y="36"/>
                    <a:pt x="42" y="35"/>
                  </a:cubicBezTo>
                  <a:cubicBezTo>
                    <a:pt x="42" y="35"/>
                    <a:pt x="41" y="34"/>
                    <a:pt x="42" y="34"/>
                  </a:cubicBezTo>
                  <a:cubicBezTo>
                    <a:pt x="42" y="34"/>
                    <a:pt x="42" y="33"/>
                    <a:pt x="42" y="33"/>
                  </a:cubicBezTo>
                  <a:cubicBezTo>
                    <a:pt x="43" y="32"/>
                    <a:pt x="42" y="32"/>
                    <a:pt x="42" y="31"/>
                  </a:cubicBezTo>
                  <a:cubicBezTo>
                    <a:pt x="42" y="31"/>
                    <a:pt x="42" y="30"/>
                    <a:pt x="42" y="30"/>
                  </a:cubicBezTo>
                  <a:cubicBezTo>
                    <a:pt x="43" y="29"/>
                    <a:pt x="45" y="29"/>
                    <a:pt x="45" y="27"/>
                  </a:cubicBezTo>
                  <a:cubicBezTo>
                    <a:pt x="46" y="27"/>
                    <a:pt x="46" y="26"/>
                    <a:pt x="45" y="25"/>
                  </a:cubicBezTo>
                  <a:cubicBezTo>
                    <a:pt x="45" y="25"/>
                    <a:pt x="45" y="25"/>
                    <a:pt x="44" y="24"/>
                  </a:cubicBezTo>
                  <a:cubicBezTo>
                    <a:pt x="42" y="24"/>
                    <a:pt x="40" y="24"/>
                    <a:pt x="38" y="24"/>
                  </a:cubicBezTo>
                  <a:cubicBezTo>
                    <a:pt x="36" y="25"/>
                    <a:pt x="34" y="25"/>
                    <a:pt x="32" y="25"/>
                  </a:cubicBezTo>
                  <a:cubicBezTo>
                    <a:pt x="31" y="24"/>
                    <a:pt x="29" y="23"/>
                    <a:pt x="28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9" y="21"/>
                    <a:pt x="31" y="20"/>
                    <a:pt x="30" y="18"/>
                  </a:cubicBezTo>
                  <a:cubicBezTo>
                    <a:pt x="29" y="17"/>
                    <a:pt x="28" y="16"/>
                    <a:pt x="26" y="17"/>
                  </a:cubicBezTo>
                  <a:cubicBezTo>
                    <a:pt x="25" y="17"/>
                    <a:pt x="25" y="19"/>
                    <a:pt x="24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19"/>
                  </a:cubicBezTo>
                  <a:cubicBezTo>
                    <a:pt x="25" y="17"/>
                    <a:pt x="27" y="14"/>
                    <a:pt x="27" y="11"/>
                  </a:cubicBezTo>
                  <a:cubicBezTo>
                    <a:pt x="27" y="10"/>
                    <a:pt x="28" y="10"/>
                    <a:pt x="28" y="9"/>
                  </a:cubicBezTo>
                  <a:cubicBezTo>
                    <a:pt x="29" y="8"/>
                    <a:pt x="29" y="7"/>
                    <a:pt x="29" y="6"/>
                  </a:cubicBezTo>
                  <a:cubicBezTo>
                    <a:pt x="30" y="4"/>
                    <a:pt x="31" y="3"/>
                    <a:pt x="33" y="3"/>
                  </a:cubicBezTo>
                  <a:cubicBezTo>
                    <a:pt x="33" y="2"/>
                    <a:pt x="35" y="2"/>
                    <a:pt x="34" y="1"/>
                  </a:cubicBezTo>
                  <a:cubicBezTo>
                    <a:pt x="32" y="1"/>
                    <a:pt x="30" y="0"/>
                    <a:pt x="27" y="1"/>
                  </a:cubicBezTo>
                  <a:cubicBezTo>
                    <a:pt x="27" y="1"/>
                    <a:pt x="27" y="2"/>
                    <a:pt x="26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8" name="Freeform 71"/>
            <p:cNvSpPr>
              <a:spLocks/>
            </p:cNvSpPr>
            <p:nvPr/>
          </p:nvSpPr>
          <p:spPr bwMode="auto">
            <a:xfrm>
              <a:off x="6192915" y="4808420"/>
              <a:ext cx="28273" cy="10879"/>
            </a:xfrm>
            <a:custGeom>
              <a:avLst/>
              <a:gdLst>
                <a:gd name="T0" fmla="*/ 16919961 w 21"/>
                <a:gd name="T1" fmla="*/ 5085394 h 10"/>
                <a:gd name="T2" fmla="*/ 12950905 w 21"/>
                <a:gd name="T3" fmla="*/ 2554647 h 10"/>
                <a:gd name="T4" fmla="*/ 6246233 w 21"/>
                <a:gd name="T5" fmla="*/ 1064436 h 10"/>
                <a:gd name="T6" fmla="*/ 4514290 w 21"/>
                <a:gd name="T7" fmla="*/ 0 h 10"/>
                <a:gd name="T8" fmla="*/ 0 w 21"/>
                <a:gd name="T9" fmla="*/ 0 h 10"/>
                <a:gd name="T10" fmla="*/ 0 w 21"/>
                <a:gd name="T11" fmla="*/ 1064436 h 10"/>
                <a:gd name="T12" fmla="*/ 5439381 w 21"/>
                <a:gd name="T13" fmla="*/ 3577445 h 10"/>
                <a:gd name="T14" fmla="*/ 9396189 w 21"/>
                <a:gd name="T15" fmla="*/ 8585865 h 10"/>
                <a:gd name="T16" fmla="*/ 13910476 w 21"/>
                <a:gd name="T17" fmla="*/ 11140513 h 10"/>
                <a:gd name="T18" fmla="*/ 19221950 w 21"/>
                <a:gd name="T19" fmla="*/ 11140513 h 10"/>
                <a:gd name="T20" fmla="*/ 21410687 w 21"/>
                <a:gd name="T21" fmla="*/ 11140513 h 10"/>
                <a:gd name="T22" fmla="*/ 21410687 w 21"/>
                <a:gd name="T23" fmla="*/ 8585865 h 10"/>
                <a:gd name="T24" fmla="*/ 20139202 w 21"/>
                <a:gd name="T25" fmla="*/ 7196548 h 10"/>
                <a:gd name="T26" fmla="*/ 16919961 w 21"/>
                <a:gd name="T27" fmla="*/ 5085394 h 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10"/>
                <a:gd name="T44" fmla="*/ 21 w 21"/>
                <a:gd name="T45" fmla="*/ 10 h 1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10">
                  <a:moveTo>
                    <a:pt x="16" y="4"/>
                  </a:moveTo>
                  <a:cubicBezTo>
                    <a:pt x="15" y="3"/>
                    <a:pt x="14" y="3"/>
                    <a:pt x="12" y="2"/>
                  </a:cubicBezTo>
                  <a:cubicBezTo>
                    <a:pt x="10" y="1"/>
                    <a:pt x="8" y="1"/>
                    <a:pt x="6" y="1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2"/>
                    <a:pt x="3" y="2"/>
                    <a:pt x="5" y="3"/>
                  </a:cubicBezTo>
                  <a:cubicBezTo>
                    <a:pt x="6" y="4"/>
                    <a:pt x="7" y="5"/>
                    <a:pt x="9" y="7"/>
                  </a:cubicBezTo>
                  <a:cubicBezTo>
                    <a:pt x="10" y="8"/>
                    <a:pt x="11" y="8"/>
                    <a:pt x="13" y="9"/>
                  </a:cubicBezTo>
                  <a:cubicBezTo>
                    <a:pt x="14" y="9"/>
                    <a:pt x="16" y="9"/>
                    <a:pt x="18" y="9"/>
                  </a:cubicBezTo>
                  <a:cubicBezTo>
                    <a:pt x="19" y="9"/>
                    <a:pt x="20" y="10"/>
                    <a:pt x="20" y="9"/>
                  </a:cubicBezTo>
                  <a:cubicBezTo>
                    <a:pt x="21" y="9"/>
                    <a:pt x="21" y="7"/>
                    <a:pt x="20" y="7"/>
                  </a:cubicBezTo>
                  <a:cubicBezTo>
                    <a:pt x="20" y="6"/>
                    <a:pt x="20" y="6"/>
                    <a:pt x="19" y="6"/>
                  </a:cubicBezTo>
                  <a:cubicBezTo>
                    <a:pt x="18" y="5"/>
                    <a:pt x="17" y="5"/>
                    <a:pt x="16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9" name="Freeform 72"/>
            <p:cNvSpPr>
              <a:spLocks/>
            </p:cNvSpPr>
            <p:nvPr/>
          </p:nvSpPr>
          <p:spPr bwMode="auto">
            <a:xfrm>
              <a:off x="6210314" y="4660359"/>
              <a:ext cx="5075" cy="6647"/>
            </a:xfrm>
            <a:custGeom>
              <a:avLst/>
              <a:gdLst>
                <a:gd name="T0" fmla="*/ 941139 w 4"/>
                <a:gd name="T1" fmla="*/ 0 h 6"/>
                <a:gd name="T2" fmla="*/ 0 w 4"/>
                <a:gd name="T3" fmla="*/ 727531 h 6"/>
                <a:gd name="T4" fmla="*/ 418284 w 4"/>
                <a:gd name="T5" fmla="*/ 3961001 h 6"/>
                <a:gd name="T6" fmla="*/ 1359459 w 4"/>
                <a:gd name="T7" fmla="*/ 1697572 h 6"/>
                <a:gd name="T8" fmla="*/ 1359459 w 4"/>
                <a:gd name="T9" fmla="*/ 1697572 h 6"/>
                <a:gd name="T10" fmla="*/ 941139 w 4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0" y="4"/>
                    <a:pt x="1" y="5"/>
                  </a:cubicBezTo>
                  <a:cubicBezTo>
                    <a:pt x="2" y="6"/>
                    <a:pt x="2" y="4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3" y="0"/>
                    <a:pt x="2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0" name="Freeform 73"/>
            <p:cNvSpPr>
              <a:spLocks/>
            </p:cNvSpPr>
            <p:nvPr/>
          </p:nvSpPr>
          <p:spPr bwMode="auto">
            <a:xfrm>
              <a:off x="6176967" y="4673654"/>
              <a:ext cx="6524" cy="5438"/>
            </a:xfrm>
            <a:custGeom>
              <a:avLst/>
              <a:gdLst>
                <a:gd name="T0" fmla="*/ 3577445 w 5"/>
                <a:gd name="T1" fmla="*/ 1064436 h 5"/>
                <a:gd name="T2" fmla="*/ 1064436 w 5"/>
                <a:gd name="T3" fmla="*/ 6131150 h 5"/>
                <a:gd name="T4" fmla="*/ 3577445 w 5"/>
                <a:gd name="T5" fmla="*/ 6131150 h 5"/>
                <a:gd name="T6" fmla="*/ 5085394 w 5"/>
                <a:gd name="T7" fmla="*/ 1064436 h 5"/>
                <a:gd name="T8" fmla="*/ 3577445 w 5"/>
                <a:gd name="T9" fmla="*/ 1064436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3" y="1"/>
                  </a:moveTo>
                  <a:cubicBezTo>
                    <a:pt x="2" y="0"/>
                    <a:pt x="0" y="3"/>
                    <a:pt x="1" y="5"/>
                  </a:cubicBezTo>
                  <a:cubicBezTo>
                    <a:pt x="1" y="5"/>
                    <a:pt x="3" y="5"/>
                    <a:pt x="3" y="5"/>
                  </a:cubicBezTo>
                  <a:cubicBezTo>
                    <a:pt x="4" y="4"/>
                    <a:pt x="5" y="2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1" name="Freeform 74"/>
            <p:cNvSpPr>
              <a:spLocks/>
            </p:cNvSpPr>
            <p:nvPr/>
          </p:nvSpPr>
          <p:spPr bwMode="auto">
            <a:xfrm>
              <a:off x="6050824" y="4726231"/>
              <a:ext cx="12324" cy="9065"/>
            </a:xfrm>
            <a:custGeom>
              <a:avLst/>
              <a:gdLst>
                <a:gd name="T0" fmla="*/ 5234180 w 9"/>
                <a:gd name="T1" fmla="*/ 2129866 h 8"/>
                <a:gd name="T2" fmla="*/ 3961001 w 9"/>
                <a:gd name="T3" fmla="*/ 896786 h 8"/>
                <a:gd name="T4" fmla="*/ 2243220 w 9"/>
                <a:gd name="T5" fmla="*/ 896786 h 8"/>
                <a:gd name="T6" fmla="*/ 727531 w 9"/>
                <a:gd name="T7" fmla="*/ 4351847 h 8"/>
                <a:gd name="T8" fmla="*/ 2243220 w 9"/>
                <a:gd name="T9" fmla="*/ 4351847 h 8"/>
                <a:gd name="T10" fmla="*/ 2243220 w 9"/>
                <a:gd name="T11" fmla="*/ 5058432 h 8"/>
                <a:gd name="T12" fmla="*/ 727531 w 9"/>
                <a:gd name="T13" fmla="*/ 7279645 h 8"/>
                <a:gd name="T14" fmla="*/ 0 w 9"/>
                <a:gd name="T15" fmla="*/ 8176458 h 8"/>
                <a:gd name="T16" fmla="*/ 1697572 w 9"/>
                <a:gd name="T17" fmla="*/ 8176458 h 8"/>
                <a:gd name="T18" fmla="*/ 5234180 w 9"/>
                <a:gd name="T19" fmla="*/ 5955246 h 8"/>
                <a:gd name="T20" fmla="*/ 6253179 w 9"/>
                <a:gd name="T21" fmla="*/ 3065115 h 8"/>
                <a:gd name="T22" fmla="*/ 5234180 w 9"/>
                <a:gd name="T23" fmla="*/ 2129866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8"/>
                <a:gd name="T38" fmla="*/ 9 w 9"/>
                <a:gd name="T39" fmla="*/ 8 h 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8">
                  <a:moveTo>
                    <a:pt x="7" y="2"/>
                  </a:moveTo>
                  <a:cubicBezTo>
                    <a:pt x="7" y="1"/>
                    <a:pt x="6" y="1"/>
                    <a:pt x="5" y="1"/>
                  </a:cubicBezTo>
                  <a:cubicBezTo>
                    <a:pt x="5" y="0"/>
                    <a:pt x="4" y="0"/>
                    <a:pt x="3" y="1"/>
                  </a:cubicBezTo>
                  <a:cubicBezTo>
                    <a:pt x="2" y="2"/>
                    <a:pt x="0" y="3"/>
                    <a:pt x="1" y="4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3" y="4"/>
                    <a:pt x="3" y="5"/>
                    <a:pt x="3" y="5"/>
                  </a:cubicBezTo>
                  <a:cubicBezTo>
                    <a:pt x="2" y="5"/>
                    <a:pt x="2" y="6"/>
                    <a:pt x="1" y="7"/>
                  </a:cubicBezTo>
                  <a:cubicBezTo>
                    <a:pt x="1" y="7"/>
                    <a:pt x="0" y="7"/>
                    <a:pt x="0" y="8"/>
                  </a:cubicBezTo>
                  <a:cubicBezTo>
                    <a:pt x="1" y="8"/>
                    <a:pt x="2" y="8"/>
                    <a:pt x="2" y="8"/>
                  </a:cubicBezTo>
                  <a:cubicBezTo>
                    <a:pt x="4" y="7"/>
                    <a:pt x="5" y="6"/>
                    <a:pt x="7" y="6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8" y="3"/>
                    <a:pt x="7" y="3"/>
                    <a:pt x="7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2" name="Freeform 75"/>
            <p:cNvSpPr>
              <a:spLocks/>
            </p:cNvSpPr>
            <p:nvPr/>
          </p:nvSpPr>
          <p:spPr bwMode="auto">
            <a:xfrm>
              <a:off x="6023999" y="4767327"/>
              <a:ext cx="12324" cy="9065"/>
            </a:xfrm>
            <a:custGeom>
              <a:avLst/>
              <a:gdLst>
                <a:gd name="T0" fmla="*/ 6253179 w 9"/>
                <a:gd name="T1" fmla="*/ 3065115 h 8"/>
                <a:gd name="T2" fmla="*/ 4688532 w 9"/>
                <a:gd name="T3" fmla="*/ 896786 h 8"/>
                <a:gd name="T4" fmla="*/ 727531 w 9"/>
                <a:gd name="T5" fmla="*/ 896786 h 8"/>
                <a:gd name="T6" fmla="*/ 0 w 9"/>
                <a:gd name="T7" fmla="*/ 4351847 h 8"/>
                <a:gd name="T8" fmla="*/ 4688532 w 9"/>
                <a:gd name="T9" fmla="*/ 7279645 h 8"/>
                <a:gd name="T10" fmla="*/ 5234180 w 9"/>
                <a:gd name="T11" fmla="*/ 8176458 h 8"/>
                <a:gd name="T12" fmla="*/ 6931749 w 9"/>
                <a:gd name="T13" fmla="*/ 8176458 h 8"/>
                <a:gd name="T14" fmla="*/ 6253179 w 9"/>
                <a:gd name="T15" fmla="*/ 3065115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8"/>
                <a:gd name="T26" fmla="*/ 9 w 9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8">
                  <a:moveTo>
                    <a:pt x="8" y="3"/>
                  </a:moveTo>
                  <a:cubicBezTo>
                    <a:pt x="7" y="3"/>
                    <a:pt x="7" y="2"/>
                    <a:pt x="6" y="1"/>
                  </a:cubicBezTo>
                  <a:cubicBezTo>
                    <a:pt x="4" y="0"/>
                    <a:pt x="3" y="1"/>
                    <a:pt x="1" y="1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1" y="7"/>
                    <a:pt x="4" y="6"/>
                    <a:pt x="6" y="7"/>
                  </a:cubicBezTo>
                  <a:cubicBezTo>
                    <a:pt x="7" y="7"/>
                    <a:pt x="7" y="8"/>
                    <a:pt x="7" y="8"/>
                  </a:cubicBezTo>
                  <a:cubicBezTo>
                    <a:pt x="8" y="8"/>
                    <a:pt x="8" y="8"/>
                    <a:pt x="9" y="8"/>
                  </a:cubicBezTo>
                  <a:cubicBezTo>
                    <a:pt x="8" y="6"/>
                    <a:pt x="9" y="4"/>
                    <a:pt x="8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3" name="Freeform 76"/>
            <p:cNvSpPr>
              <a:spLocks/>
            </p:cNvSpPr>
            <p:nvPr/>
          </p:nvSpPr>
          <p:spPr bwMode="auto">
            <a:xfrm>
              <a:off x="5222915" y="4523778"/>
              <a:ext cx="332033" cy="224208"/>
            </a:xfrm>
            <a:custGeom>
              <a:avLst/>
              <a:gdLst>
                <a:gd name="T0" fmla="*/ 221105456 w 246"/>
                <a:gd name="T1" fmla="*/ 189919266 h 207"/>
                <a:gd name="T2" fmla="*/ 214717821 w 246"/>
                <a:gd name="T3" fmla="*/ 173242585 h 207"/>
                <a:gd name="T4" fmla="*/ 209165465 w 246"/>
                <a:gd name="T5" fmla="*/ 160833347 h 207"/>
                <a:gd name="T6" fmla="*/ 198770877 w 246"/>
                <a:gd name="T7" fmla="*/ 155241154 h 207"/>
                <a:gd name="T8" fmla="*/ 181759957 w 246"/>
                <a:gd name="T9" fmla="*/ 149694582 h 207"/>
                <a:gd name="T10" fmla="*/ 176937677 w 246"/>
                <a:gd name="T11" fmla="*/ 139416042 h 207"/>
                <a:gd name="T12" fmla="*/ 144504281 w 246"/>
                <a:gd name="T13" fmla="*/ 135352250 h 207"/>
                <a:gd name="T14" fmla="*/ 136945124 w 246"/>
                <a:gd name="T15" fmla="*/ 127791244 h 207"/>
                <a:gd name="T16" fmla="*/ 124647804 w 246"/>
                <a:gd name="T17" fmla="*/ 125066679 h 207"/>
                <a:gd name="T18" fmla="*/ 114251402 w 246"/>
                <a:gd name="T19" fmla="*/ 137331608 h 207"/>
                <a:gd name="T20" fmla="*/ 97591764 w 246"/>
                <a:gd name="T21" fmla="*/ 148482354 h 207"/>
                <a:gd name="T22" fmla="*/ 99098321 w 246"/>
                <a:gd name="T23" fmla="*/ 140937526 h 207"/>
                <a:gd name="T24" fmla="*/ 102021270 w 246"/>
                <a:gd name="T25" fmla="*/ 126221985 h 207"/>
                <a:gd name="T26" fmla="*/ 108717638 w 246"/>
                <a:gd name="T27" fmla="*/ 119520107 h 207"/>
                <a:gd name="T28" fmla="*/ 88859573 w 246"/>
                <a:gd name="T29" fmla="*/ 137331608 h 207"/>
                <a:gd name="T30" fmla="*/ 76958598 w 246"/>
                <a:gd name="T31" fmla="*/ 149694582 h 207"/>
                <a:gd name="T32" fmla="*/ 72292348 w 246"/>
                <a:gd name="T33" fmla="*/ 158966473 h 207"/>
                <a:gd name="T34" fmla="*/ 53554035 w 246"/>
                <a:gd name="T35" fmla="*/ 171251586 h 207"/>
                <a:gd name="T36" fmla="*/ 36498968 w 246"/>
                <a:gd name="T37" fmla="*/ 177655320 h 207"/>
                <a:gd name="T38" fmla="*/ 25391800 w 246"/>
                <a:gd name="T39" fmla="*/ 186455088 h 207"/>
                <a:gd name="T40" fmla="*/ 11080314 w 246"/>
                <a:gd name="T41" fmla="*/ 186455088 h 207"/>
                <a:gd name="T42" fmla="*/ 0 w 246"/>
                <a:gd name="T43" fmla="*/ 191158709 h 207"/>
                <a:gd name="T44" fmla="*/ 17139434 w 246"/>
                <a:gd name="T45" fmla="*/ 183575403 h 207"/>
                <a:gd name="T46" fmla="*/ 36498968 w 246"/>
                <a:gd name="T47" fmla="*/ 173242585 h 207"/>
                <a:gd name="T48" fmla="*/ 55124416 w 246"/>
                <a:gd name="T49" fmla="*/ 151319026 h 207"/>
                <a:gd name="T50" fmla="*/ 46873425 w 246"/>
                <a:gd name="T51" fmla="*/ 151319026 h 207"/>
                <a:gd name="T52" fmla="*/ 36498968 w 246"/>
                <a:gd name="T53" fmla="*/ 149694582 h 207"/>
                <a:gd name="T54" fmla="*/ 21476806 w 246"/>
                <a:gd name="T55" fmla="*/ 151319026 h 207"/>
                <a:gd name="T56" fmla="*/ 23340125 w 246"/>
                <a:gd name="T57" fmla="*/ 135352250 h 207"/>
                <a:gd name="T58" fmla="*/ 7522174 w 246"/>
                <a:gd name="T59" fmla="*/ 132651345 h 207"/>
                <a:gd name="T60" fmla="*/ 17139434 w 246"/>
                <a:gd name="T61" fmla="*/ 127791244 h 207"/>
                <a:gd name="T62" fmla="*/ 7522174 w 246"/>
                <a:gd name="T63" fmla="*/ 122233258 h 207"/>
                <a:gd name="T64" fmla="*/ 17139434 w 246"/>
                <a:gd name="T65" fmla="*/ 108372006 h 207"/>
                <a:gd name="T66" fmla="*/ 26169358 w 246"/>
                <a:gd name="T67" fmla="*/ 99612909 h 207"/>
                <a:gd name="T68" fmla="*/ 48886953 w 246"/>
                <a:gd name="T69" fmla="*/ 90343021 h 207"/>
                <a:gd name="T70" fmla="*/ 37294778 w 246"/>
                <a:gd name="T71" fmla="*/ 84757745 h 207"/>
                <a:gd name="T72" fmla="*/ 17765781 w 246"/>
                <a:gd name="T73" fmla="*/ 84757745 h 207"/>
                <a:gd name="T74" fmla="*/ 19846587 w 246"/>
                <a:gd name="T75" fmla="*/ 74479299 h 207"/>
                <a:gd name="T76" fmla="*/ 18645924 w 246"/>
                <a:gd name="T77" fmla="*/ 65715590 h 207"/>
                <a:gd name="T78" fmla="*/ 39334455 w 246"/>
                <a:gd name="T79" fmla="*/ 62854501 h 207"/>
                <a:gd name="T80" fmla="*/ 54434169 w 246"/>
                <a:gd name="T81" fmla="*/ 62215277 h 207"/>
                <a:gd name="T82" fmla="*/ 61806462 w 246"/>
                <a:gd name="T83" fmla="*/ 62854501 h 207"/>
                <a:gd name="T84" fmla="*/ 56270998 w 246"/>
                <a:gd name="T85" fmla="*/ 56450691 h 207"/>
                <a:gd name="T86" fmla="*/ 32957571 w 246"/>
                <a:gd name="T87" fmla="*/ 37399758 h 207"/>
                <a:gd name="T88" fmla="*/ 47531815 w 246"/>
                <a:gd name="T89" fmla="*/ 30325579 h 207"/>
                <a:gd name="T90" fmla="*/ 61806462 w 246"/>
                <a:gd name="T91" fmla="*/ 22769279 h 207"/>
                <a:gd name="T92" fmla="*/ 74916842 w 246"/>
                <a:gd name="T93" fmla="*/ 12259973 h 207"/>
                <a:gd name="T94" fmla="*/ 87353168 w 246"/>
                <a:gd name="T95" fmla="*/ 11148597 h 207"/>
                <a:gd name="T96" fmla="*/ 106001922 w 246"/>
                <a:gd name="T97" fmla="*/ 4719344 h 207"/>
                <a:gd name="T98" fmla="*/ 119160746 w 246"/>
                <a:gd name="T99" fmla="*/ 10267159 h 207"/>
                <a:gd name="T100" fmla="*/ 124647804 w 246"/>
                <a:gd name="T101" fmla="*/ 8426982 h 207"/>
                <a:gd name="T102" fmla="*/ 138958652 w 246"/>
                <a:gd name="T103" fmla="*/ 8426982 h 207"/>
                <a:gd name="T104" fmla="*/ 149195435 w 246"/>
                <a:gd name="T105" fmla="*/ 12259973 h 207"/>
                <a:gd name="T106" fmla="*/ 168685401 w 246"/>
                <a:gd name="T107" fmla="*/ 15188076 h 207"/>
                <a:gd name="T108" fmla="*/ 186554122 w 246"/>
                <a:gd name="T109" fmla="*/ 17182836 h 207"/>
                <a:gd name="T110" fmla="*/ 208031807 w 246"/>
                <a:gd name="T111" fmla="*/ 20750990 h 207"/>
                <a:gd name="T112" fmla="*/ 176937677 w 246"/>
                <a:gd name="T113" fmla="*/ 133354522 h 207"/>
                <a:gd name="T114" fmla="*/ 189385094 w 246"/>
                <a:gd name="T115" fmla="*/ 147636304 h 207"/>
                <a:gd name="T116" fmla="*/ 205164559 w 246"/>
                <a:gd name="T117" fmla="*/ 140206152 h 207"/>
                <a:gd name="T118" fmla="*/ 219409201 w 246"/>
                <a:gd name="T119" fmla="*/ 164551674 h 207"/>
                <a:gd name="T120" fmla="*/ 228514593 w 246"/>
                <a:gd name="T121" fmla="*/ 189919266 h 20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46"/>
                <a:gd name="T184" fmla="*/ 0 h 207"/>
                <a:gd name="T185" fmla="*/ 246 w 246"/>
                <a:gd name="T186" fmla="*/ 207 h 20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46" h="207">
                  <a:moveTo>
                    <a:pt x="243" y="204"/>
                  </a:moveTo>
                  <a:cubicBezTo>
                    <a:pt x="243" y="204"/>
                    <a:pt x="242" y="204"/>
                    <a:pt x="242" y="204"/>
                  </a:cubicBezTo>
                  <a:cubicBezTo>
                    <a:pt x="241" y="204"/>
                    <a:pt x="241" y="205"/>
                    <a:pt x="240" y="206"/>
                  </a:cubicBezTo>
                  <a:cubicBezTo>
                    <a:pt x="240" y="206"/>
                    <a:pt x="239" y="207"/>
                    <a:pt x="238" y="207"/>
                  </a:cubicBezTo>
                  <a:cubicBezTo>
                    <a:pt x="238" y="207"/>
                    <a:pt x="237" y="207"/>
                    <a:pt x="237" y="207"/>
                  </a:cubicBezTo>
                  <a:cubicBezTo>
                    <a:pt x="236" y="205"/>
                    <a:pt x="237" y="204"/>
                    <a:pt x="236" y="202"/>
                  </a:cubicBezTo>
                  <a:cubicBezTo>
                    <a:pt x="236" y="201"/>
                    <a:pt x="234" y="202"/>
                    <a:pt x="233" y="200"/>
                  </a:cubicBezTo>
                  <a:cubicBezTo>
                    <a:pt x="232" y="199"/>
                    <a:pt x="233" y="198"/>
                    <a:pt x="233" y="196"/>
                  </a:cubicBezTo>
                  <a:cubicBezTo>
                    <a:pt x="233" y="196"/>
                    <a:pt x="232" y="196"/>
                    <a:pt x="232" y="196"/>
                  </a:cubicBezTo>
                  <a:cubicBezTo>
                    <a:pt x="231" y="197"/>
                    <a:pt x="230" y="198"/>
                    <a:pt x="229" y="197"/>
                  </a:cubicBezTo>
                  <a:cubicBezTo>
                    <a:pt x="228" y="196"/>
                    <a:pt x="231" y="195"/>
                    <a:pt x="231" y="194"/>
                  </a:cubicBezTo>
                  <a:cubicBezTo>
                    <a:pt x="231" y="191"/>
                    <a:pt x="230" y="188"/>
                    <a:pt x="229" y="184"/>
                  </a:cubicBezTo>
                  <a:cubicBezTo>
                    <a:pt x="228" y="183"/>
                    <a:pt x="227" y="183"/>
                    <a:pt x="226" y="182"/>
                  </a:cubicBezTo>
                  <a:cubicBezTo>
                    <a:pt x="225" y="181"/>
                    <a:pt x="226" y="180"/>
                    <a:pt x="225" y="180"/>
                  </a:cubicBezTo>
                  <a:cubicBezTo>
                    <a:pt x="225" y="179"/>
                    <a:pt x="224" y="178"/>
                    <a:pt x="224" y="177"/>
                  </a:cubicBezTo>
                  <a:cubicBezTo>
                    <a:pt x="224" y="176"/>
                    <a:pt x="225" y="176"/>
                    <a:pt x="225" y="176"/>
                  </a:cubicBezTo>
                  <a:cubicBezTo>
                    <a:pt x="226" y="175"/>
                    <a:pt x="226" y="174"/>
                    <a:pt x="225" y="173"/>
                  </a:cubicBezTo>
                  <a:cubicBezTo>
                    <a:pt x="225" y="172"/>
                    <a:pt x="224" y="172"/>
                    <a:pt x="223" y="171"/>
                  </a:cubicBezTo>
                  <a:cubicBezTo>
                    <a:pt x="222" y="171"/>
                    <a:pt x="222" y="170"/>
                    <a:pt x="221" y="170"/>
                  </a:cubicBezTo>
                  <a:cubicBezTo>
                    <a:pt x="218" y="167"/>
                    <a:pt x="219" y="162"/>
                    <a:pt x="218" y="158"/>
                  </a:cubicBezTo>
                  <a:cubicBezTo>
                    <a:pt x="218" y="158"/>
                    <a:pt x="218" y="158"/>
                    <a:pt x="218" y="158"/>
                  </a:cubicBezTo>
                  <a:cubicBezTo>
                    <a:pt x="217" y="162"/>
                    <a:pt x="218" y="165"/>
                    <a:pt x="217" y="169"/>
                  </a:cubicBezTo>
                  <a:cubicBezTo>
                    <a:pt x="216" y="169"/>
                    <a:pt x="214" y="169"/>
                    <a:pt x="213" y="168"/>
                  </a:cubicBezTo>
                  <a:cubicBezTo>
                    <a:pt x="213" y="167"/>
                    <a:pt x="213" y="166"/>
                    <a:pt x="212" y="165"/>
                  </a:cubicBezTo>
                  <a:cubicBezTo>
                    <a:pt x="212" y="164"/>
                    <a:pt x="210" y="163"/>
                    <a:pt x="209" y="162"/>
                  </a:cubicBezTo>
                  <a:cubicBezTo>
                    <a:pt x="209" y="162"/>
                    <a:pt x="208" y="162"/>
                    <a:pt x="207" y="162"/>
                  </a:cubicBezTo>
                  <a:cubicBezTo>
                    <a:pt x="207" y="163"/>
                    <a:pt x="208" y="164"/>
                    <a:pt x="209" y="165"/>
                  </a:cubicBezTo>
                  <a:cubicBezTo>
                    <a:pt x="210" y="168"/>
                    <a:pt x="206" y="168"/>
                    <a:pt x="204" y="167"/>
                  </a:cubicBezTo>
                  <a:cubicBezTo>
                    <a:pt x="202" y="167"/>
                    <a:pt x="200" y="166"/>
                    <a:pt x="199" y="165"/>
                  </a:cubicBezTo>
                  <a:cubicBezTo>
                    <a:pt x="197" y="163"/>
                    <a:pt x="196" y="161"/>
                    <a:pt x="194" y="159"/>
                  </a:cubicBezTo>
                  <a:cubicBezTo>
                    <a:pt x="193" y="158"/>
                    <a:pt x="192" y="158"/>
                    <a:pt x="191" y="158"/>
                  </a:cubicBezTo>
                  <a:cubicBezTo>
                    <a:pt x="190" y="158"/>
                    <a:pt x="190" y="157"/>
                    <a:pt x="189" y="157"/>
                  </a:cubicBezTo>
                  <a:cubicBezTo>
                    <a:pt x="188" y="156"/>
                    <a:pt x="187" y="157"/>
                    <a:pt x="186" y="156"/>
                  </a:cubicBezTo>
                  <a:cubicBezTo>
                    <a:pt x="186" y="156"/>
                    <a:pt x="186" y="155"/>
                    <a:pt x="186" y="154"/>
                  </a:cubicBezTo>
                  <a:cubicBezTo>
                    <a:pt x="188" y="153"/>
                    <a:pt x="188" y="151"/>
                    <a:pt x="189" y="150"/>
                  </a:cubicBezTo>
                  <a:cubicBezTo>
                    <a:pt x="190" y="149"/>
                    <a:pt x="190" y="148"/>
                    <a:pt x="189" y="148"/>
                  </a:cubicBezTo>
                  <a:cubicBezTo>
                    <a:pt x="188" y="147"/>
                    <a:pt x="187" y="149"/>
                    <a:pt x="186" y="149"/>
                  </a:cubicBezTo>
                  <a:cubicBezTo>
                    <a:pt x="185" y="150"/>
                    <a:pt x="182" y="151"/>
                    <a:pt x="181" y="150"/>
                  </a:cubicBezTo>
                  <a:cubicBezTo>
                    <a:pt x="178" y="149"/>
                    <a:pt x="176" y="148"/>
                    <a:pt x="174" y="147"/>
                  </a:cubicBezTo>
                  <a:cubicBezTo>
                    <a:pt x="172" y="146"/>
                    <a:pt x="171" y="145"/>
                    <a:pt x="169" y="145"/>
                  </a:cubicBezTo>
                  <a:cubicBezTo>
                    <a:pt x="165" y="144"/>
                    <a:pt x="161" y="146"/>
                    <a:pt x="157" y="146"/>
                  </a:cubicBezTo>
                  <a:cubicBezTo>
                    <a:pt x="155" y="145"/>
                    <a:pt x="154" y="145"/>
                    <a:pt x="154" y="144"/>
                  </a:cubicBezTo>
                  <a:cubicBezTo>
                    <a:pt x="153" y="143"/>
                    <a:pt x="153" y="142"/>
                    <a:pt x="154" y="142"/>
                  </a:cubicBezTo>
                  <a:cubicBezTo>
                    <a:pt x="154" y="141"/>
                    <a:pt x="154" y="140"/>
                    <a:pt x="154" y="139"/>
                  </a:cubicBezTo>
                  <a:cubicBezTo>
                    <a:pt x="153" y="139"/>
                    <a:pt x="152" y="140"/>
                    <a:pt x="152" y="140"/>
                  </a:cubicBezTo>
                  <a:cubicBezTo>
                    <a:pt x="151" y="140"/>
                    <a:pt x="151" y="140"/>
                    <a:pt x="150" y="140"/>
                  </a:cubicBezTo>
                  <a:cubicBezTo>
                    <a:pt x="150" y="140"/>
                    <a:pt x="149" y="139"/>
                    <a:pt x="149" y="139"/>
                  </a:cubicBezTo>
                  <a:cubicBezTo>
                    <a:pt x="148" y="138"/>
                    <a:pt x="146" y="138"/>
                    <a:pt x="146" y="136"/>
                  </a:cubicBezTo>
                  <a:cubicBezTo>
                    <a:pt x="146" y="136"/>
                    <a:pt x="144" y="135"/>
                    <a:pt x="144" y="135"/>
                  </a:cubicBezTo>
                  <a:cubicBezTo>
                    <a:pt x="143" y="135"/>
                    <a:pt x="143" y="135"/>
                    <a:pt x="143" y="135"/>
                  </a:cubicBezTo>
                  <a:cubicBezTo>
                    <a:pt x="142" y="134"/>
                    <a:pt x="143" y="133"/>
                    <a:pt x="144" y="132"/>
                  </a:cubicBezTo>
                  <a:cubicBezTo>
                    <a:pt x="144" y="132"/>
                    <a:pt x="144" y="131"/>
                    <a:pt x="144" y="131"/>
                  </a:cubicBezTo>
                  <a:cubicBezTo>
                    <a:pt x="141" y="131"/>
                    <a:pt x="138" y="131"/>
                    <a:pt x="135" y="132"/>
                  </a:cubicBezTo>
                  <a:cubicBezTo>
                    <a:pt x="135" y="132"/>
                    <a:pt x="134" y="132"/>
                    <a:pt x="133" y="133"/>
                  </a:cubicBezTo>
                  <a:cubicBezTo>
                    <a:pt x="133" y="133"/>
                    <a:pt x="131" y="132"/>
                    <a:pt x="131" y="133"/>
                  </a:cubicBezTo>
                  <a:cubicBezTo>
                    <a:pt x="130" y="133"/>
                    <a:pt x="130" y="135"/>
                    <a:pt x="131" y="136"/>
                  </a:cubicBezTo>
                  <a:cubicBezTo>
                    <a:pt x="131" y="137"/>
                    <a:pt x="131" y="137"/>
                    <a:pt x="131" y="137"/>
                  </a:cubicBezTo>
                  <a:cubicBezTo>
                    <a:pt x="132" y="138"/>
                    <a:pt x="132" y="139"/>
                    <a:pt x="131" y="140"/>
                  </a:cubicBezTo>
                  <a:cubicBezTo>
                    <a:pt x="130" y="142"/>
                    <a:pt x="128" y="145"/>
                    <a:pt x="127" y="147"/>
                  </a:cubicBezTo>
                  <a:cubicBezTo>
                    <a:pt x="126" y="148"/>
                    <a:pt x="123" y="147"/>
                    <a:pt x="122" y="146"/>
                  </a:cubicBezTo>
                  <a:cubicBezTo>
                    <a:pt x="121" y="146"/>
                    <a:pt x="120" y="146"/>
                    <a:pt x="119" y="147"/>
                  </a:cubicBezTo>
                  <a:cubicBezTo>
                    <a:pt x="118" y="147"/>
                    <a:pt x="118" y="148"/>
                    <a:pt x="117" y="149"/>
                  </a:cubicBezTo>
                  <a:cubicBezTo>
                    <a:pt x="116" y="149"/>
                    <a:pt x="115" y="149"/>
                    <a:pt x="115" y="149"/>
                  </a:cubicBezTo>
                  <a:cubicBezTo>
                    <a:pt x="113" y="150"/>
                    <a:pt x="113" y="152"/>
                    <a:pt x="111" y="153"/>
                  </a:cubicBezTo>
                  <a:cubicBezTo>
                    <a:pt x="111" y="154"/>
                    <a:pt x="109" y="153"/>
                    <a:pt x="108" y="154"/>
                  </a:cubicBezTo>
                  <a:cubicBezTo>
                    <a:pt x="107" y="155"/>
                    <a:pt x="106" y="157"/>
                    <a:pt x="104" y="158"/>
                  </a:cubicBezTo>
                  <a:cubicBezTo>
                    <a:pt x="104" y="159"/>
                    <a:pt x="102" y="158"/>
                    <a:pt x="101" y="158"/>
                  </a:cubicBezTo>
                  <a:cubicBezTo>
                    <a:pt x="100" y="157"/>
                    <a:pt x="98" y="158"/>
                    <a:pt x="97" y="157"/>
                  </a:cubicBezTo>
                  <a:cubicBezTo>
                    <a:pt x="96" y="156"/>
                    <a:pt x="97" y="155"/>
                    <a:pt x="99" y="154"/>
                  </a:cubicBezTo>
                  <a:cubicBezTo>
                    <a:pt x="100" y="154"/>
                    <a:pt x="102" y="153"/>
                    <a:pt x="104" y="152"/>
                  </a:cubicBezTo>
                  <a:cubicBezTo>
                    <a:pt x="104" y="151"/>
                    <a:pt x="105" y="151"/>
                    <a:pt x="106" y="151"/>
                  </a:cubicBezTo>
                  <a:cubicBezTo>
                    <a:pt x="106" y="151"/>
                    <a:pt x="106" y="150"/>
                    <a:pt x="106" y="150"/>
                  </a:cubicBezTo>
                  <a:cubicBezTo>
                    <a:pt x="104" y="149"/>
                    <a:pt x="101" y="151"/>
                    <a:pt x="100" y="149"/>
                  </a:cubicBezTo>
                  <a:cubicBezTo>
                    <a:pt x="100" y="148"/>
                    <a:pt x="100" y="148"/>
                    <a:pt x="100" y="147"/>
                  </a:cubicBezTo>
                  <a:cubicBezTo>
                    <a:pt x="102" y="145"/>
                    <a:pt x="103" y="143"/>
                    <a:pt x="105" y="142"/>
                  </a:cubicBezTo>
                  <a:cubicBezTo>
                    <a:pt x="106" y="141"/>
                    <a:pt x="107" y="141"/>
                    <a:pt x="107" y="140"/>
                  </a:cubicBezTo>
                  <a:cubicBezTo>
                    <a:pt x="108" y="138"/>
                    <a:pt x="108" y="137"/>
                    <a:pt x="108" y="135"/>
                  </a:cubicBezTo>
                  <a:cubicBezTo>
                    <a:pt x="108" y="135"/>
                    <a:pt x="109" y="134"/>
                    <a:pt x="109" y="134"/>
                  </a:cubicBezTo>
                  <a:cubicBezTo>
                    <a:pt x="110" y="134"/>
                    <a:pt x="111" y="134"/>
                    <a:pt x="113" y="133"/>
                  </a:cubicBezTo>
                  <a:cubicBezTo>
                    <a:pt x="114" y="132"/>
                    <a:pt x="114" y="131"/>
                    <a:pt x="115" y="131"/>
                  </a:cubicBezTo>
                  <a:cubicBezTo>
                    <a:pt x="116" y="131"/>
                    <a:pt x="117" y="131"/>
                    <a:pt x="118" y="131"/>
                  </a:cubicBezTo>
                  <a:cubicBezTo>
                    <a:pt x="119" y="132"/>
                    <a:pt x="120" y="132"/>
                    <a:pt x="121" y="131"/>
                  </a:cubicBezTo>
                  <a:cubicBezTo>
                    <a:pt x="123" y="131"/>
                    <a:pt x="123" y="128"/>
                    <a:pt x="122" y="127"/>
                  </a:cubicBezTo>
                  <a:cubicBezTo>
                    <a:pt x="120" y="127"/>
                    <a:pt x="118" y="127"/>
                    <a:pt x="116" y="127"/>
                  </a:cubicBezTo>
                  <a:cubicBezTo>
                    <a:pt x="114" y="128"/>
                    <a:pt x="112" y="129"/>
                    <a:pt x="110" y="130"/>
                  </a:cubicBezTo>
                  <a:cubicBezTo>
                    <a:pt x="110" y="131"/>
                    <a:pt x="109" y="131"/>
                    <a:pt x="109" y="131"/>
                  </a:cubicBezTo>
                  <a:cubicBezTo>
                    <a:pt x="108" y="133"/>
                    <a:pt x="105" y="134"/>
                    <a:pt x="103" y="136"/>
                  </a:cubicBezTo>
                  <a:cubicBezTo>
                    <a:pt x="102" y="136"/>
                    <a:pt x="101" y="137"/>
                    <a:pt x="101" y="138"/>
                  </a:cubicBezTo>
                  <a:cubicBezTo>
                    <a:pt x="100" y="139"/>
                    <a:pt x="100" y="140"/>
                    <a:pt x="99" y="141"/>
                  </a:cubicBezTo>
                  <a:cubicBezTo>
                    <a:pt x="97" y="142"/>
                    <a:pt x="95" y="143"/>
                    <a:pt x="95" y="146"/>
                  </a:cubicBezTo>
                  <a:cubicBezTo>
                    <a:pt x="95" y="146"/>
                    <a:pt x="94" y="147"/>
                    <a:pt x="94" y="147"/>
                  </a:cubicBezTo>
                  <a:cubicBezTo>
                    <a:pt x="94" y="148"/>
                    <a:pt x="93" y="148"/>
                    <a:pt x="93" y="149"/>
                  </a:cubicBezTo>
                  <a:cubicBezTo>
                    <a:pt x="91" y="151"/>
                    <a:pt x="87" y="151"/>
                    <a:pt x="85" y="153"/>
                  </a:cubicBezTo>
                  <a:cubicBezTo>
                    <a:pt x="84" y="154"/>
                    <a:pt x="84" y="155"/>
                    <a:pt x="84" y="155"/>
                  </a:cubicBezTo>
                  <a:cubicBezTo>
                    <a:pt x="83" y="156"/>
                    <a:pt x="82" y="156"/>
                    <a:pt x="82" y="157"/>
                  </a:cubicBezTo>
                  <a:cubicBezTo>
                    <a:pt x="82" y="157"/>
                    <a:pt x="81" y="158"/>
                    <a:pt x="82" y="159"/>
                  </a:cubicBezTo>
                  <a:cubicBezTo>
                    <a:pt x="82" y="160"/>
                    <a:pt x="83" y="160"/>
                    <a:pt x="84" y="160"/>
                  </a:cubicBezTo>
                  <a:cubicBezTo>
                    <a:pt x="85" y="161"/>
                    <a:pt x="85" y="161"/>
                    <a:pt x="86" y="162"/>
                  </a:cubicBezTo>
                  <a:cubicBezTo>
                    <a:pt x="86" y="162"/>
                    <a:pt x="86" y="162"/>
                    <a:pt x="86" y="163"/>
                  </a:cubicBezTo>
                  <a:cubicBezTo>
                    <a:pt x="86" y="163"/>
                    <a:pt x="85" y="163"/>
                    <a:pt x="85" y="164"/>
                  </a:cubicBezTo>
                  <a:cubicBezTo>
                    <a:pt x="82" y="165"/>
                    <a:pt x="79" y="164"/>
                    <a:pt x="77" y="167"/>
                  </a:cubicBezTo>
                  <a:cubicBezTo>
                    <a:pt x="76" y="167"/>
                    <a:pt x="77" y="168"/>
                    <a:pt x="77" y="169"/>
                  </a:cubicBezTo>
                  <a:cubicBezTo>
                    <a:pt x="76" y="170"/>
                    <a:pt x="74" y="171"/>
                    <a:pt x="73" y="171"/>
                  </a:cubicBezTo>
                  <a:cubicBezTo>
                    <a:pt x="72" y="171"/>
                    <a:pt x="71" y="172"/>
                    <a:pt x="70" y="173"/>
                  </a:cubicBezTo>
                  <a:cubicBezTo>
                    <a:pt x="69" y="173"/>
                    <a:pt x="68" y="174"/>
                    <a:pt x="67" y="174"/>
                  </a:cubicBezTo>
                  <a:cubicBezTo>
                    <a:pt x="66" y="174"/>
                    <a:pt x="66" y="175"/>
                    <a:pt x="66" y="175"/>
                  </a:cubicBezTo>
                  <a:cubicBezTo>
                    <a:pt x="63" y="177"/>
                    <a:pt x="59" y="176"/>
                    <a:pt x="57" y="179"/>
                  </a:cubicBezTo>
                  <a:cubicBezTo>
                    <a:pt x="57" y="179"/>
                    <a:pt x="57" y="181"/>
                    <a:pt x="57" y="182"/>
                  </a:cubicBezTo>
                  <a:cubicBezTo>
                    <a:pt x="56" y="183"/>
                    <a:pt x="54" y="183"/>
                    <a:pt x="53" y="184"/>
                  </a:cubicBezTo>
                  <a:cubicBezTo>
                    <a:pt x="52" y="184"/>
                    <a:pt x="52" y="185"/>
                    <a:pt x="51" y="186"/>
                  </a:cubicBezTo>
                  <a:cubicBezTo>
                    <a:pt x="50" y="186"/>
                    <a:pt x="48" y="186"/>
                    <a:pt x="47" y="186"/>
                  </a:cubicBezTo>
                  <a:cubicBezTo>
                    <a:pt x="47" y="186"/>
                    <a:pt x="47" y="187"/>
                    <a:pt x="46" y="187"/>
                  </a:cubicBezTo>
                  <a:cubicBezTo>
                    <a:pt x="45" y="188"/>
                    <a:pt x="43" y="188"/>
                    <a:pt x="42" y="189"/>
                  </a:cubicBezTo>
                  <a:cubicBezTo>
                    <a:pt x="41" y="189"/>
                    <a:pt x="40" y="188"/>
                    <a:pt x="39" y="189"/>
                  </a:cubicBezTo>
                  <a:cubicBezTo>
                    <a:pt x="39" y="189"/>
                    <a:pt x="39" y="189"/>
                    <a:pt x="39" y="189"/>
                  </a:cubicBezTo>
                  <a:cubicBezTo>
                    <a:pt x="40" y="190"/>
                    <a:pt x="40" y="190"/>
                    <a:pt x="40" y="191"/>
                  </a:cubicBezTo>
                  <a:cubicBezTo>
                    <a:pt x="39" y="192"/>
                    <a:pt x="38" y="193"/>
                    <a:pt x="37" y="193"/>
                  </a:cubicBezTo>
                  <a:cubicBezTo>
                    <a:pt x="36" y="195"/>
                    <a:pt x="33" y="194"/>
                    <a:pt x="32" y="195"/>
                  </a:cubicBezTo>
                  <a:cubicBezTo>
                    <a:pt x="30" y="195"/>
                    <a:pt x="30" y="197"/>
                    <a:pt x="30" y="198"/>
                  </a:cubicBezTo>
                  <a:cubicBezTo>
                    <a:pt x="29" y="198"/>
                    <a:pt x="28" y="198"/>
                    <a:pt x="27" y="198"/>
                  </a:cubicBezTo>
                  <a:cubicBezTo>
                    <a:pt x="27" y="197"/>
                    <a:pt x="28" y="197"/>
                    <a:pt x="27" y="197"/>
                  </a:cubicBezTo>
                  <a:cubicBezTo>
                    <a:pt x="26" y="196"/>
                    <a:pt x="25" y="196"/>
                    <a:pt x="25" y="197"/>
                  </a:cubicBezTo>
                  <a:cubicBezTo>
                    <a:pt x="24" y="198"/>
                    <a:pt x="23" y="199"/>
                    <a:pt x="22" y="199"/>
                  </a:cubicBezTo>
                  <a:cubicBezTo>
                    <a:pt x="20" y="199"/>
                    <a:pt x="19" y="200"/>
                    <a:pt x="18" y="200"/>
                  </a:cubicBezTo>
                  <a:cubicBezTo>
                    <a:pt x="16" y="201"/>
                    <a:pt x="14" y="200"/>
                    <a:pt x="14" y="198"/>
                  </a:cubicBezTo>
                  <a:cubicBezTo>
                    <a:pt x="14" y="198"/>
                    <a:pt x="13" y="198"/>
                    <a:pt x="12" y="198"/>
                  </a:cubicBezTo>
                  <a:cubicBezTo>
                    <a:pt x="11" y="198"/>
                    <a:pt x="11" y="199"/>
                    <a:pt x="11" y="200"/>
                  </a:cubicBezTo>
                  <a:cubicBezTo>
                    <a:pt x="10" y="201"/>
                    <a:pt x="10" y="202"/>
                    <a:pt x="9" y="202"/>
                  </a:cubicBezTo>
                  <a:cubicBezTo>
                    <a:pt x="8" y="203"/>
                    <a:pt x="7" y="203"/>
                    <a:pt x="6" y="202"/>
                  </a:cubicBezTo>
                  <a:cubicBezTo>
                    <a:pt x="5" y="202"/>
                    <a:pt x="4" y="202"/>
                    <a:pt x="3" y="202"/>
                  </a:cubicBezTo>
                  <a:cubicBezTo>
                    <a:pt x="3" y="203"/>
                    <a:pt x="2" y="203"/>
                    <a:pt x="2" y="203"/>
                  </a:cubicBezTo>
                  <a:cubicBezTo>
                    <a:pt x="1" y="204"/>
                    <a:pt x="0" y="203"/>
                    <a:pt x="0" y="203"/>
                  </a:cubicBezTo>
                  <a:cubicBezTo>
                    <a:pt x="0" y="202"/>
                    <a:pt x="0" y="201"/>
                    <a:pt x="1" y="201"/>
                  </a:cubicBezTo>
                  <a:cubicBezTo>
                    <a:pt x="2" y="200"/>
                    <a:pt x="3" y="200"/>
                    <a:pt x="4" y="199"/>
                  </a:cubicBezTo>
                  <a:cubicBezTo>
                    <a:pt x="5" y="198"/>
                    <a:pt x="6" y="198"/>
                    <a:pt x="7" y="197"/>
                  </a:cubicBezTo>
                  <a:cubicBezTo>
                    <a:pt x="7" y="197"/>
                    <a:pt x="8" y="196"/>
                    <a:pt x="8" y="196"/>
                  </a:cubicBezTo>
                  <a:cubicBezTo>
                    <a:pt x="10" y="195"/>
                    <a:pt x="11" y="195"/>
                    <a:pt x="13" y="194"/>
                  </a:cubicBezTo>
                  <a:cubicBezTo>
                    <a:pt x="15" y="194"/>
                    <a:pt x="16" y="194"/>
                    <a:pt x="18" y="195"/>
                  </a:cubicBezTo>
                  <a:cubicBezTo>
                    <a:pt x="18" y="195"/>
                    <a:pt x="19" y="196"/>
                    <a:pt x="19" y="196"/>
                  </a:cubicBezTo>
                  <a:cubicBezTo>
                    <a:pt x="21" y="196"/>
                    <a:pt x="22" y="196"/>
                    <a:pt x="23" y="195"/>
                  </a:cubicBezTo>
                  <a:cubicBezTo>
                    <a:pt x="24" y="193"/>
                    <a:pt x="24" y="192"/>
                    <a:pt x="24" y="191"/>
                  </a:cubicBezTo>
                  <a:cubicBezTo>
                    <a:pt x="26" y="189"/>
                    <a:pt x="27" y="188"/>
                    <a:pt x="29" y="188"/>
                  </a:cubicBezTo>
                  <a:cubicBezTo>
                    <a:pt x="31" y="186"/>
                    <a:pt x="34" y="184"/>
                    <a:pt x="37" y="185"/>
                  </a:cubicBezTo>
                  <a:cubicBezTo>
                    <a:pt x="38" y="185"/>
                    <a:pt x="39" y="184"/>
                    <a:pt x="39" y="184"/>
                  </a:cubicBezTo>
                  <a:cubicBezTo>
                    <a:pt x="41" y="182"/>
                    <a:pt x="42" y="180"/>
                    <a:pt x="44" y="178"/>
                  </a:cubicBezTo>
                  <a:cubicBezTo>
                    <a:pt x="47" y="178"/>
                    <a:pt x="49" y="176"/>
                    <a:pt x="49" y="173"/>
                  </a:cubicBezTo>
                  <a:cubicBezTo>
                    <a:pt x="49" y="172"/>
                    <a:pt x="51" y="172"/>
                    <a:pt x="52" y="171"/>
                  </a:cubicBezTo>
                  <a:cubicBezTo>
                    <a:pt x="52" y="170"/>
                    <a:pt x="52" y="168"/>
                    <a:pt x="52" y="167"/>
                  </a:cubicBezTo>
                  <a:cubicBezTo>
                    <a:pt x="53" y="166"/>
                    <a:pt x="53" y="165"/>
                    <a:pt x="55" y="164"/>
                  </a:cubicBezTo>
                  <a:cubicBezTo>
                    <a:pt x="56" y="163"/>
                    <a:pt x="57" y="162"/>
                    <a:pt x="59" y="161"/>
                  </a:cubicBezTo>
                  <a:cubicBezTo>
                    <a:pt x="59" y="160"/>
                    <a:pt x="59" y="160"/>
                    <a:pt x="59" y="160"/>
                  </a:cubicBezTo>
                  <a:cubicBezTo>
                    <a:pt x="58" y="160"/>
                    <a:pt x="57" y="160"/>
                    <a:pt x="56" y="160"/>
                  </a:cubicBezTo>
                  <a:cubicBezTo>
                    <a:pt x="54" y="161"/>
                    <a:pt x="53" y="162"/>
                    <a:pt x="51" y="163"/>
                  </a:cubicBezTo>
                  <a:cubicBezTo>
                    <a:pt x="50" y="163"/>
                    <a:pt x="50" y="163"/>
                    <a:pt x="50" y="163"/>
                  </a:cubicBezTo>
                  <a:cubicBezTo>
                    <a:pt x="49" y="164"/>
                    <a:pt x="47" y="163"/>
                    <a:pt x="48" y="162"/>
                  </a:cubicBezTo>
                  <a:cubicBezTo>
                    <a:pt x="48" y="162"/>
                    <a:pt x="49" y="161"/>
                    <a:pt x="50" y="161"/>
                  </a:cubicBezTo>
                  <a:cubicBezTo>
                    <a:pt x="50" y="160"/>
                    <a:pt x="50" y="160"/>
                    <a:pt x="50" y="160"/>
                  </a:cubicBezTo>
                  <a:cubicBezTo>
                    <a:pt x="49" y="159"/>
                    <a:pt x="48" y="159"/>
                    <a:pt x="48" y="160"/>
                  </a:cubicBezTo>
                  <a:cubicBezTo>
                    <a:pt x="45" y="161"/>
                    <a:pt x="45" y="164"/>
                    <a:pt x="44" y="167"/>
                  </a:cubicBezTo>
                  <a:cubicBezTo>
                    <a:pt x="44" y="167"/>
                    <a:pt x="43" y="167"/>
                    <a:pt x="42" y="166"/>
                  </a:cubicBezTo>
                  <a:cubicBezTo>
                    <a:pt x="41" y="165"/>
                    <a:pt x="41" y="163"/>
                    <a:pt x="40" y="161"/>
                  </a:cubicBezTo>
                  <a:cubicBezTo>
                    <a:pt x="39" y="160"/>
                    <a:pt x="39" y="160"/>
                    <a:pt x="39" y="159"/>
                  </a:cubicBezTo>
                  <a:cubicBezTo>
                    <a:pt x="38" y="159"/>
                    <a:pt x="38" y="159"/>
                    <a:pt x="37" y="159"/>
                  </a:cubicBezTo>
                  <a:cubicBezTo>
                    <a:pt x="37" y="159"/>
                    <a:pt x="36" y="160"/>
                    <a:pt x="36" y="160"/>
                  </a:cubicBezTo>
                  <a:cubicBezTo>
                    <a:pt x="35" y="161"/>
                    <a:pt x="34" y="159"/>
                    <a:pt x="33" y="160"/>
                  </a:cubicBezTo>
                  <a:cubicBezTo>
                    <a:pt x="29" y="161"/>
                    <a:pt x="27" y="163"/>
                    <a:pt x="24" y="164"/>
                  </a:cubicBezTo>
                  <a:cubicBezTo>
                    <a:pt x="23" y="165"/>
                    <a:pt x="21" y="165"/>
                    <a:pt x="21" y="164"/>
                  </a:cubicBezTo>
                  <a:cubicBezTo>
                    <a:pt x="20" y="163"/>
                    <a:pt x="22" y="162"/>
                    <a:pt x="23" y="161"/>
                  </a:cubicBezTo>
                  <a:cubicBezTo>
                    <a:pt x="23" y="159"/>
                    <a:pt x="22" y="157"/>
                    <a:pt x="23" y="156"/>
                  </a:cubicBezTo>
                  <a:cubicBezTo>
                    <a:pt x="24" y="154"/>
                    <a:pt x="26" y="154"/>
                    <a:pt x="26" y="153"/>
                  </a:cubicBezTo>
                  <a:cubicBezTo>
                    <a:pt x="27" y="151"/>
                    <a:pt x="27" y="150"/>
                    <a:pt x="26" y="148"/>
                  </a:cubicBezTo>
                  <a:cubicBezTo>
                    <a:pt x="26" y="148"/>
                    <a:pt x="26" y="147"/>
                    <a:pt x="26" y="146"/>
                  </a:cubicBezTo>
                  <a:cubicBezTo>
                    <a:pt x="26" y="145"/>
                    <a:pt x="26" y="145"/>
                    <a:pt x="26" y="144"/>
                  </a:cubicBezTo>
                  <a:cubicBezTo>
                    <a:pt x="26" y="144"/>
                    <a:pt x="25" y="144"/>
                    <a:pt x="25" y="144"/>
                  </a:cubicBezTo>
                  <a:cubicBezTo>
                    <a:pt x="24" y="145"/>
                    <a:pt x="24" y="145"/>
                    <a:pt x="23" y="146"/>
                  </a:cubicBezTo>
                  <a:cubicBezTo>
                    <a:pt x="21" y="147"/>
                    <a:pt x="20" y="148"/>
                    <a:pt x="18" y="149"/>
                  </a:cubicBezTo>
                  <a:cubicBezTo>
                    <a:pt x="16" y="149"/>
                    <a:pt x="14" y="149"/>
                    <a:pt x="12" y="148"/>
                  </a:cubicBezTo>
                  <a:cubicBezTo>
                    <a:pt x="12" y="147"/>
                    <a:pt x="12" y="147"/>
                    <a:pt x="12" y="146"/>
                  </a:cubicBezTo>
                  <a:cubicBezTo>
                    <a:pt x="12" y="145"/>
                    <a:pt x="11" y="145"/>
                    <a:pt x="11" y="144"/>
                  </a:cubicBezTo>
                  <a:cubicBezTo>
                    <a:pt x="10" y="143"/>
                    <a:pt x="9" y="142"/>
                    <a:pt x="8" y="141"/>
                  </a:cubicBezTo>
                  <a:cubicBezTo>
                    <a:pt x="8" y="141"/>
                    <a:pt x="7" y="141"/>
                    <a:pt x="7" y="141"/>
                  </a:cubicBezTo>
                  <a:cubicBezTo>
                    <a:pt x="6" y="141"/>
                    <a:pt x="6" y="139"/>
                    <a:pt x="6" y="138"/>
                  </a:cubicBezTo>
                  <a:cubicBezTo>
                    <a:pt x="7" y="136"/>
                    <a:pt x="8" y="134"/>
                    <a:pt x="9" y="134"/>
                  </a:cubicBezTo>
                  <a:cubicBezTo>
                    <a:pt x="10" y="133"/>
                    <a:pt x="11" y="133"/>
                    <a:pt x="11" y="134"/>
                  </a:cubicBezTo>
                  <a:cubicBezTo>
                    <a:pt x="13" y="135"/>
                    <a:pt x="15" y="135"/>
                    <a:pt x="17" y="136"/>
                  </a:cubicBezTo>
                  <a:cubicBezTo>
                    <a:pt x="17" y="136"/>
                    <a:pt x="18" y="136"/>
                    <a:pt x="18" y="136"/>
                  </a:cubicBezTo>
                  <a:cubicBezTo>
                    <a:pt x="18" y="136"/>
                    <a:pt x="19" y="136"/>
                    <a:pt x="20" y="136"/>
                  </a:cubicBezTo>
                  <a:cubicBezTo>
                    <a:pt x="20" y="135"/>
                    <a:pt x="20" y="134"/>
                    <a:pt x="19" y="134"/>
                  </a:cubicBezTo>
                  <a:cubicBezTo>
                    <a:pt x="19" y="133"/>
                    <a:pt x="19" y="133"/>
                    <a:pt x="18" y="133"/>
                  </a:cubicBezTo>
                  <a:cubicBezTo>
                    <a:pt x="16" y="133"/>
                    <a:pt x="14" y="133"/>
                    <a:pt x="12" y="132"/>
                  </a:cubicBezTo>
                  <a:cubicBezTo>
                    <a:pt x="11" y="132"/>
                    <a:pt x="11" y="131"/>
                    <a:pt x="10" y="130"/>
                  </a:cubicBezTo>
                  <a:cubicBezTo>
                    <a:pt x="10" y="130"/>
                    <a:pt x="9" y="130"/>
                    <a:pt x="8" y="130"/>
                  </a:cubicBezTo>
                  <a:cubicBezTo>
                    <a:pt x="8" y="130"/>
                    <a:pt x="8" y="131"/>
                    <a:pt x="8" y="131"/>
                  </a:cubicBezTo>
                  <a:cubicBezTo>
                    <a:pt x="7" y="131"/>
                    <a:pt x="6" y="131"/>
                    <a:pt x="6" y="130"/>
                  </a:cubicBezTo>
                  <a:cubicBezTo>
                    <a:pt x="6" y="128"/>
                    <a:pt x="6" y="126"/>
                    <a:pt x="7" y="123"/>
                  </a:cubicBezTo>
                  <a:cubicBezTo>
                    <a:pt x="7" y="122"/>
                    <a:pt x="9" y="122"/>
                    <a:pt x="10" y="121"/>
                  </a:cubicBezTo>
                  <a:cubicBezTo>
                    <a:pt x="11" y="119"/>
                    <a:pt x="11" y="118"/>
                    <a:pt x="12" y="117"/>
                  </a:cubicBezTo>
                  <a:cubicBezTo>
                    <a:pt x="14" y="116"/>
                    <a:pt x="16" y="116"/>
                    <a:pt x="18" y="115"/>
                  </a:cubicBezTo>
                  <a:cubicBezTo>
                    <a:pt x="18" y="114"/>
                    <a:pt x="18" y="114"/>
                    <a:pt x="18" y="113"/>
                  </a:cubicBezTo>
                  <a:cubicBezTo>
                    <a:pt x="19" y="112"/>
                    <a:pt x="19" y="111"/>
                    <a:pt x="20" y="110"/>
                  </a:cubicBezTo>
                  <a:cubicBezTo>
                    <a:pt x="21" y="110"/>
                    <a:pt x="21" y="109"/>
                    <a:pt x="22" y="107"/>
                  </a:cubicBezTo>
                  <a:cubicBezTo>
                    <a:pt x="23" y="107"/>
                    <a:pt x="23" y="107"/>
                    <a:pt x="23" y="107"/>
                  </a:cubicBezTo>
                  <a:cubicBezTo>
                    <a:pt x="23" y="106"/>
                    <a:pt x="24" y="106"/>
                    <a:pt x="24" y="106"/>
                  </a:cubicBezTo>
                  <a:cubicBezTo>
                    <a:pt x="25" y="106"/>
                    <a:pt x="27" y="106"/>
                    <a:pt x="28" y="106"/>
                  </a:cubicBezTo>
                  <a:cubicBezTo>
                    <a:pt x="29" y="106"/>
                    <a:pt x="29" y="106"/>
                    <a:pt x="30" y="107"/>
                  </a:cubicBezTo>
                  <a:cubicBezTo>
                    <a:pt x="32" y="107"/>
                    <a:pt x="34" y="107"/>
                    <a:pt x="36" y="107"/>
                  </a:cubicBezTo>
                  <a:cubicBezTo>
                    <a:pt x="38" y="106"/>
                    <a:pt x="40" y="104"/>
                    <a:pt x="41" y="103"/>
                  </a:cubicBezTo>
                  <a:cubicBezTo>
                    <a:pt x="44" y="103"/>
                    <a:pt x="46" y="103"/>
                    <a:pt x="49" y="103"/>
                  </a:cubicBezTo>
                  <a:cubicBezTo>
                    <a:pt x="50" y="102"/>
                    <a:pt x="52" y="101"/>
                    <a:pt x="52" y="100"/>
                  </a:cubicBezTo>
                  <a:cubicBezTo>
                    <a:pt x="53" y="99"/>
                    <a:pt x="53" y="97"/>
                    <a:pt x="52" y="96"/>
                  </a:cubicBezTo>
                  <a:cubicBezTo>
                    <a:pt x="51" y="95"/>
                    <a:pt x="51" y="95"/>
                    <a:pt x="50" y="94"/>
                  </a:cubicBezTo>
                  <a:cubicBezTo>
                    <a:pt x="50" y="93"/>
                    <a:pt x="50" y="93"/>
                    <a:pt x="50" y="92"/>
                  </a:cubicBezTo>
                  <a:cubicBezTo>
                    <a:pt x="52" y="91"/>
                    <a:pt x="55" y="91"/>
                    <a:pt x="57" y="89"/>
                  </a:cubicBezTo>
                  <a:cubicBezTo>
                    <a:pt x="57" y="89"/>
                    <a:pt x="57" y="88"/>
                    <a:pt x="57" y="87"/>
                  </a:cubicBezTo>
                  <a:cubicBezTo>
                    <a:pt x="51" y="86"/>
                    <a:pt x="47" y="90"/>
                    <a:pt x="42" y="93"/>
                  </a:cubicBezTo>
                  <a:cubicBezTo>
                    <a:pt x="41" y="94"/>
                    <a:pt x="41" y="92"/>
                    <a:pt x="40" y="90"/>
                  </a:cubicBezTo>
                  <a:cubicBezTo>
                    <a:pt x="39" y="90"/>
                    <a:pt x="37" y="91"/>
                    <a:pt x="36" y="91"/>
                  </a:cubicBezTo>
                  <a:cubicBezTo>
                    <a:pt x="35" y="91"/>
                    <a:pt x="35" y="90"/>
                    <a:pt x="35" y="90"/>
                  </a:cubicBezTo>
                  <a:cubicBezTo>
                    <a:pt x="33" y="90"/>
                    <a:pt x="31" y="90"/>
                    <a:pt x="29" y="91"/>
                  </a:cubicBezTo>
                  <a:cubicBezTo>
                    <a:pt x="26" y="91"/>
                    <a:pt x="23" y="91"/>
                    <a:pt x="21" y="91"/>
                  </a:cubicBezTo>
                  <a:cubicBezTo>
                    <a:pt x="20" y="91"/>
                    <a:pt x="19" y="90"/>
                    <a:pt x="18" y="90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18" y="89"/>
                    <a:pt x="18" y="88"/>
                    <a:pt x="18" y="88"/>
                  </a:cubicBezTo>
                  <a:cubicBezTo>
                    <a:pt x="18" y="86"/>
                    <a:pt x="18" y="85"/>
                    <a:pt x="18" y="83"/>
                  </a:cubicBezTo>
                  <a:cubicBezTo>
                    <a:pt x="17" y="83"/>
                    <a:pt x="17" y="83"/>
                    <a:pt x="16" y="82"/>
                  </a:cubicBezTo>
                  <a:cubicBezTo>
                    <a:pt x="16" y="82"/>
                    <a:pt x="16" y="81"/>
                    <a:pt x="17" y="81"/>
                  </a:cubicBezTo>
                  <a:cubicBezTo>
                    <a:pt x="18" y="80"/>
                    <a:pt x="20" y="81"/>
                    <a:pt x="21" y="80"/>
                  </a:cubicBezTo>
                  <a:cubicBezTo>
                    <a:pt x="21" y="80"/>
                    <a:pt x="21" y="80"/>
                    <a:pt x="21" y="79"/>
                  </a:cubicBezTo>
                  <a:cubicBezTo>
                    <a:pt x="20" y="78"/>
                    <a:pt x="18" y="78"/>
                    <a:pt x="16" y="78"/>
                  </a:cubicBezTo>
                  <a:cubicBezTo>
                    <a:pt x="15" y="77"/>
                    <a:pt x="14" y="77"/>
                    <a:pt x="12" y="76"/>
                  </a:cubicBezTo>
                  <a:cubicBezTo>
                    <a:pt x="12" y="76"/>
                    <a:pt x="11" y="76"/>
                    <a:pt x="11" y="76"/>
                  </a:cubicBezTo>
                  <a:cubicBezTo>
                    <a:pt x="11" y="75"/>
                    <a:pt x="11" y="75"/>
                    <a:pt x="11" y="74"/>
                  </a:cubicBezTo>
                  <a:cubicBezTo>
                    <a:pt x="12" y="73"/>
                    <a:pt x="13" y="73"/>
                    <a:pt x="14" y="72"/>
                  </a:cubicBezTo>
                  <a:cubicBezTo>
                    <a:pt x="16" y="72"/>
                    <a:pt x="18" y="71"/>
                    <a:pt x="20" y="70"/>
                  </a:cubicBezTo>
                  <a:cubicBezTo>
                    <a:pt x="23" y="69"/>
                    <a:pt x="25" y="70"/>
                    <a:pt x="28" y="70"/>
                  </a:cubicBezTo>
                  <a:cubicBezTo>
                    <a:pt x="29" y="69"/>
                    <a:pt x="29" y="68"/>
                    <a:pt x="30" y="67"/>
                  </a:cubicBezTo>
                  <a:cubicBezTo>
                    <a:pt x="31" y="66"/>
                    <a:pt x="33" y="65"/>
                    <a:pt x="35" y="65"/>
                  </a:cubicBezTo>
                  <a:cubicBezTo>
                    <a:pt x="37" y="65"/>
                    <a:pt x="39" y="65"/>
                    <a:pt x="41" y="64"/>
                  </a:cubicBezTo>
                  <a:cubicBezTo>
                    <a:pt x="42" y="64"/>
                    <a:pt x="43" y="63"/>
                    <a:pt x="44" y="64"/>
                  </a:cubicBezTo>
                  <a:cubicBezTo>
                    <a:pt x="45" y="65"/>
                    <a:pt x="43" y="66"/>
                    <a:pt x="42" y="67"/>
                  </a:cubicBezTo>
                  <a:cubicBezTo>
                    <a:pt x="41" y="68"/>
                    <a:pt x="43" y="69"/>
                    <a:pt x="44" y="69"/>
                  </a:cubicBezTo>
                  <a:cubicBezTo>
                    <a:pt x="45" y="70"/>
                    <a:pt x="47" y="69"/>
                    <a:pt x="48" y="69"/>
                  </a:cubicBezTo>
                  <a:cubicBezTo>
                    <a:pt x="50" y="68"/>
                    <a:pt x="53" y="68"/>
                    <a:pt x="55" y="70"/>
                  </a:cubicBezTo>
                  <a:cubicBezTo>
                    <a:pt x="57" y="71"/>
                    <a:pt x="58" y="69"/>
                    <a:pt x="60" y="68"/>
                  </a:cubicBezTo>
                  <a:cubicBezTo>
                    <a:pt x="60" y="68"/>
                    <a:pt x="60" y="67"/>
                    <a:pt x="60" y="66"/>
                  </a:cubicBezTo>
                  <a:cubicBezTo>
                    <a:pt x="59" y="66"/>
                    <a:pt x="59" y="66"/>
                    <a:pt x="58" y="66"/>
                  </a:cubicBezTo>
                  <a:cubicBezTo>
                    <a:pt x="57" y="64"/>
                    <a:pt x="56" y="63"/>
                    <a:pt x="55" y="62"/>
                  </a:cubicBezTo>
                  <a:cubicBezTo>
                    <a:pt x="55" y="62"/>
                    <a:pt x="55" y="61"/>
                    <a:pt x="55" y="61"/>
                  </a:cubicBezTo>
                  <a:cubicBezTo>
                    <a:pt x="56" y="61"/>
                    <a:pt x="57" y="61"/>
                    <a:pt x="57" y="62"/>
                  </a:cubicBezTo>
                  <a:cubicBezTo>
                    <a:pt x="58" y="62"/>
                    <a:pt x="59" y="63"/>
                    <a:pt x="59" y="63"/>
                  </a:cubicBezTo>
                  <a:cubicBezTo>
                    <a:pt x="61" y="63"/>
                    <a:pt x="64" y="64"/>
                    <a:pt x="65" y="66"/>
                  </a:cubicBezTo>
                  <a:cubicBezTo>
                    <a:pt x="65" y="67"/>
                    <a:pt x="66" y="67"/>
                    <a:pt x="66" y="67"/>
                  </a:cubicBezTo>
                  <a:cubicBezTo>
                    <a:pt x="68" y="67"/>
                    <a:pt x="72" y="69"/>
                    <a:pt x="72" y="67"/>
                  </a:cubicBezTo>
                  <a:cubicBezTo>
                    <a:pt x="72" y="66"/>
                    <a:pt x="72" y="65"/>
                    <a:pt x="71" y="65"/>
                  </a:cubicBezTo>
                  <a:cubicBezTo>
                    <a:pt x="70" y="65"/>
                    <a:pt x="68" y="65"/>
                    <a:pt x="67" y="63"/>
                  </a:cubicBezTo>
                  <a:cubicBezTo>
                    <a:pt x="67" y="62"/>
                    <a:pt x="67" y="62"/>
                    <a:pt x="66" y="62"/>
                  </a:cubicBezTo>
                  <a:cubicBezTo>
                    <a:pt x="65" y="62"/>
                    <a:pt x="64" y="62"/>
                    <a:pt x="63" y="62"/>
                  </a:cubicBezTo>
                  <a:cubicBezTo>
                    <a:pt x="61" y="62"/>
                    <a:pt x="61" y="60"/>
                    <a:pt x="60" y="60"/>
                  </a:cubicBezTo>
                  <a:cubicBezTo>
                    <a:pt x="56" y="59"/>
                    <a:pt x="53" y="61"/>
                    <a:pt x="50" y="59"/>
                  </a:cubicBezTo>
                  <a:cubicBezTo>
                    <a:pt x="47" y="57"/>
                    <a:pt x="49" y="53"/>
                    <a:pt x="48" y="51"/>
                  </a:cubicBezTo>
                  <a:cubicBezTo>
                    <a:pt x="48" y="50"/>
                    <a:pt x="47" y="49"/>
                    <a:pt x="46" y="48"/>
                  </a:cubicBezTo>
                  <a:cubicBezTo>
                    <a:pt x="45" y="48"/>
                    <a:pt x="44" y="48"/>
                    <a:pt x="44" y="47"/>
                  </a:cubicBezTo>
                  <a:cubicBezTo>
                    <a:pt x="43" y="47"/>
                    <a:pt x="42" y="47"/>
                    <a:pt x="42" y="46"/>
                  </a:cubicBezTo>
                  <a:cubicBezTo>
                    <a:pt x="40" y="44"/>
                    <a:pt x="38" y="42"/>
                    <a:pt x="35" y="40"/>
                  </a:cubicBezTo>
                  <a:cubicBezTo>
                    <a:pt x="35" y="40"/>
                    <a:pt x="35" y="39"/>
                    <a:pt x="36" y="39"/>
                  </a:cubicBezTo>
                  <a:cubicBezTo>
                    <a:pt x="37" y="39"/>
                    <a:pt x="38" y="38"/>
                    <a:pt x="39" y="37"/>
                  </a:cubicBezTo>
                  <a:cubicBezTo>
                    <a:pt x="40" y="37"/>
                    <a:pt x="40" y="36"/>
                    <a:pt x="40" y="35"/>
                  </a:cubicBezTo>
                  <a:cubicBezTo>
                    <a:pt x="40" y="35"/>
                    <a:pt x="41" y="34"/>
                    <a:pt x="41" y="34"/>
                  </a:cubicBezTo>
                  <a:cubicBezTo>
                    <a:pt x="43" y="34"/>
                    <a:pt x="46" y="35"/>
                    <a:pt x="48" y="34"/>
                  </a:cubicBezTo>
                  <a:cubicBezTo>
                    <a:pt x="49" y="33"/>
                    <a:pt x="50" y="33"/>
                    <a:pt x="51" y="32"/>
                  </a:cubicBezTo>
                  <a:cubicBezTo>
                    <a:pt x="53" y="32"/>
                    <a:pt x="55" y="32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8" y="31"/>
                    <a:pt x="60" y="31"/>
                    <a:pt x="61" y="30"/>
                  </a:cubicBezTo>
                  <a:cubicBezTo>
                    <a:pt x="62" y="30"/>
                    <a:pt x="63" y="29"/>
                    <a:pt x="64" y="28"/>
                  </a:cubicBezTo>
                  <a:cubicBezTo>
                    <a:pt x="65" y="27"/>
                    <a:pt x="65" y="26"/>
                    <a:pt x="66" y="26"/>
                  </a:cubicBezTo>
                  <a:cubicBezTo>
                    <a:pt x="66" y="25"/>
                    <a:pt x="66" y="25"/>
                    <a:pt x="66" y="24"/>
                  </a:cubicBezTo>
                  <a:cubicBezTo>
                    <a:pt x="67" y="23"/>
                    <a:pt x="67" y="22"/>
                    <a:pt x="68" y="21"/>
                  </a:cubicBezTo>
                  <a:cubicBezTo>
                    <a:pt x="69" y="21"/>
                    <a:pt x="70" y="20"/>
                    <a:pt x="70" y="20"/>
                  </a:cubicBezTo>
                  <a:cubicBezTo>
                    <a:pt x="71" y="20"/>
                    <a:pt x="72" y="19"/>
                    <a:pt x="72" y="19"/>
                  </a:cubicBezTo>
                  <a:cubicBezTo>
                    <a:pt x="74" y="18"/>
                    <a:pt x="74" y="17"/>
                    <a:pt x="76" y="16"/>
                  </a:cubicBezTo>
                  <a:cubicBezTo>
                    <a:pt x="77" y="15"/>
                    <a:pt x="78" y="14"/>
                    <a:pt x="79" y="13"/>
                  </a:cubicBezTo>
                  <a:cubicBezTo>
                    <a:pt x="79" y="13"/>
                    <a:pt x="80" y="14"/>
                    <a:pt x="80" y="13"/>
                  </a:cubicBezTo>
                  <a:cubicBezTo>
                    <a:pt x="81" y="13"/>
                    <a:pt x="82" y="13"/>
                    <a:pt x="82" y="13"/>
                  </a:cubicBezTo>
                  <a:cubicBezTo>
                    <a:pt x="84" y="12"/>
                    <a:pt x="86" y="12"/>
                    <a:pt x="87" y="12"/>
                  </a:cubicBezTo>
                  <a:cubicBezTo>
                    <a:pt x="89" y="11"/>
                    <a:pt x="90" y="10"/>
                    <a:pt x="91" y="9"/>
                  </a:cubicBezTo>
                  <a:cubicBezTo>
                    <a:pt x="92" y="8"/>
                    <a:pt x="92" y="8"/>
                    <a:pt x="93" y="8"/>
                  </a:cubicBezTo>
                  <a:cubicBezTo>
                    <a:pt x="93" y="9"/>
                    <a:pt x="93" y="9"/>
                    <a:pt x="92" y="10"/>
                  </a:cubicBezTo>
                  <a:cubicBezTo>
                    <a:pt x="92" y="11"/>
                    <a:pt x="92" y="12"/>
                    <a:pt x="93" y="12"/>
                  </a:cubicBezTo>
                  <a:cubicBezTo>
                    <a:pt x="93" y="13"/>
                    <a:pt x="95" y="12"/>
                    <a:pt x="95" y="11"/>
                  </a:cubicBezTo>
                  <a:cubicBezTo>
                    <a:pt x="96" y="11"/>
                    <a:pt x="95" y="9"/>
                    <a:pt x="96" y="8"/>
                  </a:cubicBezTo>
                  <a:cubicBezTo>
                    <a:pt x="96" y="7"/>
                    <a:pt x="97" y="6"/>
                    <a:pt x="98" y="6"/>
                  </a:cubicBezTo>
                  <a:cubicBezTo>
                    <a:pt x="100" y="6"/>
                    <a:pt x="101" y="6"/>
                    <a:pt x="103" y="6"/>
                  </a:cubicBezTo>
                  <a:cubicBezTo>
                    <a:pt x="104" y="6"/>
                    <a:pt x="104" y="5"/>
                    <a:pt x="105" y="5"/>
                  </a:cubicBezTo>
                  <a:cubicBezTo>
                    <a:pt x="107" y="5"/>
                    <a:pt x="110" y="6"/>
                    <a:pt x="113" y="5"/>
                  </a:cubicBezTo>
                  <a:cubicBezTo>
                    <a:pt x="116" y="4"/>
                    <a:pt x="118" y="2"/>
                    <a:pt x="120" y="0"/>
                  </a:cubicBezTo>
                  <a:cubicBezTo>
                    <a:pt x="123" y="0"/>
                    <a:pt x="125" y="0"/>
                    <a:pt x="127" y="1"/>
                  </a:cubicBezTo>
                  <a:cubicBezTo>
                    <a:pt x="128" y="4"/>
                    <a:pt x="124" y="4"/>
                    <a:pt x="122" y="6"/>
                  </a:cubicBezTo>
                  <a:cubicBezTo>
                    <a:pt x="122" y="7"/>
                    <a:pt x="122" y="7"/>
                    <a:pt x="122" y="8"/>
                  </a:cubicBezTo>
                  <a:cubicBezTo>
                    <a:pt x="123" y="8"/>
                    <a:pt x="124" y="8"/>
                    <a:pt x="125" y="8"/>
                  </a:cubicBezTo>
                  <a:cubicBezTo>
                    <a:pt x="126" y="9"/>
                    <a:pt x="126" y="10"/>
                    <a:pt x="127" y="11"/>
                  </a:cubicBezTo>
                  <a:cubicBezTo>
                    <a:pt x="127" y="11"/>
                    <a:pt x="128" y="11"/>
                    <a:pt x="128" y="11"/>
                  </a:cubicBezTo>
                  <a:cubicBezTo>
                    <a:pt x="128" y="9"/>
                    <a:pt x="127" y="7"/>
                    <a:pt x="128" y="5"/>
                  </a:cubicBezTo>
                  <a:cubicBezTo>
                    <a:pt x="129" y="4"/>
                    <a:pt x="130" y="4"/>
                    <a:pt x="131" y="3"/>
                  </a:cubicBezTo>
                  <a:cubicBezTo>
                    <a:pt x="132" y="2"/>
                    <a:pt x="133" y="3"/>
                    <a:pt x="134" y="4"/>
                  </a:cubicBezTo>
                  <a:cubicBezTo>
                    <a:pt x="134" y="5"/>
                    <a:pt x="133" y="6"/>
                    <a:pt x="133" y="7"/>
                  </a:cubicBezTo>
                  <a:cubicBezTo>
                    <a:pt x="132" y="8"/>
                    <a:pt x="132" y="9"/>
                    <a:pt x="133" y="9"/>
                  </a:cubicBezTo>
                  <a:cubicBezTo>
                    <a:pt x="133" y="9"/>
                    <a:pt x="134" y="9"/>
                    <a:pt x="134" y="9"/>
                  </a:cubicBezTo>
                  <a:cubicBezTo>
                    <a:pt x="135" y="8"/>
                    <a:pt x="136" y="6"/>
                    <a:pt x="138" y="6"/>
                  </a:cubicBezTo>
                  <a:cubicBezTo>
                    <a:pt x="138" y="6"/>
                    <a:pt x="138" y="6"/>
                    <a:pt x="138" y="6"/>
                  </a:cubicBezTo>
                  <a:cubicBezTo>
                    <a:pt x="139" y="5"/>
                    <a:pt x="139" y="6"/>
                    <a:pt x="139" y="6"/>
                  </a:cubicBezTo>
                  <a:cubicBezTo>
                    <a:pt x="142" y="6"/>
                    <a:pt x="146" y="5"/>
                    <a:pt x="149" y="7"/>
                  </a:cubicBezTo>
                  <a:cubicBezTo>
                    <a:pt x="149" y="7"/>
                    <a:pt x="149" y="8"/>
                    <a:pt x="148" y="9"/>
                  </a:cubicBezTo>
                  <a:cubicBezTo>
                    <a:pt x="148" y="9"/>
                    <a:pt x="147" y="9"/>
                    <a:pt x="147" y="9"/>
                  </a:cubicBezTo>
                  <a:cubicBezTo>
                    <a:pt x="147" y="10"/>
                    <a:pt x="148" y="10"/>
                    <a:pt x="149" y="11"/>
                  </a:cubicBezTo>
                  <a:cubicBezTo>
                    <a:pt x="151" y="11"/>
                    <a:pt x="153" y="12"/>
                    <a:pt x="154" y="13"/>
                  </a:cubicBezTo>
                  <a:cubicBezTo>
                    <a:pt x="154" y="13"/>
                    <a:pt x="154" y="14"/>
                    <a:pt x="155" y="15"/>
                  </a:cubicBezTo>
                  <a:cubicBezTo>
                    <a:pt x="155" y="15"/>
                    <a:pt x="156" y="15"/>
                    <a:pt x="156" y="15"/>
                  </a:cubicBezTo>
                  <a:cubicBezTo>
                    <a:pt x="157" y="14"/>
                    <a:pt x="157" y="13"/>
                    <a:pt x="159" y="13"/>
                  </a:cubicBezTo>
                  <a:cubicBezTo>
                    <a:pt x="159" y="12"/>
                    <a:pt x="160" y="12"/>
                    <a:pt x="161" y="11"/>
                  </a:cubicBezTo>
                  <a:cubicBezTo>
                    <a:pt x="162" y="11"/>
                    <a:pt x="163" y="10"/>
                    <a:pt x="164" y="10"/>
                  </a:cubicBezTo>
                  <a:cubicBezTo>
                    <a:pt x="166" y="9"/>
                    <a:pt x="168" y="9"/>
                    <a:pt x="169" y="11"/>
                  </a:cubicBezTo>
                  <a:cubicBezTo>
                    <a:pt x="170" y="11"/>
                    <a:pt x="170" y="12"/>
                    <a:pt x="171" y="12"/>
                  </a:cubicBezTo>
                  <a:cubicBezTo>
                    <a:pt x="174" y="12"/>
                    <a:pt x="176" y="14"/>
                    <a:pt x="178" y="15"/>
                  </a:cubicBezTo>
                  <a:cubicBezTo>
                    <a:pt x="179" y="16"/>
                    <a:pt x="179" y="16"/>
                    <a:pt x="180" y="16"/>
                  </a:cubicBezTo>
                  <a:cubicBezTo>
                    <a:pt x="181" y="17"/>
                    <a:pt x="182" y="17"/>
                    <a:pt x="183" y="16"/>
                  </a:cubicBezTo>
                  <a:cubicBezTo>
                    <a:pt x="183" y="16"/>
                    <a:pt x="183" y="16"/>
                    <a:pt x="183" y="16"/>
                  </a:cubicBezTo>
                  <a:cubicBezTo>
                    <a:pt x="184" y="16"/>
                    <a:pt x="184" y="16"/>
                    <a:pt x="184" y="16"/>
                  </a:cubicBezTo>
                  <a:cubicBezTo>
                    <a:pt x="188" y="14"/>
                    <a:pt x="191" y="17"/>
                    <a:pt x="195" y="17"/>
                  </a:cubicBezTo>
                  <a:cubicBezTo>
                    <a:pt x="195" y="17"/>
                    <a:pt x="196" y="18"/>
                    <a:pt x="197" y="18"/>
                  </a:cubicBezTo>
                  <a:cubicBezTo>
                    <a:pt x="197" y="18"/>
                    <a:pt x="198" y="18"/>
                    <a:pt x="199" y="18"/>
                  </a:cubicBezTo>
                  <a:cubicBezTo>
                    <a:pt x="200" y="18"/>
                    <a:pt x="201" y="17"/>
                    <a:pt x="203" y="17"/>
                  </a:cubicBezTo>
                  <a:cubicBezTo>
                    <a:pt x="205" y="16"/>
                    <a:pt x="207" y="17"/>
                    <a:pt x="209" y="17"/>
                  </a:cubicBezTo>
                  <a:cubicBezTo>
                    <a:pt x="211" y="17"/>
                    <a:pt x="212" y="18"/>
                    <a:pt x="213" y="19"/>
                  </a:cubicBezTo>
                  <a:cubicBezTo>
                    <a:pt x="214" y="19"/>
                    <a:pt x="216" y="19"/>
                    <a:pt x="217" y="19"/>
                  </a:cubicBezTo>
                  <a:cubicBezTo>
                    <a:pt x="218" y="20"/>
                    <a:pt x="218" y="21"/>
                    <a:pt x="219" y="21"/>
                  </a:cubicBezTo>
                  <a:cubicBezTo>
                    <a:pt x="220" y="22"/>
                    <a:pt x="221" y="22"/>
                    <a:pt x="222" y="22"/>
                  </a:cubicBezTo>
                  <a:cubicBezTo>
                    <a:pt x="221" y="24"/>
                    <a:pt x="221" y="24"/>
                    <a:pt x="221" y="24"/>
                  </a:cubicBezTo>
                  <a:cubicBezTo>
                    <a:pt x="184" y="131"/>
                    <a:pt x="184" y="131"/>
                    <a:pt x="184" y="131"/>
                  </a:cubicBezTo>
                  <a:cubicBezTo>
                    <a:pt x="182" y="133"/>
                    <a:pt x="182" y="136"/>
                    <a:pt x="182" y="137"/>
                  </a:cubicBezTo>
                  <a:cubicBezTo>
                    <a:pt x="181" y="139"/>
                    <a:pt x="181" y="140"/>
                    <a:pt x="182" y="142"/>
                  </a:cubicBezTo>
                  <a:cubicBezTo>
                    <a:pt x="183" y="142"/>
                    <a:pt x="185" y="141"/>
                    <a:pt x="187" y="143"/>
                  </a:cubicBezTo>
                  <a:cubicBezTo>
                    <a:pt x="187" y="143"/>
                    <a:pt x="188" y="143"/>
                    <a:pt x="189" y="142"/>
                  </a:cubicBezTo>
                  <a:cubicBezTo>
                    <a:pt x="190" y="142"/>
                    <a:pt x="191" y="142"/>
                    <a:pt x="191" y="141"/>
                  </a:cubicBezTo>
                  <a:cubicBezTo>
                    <a:pt x="192" y="141"/>
                    <a:pt x="194" y="141"/>
                    <a:pt x="194" y="142"/>
                  </a:cubicBezTo>
                  <a:cubicBezTo>
                    <a:pt x="195" y="143"/>
                    <a:pt x="194" y="145"/>
                    <a:pt x="195" y="147"/>
                  </a:cubicBezTo>
                  <a:cubicBezTo>
                    <a:pt x="195" y="147"/>
                    <a:pt x="195" y="148"/>
                    <a:pt x="195" y="149"/>
                  </a:cubicBezTo>
                  <a:cubicBezTo>
                    <a:pt x="196" y="150"/>
                    <a:pt x="197" y="152"/>
                    <a:pt x="198" y="153"/>
                  </a:cubicBezTo>
                  <a:cubicBezTo>
                    <a:pt x="199" y="154"/>
                    <a:pt x="200" y="156"/>
                    <a:pt x="202" y="157"/>
                  </a:cubicBezTo>
                  <a:cubicBezTo>
                    <a:pt x="203" y="158"/>
                    <a:pt x="204" y="158"/>
                    <a:pt x="204" y="157"/>
                  </a:cubicBezTo>
                  <a:cubicBezTo>
                    <a:pt x="205" y="156"/>
                    <a:pt x="206" y="156"/>
                    <a:pt x="207" y="155"/>
                  </a:cubicBezTo>
                  <a:cubicBezTo>
                    <a:pt x="208" y="154"/>
                    <a:pt x="210" y="153"/>
                    <a:pt x="212" y="152"/>
                  </a:cubicBezTo>
                  <a:cubicBezTo>
                    <a:pt x="212" y="151"/>
                    <a:pt x="212" y="151"/>
                    <a:pt x="213" y="150"/>
                  </a:cubicBezTo>
                  <a:cubicBezTo>
                    <a:pt x="214" y="150"/>
                    <a:pt x="214" y="149"/>
                    <a:pt x="215" y="149"/>
                  </a:cubicBezTo>
                  <a:cubicBezTo>
                    <a:pt x="216" y="148"/>
                    <a:pt x="217" y="148"/>
                    <a:pt x="219" y="149"/>
                  </a:cubicBezTo>
                  <a:cubicBezTo>
                    <a:pt x="220" y="150"/>
                    <a:pt x="221" y="152"/>
                    <a:pt x="221" y="154"/>
                  </a:cubicBezTo>
                  <a:cubicBezTo>
                    <a:pt x="222" y="156"/>
                    <a:pt x="225" y="156"/>
                    <a:pt x="226" y="158"/>
                  </a:cubicBezTo>
                  <a:cubicBezTo>
                    <a:pt x="227" y="160"/>
                    <a:pt x="228" y="161"/>
                    <a:pt x="229" y="163"/>
                  </a:cubicBezTo>
                  <a:cubicBezTo>
                    <a:pt x="229" y="164"/>
                    <a:pt x="229" y="165"/>
                    <a:pt x="229" y="166"/>
                  </a:cubicBezTo>
                  <a:cubicBezTo>
                    <a:pt x="230" y="168"/>
                    <a:pt x="231" y="169"/>
                    <a:pt x="232" y="170"/>
                  </a:cubicBezTo>
                  <a:cubicBezTo>
                    <a:pt x="232" y="172"/>
                    <a:pt x="233" y="173"/>
                    <a:pt x="234" y="175"/>
                  </a:cubicBezTo>
                  <a:cubicBezTo>
                    <a:pt x="235" y="177"/>
                    <a:pt x="234" y="179"/>
                    <a:pt x="234" y="180"/>
                  </a:cubicBezTo>
                  <a:cubicBezTo>
                    <a:pt x="235" y="183"/>
                    <a:pt x="235" y="185"/>
                    <a:pt x="236" y="187"/>
                  </a:cubicBezTo>
                  <a:cubicBezTo>
                    <a:pt x="236" y="188"/>
                    <a:pt x="238" y="188"/>
                    <a:pt x="239" y="189"/>
                  </a:cubicBezTo>
                  <a:cubicBezTo>
                    <a:pt x="241" y="190"/>
                    <a:pt x="244" y="191"/>
                    <a:pt x="246" y="191"/>
                  </a:cubicBezTo>
                  <a:cubicBezTo>
                    <a:pt x="246" y="192"/>
                    <a:pt x="246" y="193"/>
                    <a:pt x="246" y="194"/>
                  </a:cubicBezTo>
                  <a:cubicBezTo>
                    <a:pt x="245" y="197"/>
                    <a:pt x="244" y="199"/>
                    <a:pt x="244" y="202"/>
                  </a:cubicBezTo>
                  <a:lnTo>
                    <a:pt x="243" y="20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4" name="Freeform 78"/>
            <p:cNvSpPr>
              <a:spLocks/>
            </p:cNvSpPr>
            <p:nvPr/>
          </p:nvSpPr>
          <p:spPr bwMode="auto">
            <a:xfrm>
              <a:off x="5209866" y="4675466"/>
              <a:ext cx="15949" cy="8460"/>
            </a:xfrm>
            <a:custGeom>
              <a:avLst/>
              <a:gdLst>
                <a:gd name="T0" fmla="*/ 6931750 w 12"/>
                <a:gd name="T1" fmla="*/ 0 h 8"/>
                <a:gd name="T2" fmla="*/ 3961001 w 12"/>
                <a:gd name="T3" fmla="*/ 1359459 h 8"/>
                <a:gd name="T4" fmla="*/ 0 w 12"/>
                <a:gd name="T5" fmla="*/ 1359459 h 8"/>
                <a:gd name="T6" fmla="*/ 0 w 12"/>
                <a:gd name="T7" fmla="*/ 1699274 h 8"/>
                <a:gd name="T8" fmla="*/ 2970751 w 12"/>
                <a:gd name="T9" fmla="*/ 3058782 h 8"/>
                <a:gd name="T10" fmla="*/ 7659274 w 12"/>
                <a:gd name="T11" fmla="*/ 3058782 h 8"/>
                <a:gd name="T12" fmla="*/ 8614988 w 12"/>
                <a:gd name="T13" fmla="*/ 2453348 h 8"/>
                <a:gd name="T14" fmla="*/ 9242333 w 12"/>
                <a:gd name="T15" fmla="*/ 0 h 8"/>
                <a:gd name="T16" fmla="*/ 6931750 w 12"/>
                <a:gd name="T17" fmla="*/ 0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8"/>
                <a:gd name="T29" fmla="*/ 12 w 12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8">
                  <a:moveTo>
                    <a:pt x="9" y="0"/>
                  </a:moveTo>
                  <a:cubicBezTo>
                    <a:pt x="8" y="1"/>
                    <a:pt x="7" y="2"/>
                    <a:pt x="5" y="3"/>
                  </a:cubicBezTo>
                  <a:cubicBezTo>
                    <a:pt x="4" y="3"/>
                    <a:pt x="3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1" y="5"/>
                    <a:pt x="3" y="6"/>
                    <a:pt x="4" y="7"/>
                  </a:cubicBezTo>
                  <a:cubicBezTo>
                    <a:pt x="6" y="8"/>
                    <a:pt x="8" y="8"/>
                    <a:pt x="10" y="7"/>
                  </a:cubicBezTo>
                  <a:cubicBezTo>
                    <a:pt x="11" y="7"/>
                    <a:pt x="11" y="7"/>
                    <a:pt x="11" y="6"/>
                  </a:cubicBezTo>
                  <a:cubicBezTo>
                    <a:pt x="11" y="4"/>
                    <a:pt x="12" y="2"/>
                    <a:pt x="12" y="0"/>
                  </a:cubicBezTo>
                  <a:cubicBezTo>
                    <a:pt x="11" y="0"/>
                    <a:pt x="10" y="0"/>
                    <a:pt x="9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5" name="Freeform 79"/>
            <p:cNvSpPr>
              <a:spLocks/>
            </p:cNvSpPr>
            <p:nvPr/>
          </p:nvSpPr>
          <p:spPr bwMode="auto">
            <a:xfrm>
              <a:off x="5187394" y="4631954"/>
              <a:ext cx="26825" cy="9669"/>
            </a:xfrm>
            <a:custGeom>
              <a:avLst/>
              <a:gdLst>
                <a:gd name="T0" fmla="*/ 13930621 w 20"/>
                <a:gd name="T1" fmla="*/ 2970751 h 9"/>
                <a:gd name="T2" fmla="*/ 9534738 w 20"/>
                <a:gd name="T3" fmla="*/ 727531 h 9"/>
                <a:gd name="T4" fmla="*/ 4391010 w 20"/>
                <a:gd name="T5" fmla="*/ 1697572 h 9"/>
                <a:gd name="T6" fmla="*/ 2522523 w 20"/>
                <a:gd name="T7" fmla="*/ 0 h 9"/>
                <a:gd name="T8" fmla="*/ 795113 w 20"/>
                <a:gd name="T9" fmla="*/ 0 h 9"/>
                <a:gd name="T10" fmla="*/ 0 w 20"/>
                <a:gd name="T11" fmla="*/ 2243220 h 9"/>
                <a:gd name="T12" fmla="*/ 0 w 20"/>
                <a:gd name="T13" fmla="*/ 3961001 h 9"/>
                <a:gd name="T14" fmla="*/ 7062610 w 20"/>
                <a:gd name="T15" fmla="*/ 3961001 h 9"/>
                <a:gd name="T16" fmla="*/ 9534738 w 20"/>
                <a:gd name="T17" fmla="*/ 6931749 h 9"/>
                <a:gd name="T18" fmla="*/ 11455630 w 20"/>
                <a:gd name="T19" fmla="*/ 6931749 h 9"/>
                <a:gd name="T20" fmla="*/ 12876646 w 20"/>
                <a:gd name="T21" fmla="*/ 5234180 h 9"/>
                <a:gd name="T22" fmla="*/ 17186742 w 20"/>
                <a:gd name="T23" fmla="*/ 5234180 h 9"/>
                <a:gd name="T24" fmla="*/ 17186742 w 20"/>
                <a:gd name="T25" fmla="*/ 3961001 h 9"/>
                <a:gd name="T26" fmla="*/ 14725738 w 20"/>
                <a:gd name="T27" fmla="*/ 2970751 h 9"/>
                <a:gd name="T28" fmla="*/ 13930621 w 20"/>
                <a:gd name="T29" fmla="*/ 2970751 h 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"/>
                <a:gd name="T46" fmla="*/ 0 h 9"/>
                <a:gd name="T47" fmla="*/ 20 w 20"/>
                <a:gd name="T48" fmla="*/ 9 h 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" h="9">
                  <a:moveTo>
                    <a:pt x="16" y="4"/>
                  </a:moveTo>
                  <a:cubicBezTo>
                    <a:pt x="14" y="4"/>
                    <a:pt x="12" y="3"/>
                    <a:pt x="11" y="1"/>
                  </a:cubicBezTo>
                  <a:cubicBezTo>
                    <a:pt x="9" y="1"/>
                    <a:pt x="7" y="2"/>
                    <a:pt x="5" y="2"/>
                  </a:cubicBezTo>
                  <a:cubicBezTo>
                    <a:pt x="4" y="2"/>
                    <a:pt x="4" y="0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2" y="6"/>
                    <a:pt x="5" y="4"/>
                    <a:pt x="8" y="5"/>
                  </a:cubicBezTo>
                  <a:cubicBezTo>
                    <a:pt x="9" y="6"/>
                    <a:pt x="10" y="8"/>
                    <a:pt x="11" y="9"/>
                  </a:cubicBezTo>
                  <a:cubicBezTo>
                    <a:pt x="12" y="9"/>
                    <a:pt x="12" y="9"/>
                    <a:pt x="13" y="9"/>
                  </a:cubicBezTo>
                  <a:cubicBezTo>
                    <a:pt x="14" y="8"/>
                    <a:pt x="14" y="7"/>
                    <a:pt x="15" y="7"/>
                  </a:cubicBezTo>
                  <a:cubicBezTo>
                    <a:pt x="17" y="7"/>
                    <a:pt x="18" y="7"/>
                    <a:pt x="20" y="7"/>
                  </a:cubicBezTo>
                  <a:cubicBezTo>
                    <a:pt x="20" y="7"/>
                    <a:pt x="20" y="6"/>
                    <a:pt x="20" y="5"/>
                  </a:cubicBezTo>
                  <a:cubicBezTo>
                    <a:pt x="19" y="6"/>
                    <a:pt x="18" y="5"/>
                    <a:pt x="17" y="4"/>
                  </a:cubicBezTo>
                  <a:cubicBezTo>
                    <a:pt x="17" y="4"/>
                    <a:pt x="16" y="4"/>
                    <a:pt x="16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6" name="Freeform 80"/>
            <p:cNvSpPr>
              <a:spLocks/>
            </p:cNvSpPr>
            <p:nvPr/>
          </p:nvSpPr>
          <p:spPr bwMode="auto">
            <a:xfrm>
              <a:off x="5201167" y="4743757"/>
              <a:ext cx="18125" cy="9669"/>
            </a:xfrm>
            <a:custGeom>
              <a:avLst/>
              <a:gdLst>
                <a:gd name="T0" fmla="*/ 8621839 w 13"/>
                <a:gd name="T1" fmla="*/ 1324701 h 9"/>
                <a:gd name="T2" fmla="*/ 4595099 w 13"/>
                <a:gd name="T3" fmla="*/ 3238158 h 9"/>
                <a:gd name="T4" fmla="*/ 0 w 13"/>
                <a:gd name="T5" fmla="*/ 11470653 h 9"/>
                <a:gd name="T6" fmla="*/ 0 w 13"/>
                <a:gd name="T7" fmla="*/ 13330806 h 9"/>
                <a:gd name="T8" fmla="*/ 2335724 w 13"/>
                <a:gd name="T9" fmla="*/ 13330806 h 9"/>
                <a:gd name="T10" fmla="*/ 6350665 w 13"/>
                <a:gd name="T11" fmla="*/ 10015063 h 9"/>
                <a:gd name="T12" fmla="*/ 11938254 w 13"/>
                <a:gd name="T13" fmla="*/ 7915496 h 9"/>
                <a:gd name="T14" fmla="*/ 14203962 w 13"/>
                <a:gd name="T15" fmla="*/ 4692541 h 9"/>
                <a:gd name="T16" fmla="*/ 13281841 w 13"/>
                <a:gd name="T17" fmla="*/ 1324701 h 9"/>
                <a:gd name="T18" fmla="*/ 8621839 w 13"/>
                <a:gd name="T19" fmla="*/ 1324701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9"/>
                <a:gd name="T32" fmla="*/ 13 w 1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9">
                  <a:moveTo>
                    <a:pt x="8" y="1"/>
                  </a:moveTo>
                  <a:cubicBezTo>
                    <a:pt x="7" y="1"/>
                    <a:pt x="5" y="1"/>
                    <a:pt x="4" y="2"/>
                  </a:cubicBezTo>
                  <a:cubicBezTo>
                    <a:pt x="3" y="3"/>
                    <a:pt x="2" y="5"/>
                    <a:pt x="0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9"/>
                    <a:pt x="1" y="9"/>
                    <a:pt x="2" y="8"/>
                  </a:cubicBezTo>
                  <a:cubicBezTo>
                    <a:pt x="4" y="8"/>
                    <a:pt x="4" y="7"/>
                    <a:pt x="6" y="6"/>
                  </a:cubicBezTo>
                  <a:cubicBezTo>
                    <a:pt x="7" y="5"/>
                    <a:pt x="9" y="6"/>
                    <a:pt x="11" y="5"/>
                  </a:cubicBezTo>
                  <a:cubicBezTo>
                    <a:pt x="12" y="5"/>
                    <a:pt x="13" y="4"/>
                    <a:pt x="13" y="3"/>
                  </a:cubicBezTo>
                  <a:cubicBezTo>
                    <a:pt x="13" y="2"/>
                    <a:pt x="13" y="1"/>
                    <a:pt x="12" y="1"/>
                  </a:cubicBezTo>
                  <a:cubicBezTo>
                    <a:pt x="11" y="0"/>
                    <a:pt x="10" y="1"/>
                    <a:pt x="8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7" name="Freeform 81"/>
            <p:cNvSpPr>
              <a:spLocks/>
            </p:cNvSpPr>
            <p:nvPr/>
          </p:nvSpPr>
          <p:spPr bwMode="auto">
            <a:xfrm>
              <a:off x="5172894" y="4757656"/>
              <a:ext cx="12324" cy="7856"/>
            </a:xfrm>
            <a:custGeom>
              <a:avLst/>
              <a:gdLst>
                <a:gd name="T0" fmla="*/ 6550065 w 9"/>
                <a:gd name="T1" fmla="*/ 1213713 h 7"/>
                <a:gd name="T2" fmla="*/ 6550065 w 9"/>
                <a:gd name="T3" fmla="*/ 2947589 h 7"/>
                <a:gd name="T4" fmla="*/ 1324701 w 9"/>
                <a:gd name="T5" fmla="*/ 7158428 h 7"/>
                <a:gd name="T6" fmla="*/ 1324701 w 9"/>
                <a:gd name="T7" fmla="*/ 10226328 h 7"/>
                <a:gd name="T8" fmla="*/ 4692541 w 9"/>
                <a:gd name="T9" fmla="*/ 10226328 h 7"/>
                <a:gd name="T10" fmla="*/ 13330806 w 9"/>
                <a:gd name="T11" fmla="*/ 4210842 h 7"/>
                <a:gd name="T12" fmla="*/ 13330806 w 9"/>
                <a:gd name="T13" fmla="*/ 1213713 h 7"/>
                <a:gd name="T14" fmla="*/ 7915496 w 9"/>
                <a:gd name="T15" fmla="*/ 0 h 7"/>
                <a:gd name="T16" fmla="*/ 6550065 w 9"/>
                <a:gd name="T17" fmla="*/ 1213713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7"/>
                <a:gd name="T29" fmla="*/ 9 w 9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7">
                  <a:moveTo>
                    <a:pt x="4" y="1"/>
                  </a:moveTo>
                  <a:cubicBezTo>
                    <a:pt x="4" y="1"/>
                    <a:pt x="4" y="2"/>
                    <a:pt x="4" y="2"/>
                  </a:cubicBezTo>
                  <a:cubicBezTo>
                    <a:pt x="3" y="3"/>
                    <a:pt x="2" y="4"/>
                    <a:pt x="1" y="5"/>
                  </a:cubicBezTo>
                  <a:cubicBezTo>
                    <a:pt x="1" y="5"/>
                    <a:pt x="0" y="6"/>
                    <a:pt x="1" y="7"/>
                  </a:cubicBezTo>
                  <a:cubicBezTo>
                    <a:pt x="1" y="7"/>
                    <a:pt x="2" y="7"/>
                    <a:pt x="3" y="7"/>
                  </a:cubicBezTo>
                  <a:cubicBezTo>
                    <a:pt x="5" y="6"/>
                    <a:pt x="7" y="5"/>
                    <a:pt x="8" y="3"/>
                  </a:cubicBezTo>
                  <a:cubicBezTo>
                    <a:pt x="9" y="2"/>
                    <a:pt x="9" y="1"/>
                    <a:pt x="8" y="1"/>
                  </a:cubicBezTo>
                  <a:cubicBezTo>
                    <a:pt x="8" y="0"/>
                    <a:pt x="6" y="0"/>
                    <a:pt x="5" y="0"/>
                  </a:cubicBezTo>
                  <a:cubicBezTo>
                    <a:pt x="5" y="1"/>
                    <a:pt x="5" y="1"/>
                    <a:pt x="4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8" name="Freeform 82"/>
            <p:cNvSpPr>
              <a:spLocks/>
            </p:cNvSpPr>
            <p:nvPr/>
          </p:nvSpPr>
          <p:spPr bwMode="auto">
            <a:xfrm>
              <a:off x="5312812" y="4712330"/>
              <a:ext cx="28273" cy="13901"/>
            </a:xfrm>
            <a:custGeom>
              <a:avLst/>
              <a:gdLst>
                <a:gd name="T0" fmla="*/ 4688532 w 21"/>
                <a:gd name="T1" fmla="*/ 3318681 h 13"/>
                <a:gd name="T2" fmla="*/ 727531 w 21"/>
                <a:gd name="T3" fmla="*/ 4595099 h 13"/>
                <a:gd name="T4" fmla="*/ 727531 w 21"/>
                <a:gd name="T5" fmla="*/ 7913775 h 13"/>
                <a:gd name="T6" fmla="*/ 1697572 w 21"/>
                <a:gd name="T7" fmla="*/ 13281841 h 13"/>
                <a:gd name="T8" fmla="*/ 2970751 w 21"/>
                <a:gd name="T9" fmla="*/ 13281841 h 13"/>
                <a:gd name="T10" fmla="*/ 3961001 w 21"/>
                <a:gd name="T11" fmla="*/ 10957538 h 13"/>
                <a:gd name="T12" fmla="*/ 4688532 w 21"/>
                <a:gd name="T13" fmla="*/ 10957538 h 13"/>
                <a:gd name="T14" fmla="*/ 4688532 w 21"/>
                <a:gd name="T15" fmla="*/ 14203962 h 13"/>
                <a:gd name="T16" fmla="*/ 6253184 w 21"/>
                <a:gd name="T17" fmla="*/ 14203962 h 13"/>
                <a:gd name="T18" fmla="*/ 7659274 w 21"/>
                <a:gd name="T19" fmla="*/ 8621839 h 13"/>
                <a:gd name="T20" fmla="*/ 8614988 w 21"/>
                <a:gd name="T21" fmla="*/ 8621839 h 13"/>
                <a:gd name="T22" fmla="*/ 10939909 w 21"/>
                <a:gd name="T23" fmla="*/ 8621839 h 13"/>
                <a:gd name="T24" fmla="*/ 12213087 w 21"/>
                <a:gd name="T25" fmla="*/ 6350665 h 13"/>
                <a:gd name="T26" fmla="*/ 16174077 w 21"/>
                <a:gd name="T27" fmla="*/ 5569804 h 13"/>
                <a:gd name="T28" fmla="*/ 16174077 w 21"/>
                <a:gd name="T29" fmla="*/ 979497 h 13"/>
                <a:gd name="T30" fmla="*/ 15628432 w 21"/>
                <a:gd name="T31" fmla="*/ 979497 h 13"/>
                <a:gd name="T32" fmla="*/ 11620010 w 21"/>
                <a:gd name="T33" fmla="*/ 0 h 13"/>
                <a:gd name="T34" fmla="*/ 8614988 w 21"/>
                <a:gd name="T35" fmla="*/ 0 h 13"/>
                <a:gd name="T36" fmla="*/ 7659274 w 21"/>
                <a:gd name="T37" fmla="*/ 2335724 h 13"/>
                <a:gd name="T38" fmla="*/ 4688532 w 21"/>
                <a:gd name="T39" fmla="*/ 2335724 h 13"/>
                <a:gd name="T40" fmla="*/ 4688532 w 21"/>
                <a:gd name="T41" fmla="*/ 3318681 h 1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1"/>
                <a:gd name="T64" fmla="*/ 0 h 13"/>
                <a:gd name="T65" fmla="*/ 21 w 21"/>
                <a:gd name="T66" fmla="*/ 13 h 1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1" h="13">
                  <a:moveTo>
                    <a:pt x="6" y="3"/>
                  </a:moveTo>
                  <a:cubicBezTo>
                    <a:pt x="4" y="3"/>
                    <a:pt x="3" y="3"/>
                    <a:pt x="1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8"/>
                    <a:pt x="1" y="10"/>
                    <a:pt x="2" y="12"/>
                  </a:cubicBezTo>
                  <a:cubicBezTo>
                    <a:pt x="2" y="12"/>
                    <a:pt x="3" y="12"/>
                    <a:pt x="4" y="12"/>
                  </a:cubicBezTo>
                  <a:cubicBezTo>
                    <a:pt x="4" y="11"/>
                    <a:pt x="5" y="11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1"/>
                    <a:pt x="6" y="12"/>
                    <a:pt x="6" y="13"/>
                  </a:cubicBezTo>
                  <a:cubicBezTo>
                    <a:pt x="6" y="13"/>
                    <a:pt x="7" y="13"/>
                    <a:pt x="8" y="13"/>
                  </a:cubicBezTo>
                  <a:cubicBezTo>
                    <a:pt x="9" y="12"/>
                    <a:pt x="9" y="10"/>
                    <a:pt x="10" y="8"/>
                  </a:cubicBezTo>
                  <a:cubicBezTo>
                    <a:pt x="10" y="8"/>
                    <a:pt x="11" y="8"/>
                    <a:pt x="11" y="8"/>
                  </a:cubicBezTo>
                  <a:cubicBezTo>
                    <a:pt x="12" y="8"/>
                    <a:pt x="13" y="8"/>
                    <a:pt x="14" y="8"/>
                  </a:cubicBezTo>
                  <a:cubicBezTo>
                    <a:pt x="15" y="7"/>
                    <a:pt x="16" y="6"/>
                    <a:pt x="16" y="6"/>
                  </a:cubicBezTo>
                  <a:cubicBezTo>
                    <a:pt x="17" y="4"/>
                    <a:pt x="19" y="6"/>
                    <a:pt x="21" y="5"/>
                  </a:cubicBezTo>
                  <a:cubicBezTo>
                    <a:pt x="21" y="4"/>
                    <a:pt x="21" y="3"/>
                    <a:pt x="21" y="1"/>
                  </a:cubicBezTo>
                  <a:cubicBezTo>
                    <a:pt x="21" y="1"/>
                    <a:pt x="20" y="1"/>
                    <a:pt x="20" y="1"/>
                  </a:cubicBezTo>
                  <a:cubicBezTo>
                    <a:pt x="18" y="0"/>
                    <a:pt x="16" y="1"/>
                    <a:pt x="15" y="0"/>
                  </a:cubicBezTo>
                  <a:cubicBezTo>
                    <a:pt x="14" y="0"/>
                    <a:pt x="12" y="0"/>
                    <a:pt x="11" y="0"/>
                  </a:cubicBezTo>
                  <a:cubicBezTo>
                    <a:pt x="10" y="0"/>
                    <a:pt x="10" y="1"/>
                    <a:pt x="10" y="2"/>
                  </a:cubicBezTo>
                  <a:cubicBezTo>
                    <a:pt x="9" y="3"/>
                    <a:pt x="7" y="2"/>
                    <a:pt x="6" y="2"/>
                  </a:cubicBezTo>
                  <a:cubicBezTo>
                    <a:pt x="6" y="2"/>
                    <a:pt x="6" y="3"/>
                    <a:pt x="6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9" name="Freeform 83"/>
            <p:cNvSpPr>
              <a:spLocks/>
            </p:cNvSpPr>
            <p:nvPr/>
          </p:nvSpPr>
          <p:spPr bwMode="auto">
            <a:xfrm>
              <a:off x="5336011" y="4704474"/>
              <a:ext cx="10873" cy="5438"/>
            </a:xfrm>
            <a:custGeom>
              <a:avLst/>
              <a:gdLst>
                <a:gd name="T0" fmla="*/ 4351847 w 8"/>
                <a:gd name="T1" fmla="*/ 1064436 h 5"/>
                <a:gd name="T2" fmla="*/ 896786 w 8"/>
                <a:gd name="T3" fmla="*/ 2554647 h 5"/>
                <a:gd name="T4" fmla="*/ 896786 w 8"/>
                <a:gd name="T5" fmla="*/ 5085394 h 5"/>
                <a:gd name="T6" fmla="*/ 4351847 w 8"/>
                <a:gd name="T7" fmla="*/ 6131150 h 5"/>
                <a:gd name="T8" fmla="*/ 8176458 w 8"/>
                <a:gd name="T9" fmla="*/ 2554647 h 5"/>
                <a:gd name="T10" fmla="*/ 8176458 w 8"/>
                <a:gd name="T11" fmla="*/ 1064436 h 5"/>
                <a:gd name="T12" fmla="*/ 4351847 w 8"/>
                <a:gd name="T13" fmla="*/ 1064436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5"/>
                <a:gd name="T23" fmla="*/ 8 w 8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5">
                  <a:moveTo>
                    <a:pt x="4" y="1"/>
                  </a:moveTo>
                  <a:cubicBezTo>
                    <a:pt x="3" y="1"/>
                    <a:pt x="2" y="1"/>
                    <a:pt x="1" y="2"/>
                  </a:cubicBezTo>
                  <a:cubicBezTo>
                    <a:pt x="1" y="3"/>
                    <a:pt x="0" y="3"/>
                    <a:pt x="1" y="4"/>
                  </a:cubicBezTo>
                  <a:cubicBezTo>
                    <a:pt x="1" y="5"/>
                    <a:pt x="3" y="5"/>
                    <a:pt x="4" y="5"/>
                  </a:cubicBezTo>
                  <a:cubicBezTo>
                    <a:pt x="5" y="4"/>
                    <a:pt x="6" y="3"/>
                    <a:pt x="8" y="2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7" y="0"/>
                    <a:pt x="6" y="1"/>
                    <a:pt x="4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0" name="Freeform 84"/>
            <p:cNvSpPr>
              <a:spLocks/>
            </p:cNvSpPr>
            <p:nvPr/>
          </p:nvSpPr>
          <p:spPr bwMode="auto">
            <a:xfrm>
              <a:off x="5517976" y="4728647"/>
              <a:ext cx="13775" cy="20547"/>
            </a:xfrm>
            <a:custGeom>
              <a:avLst/>
              <a:gdLst>
                <a:gd name="T0" fmla="*/ 9650293 w 10"/>
                <a:gd name="T1" fmla="*/ 9968069 h 19"/>
                <a:gd name="T2" fmla="*/ 8585865 w 10"/>
                <a:gd name="T3" fmla="*/ 4854159 h 19"/>
                <a:gd name="T4" fmla="*/ 6131150 w 10"/>
                <a:gd name="T5" fmla="*/ 865359 h 19"/>
                <a:gd name="T6" fmla="*/ 5085394 w 10"/>
                <a:gd name="T7" fmla="*/ 865359 h 19"/>
                <a:gd name="T8" fmla="*/ 3577445 w 10"/>
                <a:gd name="T9" fmla="*/ 865359 h 19"/>
                <a:gd name="T10" fmla="*/ 1064436 w 10"/>
                <a:gd name="T11" fmla="*/ 2959271 h 19"/>
                <a:gd name="T12" fmla="*/ 1064436 w 10"/>
                <a:gd name="T13" fmla="*/ 4854159 h 19"/>
                <a:gd name="T14" fmla="*/ 2554647 w 10"/>
                <a:gd name="T15" fmla="*/ 5759327 h 19"/>
                <a:gd name="T16" fmla="*/ 1064436 w 10"/>
                <a:gd name="T17" fmla="*/ 7881242 h 19"/>
                <a:gd name="T18" fmla="*/ 1064436 w 10"/>
                <a:gd name="T19" fmla="*/ 8696832 h 19"/>
                <a:gd name="T20" fmla="*/ 3577445 w 10"/>
                <a:gd name="T21" fmla="*/ 10840510 h 19"/>
                <a:gd name="T22" fmla="*/ 1064436 w 10"/>
                <a:gd name="T23" fmla="*/ 11496685 h 19"/>
                <a:gd name="T24" fmla="*/ 1064436 w 10"/>
                <a:gd name="T25" fmla="*/ 12773055 h 19"/>
                <a:gd name="T26" fmla="*/ 5085394 w 10"/>
                <a:gd name="T27" fmla="*/ 14822601 h 19"/>
                <a:gd name="T28" fmla="*/ 9650293 w 10"/>
                <a:gd name="T29" fmla="*/ 17849252 h 19"/>
                <a:gd name="T30" fmla="*/ 11140513 w 10"/>
                <a:gd name="T31" fmla="*/ 12773055 h 19"/>
                <a:gd name="T32" fmla="*/ 9650293 w 10"/>
                <a:gd name="T33" fmla="*/ 11496685 h 19"/>
                <a:gd name="T34" fmla="*/ 9650293 w 10"/>
                <a:gd name="T35" fmla="*/ 9968069 h 1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"/>
                <a:gd name="T55" fmla="*/ 0 h 19"/>
                <a:gd name="T56" fmla="*/ 10 w 10"/>
                <a:gd name="T57" fmla="*/ 19 h 1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" h="19">
                  <a:moveTo>
                    <a:pt x="8" y="10"/>
                  </a:moveTo>
                  <a:cubicBezTo>
                    <a:pt x="8" y="8"/>
                    <a:pt x="8" y="7"/>
                    <a:pt x="7" y="5"/>
                  </a:cubicBezTo>
                  <a:cubicBezTo>
                    <a:pt x="6" y="4"/>
                    <a:pt x="5" y="3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0"/>
                    <a:pt x="3" y="0"/>
                    <a:pt x="3" y="1"/>
                  </a:cubicBezTo>
                  <a:cubicBezTo>
                    <a:pt x="2" y="1"/>
                    <a:pt x="1" y="2"/>
                    <a:pt x="1" y="3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1" y="5"/>
                    <a:pt x="2" y="5"/>
                    <a:pt x="2" y="6"/>
                  </a:cubicBezTo>
                  <a:cubicBezTo>
                    <a:pt x="3" y="7"/>
                    <a:pt x="2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2" y="10"/>
                    <a:pt x="3" y="10"/>
                    <a:pt x="3" y="11"/>
                  </a:cubicBezTo>
                  <a:cubicBezTo>
                    <a:pt x="2" y="12"/>
                    <a:pt x="1" y="12"/>
                    <a:pt x="1" y="12"/>
                  </a:cubicBezTo>
                  <a:cubicBezTo>
                    <a:pt x="1" y="12"/>
                    <a:pt x="1" y="13"/>
                    <a:pt x="1" y="13"/>
                  </a:cubicBezTo>
                  <a:cubicBezTo>
                    <a:pt x="2" y="13"/>
                    <a:pt x="4" y="14"/>
                    <a:pt x="4" y="15"/>
                  </a:cubicBezTo>
                  <a:cubicBezTo>
                    <a:pt x="5" y="16"/>
                    <a:pt x="6" y="19"/>
                    <a:pt x="8" y="18"/>
                  </a:cubicBezTo>
                  <a:cubicBezTo>
                    <a:pt x="10" y="17"/>
                    <a:pt x="10" y="15"/>
                    <a:pt x="9" y="13"/>
                  </a:cubicBezTo>
                  <a:cubicBezTo>
                    <a:pt x="9" y="13"/>
                    <a:pt x="9" y="12"/>
                    <a:pt x="8" y="12"/>
                  </a:cubicBezTo>
                  <a:cubicBezTo>
                    <a:pt x="8" y="11"/>
                    <a:pt x="8" y="11"/>
                    <a:pt x="8" y="1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1" name="Freeform 85"/>
            <p:cNvSpPr>
              <a:spLocks/>
            </p:cNvSpPr>
            <p:nvPr/>
          </p:nvSpPr>
          <p:spPr bwMode="auto">
            <a:xfrm>
              <a:off x="5506378" y="4717769"/>
              <a:ext cx="5801" cy="10879"/>
            </a:xfrm>
            <a:custGeom>
              <a:avLst/>
              <a:gdLst>
                <a:gd name="T0" fmla="*/ 1245675 w 5"/>
                <a:gd name="T1" fmla="*/ 1399401 h 10"/>
                <a:gd name="T2" fmla="*/ 940581 w 5"/>
                <a:gd name="T3" fmla="*/ 0 h 10"/>
                <a:gd name="T4" fmla="*/ 0 w 5"/>
                <a:gd name="T5" fmla="*/ 0 h 10"/>
                <a:gd name="T6" fmla="*/ 0 w 5"/>
                <a:gd name="T7" fmla="*/ 3218622 h 10"/>
                <a:gd name="T8" fmla="*/ 257371 w 5"/>
                <a:gd name="T9" fmla="*/ 6155913 h 10"/>
                <a:gd name="T10" fmla="*/ 566216 w 5"/>
                <a:gd name="T11" fmla="*/ 6155913 h 10"/>
                <a:gd name="T12" fmla="*/ 1500783 w 5"/>
                <a:gd name="T13" fmla="*/ 1855345 h 10"/>
                <a:gd name="T14" fmla="*/ 1245675 w 5"/>
                <a:gd name="T15" fmla="*/ 1399401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10"/>
                <a:gd name="T26" fmla="*/ 5 w 5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10">
                  <a:moveTo>
                    <a:pt x="4" y="2"/>
                  </a:moveTo>
                  <a:cubicBezTo>
                    <a:pt x="3" y="2"/>
                    <a:pt x="4" y="1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2" y="6"/>
                    <a:pt x="0" y="9"/>
                    <a:pt x="1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4" y="8"/>
                    <a:pt x="5" y="5"/>
                    <a:pt x="5" y="3"/>
                  </a:cubicBezTo>
                  <a:cubicBezTo>
                    <a:pt x="5" y="2"/>
                    <a:pt x="4" y="2"/>
                    <a:pt x="4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2" name="Freeform 86"/>
            <p:cNvSpPr>
              <a:spLocks/>
            </p:cNvSpPr>
            <p:nvPr/>
          </p:nvSpPr>
          <p:spPr bwMode="auto">
            <a:xfrm>
              <a:off x="5496953" y="4706893"/>
              <a:ext cx="16674" cy="9669"/>
            </a:xfrm>
            <a:custGeom>
              <a:avLst/>
              <a:gdLst>
                <a:gd name="T0" fmla="*/ 8321772 w 12"/>
                <a:gd name="T1" fmla="*/ 0 h 9"/>
                <a:gd name="T2" fmla="*/ 1147259 w 12"/>
                <a:gd name="T3" fmla="*/ 727531 h 9"/>
                <a:gd name="T4" fmla="*/ 1147259 w 12"/>
                <a:gd name="T5" fmla="*/ 2243220 h 9"/>
                <a:gd name="T6" fmla="*/ 3927944 w 12"/>
                <a:gd name="T7" fmla="*/ 6253179 h 9"/>
                <a:gd name="T8" fmla="*/ 5549682 w 12"/>
                <a:gd name="T9" fmla="*/ 6931749 h 9"/>
                <a:gd name="T10" fmla="*/ 8321772 w 12"/>
                <a:gd name="T11" fmla="*/ 4688532 h 9"/>
                <a:gd name="T12" fmla="*/ 13411727 w 12"/>
                <a:gd name="T13" fmla="*/ 6253179 h 9"/>
                <a:gd name="T14" fmla="*/ 10639125 w 12"/>
                <a:gd name="T15" fmla="*/ 3961001 h 9"/>
                <a:gd name="T16" fmla="*/ 10639125 w 12"/>
                <a:gd name="T17" fmla="*/ 2970751 h 9"/>
                <a:gd name="T18" fmla="*/ 16192411 w 12"/>
                <a:gd name="T19" fmla="*/ 2243220 h 9"/>
                <a:gd name="T20" fmla="*/ 16192411 w 12"/>
                <a:gd name="T21" fmla="*/ 1697572 h 9"/>
                <a:gd name="T22" fmla="*/ 12264884 w 12"/>
                <a:gd name="T23" fmla="*/ 0 h 9"/>
                <a:gd name="T24" fmla="*/ 8321772 w 12"/>
                <a:gd name="T25" fmla="*/ 0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2"/>
                <a:gd name="T40" fmla="*/ 0 h 9"/>
                <a:gd name="T41" fmla="*/ 12 w 12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2" h="9">
                  <a:moveTo>
                    <a:pt x="6" y="0"/>
                  </a:moveTo>
                  <a:cubicBezTo>
                    <a:pt x="5" y="0"/>
                    <a:pt x="3" y="0"/>
                    <a:pt x="1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2" y="5"/>
                    <a:pt x="2" y="7"/>
                    <a:pt x="3" y="8"/>
                  </a:cubicBezTo>
                  <a:cubicBezTo>
                    <a:pt x="3" y="9"/>
                    <a:pt x="4" y="9"/>
                    <a:pt x="4" y="9"/>
                  </a:cubicBezTo>
                  <a:cubicBezTo>
                    <a:pt x="4" y="8"/>
                    <a:pt x="4" y="6"/>
                    <a:pt x="6" y="6"/>
                  </a:cubicBezTo>
                  <a:cubicBezTo>
                    <a:pt x="6" y="8"/>
                    <a:pt x="8" y="8"/>
                    <a:pt x="10" y="8"/>
                  </a:cubicBezTo>
                  <a:cubicBezTo>
                    <a:pt x="10" y="7"/>
                    <a:pt x="9" y="6"/>
                    <a:pt x="8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3"/>
                    <a:pt x="11" y="4"/>
                    <a:pt x="12" y="3"/>
                  </a:cubicBezTo>
                  <a:cubicBezTo>
                    <a:pt x="12" y="3"/>
                    <a:pt x="12" y="2"/>
                    <a:pt x="12" y="2"/>
                  </a:cubicBezTo>
                  <a:cubicBezTo>
                    <a:pt x="11" y="1"/>
                    <a:pt x="10" y="0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3" name="Freeform 87"/>
            <p:cNvSpPr>
              <a:spLocks/>
            </p:cNvSpPr>
            <p:nvPr/>
          </p:nvSpPr>
          <p:spPr bwMode="auto">
            <a:xfrm>
              <a:off x="5513626" y="4707496"/>
              <a:ext cx="8699" cy="12088"/>
            </a:xfrm>
            <a:custGeom>
              <a:avLst/>
              <a:gdLst>
                <a:gd name="T0" fmla="*/ 727531 w 6"/>
                <a:gd name="T1" fmla="*/ 2007625 h 11"/>
                <a:gd name="T2" fmla="*/ 727531 w 6"/>
                <a:gd name="T3" fmla="*/ 8480159 h 11"/>
                <a:gd name="T4" fmla="*/ 727531 w 6"/>
                <a:gd name="T5" fmla="*/ 10341118 h 11"/>
                <a:gd name="T6" fmla="*/ 1697572 w 6"/>
                <a:gd name="T7" fmla="*/ 10341118 h 11"/>
                <a:gd name="T8" fmla="*/ 4688532 w 6"/>
                <a:gd name="T9" fmla="*/ 6840539 h 11"/>
                <a:gd name="T10" fmla="*/ 2970751 w 6"/>
                <a:gd name="T11" fmla="*/ 849380 h 11"/>
                <a:gd name="T12" fmla="*/ 1697572 w 6"/>
                <a:gd name="T13" fmla="*/ 849380 h 11"/>
                <a:gd name="T14" fmla="*/ 727531 w 6"/>
                <a:gd name="T15" fmla="*/ 2007625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11"/>
                <a:gd name="T26" fmla="*/ 6 w 6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11">
                  <a:moveTo>
                    <a:pt x="1" y="2"/>
                  </a:moveTo>
                  <a:cubicBezTo>
                    <a:pt x="0" y="5"/>
                    <a:pt x="2" y="7"/>
                    <a:pt x="1" y="9"/>
                  </a:cubicBezTo>
                  <a:cubicBezTo>
                    <a:pt x="1" y="10"/>
                    <a:pt x="1" y="11"/>
                    <a:pt x="1" y="11"/>
                  </a:cubicBezTo>
                  <a:cubicBezTo>
                    <a:pt x="1" y="11"/>
                    <a:pt x="2" y="11"/>
                    <a:pt x="2" y="11"/>
                  </a:cubicBezTo>
                  <a:cubicBezTo>
                    <a:pt x="3" y="10"/>
                    <a:pt x="5" y="9"/>
                    <a:pt x="6" y="7"/>
                  </a:cubicBezTo>
                  <a:cubicBezTo>
                    <a:pt x="6" y="5"/>
                    <a:pt x="6" y="2"/>
                    <a:pt x="4" y="1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1"/>
                    <a:pt x="1" y="2"/>
                    <a:pt x="1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4" name="Freeform 88"/>
            <p:cNvSpPr>
              <a:spLocks/>
            </p:cNvSpPr>
            <p:nvPr/>
          </p:nvSpPr>
          <p:spPr bwMode="auto">
            <a:xfrm>
              <a:off x="5519427" y="4719584"/>
              <a:ext cx="10151" cy="7856"/>
            </a:xfrm>
            <a:custGeom>
              <a:avLst/>
              <a:gdLst>
                <a:gd name="T0" fmla="*/ 5058432 w 8"/>
                <a:gd name="T1" fmla="*/ 2947589 h 7"/>
                <a:gd name="T2" fmla="*/ 0 w 8"/>
                <a:gd name="T3" fmla="*/ 1213713 h 7"/>
                <a:gd name="T4" fmla="*/ 0 w 8"/>
                <a:gd name="T5" fmla="*/ 5930334 h 7"/>
                <a:gd name="T6" fmla="*/ 2129866 w 8"/>
                <a:gd name="T7" fmla="*/ 10226328 h 7"/>
                <a:gd name="T8" fmla="*/ 4351847 w 8"/>
                <a:gd name="T9" fmla="*/ 10226328 h 7"/>
                <a:gd name="T10" fmla="*/ 5058432 w 8"/>
                <a:gd name="T11" fmla="*/ 7158428 h 7"/>
                <a:gd name="T12" fmla="*/ 7279645 w 8"/>
                <a:gd name="T13" fmla="*/ 7158428 h 7"/>
                <a:gd name="T14" fmla="*/ 7279645 w 8"/>
                <a:gd name="T15" fmla="*/ 5930334 h 7"/>
                <a:gd name="T16" fmla="*/ 5058432 w 8"/>
                <a:gd name="T17" fmla="*/ 2947589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7"/>
                <a:gd name="T29" fmla="*/ 8 w 8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7">
                  <a:moveTo>
                    <a:pt x="5" y="2"/>
                  </a:moveTo>
                  <a:cubicBezTo>
                    <a:pt x="3" y="1"/>
                    <a:pt x="2" y="0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5"/>
                    <a:pt x="1" y="6"/>
                    <a:pt x="2" y="7"/>
                  </a:cubicBezTo>
                  <a:cubicBezTo>
                    <a:pt x="3" y="7"/>
                    <a:pt x="4" y="7"/>
                    <a:pt x="4" y="7"/>
                  </a:cubicBezTo>
                  <a:cubicBezTo>
                    <a:pt x="5" y="7"/>
                    <a:pt x="4" y="5"/>
                    <a:pt x="5" y="5"/>
                  </a:cubicBezTo>
                  <a:cubicBezTo>
                    <a:pt x="5" y="4"/>
                    <a:pt x="6" y="5"/>
                    <a:pt x="7" y="5"/>
                  </a:cubicBezTo>
                  <a:cubicBezTo>
                    <a:pt x="7" y="5"/>
                    <a:pt x="8" y="4"/>
                    <a:pt x="7" y="4"/>
                  </a:cubicBezTo>
                  <a:cubicBezTo>
                    <a:pt x="7" y="3"/>
                    <a:pt x="5" y="3"/>
                    <a:pt x="5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5" name="Freeform 89"/>
            <p:cNvSpPr>
              <a:spLocks/>
            </p:cNvSpPr>
            <p:nvPr/>
          </p:nvSpPr>
          <p:spPr bwMode="auto">
            <a:xfrm>
              <a:off x="5513626" y="4722000"/>
              <a:ext cx="4350" cy="8460"/>
            </a:xfrm>
            <a:custGeom>
              <a:avLst/>
              <a:gdLst>
                <a:gd name="T0" fmla="*/ 2243220 w 3"/>
                <a:gd name="T1" fmla="*/ 4351847 h 8"/>
                <a:gd name="T2" fmla="*/ 2243220 w 3"/>
                <a:gd name="T3" fmla="*/ 896786 h 8"/>
                <a:gd name="T4" fmla="*/ 727531 w 3"/>
                <a:gd name="T5" fmla="*/ 0 h 8"/>
                <a:gd name="T6" fmla="*/ 0 w 3"/>
                <a:gd name="T7" fmla="*/ 8176458 h 8"/>
                <a:gd name="T8" fmla="*/ 727531 w 3"/>
                <a:gd name="T9" fmla="*/ 7279645 h 8"/>
                <a:gd name="T10" fmla="*/ 1697572 w 3"/>
                <a:gd name="T11" fmla="*/ 5058432 h 8"/>
                <a:gd name="T12" fmla="*/ 2243220 w 3"/>
                <a:gd name="T13" fmla="*/ 43518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8"/>
                <a:gd name="T23" fmla="*/ 3 w 3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8">
                  <a:moveTo>
                    <a:pt x="3" y="4"/>
                  </a:moveTo>
                  <a:cubicBezTo>
                    <a:pt x="3" y="3"/>
                    <a:pt x="3" y="2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2" y="6"/>
                    <a:pt x="3" y="7"/>
                    <a:pt x="2" y="5"/>
                  </a:cubicBezTo>
                  <a:cubicBezTo>
                    <a:pt x="3" y="5"/>
                    <a:pt x="3" y="4"/>
                    <a:pt x="3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6" name="Freeform 97"/>
            <p:cNvSpPr>
              <a:spLocks/>
            </p:cNvSpPr>
            <p:nvPr/>
          </p:nvSpPr>
          <p:spPr bwMode="auto">
            <a:xfrm>
              <a:off x="6889606" y="4785456"/>
              <a:ext cx="40597" cy="22964"/>
            </a:xfrm>
            <a:custGeom>
              <a:avLst/>
              <a:gdLst>
                <a:gd name="T0" fmla="*/ 0 w 30"/>
                <a:gd name="T1" fmla="*/ 4514290 h 21"/>
                <a:gd name="T2" fmla="*/ 727531 w 30"/>
                <a:gd name="T3" fmla="*/ 4514290 h 21"/>
                <a:gd name="T4" fmla="*/ 1697572 w 30"/>
                <a:gd name="T5" fmla="*/ 3149955 h 21"/>
                <a:gd name="T6" fmla="*/ 4688532 w 30"/>
                <a:gd name="T7" fmla="*/ 2284540 h 21"/>
                <a:gd name="T8" fmla="*/ 9242333 w 30"/>
                <a:gd name="T9" fmla="*/ 959507 h 21"/>
                <a:gd name="T10" fmla="*/ 10939910 w 30"/>
                <a:gd name="T11" fmla="*/ 959507 h 21"/>
                <a:gd name="T12" fmla="*/ 14590764 w 30"/>
                <a:gd name="T13" fmla="*/ 0 h 21"/>
                <a:gd name="T14" fmla="*/ 16901612 w 30"/>
                <a:gd name="T15" fmla="*/ 0 h 21"/>
                <a:gd name="T16" fmla="*/ 18594716 w 30"/>
                <a:gd name="T17" fmla="*/ 3149955 h 21"/>
                <a:gd name="T18" fmla="*/ 19144832 w 30"/>
                <a:gd name="T19" fmla="*/ 6246233 h 21"/>
                <a:gd name="T20" fmla="*/ 20837921 w 30"/>
                <a:gd name="T21" fmla="*/ 7499890 h 21"/>
                <a:gd name="T22" fmla="*/ 21565436 w 30"/>
                <a:gd name="T23" fmla="*/ 9396189 h 21"/>
                <a:gd name="T24" fmla="*/ 23105809 w 30"/>
                <a:gd name="T25" fmla="*/ 11680953 h 21"/>
                <a:gd name="T26" fmla="*/ 23105809 w 30"/>
                <a:gd name="T27" fmla="*/ 12950905 h 21"/>
                <a:gd name="T28" fmla="*/ 20101652 w 30"/>
                <a:gd name="T29" fmla="*/ 11680953 h 21"/>
                <a:gd name="T30" fmla="*/ 19144832 w 30"/>
                <a:gd name="T31" fmla="*/ 12950905 h 21"/>
                <a:gd name="T32" fmla="*/ 19144832 w 30"/>
                <a:gd name="T33" fmla="*/ 14871980 h 21"/>
                <a:gd name="T34" fmla="*/ 19144832 w 30"/>
                <a:gd name="T35" fmla="*/ 17856874 h 21"/>
                <a:gd name="T36" fmla="*/ 19144832 w 30"/>
                <a:gd name="T37" fmla="*/ 17856874 h 21"/>
                <a:gd name="T38" fmla="*/ 19144832 w 30"/>
                <a:gd name="T39" fmla="*/ 21410687 h 21"/>
                <a:gd name="T40" fmla="*/ 19144832 w 30"/>
                <a:gd name="T41" fmla="*/ 21410687 h 21"/>
                <a:gd name="T42" fmla="*/ 16901612 w 30"/>
                <a:gd name="T43" fmla="*/ 21410687 h 21"/>
                <a:gd name="T44" fmla="*/ 13906434 w 30"/>
                <a:gd name="T45" fmla="*/ 17856874 h 21"/>
                <a:gd name="T46" fmla="*/ 11620011 w 30"/>
                <a:gd name="T47" fmla="*/ 16919961 h 21"/>
                <a:gd name="T48" fmla="*/ 9902491 w 30"/>
                <a:gd name="T49" fmla="*/ 13910476 h 21"/>
                <a:gd name="T50" fmla="*/ 727531 w 30"/>
                <a:gd name="T51" fmla="*/ 5439381 h 21"/>
                <a:gd name="T52" fmla="*/ 0 w 30"/>
                <a:gd name="T53" fmla="*/ 4514290 h 2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0"/>
                <a:gd name="T82" fmla="*/ 0 h 21"/>
                <a:gd name="T83" fmla="*/ 30 w 30"/>
                <a:gd name="T84" fmla="*/ 21 h 2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0" h="21">
                  <a:moveTo>
                    <a:pt x="0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2"/>
                    <a:pt x="5" y="3"/>
                    <a:pt x="6" y="2"/>
                  </a:cubicBezTo>
                  <a:cubicBezTo>
                    <a:pt x="8" y="1"/>
                    <a:pt x="10" y="1"/>
                    <a:pt x="12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7" y="1"/>
                    <a:pt x="19" y="0"/>
                  </a:cubicBezTo>
                  <a:cubicBezTo>
                    <a:pt x="20" y="0"/>
                    <a:pt x="21" y="0"/>
                    <a:pt x="22" y="0"/>
                  </a:cubicBezTo>
                  <a:cubicBezTo>
                    <a:pt x="24" y="1"/>
                    <a:pt x="24" y="2"/>
                    <a:pt x="24" y="3"/>
                  </a:cubicBezTo>
                  <a:cubicBezTo>
                    <a:pt x="25" y="5"/>
                    <a:pt x="24" y="5"/>
                    <a:pt x="25" y="6"/>
                  </a:cubicBezTo>
                  <a:cubicBezTo>
                    <a:pt x="26" y="7"/>
                    <a:pt x="27" y="7"/>
                    <a:pt x="27" y="7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9" y="9"/>
                    <a:pt x="30" y="10"/>
                    <a:pt x="30" y="11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1"/>
                    <a:pt x="28" y="11"/>
                    <a:pt x="26" y="11"/>
                  </a:cubicBezTo>
                  <a:cubicBezTo>
                    <a:pt x="26" y="11"/>
                    <a:pt x="25" y="12"/>
                    <a:pt x="25" y="12"/>
                  </a:cubicBezTo>
                  <a:cubicBezTo>
                    <a:pt x="25" y="13"/>
                    <a:pt x="25" y="13"/>
                    <a:pt x="25" y="14"/>
                  </a:cubicBezTo>
                  <a:cubicBezTo>
                    <a:pt x="24" y="15"/>
                    <a:pt x="25" y="16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8"/>
                    <a:pt x="25" y="19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3" y="21"/>
                    <a:pt x="22" y="20"/>
                  </a:cubicBezTo>
                  <a:cubicBezTo>
                    <a:pt x="20" y="20"/>
                    <a:pt x="19" y="18"/>
                    <a:pt x="18" y="17"/>
                  </a:cubicBezTo>
                  <a:cubicBezTo>
                    <a:pt x="17" y="16"/>
                    <a:pt x="16" y="16"/>
                    <a:pt x="15" y="16"/>
                  </a:cubicBezTo>
                  <a:cubicBezTo>
                    <a:pt x="14" y="15"/>
                    <a:pt x="14" y="13"/>
                    <a:pt x="13" y="13"/>
                  </a:cubicBezTo>
                  <a:cubicBezTo>
                    <a:pt x="9" y="11"/>
                    <a:pt x="4" y="9"/>
                    <a:pt x="1" y="5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7" name="Freeform 98"/>
            <p:cNvSpPr>
              <a:spLocks/>
            </p:cNvSpPr>
            <p:nvPr/>
          </p:nvSpPr>
          <p:spPr bwMode="auto">
            <a:xfrm>
              <a:off x="6905555" y="4760677"/>
              <a:ext cx="31175" cy="32030"/>
            </a:xfrm>
            <a:custGeom>
              <a:avLst/>
              <a:gdLst>
                <a:gd name="T0" fmla="*/ 12713535 w 23"/>
                <a:gd name="T1" fmla="*/ 23105809 h 30"/>
                <a:gd name="T2" fmla="*/ 11241599 w 23"/>
                <a:gd name="T3" fmla="*/ 22560164 h 30"/>
                <a:gd name="T4" fmla="*/ 10214021 w 23"/>
                <a:gd name="T5" fmla="*/ 20101652 h 30"/>
                <a:gd name="T6" fmla="*/ 8361068 w 23"/>
                <a:gd name="T7" fmla="*/ 17871663 h 30"/>
                <a:gd name="T8" fmla="*/ 5868462 w 23"/>
                <a:gd name="T9" fmla="*/ 17871663 h 30"/>
                <a:gd name="T10" fmla="*/ 1852956 w 23"/>
                <a:gd name="T11" fmla="*/ 18594716 h 30"/>
                <a:gd name="T12" fmla="*/ 0 w 23"/>
                <a:gd name="T13" fmla="*/ 18594716 h 30"/>
                <a:gd name="T14" fmla="*/ 789222 w 23"/>
                <a:gd name="T15" fmla="*/ 16901612 h 30"/>
                <a:gd name="T16" fmla="*/ 1852956 w 23"/>
                <a:gd name="T17" fmla="*/ 16174079 h 30"/>
                <a:gd name="T18" fmla="*/ 1852956 w 23"/>
                <a:gd name="T19" fmla="*/ 14590764 h 30"/>
                <a:gd name="T20" fmla="*/ 1852956 w 23"/>
                <a:gd name="T21" fmla="*/ 11620011 h 30"/>
                <a:gd name="T22" fmla="*/ 3227747 w 23"/>
                <a:gd name="T23" fmla="*/ 9902491 h 30"/>
                <a:gd name="T24" fmla="*/ 4350418 w 23"/>
                <a:gd name="T25" fmla="*/ 3961001 h 30"/>
                <a:gd name="T26" fmla="*/ 7578186 w 23"/>
                <a:gd name="T27" fmla="*/ 4688532 h 30"/>
                <a:gd name="T28" fmla="*/ 8361068 w 23"/>
                <a:gd name="T29" fmla="*/ 9242333 h 30"/>
                <a:gd name="T30" fmla="*/ 10214021 w 23"/>
                <a:gd name="T31" fmla="*/ 9242333 h 30"/>
                <a:gd name="T32" fmla="*/ 9424793 w 23"/>
                <a:gd name="T33" fmla="*/ 3961001 h 30"/>
                <a:gd name="T34" fmla="*/ 10214021 w 23"/>
                <a:gd name="T35" fmla="*/ 1697572 h 30"/>
                <a:gd name="T36" fmla="*/ 12713535 w 23"/>
                <a:gd name="T37" fmla="*/ 1697572 h 30"/>
                <a:gd name="T38" fmla="*/ 17792257 w 23"/>
                <a:gd name="T39" fmla="*/ 727531 h 30"/>
                <a:gd name="T40" fmla="*/ 19630332 w 23"/>
                <a:gd name="T41" fmla="*/ 1697572 h 30"/>
                <a:gd name="T42" fmla="*/ 19630332 w 23"/>
                <a:gd name="T43" fmla="*/ 2243220 h 30"/>
                <a:gd name="T44" fmla="*/ 18819769 w 23"/>
                <a:gd name="T45" fmla="*/ 6931751 h 30"/>
                <a:gd name="T46" fmla="*/ 17003040 w 23"/>
                <a:gd name="T47" fmla="*/ 7659284 h 30"/>
                <a:gd name="T48" fmla="*/ 17003040 w 23"/>
                <a:gd name="T49" fmla="*/ 11620011 h 30"/>
                <a:gd name="T50" fmla="*/ 15292894 w 23"/>
                <a:gd name="T51" fmla="*/ 13184931 h 30"/>
                <a:gd name="T52" fmla="*/ 14564485 w 23"/>
                <a:gd name="T53" fmla="*/ 14590764 h 30"/>
                <a:gd name="T54" fmla="*/ 12713535 w 23"/>
                <a:gd name="T55" fmla="*/ 16174079 h 30"/>
                <a:gd name="T56" fmla="*/ 12713535 w 23"/>
                <a:gd name="T57" fmla="*/ 23105809 h 3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3"/>
                <a:gd name="T88" fmla="*/ 0 h 30"/>
                <a:gd name="T89" fmla="*/ 23 w 23"/>
                <a:gd name="T90" fmla="*/ 30 h 3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3" h="30">
                  <a:moveTo>
                    <a:pt x="15" y="30"/>
                  </a:moveTo>
                  <a:cubicBezTo>
                    <a:pt x="15" y="30"/>
                    <a:pt x="14" y="30"/>
                    <a:pt x="13" y="29"/>
                  </a:cubicBezTo>
                  <a:cubicBezTo>
                    <a:pt x="12" y="28"/>
                    <a:pt x="13" y="28"/>
                    <a:pt x="12" y="26"/>
                  </a:cubicBezTo>
                  <a:cubicBezTo>
                    <a:pt x="12" y="25"/>
                    <a:pt x="12" y="24"/>
                    <a:pt x="10" y="23"/>
                  </a:cubicBezTo>
                  <a:cubicBezTo>
                    <a:pt x="9" y="23"/>
                    <a:pt x="8" y="23"/>
                    <a:pt x="7" y="23"/>
                  </a:cubicBezTo>
                  <a:cubicBezTo>
                    <a:pt x="5" y="24"/>
                    <a:pt x="4" y="23"/>
                    <a:pt x="2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" y="23"/>
                    <a:pt x="0" y="22"/>
                    <a:pt x="1" y="22"/>
                  </a:cubicBezTo>
                  <a:cubicBezTo>
                    <a:pt x="1" y="22"/>
                    <a:pt x="2" y="22"/>
                    <a:pt x="2" y="21"/>
                  </a:cubicBezTo>
                  <a:cubicBezTo>
                    <a:pt x="3" y="21"/>
                    <a:pt x="2" y="20"/>
                    <a:pt x="2" y="19"/>
                  </a:cubicBezTo>
                  <a:cubicBezTo>
                    <a:pt x="1" y="18"/>
                    <a:pt x="1" y="16"/>
                    <a:pt x="2" y="15"/>
                  </a:cubicBezTo>
                  <a:cubicBezTo>
                    <a:pt x="2" y="15"/>
                    <a:pt x="4" y="14"/>
                    <a:pt x="4" y="13"/>
                  </a:cubicBezTo>
                  <a:cubicBezTo>
                    <a:pt x="5" y="10"/>
                    <a:pt x="4" y="7"/>
                    <a:pt x="5" y="5"/>
                  </a:cubicBezTo>
                  <a:cubicBezTo>
                    <a:pt x="7" y="5"/>
                    <a:pt x="8" y="5"/>
                    <a:pt x="9" y="6"/>
                  </a:cubicBezTo>
                  <a:cubicBezTo>
                    <a:pt x="10" y="8"/>
                    <a:pt x="9" y="10"/>
                    <a:pt x="10" y="12"/>
                  </a:cubicBezTo>
                  <a:cubicBezTo>
                    <a:pt x="10" y="13"/>
                    <a:pt x="12" y="12"/>
                    <a:pt x="12" y="12"/>
                  </a:cubicBezTo>
                  <a:cubicBezTo>
                    <a:pt x="12" y="9"/>
                    <a:pt x="12" y="7"/>
                    <a:pt x="11" y="5"/>
                  </a:cubicBezTo>
                  <a:cubicBezTo>
                    <a:pt x="10" y="4"/>
                    <a:pt x="11" y="2"/>
                    <a:pt x="12" y="2"/>
                  </a:cubicBezTo>
                  <a:cubicBezTo>
                    <a:pt x="13" y="2"/>
                    <a:pt x="14" y="2"/>
                    <a:pt x="15" y="2"/>
                  </a:cubicBezTo>
                  <a:cubicBezTo>
                    <a:pt x="17" y="1"/>
                    <a:pt x="19" y="0"/>
                    <a:pt x="21" y="1"/>
                  </a:cubicBezTo>
                  <a:cubicBezTo>
                    <a:pt x="21" y="1"/>
                    <a:pt x="22" y="3"/>
                    <a:pt x="23" y="2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5"/>
                    <a:pt x="23" y="7"/>
                    <a:pt x="22" y="9"/>
                  </a:cubicBezTo>
                  <a:cubicBezTo>
                    <a:pt x="21" y="9"/>
                    <a:pt x="20" y="9"/>
                    <a:pt x="20" y="10"/>
                  </a:cubicBezTo>
                  <a:cubicBezTo>
                    <a:pt x="20" y="12"/>
                    <a:pt x="20" y="13"/>
                    <a:pt x="20" y="15"/>
                  </a:cubicBezTo>
                  <a:cubicBezTo>
                    <a:pt x="19" y="16"/>
                    <a:pt x="18" y="16"/>
                    <a:pt x="18" y="17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20"/>
                    <a:pt x="16" y="20"/>
                    <a:pt x="15" y="21"/>
                  </a:cubicBezTo>
                  <a:cubicBezTo>
                    <a:pt x="15" y="24"/>
                    <a:pt x="15" y="27"/>
                    <a:pt x="15" y="30"/>
                  </a:cubicBezTo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8" name="Freeform 99"/>
            <p:cNvSpPr>
              <a:spLocks/>
            </p:cNvSpPr>
            <p:nvPr/>
          </p:nvSpPr>
          <p:spPr bwMode="auto">
            <a:xfrm>
              <a:off x="6925853" y="4743757"/>
              <a:ext cx="90621" cy="90651"/>
            </a:xfrm>
            <a:custGeom>
              <a:avLst/>
              <a:gdLst>
                <a:gd name="T0" fmla="*/ 8997191 w 67"/>
                <a:gd name="T1" fmla="*/ 13592483 h 84"/>
                <a:gd name="T2" fmla="*/ 14010851 w 67"/>
                <a:gd name="T3" fmla="*/ 12766088 h 84"/>
                <a:gd name="T4" fmla="*/ 15285508 w 67"/>
                <a:gd name="T5" fmla="*/ 14713191 h 84"/>
                <a:gd name="T6" fmla="*/ 21351526 w 67"/>
                <a:gd name="T7" fmla="*/ 10823096 h 84"/>
                <a:gd name="T8" fmla="*/ 19238759 w 67"/>
                <a:gd name="T9" fmla="*/ 1947959 h 84"/>
                <a:gd name="T10" fmla="*/ 19238759 w 67"/>
                <a:gd name="T11" fmla="*/ 0 h 84"/>
                <a:gd name="T12" fmla="*/ 28235948 w 67"/>
                <a:gd name="T13" fmla="*/ 0 h 84"/>
                <a:gd name="T14" fmla="*/ 49447383 w 67"/>
                <a:gd name="T15" fmla="*/ 6241960 h 84"/>
                <a:gd name="T16" fmla="*/ 63966554 w 67"/>
                <a:gd name="T17" fmla="*/ 8174844 h 84"/>
                <a:gd name="T18" fmla="*/ 61763641 w 67"/>
                <a:gd name="T19" fmla="*/ 19269273 h 84"/>
                <a:gd name="T20" fmla="*/ 62691934 w 67"/>
                <a:gd name="T21" fmla="*/ 30864540 h 84"/>
                <a:gd name="T22" fmla="*/ 67007657 w 67"/>
                <a:gd name="T23" fmla="*/ 38064251 h 84"/>
                <a:gd name="T24" fmla="*/ 67007657 w 67"/>
                <a:gd name="T25" fmla="*/ 38890646 h 84"/>
                <a:gd name="T26" fmla="*/ 61763641 w 67"/>
                <a:gd name="T27" fmla="*/ 41687414 h 84"/>
                <a:gd name="T28" fmla="*/ 56787996 w 67"/>
                <a:gd name="T29" fmla="*/ 42857575 h 84"/>
                <a:gd name="T30" fmla="*/ 49447383 w 67"/>
                <a:gd name="T31" fmla="*/ 46240583 h 84"/>
                <a:gd name="T32" fmla="*/ 46546427 w 67"/>
                <a:gd name="T33" fmla="*/ 48187733 h 84"/>
                <a:gd name="T34" fmla="*/ 47768913 w 67"/>
                <a:gd name="T35" fmla="*/ 50835991 h 84"/>
                <a:gd name="T36" fmla="*/ 51560117 w 67"/>
                <a:gd name="T37" fmla="*/ 58186503 h 84"/>
                <a:gd name="T38" fmla="*/ 56787996 w 67"/>
                <a:gd name="T39" fmla="*/ 62755097 h 84"/>
                <a:gd name="T40" fmla="*/ 57464131 w 67"/>
                <a:gd name="T41" fmla="*/ 62755097 h 84"/>
                <a:gd name="T42" fmla="*/ 55859703 w 67"/>
                <a:gd name="T43" fmla="*/ 66223905 h 84"/>
                <a:gd name="T44" fmla="*/ 51560117 w 67"/>
                <a:gd name="T45" fmla="*/ 68171847 h 84"/>
                <a:gd name="T46" fmla="*/ 51560117 w 67"/>
                <a:gd name="T47" fmla="*/ 70105571 h 84"/>
                <a:gd name="T48" fmla="*/ 50670021 w 67"/>
                <a:gd name="T49" fmla="*/ 71576880 h 84"/>
                <a:gd name="T50" fmla="*/ 42563018 w 67"/>
                <a:gd name="T51" fmla="*/ 73571663 h 84"/>
                <a:gd name="T52" fmla="*/ 36274547 w 67"/>
                <a:gd name="T53" fmla="*/ 74346239 h 84"/>
                <a:gd name="T54" fmla="*/ 34524314 w 67"/>
                <a:gd name="T55" fmla="*/ 72752094 h 84"/>
                <a:gd name="T56" fmla="*/ 30208629 w 67"/>
                <a:gd name="T57" fmla="*/ 74346239 h 84"/>
                <a:gd name="T58" fmla="*/ 28235948 w 67"/>
                <a:gd name="T59" fmla="*/ 71576880 h 84"/>
                <a:gd name="T60" fmla="*/ 19238759 w 67"/>
                <a:gd name="T61" fmla="*/ 73571663 h 84"/>
                <a:gd name="T62" fmla="*/ 11898173 w 67"/>
                <a:gd name="T63" fmla="*/ 73571663 h 84"/>
                <a:gd name="T64" fmla="*/ 11898173 w 67"/>
                <a:gd name="T65" fmla="*/ 74346239 h 84"/>
                <a:gd name="T66" fmla="*/ 11131851 w 67"/>
                <a:gd name="T67" fmla="*/ 68993226 h 84"/>
                <a:gd name="T68" fmla="*/ 13334802 w 67"/>
                <a:gd name="T69" fmla="*/ 66223905 h 84"/>
                <a:gd name="T70" fmla="*/ 15285508 w 67"/>
                <a:gd name="T71" fmla="*/ 61632267 h 84"/>
                <a:gd name="T72" fmla="*/ 16213802 w 67"/>
                <a:gd name="T73" fmla="*/ 59010861 h 84"/>
                <a:gd name="T74" fmla="*/ 14010851 w 67"/>
                <a:gd name="T75" fmla="*/ 58186503 h 84"/>
                <a:gd name="T76" fmla="*/ 8997191 w 67"/>
                <a:gd name="T77" fmla="*/ 56252779 h 84"/>
                <a:gd name="T78" fmla="*/ 3024951 w 67"/>
                <a:gd name="T79" fmla="*/ 55389462 h 84"/>
                <a:gd name="T80" fmla="*/ 890253 w 67"/>
                <a:gd name="T81" fmla="*/ 43481784 h 84"/>
                <a:gd name="T82" fmla="*/ 2112690 w 67"/>
                <a:gd name="T83" fmla="*/ 32039415 h 84"/>
                <a:gd name="T84" fmla="*/ 5013697 w 67"/>
                <a:gd name="T85" fmla="*/ 28094992 h 84"/>
                <a:gd name="T86" fmla="*/ 7178612 w 67"/>
                <a:gd name="T87" fmla="*/ 22742187 h 84"/>
                <a:gd name="T88" fmla="*/ 8106901 w 67"/>
                <a:gd name="T89" fmla="*/ 16148473 h 8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"/>
                <a:gd name="T136" fmla="*/ 0 h 84"/>
                <a:gd name="T137" fmla="*/ 67 w 67"/>
                <a:gd name="T138" fmla="*/ 84 h 8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" h="84">
                  <a:moveTo>
                    <a:pt x="8" y="18"/>
                  </a:moveTo>
                  <a:cubicBezTo>
                    <a:pt x="9" y="17"/>
                    <a:pt x="8" y="16"/>
                    <a:pt x="9" y="15"/>
                  </a:cubicBezTo>
                  <a:cubicBezTo>
                    <a:pt x="10" y="14"/>
                    <a:pt x="10" y="14"/>
                    <a:pt x="11" y="14"/>
                  </a:cubicBezTo>
                  <a:cubicBezTo>
                    <a:pt x="12" y="13"/>
                    <a:pt x="13" y="13"/>
                    <a:pt x="14" y="14"/>
                  </a:cubicBezTo>
                  <a:cubicBezTo>
                    <a:pt x="15" y="14"/>
                    <a:pt x="15" y="15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5"/>
                    <a:pt x="16" y="15"/>
                    <a:pt x="17" y="14"/>
                  </a:cubicBezTo>
                  <a:cubicBezTo>
                    <a:pt x="18" y="13"/>
                    <a:pt x="19" y="12"/>
                    <a:pt x="21" y="12"/>
                  </a:cubicBezTo>
                  <a:cubicBezTo>
                    <a:pt x="21" y="10"/>
                    <a:pt x="21" y="8"/>
                    <a:pt x="21" y="6"/>
                  </a:cubicBezTo>
                  <a:cubicBezTo>
                    <a:pt x="21" y="5"/>
                    <a:pt x="19" y="4"/>
                    <a:pt x="19" y="2"/>
                  </a:cubicBezTo>
                  <a:cubicBezTo>
                    <a:pt x="19" y="2"/>
                    <a:pt x="19" y="1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2" y="0"/>
                    <a:pt x="24" y="0"/>
                    <a:pt x="2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2"/>
                    <a:pt x="30" y="5"/>
                    <a:pt x="31" y="7"/>
                  </a:cubicBezTo>
                  <a:cubicBezTo>
                    <a:pt x="37" y="7"/>
                    <a:pt x="43" y="7"/>
                    <a:pt x="49" y="7"/>
                  </a:cubicBezTo>
                  <a:cubicBezTo>
                    <a:pt x="51" y="7"/>
                    <a:pt x="54" y="9"/>
                    <a:pt x="56" y="9"/>
                  </a:cubicBezTo>
                  <a:cubicBezTo>
                    <a:pt x="58" y="10"/>
                    <a:pt x="61" y="10"/>
                    <a:pt x="63" y="9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3" y="14"/>
                    <a:pt x="63" y="18"/>
                    <a:pt x="61" y="21"/>
                  </a:cubicBezTo>
                  <a:cubicBezTo>
                    <a:pt x="60" y="22"/>
                    <a:pt x="60" y="24"/>
                    <a:pt x="62" y="24"/>
                  </a:cubicBezTo>
                  <a:cubicBezTo>
                    <a:pt x="63" y="28"/>
                    <a:pt x="62" y="31"/>
                    <a:pt x="62" y="34"/>
                  </a:cubicBezTo>
                  <a:cubicBezTo>
                    <a:pt x="63" y="35"/>
                    <a:pt x="64" y="36"/>
                    <a:pt x="64" y="37"/>
                  </a:cubicBezTo>
                  <a:cubicBezTo>
                    <a:pt x="65" y="39"/>
                    <a:pt x="66" y="40"/>
                    <a:pt x="66" y="42"/>
                  </a:cubicBezTo>
                  <a:cubicBezTo>
                    <a:pt x="67" y="42"/>
                    <a:pt x="67" y="43"/>
                    <a:pt x="67" y="4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5" y="43"/>
                    <a:pt x="63" y="42"/>
                    <a:pt x="61" y="42"/>
                  </a:cubicBezTo>
                  <a:cubicBezTo>
                    <a:pt x="60" y="43"/>
                    <a:pt x="61" y="45"/>
                    <a:pt x="61" y="46"/>
                  </a:cubicBezTo>
                  <a:cubicBezTo>
                    <a:pt x="61" y="46"/>
                    <a:pt x="60" y="47"/>
                    <a:pt x="60" y="47"/>
                  </a:cubicBezTo>
                  <a:cubicBezTo>
                    <a:pt x="58" y="47"/>
                    <a:pt x="57" y="47"/>
                    <a:pt x="56" y="47"/>
                  </a:cubicBezTo>
                  <a:cubicBezTo>
                    <a:pt x="54" y="48"/>
                    <a:pt x="54" y="49"/>
                    <a:pt x="53" y="50"/>
                  </a:cubicBezTo>
                  <a:cubicBezTo>
                    <a:pt x="51" y="50"/>
                    <a:pt x="51" y="51"/>
                    <a:pt x="49" y="51"/>
                  </a:cubicBezTo>
                  <a:cubicBezTo>
                    <a:pt x="49" y="52"/>
                    <a:pt x="49" y="52"/>
                    <a:pt x="48" y="52"/>
                  </a:cubicBezTo>
                  <a:cubicBezTo>
                    <a:pt x="47" y="53"/>
                    <a:pt x="46" y="53"/>
                    <a:pt x="46" y="53"/>
                  </a:cubicBezTo>
                  <a:cubicBezTo>
                    <a:pt x="45" y="54"/>
                    <a:pt x="45" y="54"/>
                    <a:pt x="46" y="55"/>
                  </a:cubicBezTo>
                  <a:cubicBezTo>
                    <a:pt x="46" y="55"/>
                    <a:pt x="47" y="56"/>
                    <a:pt x="47" y="56"/>
                  </a:cubicBezTo>
                  <a:cubicBezTo>
                    <a:pt x="48" y="57"/>
                    <a:pt x="48" y="58"/>
                    <a:pt x="48" y="60"/>
                  </a:cubicBezTo>
                  <a:cubicBezTo>
                    <a:pt x="49" y="61"/>
                    <a:pt x="50" y="63"/>
                    <a:pt x="51" y="64"/>
                  </a:cubicBezTo>
                  <a:cubicBezTo>
                    <a:pt x="51" y="65"/>
                    <a:pt x="52" y="65"/>
                    <a:pt x="53" y="65"/>
                  </a:cubicBezTo>
                  <a:cubicBezTo>
                    <a:pt x="54" y="66"/>
                    <a:pt x="55" y="68"/>
                    <a:pt x="56" y="69"/>
                  </a:cubicBezTo>
                  <a:cubicBezTo>
                    <a:pt x="57" y="69"/>
                    <a:pt x="57" y="69"/>
                    <a:pt x="58" y="69"/>
                  </a:cubicBezTo>
                  <a:cubicBezTo>
                    <a:pt x="57" y="69"/>
                    <a:pt x="57" y="69"/>
                    <a:pt x="57" y="69"/>
                  </a:cubicBezTo>
                  <a:cubicBezTo>
                    <a:pt x="57" y="70"/>
                    <a:pt x="57" y="71"/>
                    <a:pt x="56" y="72"/>
                  </a:cubicBezTo>
                  <a:cubicBezTo>
                    <a:pt x="56" y="72"/>
                    <a:pt x="56" y="73"/>
                    <a:pt x="55" y="73"/>
                  </a:cubicBezTo>
                  <a:cubicBezTo>
                    <a:pt x="55" y="73"/>
                    <a:pt x="54" y="73"/>
                    <a:pt x="53" y="73"/>
                  </a:cubicBezTo>
                  <a:cubicBezTo>
                    <a:pt x="52" y="73"/>
                    <a:pt x="52" y="74"/>
                    <a:pt x="51" y="75"/>
                  </a:cubicBez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0" y="77"/>
                    <a:pt x="51" y="77"/>
                  </a:cubicBezTo>
                  <a:cubicBezTo>
                    <a:pt x="51" y="77"/>
                    <a:pt x="51" y="77"/>
                    <a:pt x="52" y="77"/>
                  </a:cubicBezTo>
                  <a:cubicBezTo>
                    <a:pt x="52" y="79"/>
                    <a:pt x="51" y="79"/>
                    <a:pt x="50" y="79"/>
                  </a:cubicBezTo>
                  <a:cubicBezTo>
                    <a:pt x="48" y="80"/>
                    <a:pt x="45" y="79"/>
                    <a:pt x="43" y="80"/>
                  </a:cubicBezTo>
                  <a:cubicBezTo>
                    <a:pt x="43" y="80"/>
                    <a:pt x="42" y="80"/>
                    <a:pt x="42" y="81"/>
                  </a:cubicBezTo>
                  <a:cubicBezTo>
                    <a:pt x="41" y="81"/>
                    <a:pt x="39" y="81"/>
                    <a:pt x="38" y="82"/>
                  </a:cubicBezTo>
                  <a:cubicBezTo>
                    <a:pt x="37" y="82"/>
                    <a:pt x="37" y="82"/>
                    <a:pt x="36" y="82"/>
                  </a:cubicBezTo>
                  <a:cubicBezTo>
                    <a:pt x="36" y="81"/>
                    <a:pt x="36" y="80"/>
                    <a:pt x="35" y="80"/>
                  </a:cubicBezTo>
                  <a:cubicBezTo>
                    <a:pt x="35" y="80"/>
                    <a:pt x="34" y="80"/>
                    <a:pt x="34" y="80"/>
                  </a:cubicBezTo>
                  <a:cubicBezTo>
                    <a:pt x="33" y="81"/>
                    <a:pt x="34" y="84"/>
                    <a:pt x="32" y="83"/>
                  </a:cubicBezTo>
                  <a:cubicBezTo>
                    <a:pt x="31" y="83"/>
                    <a:pt x="31" y="82"/>
                    <a:pt x="30" y="82"/>
                  </a:cubicBezTo>
                  <a:cubicBezTo>
                    <a:pt x="29" y="82"/>
                    <a:pt x="29" y="82"/>
                    <a:pt x="28" y="82"/>
                  </a:cubicBezTo>
                  <a:cubicBezTo>
                    <a:pt x="28" y="81"/>
                    <a:pt x="28" y="80"/>
                    <a:pt x="28" y="79"/>
                  </a:cubicBezTo>
                  <a:cubicBezTo>
                    <a:pt x="25" y="80"/>
                    <a:pt x="23" y="79"/>
                    <a:pt x="20" y="80"/>
                  </a:cubicBezTo>
                  <a:cubicBezTo>
                    <a:pt x="19" y="80"/>
                    <a:pt x="19" y="81"/>
                    <a:pt x="19" y="81"/>
                  </a:cubicBezTo>
                  <a:cubicBezTo>
                    <a:pt x="17" y="81"/>
                    <a:pt x="15" y="81"/>
                    <a:pt x="13" y="81"/>
                  </a:cubicBezTo>
                  <a:cubicBezTo>
                    <a:pt x="13" y="81"/>
                    <a:pt x="12" y="81"/>
                    <a:pt x="12" y="81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1"/>
                    <a:pt x="11" y="81"/>
                    <a:pt x="11" y="80"/>
                  </a:cubicBezTo>
                  <a:cubicBezTo>
                    <a:pt x="11" y="78"/>
                    <a:pt x="11" y="77"/>
                    <a:pt x="11" y="76"/>
                  </a:cubicBezTo>
                  <a:cubicBezTo>
                    <a:pt x="11" y="76"/>
                    <a:pt x="11" y="76"/>
                    <a:pt x="12" y="75"/>
                  </a:cubicBezTo>
                  <a:cubicBezTo>
                    <a:pt x="12" y="75"/>
                    <a:pt x="12" y="74"/>
                    <a:pt x="13" y="73"/>
                  </a:cubicBezTo>
                  <a:cubicBezTo>
                    <a:pt x="13" y="72"/>
                    <a:pt x="13" y="71"/>
                    <a:pt x="13" y="70"/>
                  </a:cubicBezTo>
                  <a:cubicBezTo>
                    <a:pt x="14" y="69"/>
                    <a:pt x="14" y="69"/>
                    <a:pt x="15" y="68"/>
                  </a:cubicBezTo>
                  <a:cubicBezTo>
                    <a:pt x="15" y="67"/>
                    <a:pt x="15" y="67"/>
                    <a:pt x="16" y="66"/>
                  </a:cubicBezTo>
                  <a:cubicBezTo>
                    <a:pt x="16" y="66"/>
                    <a:pt x="16" y="66"/>
                    <a:pt x="16" y="65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5" y="64"/>
                    <a:pt x="14" y="64"/>
                    <a:pt x="14" y="64"/>
                  </a:cubicBezTo>
                  <a:cubicBezTo>
                    <a:pt x="13" y="63"/>
                    <a:pt x="12" y="63"/>
                    <a:pt x="11" y="62"/>
                  </a:cubicBezTo>
                  <a:cubicBezTo>
                    <a:pt x="10" y="62"/>
                    <a:pt x="10" y="62"/>
                    <a:pt x="9" y="62"/>
                  </a:cubicBezTo>
                  <a:cubicBezTo>
                    <a:pt x="8" y="63"/>
                    <a:pt x="7" y="63"/>
                    <a:pt x="6" y="63"/>
                  </a:cubicBezTo>
                  <a:cubicBezTo>
                    <a:pt x="5" y="63"/>
                    <a:pt x="4" y="62"/>
                    <a:pt x="3" y="61"/>
                  </a:cubicBezTo>
                  <a:cubicBezTo>
                    <a:pt x="2" y="57"/>
                    <a:pt x="4" y="54"/>
                    <a:pt x="3" y="50"/>
                  </a:cubicBezTo>
                  <a:cubicBezTo>
                    <a:pt x="3" y="49"/>
                    <a:pt x="2" y="48"/>
                    <a:pt x="1" y="48"/>
                  </a:cubicBezTo>
                  <a:cubicBezTo>
                    <a:pt x="0" y="44"/>
                    <a:pt x="0" y="41"/>
                    <a:pt x="0" y="37"/>
                  </a:cubicBezTo>
                  <a:cubicBezTo>
                    <a:pt x="1" y="36"/>
                    <a:pt x="2" y="36"/>
                    <a:pt x="2" y="35"/>
                  </a:cubicBezTo>
                  <a:cubicBezTo>
                    <a:pt x="2" y="34"/>
                    <a:pt x="3" y="34"/>
                    <a:pt x="3" y="33"/>
                  </a:cubicBezTo>
                  <a:cubicBezTo>
                    <a:pt x="3" y="32"/>
                    <a:pt x="4" y="32"/>
                    <a:pt x="5" y="31"/>
                  </a:cubicBezTo>
                  <a:cubicBezTo>
                    <a:pt x="5" y="29"/>
                    <a:pt x="5" y="28"/>
                    <a:pt x="5" y="26"/>
                  </a:cubicBezTo>
                  <a:cubicBezTo>
                    <a:pt x="5" y="25"/>
                    <a:pt x="6" y="25"/>
                    <a:pt x="7" y="25"/>
                  </a:cubicBezTo>
                  <a:cubicBezTo>
                    <a:pt x="8" y="23"/>
                    <a:pt x="7" y="21"/>
                    <a:pt x="8" y="19"/>
                  </a:cubicBezTo>
                  <a:lnTo>
                    <a:pt x="8" y="1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9" name="Freeform 100"/>
            <p:cNvSpPr>
              <a:spLocks/>
            </p:cNvSpPr>
            <p:nvPr/>
          </p:nvSpPr>
          <p:spPr bwMode="auto">
            <a:xfrm>
              <a:off x="7004149" y="4839243"/>
              <a:ext cx="25373" cy="15107"/>
            </a:xfrm>
            <a:custGeom>
              <a:avLst/>
              <a:gdLst>
                <a:gd name="T0" fmla="*/ 0 w 19"/>
                <a:gd name="T1" fmla="*/ 10957538 h 13"/>
                <a:gd name="T2" fmla="*/ 2049534 w 19"/>
                <a:gd name="T3" fmla="*/ 10957538 h 13"/>
                <a:gd name="T4" fmla="*/ 2049534 w 19"/>
                <a:gd name="T5" fmla="*/ 13281841 h 13"/>
                <a:gd name="T6" fmla="*/ 2959271 w 19"/>
                <a:gd name="T7" fmla="*/ 14203962 h 13"/>
                <a:gd name="T8" fmla="*/ 7008797 w 19"/>
                <a:gd name="T9" fmla="*/ 13281841 h 13"/>
                <a:gd name="T10" fmla="*/ 10840510 w 19"/>
                <a:gd name="T11" fmla="*/ 10957538 h 13"/>
                <a:gd name="T12" fmla="*/ 11496685 w 19"/>
                <a:gd name="T13" fmla="*/ 10957538 h 13"/>
                <a:gd name="T14" fmla="*/ 14822601 w 19"/>
                <a:gd name="T15" fmla="*/ 7913775 h 13"/>
                <a:gd name="T16" fmla="*/ 14822601 w 19"/>
                <a:gd name="T17" fmla="*/ 5569804 h 13"/>
                <a:gd name="T18" fmla="*/ 18666092 w 19"/>
                <a:gd name="T19" fmla="*/ 3318681 h 13"/>
                <a:gd name="T20" fmla="*/ 18666092 w 19"/>
                <a:gd name="T21" fmla="*/ 4595099 h 13"/>
                <a:gd name="T22" fmla="*/ 18666092 w 19"/>
                <a:gd name="T23" fmla="*/ 3318681 h 13"/>
                <a:gd name="T24" fmla="*/ 17849252 w 19"/>
                <a:gd name="T25" fmla="*/ 979497 h 13"/>
                <a:gd name="T26" fmla="*/ 12773055 w 19"/>
                <a:gd name="T27" fmla="*/ 979497 h 13"/>
                <a:gd name="T28" fmla="*/ 9968069 w 19"/>
                <a:gd name="T29" fmla="*/ 979497 h 13"/>
                <a:gd name="T30" fmla="*/ 5759327 w 19"/>
                <a:gd name="T31" fmla="*/ 3318681 h 13"/>
                <a:gd name="T32" fmla="*/ 865359 w 19"/>
                <a:gd name="T33" fmla="*/ 3318681 h 13"/>
                <a:gd name="T34" fmla="*/ 0 w 19"/>
                <a:gd name="T35" fmla="*/ 4595099 h 13"/>
                <a:gd name="T36" fmla="*/ 0 w 19"/>
                <a:gd name="T37" fmla="*/ 9596174 h 13"/>
                <a:gd name="T38" fmla="*/ 0 w 19"/>
                <a:gd name="T39" fmla="*/ 10957538 h 1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"/>
                <a:gd name="T61" fmla="*/ 0 h 13"/>
                <a:gd name="T62" fmla="*/ 19 w 19"/>
                <a:gd name="T63" fmla="*/ 13 h 1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" h="13">
                  <a:moveTo>
                    <a:pt x="0" y="10"/>
                  </a:moveTo>
                  <a:cubicBezTo>
                    <a:pt x="1" y="10"/>
                    <a:pt x="2" y="10"/>
                    <a:pt x="2" y="10"/>
                  </a:cubicBezTo>
                  <a:cubicBezTo>
                    <a:pt x="2" y="11"/>
                    <a:pt x="2" y="12"/>
                    <a:pt x="2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12"/>
                    <a:pt x="6" y="13"/>
                    <a:pt x="7" y="12"/>
                  </a:cubicBezTo>
                  <a:cubicBezTo>
                    <a:pt x="8" y="12"/>
                    <a:pt x="9" y="11"/>
                    <a:pt x="11" y="10"/>
                  </a:cubicBezTo>
                  <a:cubicBezTo>
                    <a:pt x="11" y="10"/>
                    <a:pt x="12" y="10"/>
                    <a:pt x="12" y="10"/>
                  </a:cubicBezTo>
                  <a:cubicBezTo>
                    <a:pt x="13" y="9"/>
                    <a:pt x="14" y="8"/>
                    <a:pt x="15" y="7"/>
                  </a:cubicBezTo>
                  <a:cubicBezTo>
                    <a:pt x="15" y="7"/>
                    <a:pt x="15" y="6"/>
                    <a:pt x="15" y="5"/>
                  </a:cubicBezTo>
                  <a:cubicBezTo>
                    <a:pt x="16" y="4"/>
                    <a:pt x="17" y="3"/>
                    <a:pt x="19" y="3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8" y="2"/>
                    <a:pt x="18" y="2"/>
                    <a:pt x="18" y="1"/>
                  </a:cubicBezTo>
                  <a:cubicBezTo>
                    <a:pt x="16" y="1"/>
                    <a:pt x="14" y="2"/>
                    <a:pt x="13" y="1"/>
                  </a:cubicBezTo>
                  <a:cubicBezTo>
                    <a:pt x="12" y="1"/>
                    <a:pt x="11" y="0"/>
                    <a:pt x="10" y="1"/>
                  </a:cubicBezTo>
                  <a:cubicBezTo>
                    <a:pt x="8" y="1"/>
                    <a:pt x="7" y="3"/>
                    <a:pt x="6" y="3"/>
                  </a:cubicBezTo>
                  <a:cubicBezTo>
                    <a:pt x="4" y="3"/>
                    <a:pt x="2" y="3"/>
                    <a:pt x="1" y="3"/>
                  </a:cubicBezTo>
                  <a:cubicBezTo>
                    <a:pt x="0" y="3"/>
                    <a:pt x="1" y="3"/>
                    <a:pt x="0" y="4"/>
                  </a:cubicBezTo>
                  <a:cubicBezTo>
                    <a:pt x="0" y="6"/>
                    <a:pt x="1" y="7"/>
                    <a:pt x="0" y="9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0" name="Freeform 101"/>
            <p:cNvSpPr>
              <a:spLocks/>
            </p:cNvSpPr>
            <p:nvPr/>
          </p:nvSpPr>
          <p:spPr bwMode="auto">
            <a:xfrm>
              <a:off x="7007048" y="4842869"/>
              <a:ext cx="50747" cy="35655"/>
            </a:xfrm>
            <a:custGeom>
              <a:avLst/>
              <a:gdLst>
                <a:gd name="T0" fmla="*/ 21466005 w 38"/>
                <a:gd name="T1" fmla="*/ 30553758 h 33"/>
                <a:gd name="T2" fmla="*/ 19416389 w 38"/>
                <a:gd name="T3" fmla="*/ 31262565 h 33"/>
                <a:gd name="T4" fmla="*/ 15706817 w 38"/>
                <a:gd name="T5" fmla="*/ 31262565 h 33"/>
                <a:gd name="T6" fmla="*/ 12773055 w 38"/>
                <a:gd name="T7" fmla="*/ 28518479 h 33"/>
                <a:gd name="T8" fmla="*/ 11496685 w 38"/>
                <a:gd name="T9" fmla="*/ 27670974 h 33"/>
                <a:gd name="T10" fmla="*/ 10840510 w 38"/>
                <a:gd name="T11" fmla="*/ 22924719 h 33"/>
                <a:gd name="T12" fmla="*/ 9968069 w 38"/>
                <a:gd name="T13" fmla="*/ 21764401 h 33"/>
                <a:gd name="T14" fmla="*/ 7008797 w 38"/>
                <a:gd name="T15" fmla="*/ 17330084 h 33"/>
                <a:gd name="T16" fmla="*/ 3671997 w 38"/>
                <a:gd name="T17" fmla="*/ 17330084 h 33"/>
                <a:gd name="T18" fmla="*/ 3671997 w 38"/>
                <a:gd name="T19" fmla="*/ 17330084 h 33"/>
                <a:gd name="T20" fmla="*/ 865359 w 38"/>
                <a:gd name="T21" fmla="*/ 18036102 h 33"/>
                <a:gd name="T22" fmla="*/ 0 w 38"/>
                <a:gd name="T23" fmla="*/ 18036102 h 33"/>
                <a:gd name="T24" fmla="*/ 0 w 38"/>
                <a:gd name="T25" fmla="*/ 10341117 h 33"/>
                <a:gd name="T26" fmla="*/ 0 w 38"/>
                <a:gd name="T27" fmla="*/ 8480158 h 33"/>
                <a:gd name="T28" fmla="*/ 865359 w 38"/>
                <a:gd name="T29" fmla="*/ 9698924 h 33"/>
                <a:gd name="T30" fmla="*/ 4854159 w 38"/>
                <a:gd name="T31" fmla="*/ 8480158 h 33"/>
                <a:gd name="T32" fmla="*/ 8696832 w 38"/>
                <a:gd name="T33" fmla="*/ 6840533 h 33"/>
                <a:gd name="T34" fmla="*/ 9968069 w 38"/>
                <a:gd name="T35" fmla="*/ 6840533 h 33"/>
                <a:gd name="T36" fmla="*/ 12773055 w 38"/>
                <a:gd name="T37" fmla="*/ 3587761 h 33"/>
                <a:gd name="T38" fmla="*/ 12773055 w 38"/>
                <a:gd name="T39" fmla="*/ 2007625 h 33"/>
                <a:gd name="T40" fmla="*/ 16599778 w 38"/>
                <a:gd name="T41" fmla="*/ 0 h 33"/>
                <a:gd name="T42" fmla="*/ 16599778 w 38"/>
                <a:gd name="T43" fmla="*/ 849380 h 33"/>
                <a:gd name="T44" fmla="*/ 20597761 w 38"/>
                <a:gd name="T45" fmla="*/ 3587761 h 33"/>
                <a:gd name="T46" fmla="*/ 23608573 w 38"/>
                <a:gd name="T47" fmla="*/ 4745294 h 33"/>
                <a:gd name="T48" fmla="*/ 25674877 w 38"/>
                <a:gd name="T49" fmla="*/ 7630663 h 33"/>
                <a:gd name="T50" fmla="*/ 34448850 w 38"/>
                <a:gd name="T51" fmla="*/ 7630663 h 33"/>
                <a:gd name="T52" fmla="*/ 36383698 w 38"/>
                <a:gd name="T53" fmla="*/ 7630663 h 33"/>
                <a:gd name="T54" fmla="*/ 36383698 w 38"/>
                <a:gd name="T55" fmla="*/ 7630663 h 33"/>
                <a:gd name="T56" fmla="*/ 37200348 w 38"/>
                <a:gd name="T57" fmla="*/ 9698924 h 33"/>
                <a:gd name="T58" fmla="*/ 37200348 w 38"/>
                <a:gd name="T59" fmla="*/ 14073912 h 33"/>
                <a:gd name="T60" fmla="*/ 37200348 w 38"/>
                <a:gd name="T61" fmla="*/ 14073912 h 33"/>
                <a:gd name="T62" fmla="*/ 36383698 w 38"/>
                <a:gd name="T63" fmla="*/ 17330084 h 33"/>
                <a:gd name="T64" fmla="*/ 35106153 w 38"/>
                <a:gd name="T65" fmla="*/ 16168527 h 33"/>
                <a:gd name="T66" fmla="*/ 24492638 w 38"/>
                <a:gd name="T67" fmla="*/ 16168527 h 33"/>
                <a:gd name="T68" fmla="*/ 23608573 w 38"/>
                <a:gd name="T69" fmla="*/ 14073912 h 33"/>
                <a:gd name="T70" fmla="*/ 21466005 w 38"/>
                <a:gd name="T71" fmla="*/ 14073912 h 33"/>
                <a:gd name="T72" fmla="*/ 15706817 w 38"/>
                <a:gd name="T73" fmla="*/ 16168527 h 33"/>
                <a:gd name="T74" fmla="*/ 13640503 w 38"/>
                <a:gd name="T75" fmla="*/ 20043996 h 33"/>
                <a:gd name="T76" fmla="*/ 14822601 w 38"/>
                <a:gd name="T77" fmla="*/ 20043996 h 33"/>
                <a:gd name="T78" fmla="*/ 15706817 w 38"/>
                <a:gd name="T79" fmla="*/ 22924719 h 33"/>
                <a:gd name="T80" fmla="*/ 18666092 w 38"/>
                <a:gd name="T81" fmla="*/ 25663075 h 33"/>
                <a:gd name="T82" fmla="*/ 20597761 w 38"/>
                <a:gd name="T83" fmla="*/ 29407055 h 33"/>
                <a:gd name="T84" fmla="*/ 21466005 w 38"/>
                <a:gd name="T85" fmla="*/ 30553758 h 3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8"/>
                <a:gd name="T130" fmla="*/ 0 h 33"/>
                <a:gd name="T131" fmla="*/ 38 w 38"/>
                <a:gd name="T132" fmla="*/ 33 h 3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8" h="33">
                  <a:moveTo>
                    <a:pt x="22" y="32"/>
                  </a:moveTo>
                  <a:cubicBezTo>
                    <a:pt x="21" y="32"/>
                    <a:pt x="20" y="32"/>
                    <a:pt x="20" y="33"/>
                  </a:cubicBezTo>
                  <a:cubicBezTo>
                    <a:pt x="19" y="33"/>
                    <a:pt x="17" y="33"/>
                    <a:pt x="16" y="33"/>
                  </a:cubicBezTo>
                  <a:cubicBezTo>
                    <a:pt x="15" y="32"/>
                    <a:pt x="15" y="30"/>
                    <a:pt x="13" y="30"/>
                  </a:cubicBezTo>
                  <a:cubicBezTo>
                    <a:pt x="13" y="29"/>
                    <a:pt x="12" y="29"/>
                    <a:pt x="12" y="29"/>
                  </a:cubicBezTo>
                  <a:cubicBezTo>
                    <a:pt x="11" y="28"/>
                    <a:pt x="12" y="26"/>
                    <a:pt x="11" y="24"/>
                  </a:cubicBezTo>
                  <a:cubicBezTo>
                    <a:pt x="11" y="24"/>
                    <a:pt x="10" y="24"/>
                    <a:pt x="10" y="23"/>
                  </a:cubicBezTo>
                  <a:cubicBezTo>
                    <a:pt x="9" y="21"/>
                    <a:pt x="8" y="19"/>
                    <a:pt x="7" y="18"/>
                  </a:cubicBezTo>
                  <a:cubicBezTo>
                    <a:pt x="6" y="18"/>
                    <a:pt x="5" y="18"/>
                    <a:pt x="4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3" y="17"/>
                    <a:pt x="2" y="18"/>
                    <a:pt x="1" y="19"/>
                  </a:cubicBezTo>
                  <a:cubicBezTo>
                    <a:pt x="1" y="19"/>
                    <a:pt x="0" y="19"/>
                    <a:pt x="0" y="19"/>
                  </a:cubicBezTo>
                  <a:cubicBezTo>
                    <a:pt x="0" y="16"/>
                    <a:pt x="0" y="14"/>
                    <a:pt x="0" y="11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3" y="9"/>
                    <a:pt x="4" y="10"/>
                    <a:pt x="5" y="9"/>
                  </a:cubicBezTo>
                  <a:cubicBezTo>
                    <a:pt x="6" y="9"/>
                    <a:pt x="7" y="8"/>
                    <a:pt x="9" y="7"/>
                  </a:cubicBezTo>
                  <a:cubicBezTo>
                    <a:pt x="9" y="7"/>
                    <a:pt x="10" y="7"/>
                    <a:pt x="10" y="7"/>
                  </a:cubicBezTo>
                  <a:cubicBezTo>
                    <a:pt x="11" y="6"/>
                    <a:pt x="12" y="5"/>
                    <a:pt x="13" y="4"/>
                  </a:cubicBezTo>
                  <a:cubicBezTo>
                    <a:pt x="13" y="4"/>
                    <a:pt x="13" y="3"/>
                    <a:pt x="13" y="2"/>
                  </a:cubicBezTo>
                  <a:cubicBezTo>
                    <a:pt x="14" y="1"/>
                    <a:pt x="15" y="0"/>
                    <a:pt x="17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2"/>
                    <a:pt x="20" y="3"/>
                    <a:pt x="21" y="4"/>
                  </a:cubicBezTo>
                  <a:cubicBezTo>
                    <a:pt x="22" y="4"/>
                    <a:pt x="23" y="5"/>
                    <a:pt x="24" y="5"/>
                  </a:cubicBezTo>
                  <a:cubicBezTo>
                    <a:pt x="25" y="6"/>
                    <a:pt x="26" y="7"/>
                    <a:pt x="26" y="8"/>
                  </a:cubicBezTo>
                  <a:cubicBezTo>
                    <a:pt x="29" y="8"/>
                    <a:pt x="32" y="8"/>
                    <a:pt x="35" y="8"/>
                  </a:cubicBezTo>
                  <a:cubicBezTo>
                    <a:pt x="35" y="8"/>
                    <a:pt x="36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8" y="8"/>
                    <a:pt x="38" y="9"/>
                    <a:pt x="38" y="10"/>
                  </a:cubicBezTo>
                  <a:cubicBezTo>
                    <a:pt x="38" y="12"/>
                    <a:pt x="37" y="14"/>
                    <a:pt x="38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6"/>
                    <a:pt x="37" y="17"/>
                    <a:pt x="37" y="18"/>
                  </a:cubicBezTo>
                  <a:cubicBezTo>
                    <a:pt x="37" y="18"/>
                    <a:pt x="36" y="17"/>
                    <a:pt x="36" y="17"/>
                  </a:cubicBezTo>
                  <a:cubicBezTo>
                    <a:pt x="32" y="16"/>
                    <a:pt x="28" y="18"/>
                    <a:pt x="25" y="17"/>
                  </a:cubicBezTo>
                  <a:cubicBezTo>
                    <a:pt x="24" y="16"/>
                    <a:pt x="24" y="16"/>
                    <a:pt x="24" y="15"/>
                  </a:cubicBezTo>
                  <a:cubicBezTo>
                    <a:pt x="23" y="15"/>
                    <a:pt x="22" y="14"/>
                    <a:pt x="22" y="15"/>
                  </a:cubicBezTo>
                  <a:cubicBezTo>
                    <a:pt x="20" y="16"/>
                    <a:pt x="18" y="17"/>
                    <a:pt x="16" y="17"/>
                  </a:cubicBezTo>
                  <a:cubicBezTo>
                    <a:pt x="15" y="18"/>
                    <a:pt x="14" y="19"/>
                    <a:pt x="14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2"/>
                    <a:pt x="15" y="23"/>
                    <a:pt x="16" y="24"/>
                  </a:cubicBezTo>
                  <a:cubicBezTo>
                    <a:pt x="16" y="25"/>
                    <a:pt x="18" y="26"/>
                    <a:pt x="19" y="27"/>
                  </a:cubicBezTo>
                  <a:cubicBezTo>
                    <a:pt x="20" y="29"/>
                    <a:pt x="19" y="30"/>
                    <a:pt x="21" y="31"/>
                  </a:cubicBezTo>
                  <a:lnTo>
                    <a:pt x="22" y="32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1" name="Freeform 102"/>
            <p:cNvSpPr>
              <a:spLocks/>
            </p:cNvSpPr>
            <p:nvPr/>
          </p:nvSpPr>
          <p:spPr bwMode="auto">
            <a:xfrm>
              <a:off x="7025899" y="4857976"/>
              <a:ext cx="31900" cy="31426"/>
            </a:xfrm>
            <a:custGeom>
              <a:avLst/>
              <a:gdLst>
                <a:gd name="T0" fmla="*/ 20751062 w 24"/>
                <a:gd name="T1" fmla="*/ 30549718 h 29"/>
                <a:gd name="T2" fmla="*/ 14143705 w 24"/>
                <a:gd name="T3" fmla="*/ 27582281 h 29"/>
                <a:gd name="T4" fmla="*/ 14143705 w 24"/>
                <a:gd name="T5" fmla="*/ 26065557 h 29"/>
                <a:gd name="T6" fmla="*/ 14143705 w 24"/>
                <a:gd name="T7" fmla="*/ 26065557 h 29"/>
                <a:gd name="T8" fmla="*/ 14143705 w 24"/>
                <a:gd name="T9" fmla="*/ 25373006 h 29"/>
                <a:gd name="T10" fmla="*/ 11242634 w 24"/>
                <a:gd name="T11" fmla="*/ 22147900 h 29"/>
                <a:gd name="T12" fmla="*/ 8176465 w 24"/>
                <a:gd name="T13" fmla="*/ 19024842 h 29"/>
                <a:gd name="T14" fmla="*/ 7280415 w 24"/>
                <a:gd name="T15" fmla="*/ 17709997 h 29"/>
                <a:gd name="T16" fmla="*/ 5287420 w 24"/>
                <a:gd name="T17" fmla="*/ 13792987 h 29"/>
                <a:gd name="T18" fmla="*/ 2226282 w 24"/>
                <a:gd name="T19" fmla="*/ 10664023 h 29"/>
                <a:gd name="T20" fmla="*/ 937382 w 24"/>
                <a:gd name="T21" fmla="*/ 7443335 h 29"/>
                <a:gd name="T22" fmla="*/ 0 w 24"/>
                <a:gd name="T23" fmla="*/ 7443335 h 29"/>
                <a:gd name="T24" fmla="*/ 2226282 w 24"/>
                <a:gd name="T25" fmla="*/ 3128358 h 29"/>
                <a:gd name="T26" fmla="*/ 8176465 w 24"/>
                <a:gd name="T27" fmla="*/ 953242 h 29"/>
                <a:gd name="T28" fmla="*/ 10335640 w 24"/>
                <a:gd name="T29" fmla="*/ 953242 h 29"/>
                <a:gd name="T30" fmla="*/ 11242634 w 24"/>
                <a:gd name="T31" fmla="*/ 3128358 h 29"/>
                <a:gd name="T32" fmla="*/ 22349417 w 24"/>
                <a:gd name="T33" fmla="*/ 3128358 h 29"/>
                <a:gd name="T34" fmla="*/ 23798965 w 24"/>
                <a:gd name="T35" fmla="*/ 4481981 h 29"/>
                <a:gd name="T36" fmla="*/ 24547147 w 24"/>
                <a:gd name="T37" fmla="*/ 6187297 h 29"/>
                <a:gd name="T38" fmla="*/ 24547147 w 24"/>
                <a:gd name="T39" fmla="*/ 19024842 h 29"/>
                <a:gd name="T40" fmla="*/ 23798965 w 24"/>
                <a:gd name="T41" fmla="*/ 19977817 h 29"/>
                <a:gd name="T42" fmla="*/ 20751062 w 24"/>
                <a:gd name="T43" fmla="*/ 25373006 h 29"/>
                <a:gd name="T44" fmla="*/ 20751062 w 24"/>
                <a:gd name="T45" fmla="*/ 26065557 h 29"/>
                <a:gd name="T46" fmla="*/ 19419101 w 24"/>
                <a:gd name="T47" fmla="*/ 29589619 h 29"/>
                <a:gd name="T48" fmla="*/ 20751062 w 24"/>
                <a:gd name="T49" fmla="*/ 30549718 h 2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4"/>
                <a:gd name="T76" fmla="*/ 0 h 29"/>
                <a:gd name="T77" fmla="*/ 24 w 24"/>
                <a:gd name="T78" fmla="*/ 29 h 2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4" h="29">
                  <a:moveTo>
                    <a:pt x="20" y="29"/>
                  </a:moveTo>
                  <a:cubicBezTo>
                    <a:pt x="17" y="29"/>
                    <a:pt x="15" y="28"/>
                    <a:pt x="14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4"/>
                    <a:pt x="14" y="24"/>
                  </a:cubicBezTo>
                  <a:cubicBezTo>
                    <a:pt x="13" y="23"/>
                    <a:pt x="12" y="22"/>
                    <a:pt x="11" y="21"/>
                  </a:cubicBezTo>
                  <a:cubicBezTo>
                    <a:pt x="11" y="20"/>
                    <a:pt x="9" y="19"/>
                    <a:pt x="8" y="18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5" y="16"/>
                    <a:pt x="6" y="15"/>
                    <a:pt x="5" y="13"/>
                  </a:cubicBezTo>
                  <a:cubicBezTo>
                    <a:pt x="4" y="12"/>
                    <a:pt x="2" y="11"/>
                    <a:pt x="2" y="10"/>
                  </a:cubicBezTo>
                  <a:cubicBezTo>
                    <a:pt x="1" y="9"/>
                    <a:pt x="1" y="8"/>
                    <a:pt x="1" y="7"/>
                  </a:cubicBezTo>
                  <a:cubicBezTo>
                    <a:pt x="1" y="7"/>
                    <a:pt x="1" y="7"/>
                    <a:pt x="0" y="7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4" y="3"/>
                    <a:pt x="6" y="2"/>
                    <a:pt x="8" y="1"/>
                  </a:cubicBezTo>
                  <a:cubicBezTo>
                    <a:pt x="8" y="0"/>
                    <a:pt x="9" y="1"/>
                    <a:pt x="10" y="1"/>
                  </a:cubicBezTo>
                  <a:cubicBezTo>
                    <a:pt x="10" y="2"/>
                    <a:pt x="10" y="2"/>
                    <a:pt x="11" y="3"/>
                  </a:cubicBezTo>
                  <a:cubicBezTo>
                    <a:pt x="14" y="4"/>
                    <a:pt x="18" y="2"/>
                    <a:pt x="22" y="3"/>
                  </a:cubicBezTo>
                  <a:cubicBezTo>
                    <a:pt x="22" y="3"/>
                    <a:pt x="23" y="4"/>
                    <a:pt x="23" y="4"/>
                  </a:cubicBezTo>
                  <a:cubicBezTo>
                    <a:pt x="24" y="5"/>
                    <a:pt x="24" y="5"/>
                    <a:pt x="24" y="6"/>
                  </a:cubicBezTo>
                  <a:cubicBezTo>
                    <a:pt x="24" y="10"/>
                    <a:pt x="24" y="14"/>
                    <a:pt x="24" y="18"/>
                  </a:cubicBezTo>
                  <a:cubicBezTo>
                    <a:pt x="24" y="18"/>
                    <a:pt x="23" y="19"/>
                    <a:pt x="23" y="19"/>
                  </a:cubicBezTo>
                  <a:cubicBezTo>
                    <a:pt x="22" y="20"/>
                    <a:pt x="21" y="22"/>
                    <a:pt x="20" y="24"/>
                  </a:cubicBezTo>
                  <a:cubicBezTo>
                    <a:pt x="20" y="24"/>
                    <a:pt x="20" y="24"/>
                    <a:pt x="20" y="25"/>
                  </a:cubicBezTo>
                  <a:cubicBezTo>
                    <a:pt x="19" y="26"/>
                    <a:pt x="19" y="27"/>
                    <a:pt x="19" y="28"/>
                  </a:cubicBezTo>
                  <a:lnTo>
                    <a:pt x="20" y="29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2" name="Freeform 103"/>
            <p:cNvSpPr>
              <a:spLocks/>
            </p:cNvSpPr>
            <p:nvPr/>
          </p:nvSpPr>
          <p:spPr bwMode="auto">
            <a:xfrm>
              <a:off x="7051272" y="4846494"/>
              <a:ext cx="47848" cy="47140"/>
            </a:xfrm>
            <a:custGeom>
              <a:avLst/>
              <a:gdLst>
                <a:gd name="T0" fmla="*/ 5519055 w 36"/>
                <a:gd name="T1" fmla="*/ 40962012 h 44"/>
                <a:gd name="T2" fmla="*/ 4679924 w 36"/>
                <a:gd name="T3" fmla="*/ 39736174 h 44"/>
                <a:gd name="T4" fmla="*/ 839472 w 36"/>
                <a:gd name="T5" fmla="*/ 38216536 h 44"/>
                <a:gd name="T6" fmla="*/ 0 w 36"/>
                <a:gd name="T7" fmla="*/ 36884088 h 44"/>
                <a:gd name="T8" fmla="*/ 839472 w 36"/>
                <a:gd name="T9" fmla="*/ 34141571 h 44"/>
                <a:gd name="T10" fmla="*/ 839472 w 36"/>
                <a:gd name="T11" fmla="*/ 33265627 h 44"/>
                <a:gd name="T12" fmla="*/ 3548896 w 36"/>
                <a:gd name="T13" fmla="*/ 28518482 h 44"/>
                <a:gd name="T14" fmla="*/ 4679924 w 36"/>
                <a:gd name="T15" fmla="*/ 27670977 h 44"/>
                <a:gd name="T16" fmla="*/ 4679924 w 36"/>
                <a:gd name="T17" fmla="*/ 16168539 h 44"/>
                <a:gd name="T18" fmla="*/ 3548896 w 36"/>
                <a:gd name="T19" fmla="*/ 14073923 h 44"/>
                <a:gd name="T20" fmla="*/ 4679924 w 36"/>
                <a:gd name="T21" fmla="*/ 11216146 h 44"/>
                <a:gd name="T22" fmla="*/ 4679924 w 36"/>
                <a:gd name="T23" fmla="*/ 11216146 h 44"/>
                <a:gd name="T24" fmla="*/ 4679924 w 36"/>
                <a:gd name="T25" fmla="*/ 6840539 h 44"/>
                <a:gd name="T26" fmla="*/ 3548896 w 36"/>
                <a:gd name="T27" fmla="*/ 4745295 h 44"/>
                <a:gd name="T28" fmla="*/ 3548896 w 36"/>
                <a:gd name="T29" fmla="*/ 4745295 h 44"/>
                <a:gd name="T30" fmla="*/ 5519055 w 36"/>
                <a:gd name="T31" fmla="*/ 3587761 h 44"/>
                <a:gd name="T32" fmla="*/ 6662007 w 36"/>
                <a:gd name="T33" fmla="*/ 2894074 h 44"/>
                <a:gd name="T34" fmla="*/ 7500980 w 36"/>
                <a:gd name="T35" fmla="*/ 849380 h 44"/>
                <a:gd name="T36" fmla="*/ 8379337 w 36"/>
                <a:gd name="T37" fmla="*/ 0 h 44"/>
                <a:gd name="T38" fmla="*/ 9573822 w 36"/>
                <a:gd name="T39" fmla="*/ 0 h 44"/>
                <a:gd name="T40" fmla="*/ 11049821 w 36"/>
                <a:gd name="T41" fmla="*/ 849380 h 44"/>
                <a:gd name="T42" fmla="*/ 15040843 w 36"/>
                <a:gd name="T43" fmla="*/ 2007625 h 44"/>
                <a:gd name="T44" fmla="*/ 15040843 w 36"/>
                <a:gd name="T45" fmla="*/ 849380 h 44"/>
                <a:gd name="T46" fmla="*/ 17710644 w 36"/>
                <a:gd name="T47" fmla="*/ 9698926 h 44"/>
                <a:gd name="T48" fmla="*/ 20558989 w 36"/>
                <a:gd name="T49" fmla="*/ 12441464 h 44"/>
                <a:gd name="T50" fmla="*/ 22604843 w 36"/>
                <a:gd name="T51" fmla="*/ 16168539 h 44"/>
                <a:gd name="T52" fmla="*/ 22604843 w 36"/>
                <a:gd name="T53" fmla="*/ 16168539 h 44"/>
                <a:gd name="T54" fmla="*/ 28785776 w 36"/>
                <a:gd name="T55" fmla="*/ 16168539 h 44"/>
                <a:gd name="T56" fmla="*/ 29992152 w 36"/>
                <a:gd name="T57" fmla="*/ 17330086 h 44"/>
                <a:gd name="T58" fmla="*/ 30767843 w 36"/>
                <a:gd name="T59" fmla="*/ 20043998 h 44"/>
                <a:gd name="T60" fmla="*/ 29992152 w 36"/>
                <a:gd name="T61" fmla="*/ 18819602 h 44"/>
                <a:gd name="T62" fmla="*/ 28785776 w 36"/>
                <a:gd name="T63" fmla="*/ 25663078 h 44"/>
                <a:gd name="T64" fmla="*/ 31608852 w 36"/>
                <a:gd name="T65" fmla="*/ 28518482 h 44"/>
                <a:gd name="T66" fmla="*/ 31608852 w 36"/>
                <a:gd name="T67" fmla="*/ 29407096 h 44"/>
                <a:gd name="T68" fmla="*/ 32815247 w 36"/>
                <a:gd name="T69" fmla="*/ 29407096 h 44"/>
                <a:gd name="T70" fmla="*/ 32815247 w 36"/>
                <a:gd name="T71" fmla="*/ 31262588 h 44"/>
                <a:gd name="T72" fmla="*/ 30767843 w 36"/>
                <a:gd name="T73" fmla="*/ 33265627 h 44"/>
                <a:gd name="T74" fmla="*/ 28785776 w 36"/>
                <a:gd name="T75" fmla="*/ 39736174 h 44"/>
                <a:gd name="T76" fmla="*/ 28123853 w 36"/>
                <a:gd name="T77" fmla="*/ 39736174 h 44"/>
                <a:gd name="T78" fmla="*/ 26089842 w 36"/>
                <a:gd name="T79" fmla="*/ 40962012 h 44"/>
                <a:gd name="T80" fmla="*/ 24107926 w 36"/>
                <a:gd name="T81" fmla="*/ 40962012 h 44"/>
                <a:gd name="T82" fmla="*/ 17710644 w 36"/>
                <a:gd name="T83" fmla="*/ 40962012 h 44"/>
                <a:gd name="T84" fmla="*/ 17710644 w 36"/>
                <a:gd name="T85" fmla="*/ 40962012 h 44"/>
                <a:gd name="T86" fmla="*/ 12191625 w 36"/>
                <a:gd name="T87" fmla="*/ 36884088 h 44"/>
                <a:gd name="T88" fmla="*/ 10210418 w 36"/>
                <a:gd name="T89" fmla="*/ 38216536 h 44"/>
                <a:gd name="T90" fmla="*/ 7500980 w 36"/>
                <a:gd name="T91" fmla="*/ 39736174 h 44"/>
                <a:gd name="T92" fmla="*/ 5519055 w 36"/>
                <a:gd name="T93" fmla="*/ 40962012 h 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6"/>
                <a:gd name="T142" fmla="*/ 0 h 44"/>
                <a:gd name="T143" fmla="*/ 36 w 36"/>
                <a:gd name="T144" fmla="*/ 44 h 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6" h="44">
                  <a:moveTo>
                    <a:pt x="6" y="43"/>
                  </a:moveTo>
                  <a:cubicBezTo>
                    <a:pt x="6" y="43"/>
                    <a:pt x="6" y="42"/>
                    <a:pt x="5" y="42"/>
                  </a:cubicBezTo>
                  <a:cubicBezTo>
                    <a:pt x="4" y="41"/>
                    <a:pt x="2" y="40"/>
                    <a:pt x="1" y="4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8"/>
                    <a:pt x="0" y="37"/>
                    <a:pt x="1" y="36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2" y="33"/>
                    <a:pt x="3" y="31"/>
                    <a:pt x="4" y="30"/>
                  </a:cubicBezTo>
                  <a:cubicBezTo>
                    <a:pt x="4" y="30"/>
                    <a:pt x="5" y="29"/>
                    <a:pt x="5" y="29"/>
                  </a:cubicBezTo>
                  <a:cubicBezTo>
                    <a:pt x="5" y="25"/>
                    <a:pt x="5" y="21"/>
                    <a:pt x="5" y="17"/>
                  </a:cubicBezTo>
                  <a:cubicBezTo>
                    <a:pt x="5" y="16"/>
                    <a:pt x="5" y="16"/>
                    <a:pt x="4" y="15"/>
                  </a:cubicBezTo>
                  <a:cubicBezTo>
                    <a:pt x="4" y="14"/>
                    <a:pt x="5" y="13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1"/>
                    <a:pt x="5" y="9"/>
                    <a:pt x="5" y="7"/>
                  </a:cubicBezTo>
                  <a:cubicBezTo>
                    <a:pt x="5" y="6"/>
                    <a:pt x="5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6" y="4"/>
                    <a:pt x="7" y="4"/>
                    <a:pt x="7" y="3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1"/>
                    <a:pt x="8" y="0"/>
                    <a:pt x="9" y="0"/>
                  </a:cubicBezTo>
                  <a:cubicBezTo>
                    <a:pt x="9" y="0"/>
                    <a:pt x="9" y="0"/>
                    <a:pt x="10" y="0"/>
                  </a:cubicBezTo>
                  <a:cubicBezTo>
                    <a:pt x="11" y="1"/>
                    <a:pt x="11" y="1"/>
                    <a:pt x="12" y="1"/>
                  </a:cubicBezTo>
                  <a:cubicBezTo>
                    <a:pt x="13" y="2"/>
                    <a:pt x="14" y="2"/>
                    <a:pt x="16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5" y="5"/>
                    <a:pt x="17" y="7"/>
                    <a:pt x="19" y="10"/>
                  </a:cubicBezTo>
                  <a:cubicBezTo>
                    <a:pt x="20" y="11"/>
                    <a:pt x="22" y="11"/>
                    <a:pt x="22" y="13"/>
                  </a:cubicBezTo>
                  <a:cubicBezTo>
                    <a:pt x="23" y="14"/>
                    <a:pt x="24" y="15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6" y="17"/>
                    <a:pt x="29" y="16"/>
                    <a:pt x="31" y="17"/>
                  </a:cubicBezTo>
                  <a:cubicBezTo>
                    <a:pt x="32" y="17"/>
                    <a:pt x="32" y="18"/>
                    <a:pt x="32" y="18"/>
                  </a:cubicBezTo>
                  <a:cubicBezTo>
                    <a:pt x="33" y="19"/>
                    <a:pt x="32" y="20"/>
                    <a:pt x="33" y="21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3"/>
                    <a:pt x="31" y="25"/>
                    <a:pt x="31" y="27"/>
                  </a:cubicBezTo>
                  <a:cubicBezTo>
                    <a:pt x="33" y="28"/>
                    <a:pt x="34" y="28"/>
                    <a:pt x="34" y="30"/>
                  </a:cubicBezTo>
                  <a:cubicBezTo>
                    <a:pt x="34" y="30"/>
                    <a:pt x="34" y="31"/>
                    <a:pt x="34" y="31"/>
                  </a:cubicBezTo>
                  <a:cubicBezTo>
                    <a:pt x="34" y="31"/>
                    <a:pt x="35" y="31"/>
                    <a:pt x="35" y="31"/>
                  </a:cubicBezTo>
                  <a:cubicBezTo>
                    <a:pt x="36" y="32"/>
                    <a:pt x="36" y="33"/>
                    <a:pt x="35" y="33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2" y="37"/>
                    <a:pt x="32" y="40"/>
                    <a:pt x="31" y="42"/>
                  </a:cubicBezTo>
                  <a:cubicBezTo>
                    <a:pt x="31" y="42"/>
                    <a:pt x="30" y="42"/>
                    <a:pt x="30" y="42"/>
                  </a:cubicBezTo>
                  <a:cubicBezTo>
                    <a:pt x="29" y="42"/>
                    <a:pt x="29" y="43"/>
                    <a:pt x="28" y="43"/>
                  </a:cubicBezTo>
                  <a:cubicBezTo>
                    <a:pt x="27" y="44"/>
                    <a:pt x="26" y="44"/>
                    <a:pt x="26" y="43"/>
                  </a:cubicBezTo>
                  <a:cubicBezTo>
                    <a:pt x="24" y="42"/>
                    <a:pt x="21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7" y="41"/>
                    <a:pt x="16" y="38"/>
                    <a:pt x="13" y="39"/>
                  </a:cubicBezTo>
                  <a:cubicBezTo>
                    <a:pt x="12" y="39"/>
                    <a:pt x="12" y="40"/>
                    <a:pt x="11" y="40"/>
                  </a:cubicBezTo>
                  <a:cubicBezTo>
                    <a:pt x="10" y="41"/>
                    <a:pt x="9" y="41"/>
                    <a:pt x="8" y="42"/>
                  </a:cubicBezTo>
                  <a:lnTo>
                    <a:pt x="6" y="4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3" name="Freeform 104"/>
            <p:cNvSpPr>
              <a:spLocks/>
            </p:cNvSpPr>
            <p:nvPr/>
          </p:nvSpPr>
          <p:spPr bwMode="auto">
            <a:xfrm>
              <a:off x="7073022" y="4891214"/>
              <a:ext cx="26099" cy="16923"/>
            </a:xfrm>
            <a:custGeom>
              <a:avLst/>
              <a:gdLst>
                <a:gd name="T0" fmla="*/ 5187343 w 20"/>
                <a:gd name="T1" fmla="*/ 18043546 h 15"/>
                <a:gd name="T2" fmla="*/ 5187343 w 20"/>
                <a:gd name="T3" fmla="*/ 17271725 h 15"/>
                <a:gd name="T4" fmla="*/ 2522523 w 20"/>
                <a:gd name="T5" fmla="*/ 13074693 h 15"/>
                <a:gd name="T6" fmla="*/ 2522523 w 20"/>
                <a:gd name="T7" fmla="*/ 12204942 h 15"/>
                <a:gd name="T8" fmla="*/ 795113 w 20"/>
                <a:gd name="T9" fmla="*/ 11140514 h 15"/>
                <a:gd name="T10" fmla="*/ 795113 w 20"/>
                <a:gd name="T11" fmla="*/ 6131151 h 15"/>
                <a:gd name="T12" fmla="*/ 2522523 w 20"/>
                <a:gd name="T13" fmla="*/ 3577445 h 15"/>
                <a:gd name="T14" fmla="*/ 2522523 w 20"/>
                <a:gd name="T15" fmla="*/ 1064436 h 15"/>
                <a:gd name="T16" fmla="*/ 2522523 w 20"/>
                <a:gd name="T17" fmla="*/ 1064436 h 15"/>
                <a:gd name="T18" fmla="*/ 8799889 w 20"/>
                <a:gd name="T19" fmla="*/ 1064436 h 15"/>
                <a:gd name="T20" fmla="*/ 10318870 w 20"/>
                <a:gd name="T21" fmla="*/ 1064436 h 15"/>
                <a:gd name="T22" fmla="*/ 12190249 w 20"/>
                <a:gd name="T23" fmla="*/ 0 h 15"/>
                <a:gd name="T24" fmla="*/ 12876646 w 20"/>
                <a:gd name="T25" fmla="*/ 0 h 15"/>
                <a:gd name="T26" fmla="*/ 13930621 w 20"/>
                <a:gd name="T27" fmla="*/ 0 h 15"/>
                <a:gd name="T28" fmla="*/ 16597127 w 20"/>
                <a:gd name="T29" fmla="*/ 3577445 h 15"/>
                <a:gd name="T30" fmla="*/ 16597127 w 20"/>
                <a:gd name="T31" fmla="*/ 8585866 h 15"/>
                <a:gd name="T32" fmla="*/ 17186742 w 20"/>
                <a:gd name="T33" fmla="*/ 8585866 h 15"/>
                <a:gd name="T34" fmla="*/ 17186742 w 20"/>
                <a:gd name="T35" fmla="*/ 12204942 h 15"/>
                <a:gd name="T36" fmla="*/ 15548153 w 20"/>
                <a:gd name="T37" fmla="*/ 14714756 h 15"/>
                <a:gd name="T38" fmla="*/ 9534738 w 20"/>
                <a:gd name="T39" fmla="*/ 14714756 h 15"/>
                <a:gd name="T40" fmla="*/ 5927927 w 20"/>
                <a:gd name="T41" fmla="*/ 18043546 h 15"/>
                <a:gd name="T42" fmla="*/ 5187343 w 20"/>
                <a:gd name="T43" fmla="*/ 18043546 h 1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"/>
                <a:gd name="T67" fmla="*/ 0 h 15"/>
                <a:gd name="T68" fmla="*/ 20 w 20"/>
                <a:gd name="T69" fmla="*/ 15 h 1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" h="15">
                  <a:moveTo>
                    <a:pt x="6" y="15"/>
                  </a:moveTo>
                  <a:cubicBezTo>
                    <a:pt x="6" y="15"/>
                    <a:pt x="6" y="15"/>
                    <a:pt x="6" y="14"/>
                  </a:cubicBezTo>
                  <a:cubicBezTo>
                    <a:pt x="5" y="13"/>
                    <a:pt x="3" y="12"/>
                    <a:pt x="3" y="11"/>
                  </a:cubicBezTo>
                  <a:cubicBezTo>
                    <a:pt x="3" y="11"/>
                    <a:pt x="3" y="10"/>
                    <a:pt x="3" y="10"/>
                  </a:cubicBezTo>
                  <a:cubicBezTo>
                    <a:pt x="2" y="10"/>
                    <a:pt x="1" y="9"/>
                    <a:pt x="1" y="9"/>
                  </a:cubicBezTo>
                  <a:cubicBezTo>
                    <a:pt x="0" y="8"/>
                    <a:pt x="0" y="6"/>
                    <a:pt x="1" y="5"/>
                  </a:cubicBezTo>
                  <a:cubicBezTo>
                    <a:pt x="1" y="4"/>
                    <a:pt x="3" y="4"/>
                    <a:pt x="3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5" y="0"/>
                    <a:pt x="8" y="0"/>
                    <a:pt x="10" y="1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3" y="1"/>
                    <a:pt x="13" y="0"/>
                    <a:pt x="14" y="0"/>
                  </a:cubicBezTo>
                  <a:cubicBezTo>
                    <a:pt x="14" y="0"/>
                    <a:pt x="15" y="0"/>
                    <a:pt x="15" y="0"/>
                  </a:cubicBezTo>
                  <a:cubicBezTo>
                    <a:pt x="16" y="0"/>
                    <a:pt x="15" y="0"/>
                    <a:pt x="16" y="0"/>
                  </a:cubicBezTo>
                  <a:cubicBezTo>
                    <a:pt x="17" y="1"/>
                    <a:pt x="18" y="2"/>
                    <a:pt x="19" y="3"/>
                  </a:cubicBezTo>
                  <a:cubicBezTo>
                    <a:pt x="19" y="4"/>
                    <a:pt x="18" y="5"/>
                    <a:pt x="19" y="7"/>
                  </a:cubicBezTo>
                  <a:cubicBezTo>
                    <a:pt x="19" y="7"/>
                    <a:pt x="19" y="7"/>
                    <a:pt x="20" y="7"/>
                  </a:cubicBezTo>
                  <a:cubicBezTo>
                    <a:pt x="20" y="8"/>
                    <a:pt x="20" y="9"/>
                    <a:pt x="20" y="10"/>
                  </a:cubicBezTo>
                  <a:cubicBezTo>
                    <a:pt x="19" y="11"/>
                    <a:pt x="19" y="11"/>
                    <a:pt x="18" y="12"/>
                  </a:cubicBezTo>
                  <a:cubicBezTo>
                    <a:pt x="16" y="12"/>
                    <a:pt x="14" y="11"/>
                    <a:pt x="11" y="12"/>
                  </a:cubicBezTo>
                  <a:cubicBezTo>
                    <a:pt x="11" y="14"/>
                    <a:pt x="9" y="15"/>
                    <a:pt x="7" y="15"/>
                  </a:cubicBezTo>
                  <a:cubicBezTo>
                    <a:pt x="7" y="15"/>
                    <a:pt x="7" y="15"/>
                    <a:pt x="6" y="1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4" name="Freeform 105"/>
            <p:cNvSpPr>
              <a:spLocks/>
            </p:cNvSpPr>
            <p:nvPr/>
          </p:nvSpPr>
          <p:spPr bwMode="auto">
            <a:xfrm>
              <a:off x="7059247" y="4886986"/>
              <a:ext cx="21749" cy="30217"/>
            </a:xfrm>
            <a:custGeom>
              <a:avLst/>
              <a:gdLst>
                <a:gd name="T0" fmla="*/ 9111496 w 16"/>
                <a:gd name="T1" fmla="*/ 25511586 h 28"/>
                <a:gd name="T2" fmla="*/ 5058432 w 16"/>
                <a:gd name="T3" fmla="*/ 23498568 h 28"/>
                <a:gd name="T4" fmla="*/ 4351847 w 16"/>
                <a:gd name="T5" fmla="*/ 21914983 h 28"/>
                <a:gd name="T6" fmla="*/ 4351847 w 16"/>
                <a:gd name="T7" fmla="*/ 16148475 h 28"/>
                <a:gd name="T8" fmla="*/ 4351847 w 16"/>
                <a:gd name="T9" fmla="*/ 11919092 h 28"/>
                <a:gd name="T10" fmla="*/ 3065115 w 16"/>
                <a:gd name="T11" fmla="*/ 9297269 h 28"/>
                <a:gd name="T12" fmla="*/ 2129866 w 16"/>
                <a:gd name="T13" fmla="*/ 6527726 h 28"/>
                <a:gd name="T14" fmla="*/ 896786 w 16"/>
                <a:gd name="T15" fmla="*/ 5415918 h 28"/>
                <a:gd name="T16" fmla="*/ 0 w 16"/>
                <a:gd name="T17" fmla="*/ 4591618 h 28"/>
                <a:gd name="T18" fmla="*/ 2129866 w 16"/>
                <a:gd name="T19" fmla="*/ 3468116 h 28"/>
                <a:gd name="T20" fmla="*/ 5058432 w 16"/>
                <a:gd name="T21" fmla="*/ 1947959 h 28"/>
                <a:gd name="T22" fmla="*/ 7279645 w 16"/>
                <a:gd name="T23" fmla="*/ 826407 h 28"/>
                <a:gd name="T24" fmla="*/ 13463332 w 16"/>
                <a:gd name="T25" fmla="*/ 4591618 h 28"/>
                <a:gd name="T26" fmla="*/ 13463332 w 16"/>
                <a:gd name="T27" fmla="*/ 6527726 h 28"/>
                <a:gd name="T28" fmla="*/ 11241359 w 16"/>
                <a:gd name="T29" fmla="*/ 8174845 h 28"/>
                <a:gd name="T30" fmla="*/ 11241359 w 16"/>
                <a:gd name="T31" fmla="*/ 11919092 h 28"/>
                <a:gd name="T32" fmla="*/ 13463332 w 16"/>
                <a:gd name="T33" fmla="*/ 12766089 h 28"/>
                <a:gd name="T34" fmla="*/ 13463332 w 16"/>
                <a:gd name="T35" fmla="*/ 13592494 h 28"/>
                <a:gd name="T36" fmla="*/ 16353582 w 16"/>
                <a:gd name="T37" fmla="*/ 16148475 h 28"/>
                <a:gd name="T38" fmla="*/ 16353582 w 16"/>
                <a:gd name="T39" fmla="*/ 17326122 h 28"/>
                <a:gd name="T40" fmla="*/ 14143703 w 16"/>
                <a:gd name="T41" fmla="*/ 20120368 h 28"/>
                <a:gd name="T42" fmla="*/ 10335629 w 16"/>
                <a:gd name="T43" fmla="*/ 24685191 h 28"/>
                <a:gd name="T44" fmla="*/ 10335629 w 16"/>
                <a:gd name="T45" fmla="*/ 24685191 h 28"/>
                <a:gd name="T46" fmla="*/ 9111496 w 16"/>
                <a:gd name="T47" fmla="*/ 25511586 h 2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6"/>
                <a:gd name="T73" fmla="*/ 0 h 28"/>
                <a:gd name="T74" fmla="*/ 16 w 16"/>
                <a:gd name="T75" fmla="*/ 28 h 2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6" h="28">
                  <a:moveTo>
                    <a:pt x="9" y="28"/>
                  </a:moveTo>
                  <a:cubicBezTo>
                    <a:pt x="8" y="26"/>
                    <a:pt x="7" y="26"/>
                    <a:pt x="5" y="26"/>
                  </a:cubicBezTo>
                  <a:cubicBezTo>
                    <a:pt x="5" y="25"/>
                    <a:pt x="4" y="24"/>
                    <a:pt x="4" y="24"/>
                  </a:cubicBezTo>
                  <a:cubicBezTo>
                    <a:pt x="3" y="22"/>
                    <a:pt x="3" y="20"/>
                    <a:pt x="4" y="18"/>
                  </a:cubicBezTo>
                  <a:cubicBezTo>
                    <a:pt x="5" y="16"/>
                    <a:pt x="5" y="14"/>
                    <a:pt x="4" y="13"/>
                  </a:cubicBezTo>
                  <a:cubicBezTo>
                    <a:pt x="4" y="12"/>
                    <a:pt x="4" y="11"/>
                    <a:pt x="3" y="10"/>
                  </a:cubicBezTo>
                  <a:cubicBezTo>
                    <a:pt x="3" y="9"/>
                    <a:pt x="3" y="8"/>
                    <a:pt x="2" y="7"/>
                  </a:cubicBezTo>
                  <a:cubicBezTo>
                    <a:pt x="2" y="7"/>
                    <a:pt x="2" y="6"/>
                    <a:pt x="1" y="6"/>
                  </a:cubicBezTo>
                  <a:cubicBezTo>
                    <a:pt x="1" y="6"/>
                    <a:pt x="1" y="5"/>
                    <a:pt x="0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4" y="3"/>
                    <a:pt x="5" y="2"/>
                  </a:cubicBezTo>
                  <a:cubicBezTo>
                    <a:pt x="6" y="2"/>
                    <a:pt x="6" y="1"/>
                    <a:pt x="7" y="1"/>
                  </a:cubicBezTo>
                  <a:cubicBezTo>
                    <a:pt x="10" y="0"/>
                    <a:pt x="11" y="3"/>
                    <a:pt x="13" y="5"/>
                  </a:cubicBezTo>
                  <a:cubicBezTo>
                    <a:pt x="13" y="6"/>
                    <a:pt x="13" y="6"/>
                    <a:pt x="13" y="7"/>
                  </a:cubicBezTo>
                  <a:cubicBezTo>
                    <a:pt x="13" y="8"/>
                    <a:pt x="11" y="8"/>
                    <a:pt x="11" y="9"/>
                  </a:cubicBezTo>
                  <a:cubicBezTo>
                    <a:pt x="10" y="10"/>
                    <a:pt x="10" y="12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3" y="14"/>
                    <a:pt x="13" y="15"/>
                    <a:pt x="13" y="15"/>
                  </a:cubicBezTo>
                  <a:cubicBezTo>
                    <a:pt x="13" y="16"/>
                    <a:pt x="15" y="17"/>
                    <a:pt x="16" y="18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2"/>
                    <a:pt x="14" y="22"/>
                  </a:cubicBezTo>
                  <a:cubicBezTo>
                    <a:pt x="13" y="24"/>
                    <a:pt x="11" y="25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lnTo>
                    <a:pt x="9" y="2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5" name="Freeform 106"/>
            <p:cNvSpPr>
              <a:spLocks/>
            </p:cNvSpPr>
            <p:nvPr/>
          </p:nvSpPr>
          <p:spPr bwMode="auto">
            <a:xfrm>
              <a:off x="7093321" y="4867645"/>
              <a:ext cx="64522" cy="35655"/>
            </a:xfrm>
            <a:custGeom>
              <a:avLst/>
              <a:gdLst>
                <a:gd name="T0" fmla="*/ 49283761 w 48"/>
                <a:gd name="T1" fmla="*/ 4745294 h 33"/>
                <a:gd name="T2" fmla="*/ 48346530 w 48"/>
                <a:gd name="T3" fmla="*/ 9698924 h 33"/>
                <a:gd name="T4" fmla="*/ 43059211 w 48"/>
                <a:gd name="T5" fmla="*/ 14073912 h 33"/>
                <a:gd name="T6" fmla="*/ 43059211 w 48"/>
                <a:gd name="T7" fmla="*/ 18036102 h 33"/>
                <a:gd name="T8" fmla="*/ 43989565 w 48"/>
                <a:gd name="T9" fmla="*/ 22924719 h 33"/>
                <a:gd name="T10" fmla="*/ 45228631 w 48"/>
                <a:gd name="T11" fmla="*/ 22924719 h 33"/>
                <a:gd name="T12" fmla="*/ 43989565 w 48"/>
                <a:gd name="T13" fmla="*/ 23659148 h 33"/>
                <a:gd name="T14" fmla="*/ 41066074 w 48"/>
                <a:gd name="T15" fmla="*/ 23659148 h 33"/>
                <a:gd name="T16" fmla="*/ 40170186 w 48"/>
                <a:gd name="T17" fmla="*/ 22924719 h 33"/>
                <a:gd name="T18" fmla="*/ 37943206 w 48"/>
                <a:gd name="T19" fmla="*/ 22924719 h 33"/>
                <a:gd name="T20" fmla="*/ 30663511 w 48"/>
                <a:gd name="T21" fmla="*/ 25663075 h 33"/>
                <a:gd name="T22" fmla="*/ 31975403 w 48"/>
                <a:gd name="T23" fmla="*/ 29407055 h 33"/>
                <a:gd name="T24" fmla="*/ 30663511 w 48"/>
                <a:gd name="T25" fmla="*/ 29407055 h 33"/>
                <a:gd name="T26" fmla="*/ 29824338 w 48"/>
                <a:gd name="T27" fmla="*/ 29407055 h 33"/>
                <a:gd name="T28" fmla="*/ 21639806 w 48"/>
                <a:gd name="T29" fmla="*/ 29407055 h 33"/>
                <a:gd name="T30" fmla="*/ 19419101 w 48"/>
                <a:gd name="T31" fmla="*/ 29407055 h 33"/>
                <a:gd name="T32" fmla="*/ 15581415 w 48"/>
                <a:gd name="T33" fmla="*/ 29407055 h 33"/>
                <a:gd name="T34" fmla="*/ 13463334 w 48"/>
                <a:gd name="T35" fmla="*/ 30553758 h 33"/>
                <a:gd name="T36" fmla="*/ 5287420 w 48"/>
                <a:gd name="T37" fmla="*/ 29407055 h 33"/>
                <a:gd name="T38" fmla="*/ 5287420 w 48"/>
                <a:gd name="T39" fmla="*/ 29407055 h 33"/>
                <a:gd name="T40" fmla="*/ 5287420 w 48"/>
                <a:gd name="T41" fmla="*/ 27670974 h 33"/>
                <a:gd name="T42" fmla="*/ 4351850 w 48"/>
                <a:gd name="T43" fmla="*/ 27670974 h 33"/>
                <a:gd name="T44" fmla="*/ 4351850 w 48"/>
                <a:gd name="T45" fmla="*/ 23659148 h 33"/>
                <a:gd name="T46" fmla="*/ 937382 w 48"/>
                <a:gd name="T47" fmla="*/ 20915062 h 33"/>
                <a:gd name="T48" fmla="*/ 0 w 48"/>
                <a:gd name="T49" fmla="*/ 20915062 h 33"/>
                <a:gd name="T50" fmla="*/ 2226282 w 48"/>
                <a:gd name="T51" fmla="*/ 14073912 h 33"/>
                <a:gd name="T52" fmla="*/ 4351850 w 48"/>
                <a:gd name="T53" fmla="*/ 12441453 h 33"/>
                <a:gd name="T54" fmla="*/ 4351850 w 48"/>
                <a:gd name="T55" fmla="*/ 10341117 h 33"/>
                <a:gd name="T56" fmla="*/ 3065439 w 48"/>
                <a:gd name="T57" fmla="*/ 10341117 h 33"/>
                <a:gd name="T58" fmla="*/ 3065439 w 48"/>
                <a:gd name="T59" fmla="*/ 9698924 h 33"/>
                <a:gd name="T60" fmla="*/ 0 w 48"/>
                <a:gd name="T61" fmla="*/ 6840533 h 33"/>
                <a:gd name="T62" fmla="*/ 937382 w 48"/>
                <a:gd name="T63" fmla="*/ 0 h 33"/>
                <a:gd name="T64" fmla="*/ 2226282 w 48"/>
                <a:gd name="T65" fmla="*/ 849380 h 33"/>
                <a:gd name="T66" fmla="*/ 3065439 w 48"/>
                <a:gd name="T67" fmla="*/ 2894072 h 33"/>
                <a:gd name="T68" fmla="*/ 5287420 w 48"/>
                <a:gd name="T69" fmla="*/ 4745294 h 33"/>
                <a:gd name="T70" fmla="*/ 9111497 w 48"/>
                <a:gd name="T71" fmla="*/ 4745294 h 33"/>
                <a:gd name="T72" fmla="*/ 15581415 w 48"/>
                <a:gd name="T73" fmla="*/ 5595819 h 33"/>
                <a:gd name="T74" fmla="*/ 27595012 w 48"/>
                <a:gd name="T75" fmla="*/ 5595819 h 33"/>
                <a:gd name="T76" fmla="*/ 28533592 w 48"/>
                <a:gd name="T77" fmla="*/ 4745294 h 33"/>
                <a:gd name="T78" fmla="*/ 31975403 w 48"/>
                <a:gd name="T79" fmla="*/ 2894072 h 33"/>
                <a:gd name="T80" fmla="*/ 37005842 w 48"/>
                <a:gd name="T81" fmla="*/ 2894072 h 33"/>
                <a:gd name="T82" fmla="*/ 40170186 w 48"/>
                <a:gd name="T83" fmla="*/ 2007625 h 33"/>
                <a:gd name="T84" fmla="*/ 41066074 w 48"/>
                <a:gd name="T85" fmla="*/ 2007625 h 33"/>
                <a:gd name="T86" fmla="*/ 41768504 w 48"/>
                <a:gd name="T87" fmla="*/ 2007625 h 33"/>
                <a:gd name="T88" fmla="*/ 48346530 w 48"/>
                <a:gd name="T89" fmla="*/ 4745294 h 33"/>
                <a:gd name="T90" fmla="*/ 49283761 w 48"/>
                <a:gd name="T91" fmla="*/ 4745294 h 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8"/>
                <a:gd name="T139" fmla="*/ 0 h 33"/>
                <a:gd name="T140" fmla="*/ 48 w 48"/>
                <a:gd name="T141" fmla="*/ 33 h 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8" h="33">
                  <a:moveTo>
                    <a:pt x="48" y="5"/>
                  </a:moveTo>
                  <a:cubicBezTo>
                    <a:pt x="48" y="7"/>
                    <a:pt x="48" y="9"/>
                    <a:pt x="47" y="10"/>
                  </a:cubicBezTo>
                  <a:cubicBezTo>
                    <a:pt x="45" y="11"/>
                    <a:pt x="43" y="12"/>
                    <a:pt x="42" y="15"/>
                  </a:cubicBezTo>
                  <a:cubicBezTo>
                    <a:pt x="41" y="16"/>
                    <a:pt x="41" y="18"/>
                    <a:pt x="42" y="19"/>
                  </a:cubicBezTo>
                  <a:cubicBezTo>
                    <a:pt x="42" y="21"/>
                    <a:pt x="42" y="23"/>
                    <a:pt x="43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6"/>
                    <a:pt x="40" y="25"/>
                  </a:cubicBezTo>
                  <a:cubicBezTo>
                    <a:pt x="40" y="25"/>
                    <a:pt x="39" y="24"/>
                    <a:pt x="39" y="24"/>
                  </a:cubicBezTo>
                  <a:cubicBezTo>
                    <a:pt x="38" y="24"/>
                    <a:pt x="38" y="24"/>
                    <a:pt x="37" y="24"/>
                  </a:cubicBezTo>
                  <a:cubicBezTo>
                    <a:pt x="35" y="26"/>
                    <a:pt x="33" y="26"/>
                    <a:pt x="30" y="27"/>
                  </a:cubicBezTo>
                  <a:cubicBezTo>
                    <a:pt x="30" y="29"/>
                    <a:pt x="31" y="30"/>
                    <a:pt x="31" y="31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30" y="31"/>
                    <a:pt x="29" y="31"/>
                    <a:pt x="29" y="31"/>
                  </a:cubicBezTo>
                  <a:cubicBezTo>
                    <a:pt x="26" y="31"/>
                    <a:pt x="24" y="32"/>
                    <a:pt x="21" y="31"/>
                  </a:cubicBezTo>
                  <a:cubicBezTo>
                    <a:pt x="20" y="31"/>
                    <a:pt x="20" y="31"/>
                    <a:pt x="19" y="31"/>
                  </a:cubicBezTo>
                  <a:cubicBezTo>
                    <a:pt x="18" y="31"/>
                    <a:pt x="17" y="30"/>
                    <a:pt x="15" y="31"/>
                  </a:cubicBezTo>
                  <a:cubicBezTo>
                    <a:pt x="14" y="31"/>
                    <a:pt x="14" y="32"/>
                    <a:pt x="13" y="32"/>
                  </a:cubicBezTo>
                  <a:cubicBezTo>
                    <a:pt x="10" y="33"/>
                    <a:pt x="7" y="31"/>
                    <a:pt x="5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0"/>
                    <a:pt x="5" y="30"/>
                    <a:pt x="5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3" y="27"/>
                    <a:pt x="4" y="26"/>
                    <a:pt x="4" y="25"/>
                  </a:cubicBezTo>
                  <a:cubicBezTo>
                    <a:pt x="3" y="24"/>
                    <a:pt x="2" y="23"/>
                    <a:pt x="1" y="22"/>
                  </a:cubicBezTo>
                  <a:cubicBezTo>
                    <a:pt x="0" y="22"/>
                    <a:pt x="1" y="22"/>
                    <a:pt x="0" y="22"/>
                  </a:cubicBezTo>
                  <a:cubicBezTo>
                    <a:pt x="1" y="20"/>
                    <a:pt x="1" y="17"/>
                    <a:pt x="2" y="15"/>
                  </a:cubicBezTo>
                  <a:cubicBezTo>
                    <a:pt x="3" y="15"/>
                    <a:pt x="4" y="14"/>
                    <a:pt x="4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4" y="11"/>
                    <a:pt x="3" y="11"/>
                    <a:pt x="3" y="11"/>
                  </a:cubicBezTo>
                  <a:cubicBezTo>
                    <a:pt x="3" y="11"/>
                    <a:pt x="3" y="10"/>
                    <a:pt x="3" y="10"/>
                  </a:cubicBezTo>
                  <a:cubicBezTo>
                    <a:pt x="3" y="8"/>
                    <a:pt x="2" y="8"/>
                    <a:pt x="0" y="7"/>
                  </a:cubicBezTo>
                  <a:cubicBezTo>
                    <a:pt x="0" y="5"/>
                    <a:pt x="1" y="3"/>
                    <a:pt x="1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3" y="3"/>
                  </a:cubicBezTo>
                  <a:cubicBezTo>
                    <a:pt x="3" y="4"/>
                    <a:pt x="4" y="5"/>
                    <a:pt x="5" y="5"/>
                  </a:cubicBezTo>
                  <a:cubicBezTo>
                    <a:pt x="6" y="6"/>
                    <a:pt x="7" y="5"/>
                    <a:pt x="9" y="5"/>
                  </a:cubicBezTo>
                  <a:cubicBezTo>
                    <a:pt x="11" y="5"/>
                    <a:pt x="13" y="5"/>
                    <a:pt x="15" y="6"/>
                  </a:cubicBezTo>
                  <a:cubicBezTo>
                    <a:pt x="19" y="7"/>
                    <a:pt x="23" y="6"/>
                    <a:pt x="27" y="6"/>
                  </a:cubicBezTo>
                  <a:cubicBezTo>
                    <a:pt x="27" y="6"/>
                    <a:pt x="28" y="6"/>
                    <a:pt x="28" y="5"/>
                  </a:cubicBezTo>
                  <a:cubicBezTo>
                    <a:pt x="29" y="4"/>
                    <a:pt x="30" y="4"/>
                    <a:pt x="31" y="3"/>
                  </a:cubicBezTo>
                  <a:cubicBezTo>
                    <a:pt x="33" y="2"/>
                    <a:pt x="34" y="3"/>
                    <a:pt x="36" y="3"/>
                  </a:cubicBezTo>
                  <a:cubicBezTo>
                    <a:pt x="37" y="2"/>
                    <a:pt x="38" y="2"/>
                    <a:pt x="39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3" y="3"/>
                    <a:pt x="45" y="4"/>
                    <a:pt x="47" y="5"/>
                  </a:cubicBezTo>
                  <a:lnTo>
                    <a:pt x="48" y="5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6" name="Freeform 107"/>
            <p:cNvSpPr>
              <a:spLocks/>
            </p:cNvSpPr>
            <p:nvPr/>
          </p:nvSpPr>
          <p:spPr bwMode="auto">
            <a:xfrm>
              <a:off x="7070845" y="4822320"/>
              <a:ext cx="98595" cy="53181"/>
            </a:xfrm>
            <a:custGeom>
              <a:avLst/>
              <a:gdLst>
                <a:gd name="T0" fmla="*/ 166228189 w 73"/>
                <a:gd name="T1" fmla="*/ 73924173 h 49"/>
                <a:gd name="T2" fmla="*/ 169176980 w 73"/>
                <a:gd name="T3" fmla="*/ 77611627 h 49"/>
                <a:gd name="T4" fmla="*/ 169176980 w 73"/>
                <a:gd name="T5" fmla="*/ 85451236 h 49"/>
                <a:gd name="T6" fmla="*/ 166228189 w 73"/>
                <a:gd name="T7" fmla="*/ 87497305 h 49"/>
                <a:gd name="T8" fmla="*/ 159510521 w 73"/>
                <a:gd name="T9" fmla="*/ 87497305 h 49"/>
                <a:gd name="T10" fmla="*/ 157383371 w 73"/>
                <a:gd name="T11" fmla="*/ 85451236 h 49"/>
                <a:gd name="T12" fmla="*/ 152453300 w 73"/>
                <a:gd name="T13" fmla="*/ 85451236 h 49"/>
                <a:gd name="T14" fmla="*/ 152453300 w 73"/>
                <a:gd name="T15" fmla="*/ 101068146 h 49"/>
                <a:gd name="T16" fmla="*/ 150286829 w 73"/>
                <a:gd name="T17" fmla="*/ 104011003 h 49"/>
                <a:gd name="T18" fmla="*/ 150286829 w 73"/>
                <a:gd name="T19" fmla="*/ 108200486 h 49"/>
                <a:gd name="T20" fmla="*/ 147553866 w 73"/>
                <a:gd name="T21" fmla="*/ 108200486 h 49"/>
                <a:gd name="T22" fmla="*/ 133556210 w 73"/>
                <a:gd name="T23" fmla="*/ 101068146 h 49"/>
                <a:gd name="T24" fmla="*/ 131650992 w 73"/>
                <a:gd name="T25" fmla="*/ 101068146 h 49"/>
                <a:gd name="T26" fmla="*/ 128661023 w 73"/>
                <a:gd name="T27" fmla="*/ 101068146 h 49"/>
                <a:gd name="T28" fmla="*/ 121599289 w 73"/>
                <a:gd name="T29" fmla="*/ 104011003 h 49"/>
                <a:gd name="T30" fmla="*/ 109774625 w 73"/>
                <a:gd name="T31" fmla="*/ 104011003 h 49"/>
                <a:gd name="T32" fmla="*/ 102774546 w 73"/>
                <a:gd name="T33" fmla="*/ 108200486 h 49"/>
                <a:gd name="T34" fmla="*/ 101142716 w 73"/>
                <a:gd name="T35" fmla="*/ 110986834 h 49"/>
                <a:gd name="T36" fmla="*/ 72299504 w 73"/>
                <a:gd name="T37" fmla="*/ 110986834 h 49"/>
                <a:gd name="T38" fmla="*/ 58529885 w 73"/>
                <a:gd name="T39" fmla="*/ 108200486 h 49"/>
                <a:gd name="T40" fmla="*/ 49396285 w 73"/>
                <a:gd name="T41" fmla="*/ 108200486 h 49"/>
                <a:gd name="T42" fmla="*/ 44784155 w 73"/>
                <a:gd name="T43" fmla="*/ 104011003 h 49"/>
                <a:gd name="T44" fmla="*/ 42678731 w 73"/>
                <a:gd name="T45" fmla="*/ 99183056 h 49"/>
                <a:gd name="T46" fmla="*/ 39632122 w 73"/>
                <a:gd name="T47" fmla="*/ 92588652 h 49"/>
                <a:gd name="T48" fmla="*/ 37567119 w 73"/>
                <a:gd name="T49" fmla="*/ 89640795 h 49"/>
                <a:gd name="T50" fmla="*/ 20843534 w 73"/>
                <a:gd name="T51" fmla="*/ 89640795 h 49"/>
                <a:gd name="T52" fmla="*/ 20843534 w 73"/>
                <a:gd name="T53" fmla="*/ 89640795 h 49"/>
                <a:gd name="T54" fmla="*/ 16723391 w 73"/>
                <a:gd name="T55" fmla="*/ 80530641 h 49"/>
                <a:gd name="T56" fmla="*/ 8795248 w 73"/>
                <a:gd name="T57" fmla="*/ 73924173 h 49"/>
                <a:gd name="T58" fmla="*/ 2067696 w 73"/>
                <a:gd name="T59" fmla="*/ 52576165 h 49"/>
                <a:gd name="T60" fmla="*/ 11612689 w 73"/>
                <a:gd name="T61" fmla="*/ 48398234 h 49"/>
                <a:gd name="T62" fmla="*/ 16723391 w 73"/>
                <a:gd name="T63" fmla="*/ 32132075 h 49"/>
                <a:gd name="T64" fmla="*/ 20843534 w 73"/>
                <a:gd name="T65" fmla="*/ 27078246 h 49"/>
                <a:gd name="T66" fmla="*/ 35397937 w 73"/>
                <a:gd name="T67" fmla="*/ 13573033 h 49"/>
                <a:gd name="T68" fmla="*/ 37567119 w 73"/>
                <a:gd name="T69" fmla="*/ 2040963 h 49"/>
                <a:gd name="T70" fmla="*/ 37567119 w 73"/>
                <a:gd name="T71" fmla="*/ 2040963 h 49"/>
                <a:gd name="T72" fmla="*/ 46321115 w 73"/>
                <a:gd name="T73" fmla="*/ 6978664 h 49"/>
                <a:gd name="T74" fmla="*/ 54290524 w 73"/>
                <a:gd name="T75" fmla="*/ 8635868 h 49"/>
                <a:gd name="T76" fmla="*/ 75254096 w 73"/>
                <a:gd name="T77" fmla="*/ 13573033 h 49"/>
                <a:gd name="T78" fmla="*/ 82310920 w 73"/>
                <a:gd name="T79" fmla="*/ 13573033 h 49"/>
                <a:gd name="T80" fmla="*/ 93922637 w 73"/>
                <a:gd name="T81" fmla="*/ 8635868 h 49"/>
                <a:gd name="T82" fmla="*/ 106132242 w 73"/>
                <a:gd name="T83" fmla="*/ 6978664 h 49"/>
                <a:gd name="T84" fmla="*/ 114888522 w 73"/>
                <a:gd name="T85" fmla="*/ 0 h 49"/>
                <a:gd name="T86" fmla="*/ 117062349 w 73"/>
                <a:gd name="T87" fmla="*/ 6978664 h 49"/>
                <a:gd name="T88" fmla="*/ 119878049 w 73"/>
                <a:gd name="T89" fmla="*/ 11438226 h 49"/>
                <a:gd name="T90" fmla="*/ 126595413 w 73"/>
                <a:gd name="T91" fmla="*/ 18559052 h 49"/>
                <a:gd name="T92" fmla="*/ 128661023 w 73"/>
                <a:gd name="T93" fmla="*/ 23479482 h 49"/>
                <a:gd name="T94" fmla="*/ 135729961 w 73"/>
                <a:gd name="T95" fmla="*/ 34919048 h 49"/>
                <a:gd name="T96" fmla="*/ 138707721 w 73"/>
                <a:gd name="T97" fmla="*/ 67050953 h 49"/>
                <a:gd name="T98" fmla="*/ 138707721 w 73"/>
                <a:gd name="T99" fmla="*/ 69092097 h 49"/>
                <a:gd name="T100" fmla="*/ 138707721 w 73"/>
                <a:gd name="T101" fmla="*/ 73924173 h 49"/>
                <a:gd name="T102" fmla="*/ 138707721 w 73"/>
                <a:gd name="T103" fmla="*/ 76067739 h 49"/>
                <a:gd name="T104" fmla="*/ 145396571 w 73"/>
                <a:gd name="T105" fmla="*/ 76067739 h 49"/>
                <a:gd name="T106" fmla="*/ 150286829 w 73"/>
                <a:gd name="T107" fmla="*/ 76067739 h 49"/>
                <a:gd name="T108" fmla="*/ 166228189 w 73"/>
                <a:gd name="T109" fmla="*/ 76067739 h 49"/>
                <a:gd name="T110" fmla="*/ 166228189 w 73"/>
                <a:gd name="T111" fmla="*/ 73924173 h 4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"/>
                <a:gd name="T169" fmla="*/ 0 h 49"/>
                <a:gd name="T170" fmla="*/ 73 w 73"/>
                <a:gd name="T171" fmla="*/ 49 h 49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" h="49">
                  <a:moveTo>
                    <a:pt x="71" y="32"/>
                  </a:moveTo>
                  <a:cubicBezTo>
                    <a:pt x="71" y="33"/>
                    <a:pt x="72" y="33"/>
                    <a:pt x="72" y="34"/>
                  </a:cubicBezTo>
                  <a:cubicBezTo>
                    <a:pt x="72" y="35"/>
                    <a:pt x="73" y="36"/>
                    <a:pt x="72" y="37"/>
                  </a:cubicBezTo>
                  <a:cubicBezTo>
                    <a:pt x="72" y="38"/>
                    <a:pt x="72" y="38"/>
                    <a:pt x="71" y="38"/>
                  </a:cubicBezTo>
                  <a:cubicBezTo>
                    <a:pt x="70" y="39"/>
                    <a:pt x="69" y="39"/>
                    <a:pt x="68" y="38"/>
                  </a:cubicBezTo>
                  <a:cubicBezTo>
                    <a:pt x="68" y="38"/>
                    <a:pt x="68" y="37"/>
                    <a:pt x="67" y="37"/>
                  </a:cubicBezTo>
                  <a:cubicBezTo>
                    <a:pt x="66" y="36"/>
                    <a:pt x="65" y="36"/>
                    <a:pt x="65" y="37"/>
                  </a:cubicBezTo>
                  <a:cubicBezTo>
                    <a:pt x="65" y="39"/>
                    <a:pt x="65" y="42"/>
                    <a:pt x="65" y="44"/>
                  </a:cubicBezTo>
                  <a:cubicBezTo>
                    <a:pt x="65" y="44"/>
                    <a:pt x="64" y="44"/>
                    <a:pt x="64" y="45"/>
                  </a:cubicBezTo>
                  <a:cubicBezTo>
                    <a:pt x="64" y="46"/>
                    <a:pt x="64" y="46"/>
                    <a:pt x="64" y="47"/>
                  </a:cubicBezTo>
                  <a:cubicBezTo>
                    <a:pt x="63" y="47"/>
                    <a:pt x="63" y="47"/>
                    <a:pt x="63" y="47"/>
                  </a:cubicBezTo>
                  <a:cubicBezTo>
                    <a:pt x="61" y="46"/>
                    <a:pt x="59" y="45"/>
                    <a:pt x="57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4"/>
                    <a:pt x="56" y="44"/>
                    <a:pt x="55" y="44"/>
                  </a:cubicBezTo>
                  <a:cubicBezTo>
                    <a:pt x="54" y="44"/>
                    <a:pt x="53" y="44"/>
                    <a:pt x="52" y="45"/>
                  </a:cubicBezTo>
                  <a:cubicBezTo>
                    <a:pt x="50" y="45"/>
                    <a:pt x="49" y="44"/>
                    <a:pt x="47" y="45"/>
                  </a:cubicBezTo>
                  <a:cubicBezTo>
                    <a:pt x="46" y="46"/>
                    <a:pt x="45" y="46"/>
                    <a:pt x="44" y="47"/>
                  </a:cubicBezTo>
                  <a:cubicBezTo>
                    <a:pt x="44" y="48"/>
                    <a:pt x="43" y="48"/>
                    <a:pt x="43" y="48"/>
                  </a:cubicBezTo>
                  <a:cubicBezTo>
                    <a:pt x="39" y="48"/>
                    <a:pt x="35" y="49"/>
                    <a:pt x="31" y="48"/>
                  </a:cubicBezTo>
                  <a:cubicBezTo>
                    <a:pt x="29" y="47"/>
                    <a:pt x="27" y="47"/>
                    <a:pt x="25" y="47"/>
                  </a:cubicBezTo>
                  <a:cubicBezTo>
                    <a:pt x="23" y="47"/>
                    <a:pt x="22" y="48"/>
                    <a:pt x="21" y="47"/>
                  </a:cubicBezTo>
                  <a:cubicBezTo>
                    <a:pt x="20" y="47"/>
                    <a:pt x="19" y="46"/>
                    <a:pt x="19" y="45"/>
                  </a:cubicBezTo>
                  <a:cubicBezTo>
                    <a:pt x="18" y="44"/>
                    <a:pt x="18" y="44"/>
                    <a:pt x="18" y="43"/>
                  </a:cubicBezTo>
                  <a:cubicBezTo>
                    <a:pt x="17" y="42"/>
                    <a:pt x="18" y="41"/>
                    <a:pt x="17" y="40"/>
                  </a:cubicBezTo>
                  <a:cubicBezTo>
                    <a:pt x="17" y="40"/>
                    <a:pt x="17" y="39"/>
                    <a:pt x="16" y="39"/>
                  </a:cubicBezTo>
                  <a:cubicBezTo>
                    <a:pt x="14" y="38"/>
                    <a:pt x="11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7"/>
                    <a:pt x="8" y="36"/>
                    <a:pt x="7" y="35"/>
                  </a:cubicBezTo>
                  <a:cubicBezTo>
                    <a:pt x="7" y="33"/>
                    <a:pt x="5" y="33"/>
                    <a:pt x="4" y="32"/>
                  </a:cubicBezTo>
                  <a:cubicBezTo>
                    <a:pt x="2" y="29"/>
                    <a:pt x="0" y="27"/>
                    <a:pt x="1" y="23"/>
                  </a:cubicBezTo>
                  <a:cubicBezTo>
                    <a:pt x="2" y="23"/>
                    <a:pt x="4" y="21"/>
                    <a:pt x="5" y="21"/>
                  </a:cubicBezTo>
                  <a:cubicBezTo>
                    <a:pt x="7" y="19"/>
                    <a:pt x="7" y="17"/>
                    <a:pt x="7" y="14"/>
                  </a:cubicBezTo>
                  <a:cubicBezTo>
                    <a:pt x="7" y="14"/>
                    <a:pt x="8" y="13"/>
                    <a:pt x="9" y="12"/>
                  </a:cubicBezTo>
                  <a:cubicBezTo>
                    <a:pt x="11" y="11"/>
                    <a:pt x="13" y="8"/>
                    <a:pt x="15" y="6"/>
                  </a:cubicBezTo>
                  <a:cubicBezTo>
                    <a:pt x="15" y="4"/>
                    <a:pt x="15" y="3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2"/>
                    <a:pt x="19" y="2"/>
                    <a:pt x="20" y="3"/>
                  </a:cubicBezTo>
                  <a:cubicBezTo>
                    <a:pt x="21" y="3"/>
                    <a:pt x="22" y="4"/>
                    <a:pt x="23" y="4"/>
                  </a:cubicBezTo>
                  <a:cubicBezTo>
                    <a:pt x="26" y="4"/>
                    <a:pt x="29" y="5"/>
                    <a:pt x="32" y="6"/>
                  </a:cubicBezTo>
                  <a:cubicBezTo>
                    <a:pt x="33" y="6"/>
                    <a:pt x="34" y="6"/>
                    <a:pt x="35" y="6"/>
                  </a:cubicBezTo>
                  <a:cubicBezTo>
                    <a:pt x="36" y="5"/>
                    <a:pt x="38" y="5"/>
                    <a:pt x="40" y="4"/>
                  </a:cubicBezTo>
                  <a:cubicBezTo>
                    <a:pt x="42" y="3"/>
                    <a:pt x="44" y="4"/>
                    <a:pt x="45" y="3"/>
                  </a:cubicBezTo>
                  <a:cubicBezTo>
                    <a:pt x="47" y="2"/>
                    <a:pt x="47" y="1"/>
                    <a:pt x="49" y="0"/>
                  </a:cubicBezTo>
                  <a:cubicBezTo>
                    <a:pt x="49" y="1"/>
                    <a:pt x="50" y="2"/>
                    <a:pt x="50" y="3"/>
                  </a:cubicBezTo>
                  <a:cubicBezTo>
                    <a:pt x="50" y="3"/>
                    <a:pt x="51" y="4"/>
                    <a:pt x="51" y="5"/>
                  </a:cubicBezTo>
                  <a:cubicBezTo>
                    <a:pt x="52" y="6"/>
                    <a:pt x="52" y="7"/>
                    <a:pt x="54" y="8"/>
                  </a:cubicBezTo>
                  <a:cubicBezTo>
                    <a:pt x="55" y="9"/>
                    <a:pt x="55" y="9"/>
                    <a:pt x="55" y="10"/>
                  </a:cubicBezTo>
                  <a:cubicBezTo>
                    <a:pt x="57" y="12"/>
                    <a:pt x="58" y="13"/>
                    <a:pt x="58" y="15"/>
                  </a:cubicBezTo>
                  <a:cubicBezTo>
                    <a:pt x="59" y="21"/>
                    <a:pt x="59" y="25"/>
                    <a:pt x="59" y="29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30"/>
                    <a:pt x="59" y="31"/>
                    <a:pt x="59" y="32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9" y="32"/>
                    <a:pt x="61" y="32"/>
                    <a:pt x="62" y="33"/>
                  </a:cubicBezTo>
                  <a:cubicBezTo>
                    <a:pt x="62" y="34"/>
                    <a:pt x="64" y="34"/>
                    <a:pt x="64" y="33"/>
                  </a:cubicBezTo>
                  <a:cubicBezTo>
                    <a:pt x="67" y="32"/>
                    <a:pt x="69" y="33"/>
                    <a:pt x="71" y="33"/>
                  </a:cubicBezTo>
                  <a:lnTo>
                    <a:pt x="71" y="32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7" name="Freeform 108"/>
            <p:cNvSpPr>
              <a:spLocks/>
            </p:cNvSpPr>
            <p:nvPr/>
          </p:nvSpPr>
          <p:spPr bwMode="auto">
            <a:xfrm>
              <a:off x="7137541" y="4818090"/>
              <a:ext cx="30449" cy="36261"/>
            </a:xfrm>
            <a:custGeom>
              <a:avLst/>
              <a:gdLst>
                <a:gd name="T0" fmla="*/ 8361068 w 23"/>
                <a:gd name="T1" fmla="*/ 29344636 h 34"/>
                <a:gd name="T2" fmla="*/ 7578186 w 23"/>
                <a:gd name="T3" fmla="*/ 16877917 h 34"/>
                <a:gd name="T4" fmla="*/ 5078724 w 23"/>
                <a:gd name="T5" fmla="*/ 12471472 h 34"/>
                <a:gd name="T6" fmla="*/ 4350418 w 23"/>
                <a:gd name="T7" fmla="*/ 10511040 h 34"/>
                <a:gd name="T8" fmla="*/ 1852956 w 23"/>
                <a:gd name="T9" fmla="*/ 7807999 h 34"/>
                <a:gd name="T10" fmla="*/ 789222 w 23"/>
                <a:gd name="T11" fmla="*/ 6023953 h 34"/>
                <a:gd name="T12" fmla="*/ 0 w 23"/>
                <a:gd name="T13" fmla="*/ 3318400 h 34"/>
                <a:gd name="T14" fmla="*/ 1852956 w 23"/>
                <a:gd name="T15" fmla="*/ 806887 h 34"/>
                <a:gd name="T16" fmla="*/ 5078724 w 23"/>
                <a:gd name="T17" fmla="*/ 806887 h 34"/>
                <a:gd name="T18" fmla="*/ 6988262 w 23"/>
                <a:gd name="T19" fmla="*/ 3318400 h 34"/>
                <a:gd name="T20" fmla="*/ 11923961 w 23"/>
                <a:gd name="T21" fmla="*/ 5300376 h 34"/>
                <a:gd name="T22" fmla="*/ 13778124 w 23"/>
                <a:gd name="T23" fmla="*/ 7173119 h 34"/>
                <a:gd name="T24" fmla="*/ 14564485 w 23"/>
                <a:gd name="T25" fmla="*/ 11661007 h 34"/>
                <a:gd name="T26" fmla="*/ 17003040 w 23"/>
                <a:gd name="T27" fmla="*/ 14174003 h 34"/>
                <a:gd name="T28" fmla="*/ 17003040 w 23"/>
                <a:gd name="T29" fmla="*/ 16877917 h 34"/>
                <a:gd name="T30" fmla="*/ 19630332 w 23"/>
                <a:gd name="T31" fmla="*/ 19433342 h 34"/>
                <a:gd name="T32" fmla="*/ 19630332 w 23"/>
                <a:gd name="T33" fmla="*/ 21075652 h 34"/>
                <a:gd name="T34" fmla="*/ 17792257 w 23"/>
                <a:gd name="T35" fmla="*/ 21075652 h 34"/>
                <a:gd name="T36" fmla="*/ 13778124 w 23"/>
                <a:gd name="T37" fmla="*/ 20263812 h 34"/>
                <a:gd name="T38" fmla="*/ 12713535 w 23"/>
                <a:gd name="T39" fmla="*/ 22985392 h 34"/>
                <a:gd name="T40" fmla="*/ 12713535 w 23"/>
                <a:gd name="T41" fmla="*/ 24050521 h 34"/>
                <a:gd name="T42" fmla="*/ 11923961 w 23"/>
                <a:gd name="T43" fmla="*/ 25480374 h 34"/>
                <a:gd name="T44" fmla="*/ 11241599 w 23"/>
                <a:gd name="T45" fmla="*/ 29344636 h 34"/>
                <a:gd name="T46" fmla="*/ 10214021 w 23"/>
                <a:gd name="T47" fmla="*/ 29344636 h 34"/>
                <a:gd name="T48" fmla="*/ 9424793 w 23"/>
                <a:gd name="T49" fmla="*/ 29344636 h 34"/>
                <a:gd name="T50" fmla="*/ 8361068 w 23"/>
                <a:gd name="T51" fmla="*/ 29948683 h 34"/>
                <a:gd name="T52" fmla="*/ 8361068 w 23"/>
                <a:gd name="T53" fmla="*/ 29344636 h 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"/>
                <a:gd name="T82" fmla="*/ 0 h 34"/>
                <a:gd name="T83" fmla="*/ 23 w 23"/>
                <a:gd name="T84" fmla="*/ 34 h 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" h="34">
                  <a:moveTo>
                    <a:pt x="10" y="33"/>
                  </a:moveTo>
                  <a:cubicBezTo>
                    <a:pt x="10" y="29"/>
                    <a:pt x="10" y="25"/>
                    <a:pt x="9" y="19"/>
                  </a:cubicBezTo>
                  <a:cubicBezTo>
                    <a:pt x="9" y="17"/>
                    <a:pt x="8" y="16"/>
                    <a:pt x="6" y="14"/>
                  </a:cubicBezTo>
                  <a:cubicBezTo>
                    <a:pt x="6" y="13"/>
                    <a:pt x="6" y="13"/>
                    <a:pt x="5" y="12"/>
                  </a:cubicBezTo>
                  <a:cubicBezTo>
                    <a:pt x="3" y="11"/>
                    <a:pt x="3" y="10"/>
                    <a:pt x="2" y="9"/>
                  </a:cubicBezTo>
                  <a:cubicBezTo>
                    <a:pt x="2" y="8"/>
                    <a:pt x="1" y="7"/>
                    <a:pt x="1" y="7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7" y="1"/>
                    <a:pt x="8" y="3"/>
                    <a:pt x="8" y="4"/>
                  </a:cubicBezTo>
                  <a:cubicBezTo>
                    <a:pt x="10" y="5"/>
                    <a:pt x="12" y="6"/>
                    <a:pt x="14" y="6"/>
                  </a:cubicBezTo>
                  <a:cubicBezTo>
                    <a:pt x="15" y="7"/>
                    <a:pt x="16" y="7"/>
                    <a:pt x="16" y="8"/>
                  </a:cubicBezTo>
                  <a:cubicBezTo>
                    <a:pt x="17" y="10"/>
                    <a:pt x="16" y="12"/>
                    <a:pt x="17" y="13"/>
                  </a:cubicBezTo>
                  <a:cubicBezTo>
                    <a:pt x="18" y="14"/>
                    <a:pt x="19" y="15"/>
                    <a:pt x="20" y="16"/>
                  </a:cubicBezTo>
                  <a:cubicBezTo>
                    <a:pt x="20" y="17"/>
                    <a:pt x="20" y="18"/>
                    <a:pt x="20" y="19"/>
                  </a:cubicBezTo>
                  <a:cubicBezTo>
                    <a:pt x="21" y="20"/>
                    <a:pt x="22" y="21"/>
                    <a:pt x="23" y="22"/>
                  </a:cubicBezTo>
                  <a:cubicBezTo>
                    <a:pt x="23" y="23"/>
                    <a:pt x="23" y="24"/>
                    <a:pt x="23" y="24"/>
                  </a:cubicBezTo>
                  <a:cubicBezTo>
                    <a:pt x="22" y="24"/>
                    <a:pt x="21" y="25"/>
                    <a:pt x="21" y="24"/>
                  </a:cubicBezTo>
                  <a:cubicBezTo>
                    <a:pt x="20" y="22"/>
                    <a:pt x="18" y="22"/>
                    <a:pt x="16" y="23"/>
                  </a:cubicBezTo>
                  <a:cubicBezTo>
                    <a:pt x="15" y="23"/>
                    <a:pt x="16" y="25"/>
                    <a:pt x="15" y="26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8"/>
                    <a:pt x="15" y="29"/>
                    <a:pt x="14" y="29"/>
                  </a:cubicBezTo>
                  <a:cubicBezTo>
                    <a:pt x="14" y="30"/>
                    <a:pt x="13" y="31"/>
                    <a:pt x="13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3"/>
                    <a:pt x="11" y="33"/>
                    <a:pt x="11" y="33"/>
                  </a:cubicBezTo>
                  <a:cubicBezTo>
                    <a:pt x="10" y="33"/>
                    <a:pt x="10" y="33"/>
                    <a:pt x="10" y="34"/>
                  </a:cubicBezTo>
                  <a:lnTo>
                    <a:pt x="10" y="3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8" name="Freeform 109"/>
            <p:cNvSpPr>
              <a:spLocks/>
            </p:cNvSpPr>
            <p:nvPr/>
          </p:nvSpPr>
          <p:spPr bwMode="auto">
            <a:xfrm>
              <a:off x="7028798" y="4818090"/>
              <a:ext cx="64522" cy="33238"/>
            </a:xfrm>
            <a:custGeom>
              <a:avLst/>
              <a:gdLst>
                <a:gd name="T0" fmla="*/ 69517597 w 48"/>
                <a:gd name="T1" fmla="*/ 58883707 h 31"/>
                <a:gd name="T2" fmla="*/ 60559864 w 48"/>
                <a:gd name="T3" fmla="*/ 57367078 h 31"/>
                <a:gd name="T4" fmla="*/ 57026957 w 48"/>
                <a:gd name="T5" fmla="*/ 54635428 h 31"/>
                <a:gd name="T6" fmla="*/ 54439108 w 48"/>
                <a:gd name="T7" fmla="*/ 54635428 h 31"/>
                <a:gd name="T8" fmla="*/ 52536301 w 48"/>
                <a:gd name="T9" fmla="*/ 57367078 h 31"/>
                <a:gd name="T10" fmla="*/ 49921859 w 48"/>
                <a:gd name="T11" fmla="*/ 60796702 h 31"/>
                <a:gd name="T12" fmla="*/ 48018412 w 48"/>
                <a:gd name="T13" fmla="*/ 63330056 h 31"/>
                <a:gd name="T14" fmla="*/ 43520900 w 48"/>
                <a:gd name="T15" fmla="*/ 65327599 h 31"/>
                <a:gd name="T16" fmla="*/ 40185104 w 48"/>
                <a:gd name="T17" fmla="*/ 65327599 h 31"/>
                <a:gd name="T18" fmla="*/ 21205752 w 48"/>
                <a:gd name="T19" fmla="*/ 65327599 h 31"/>
                <a:gd name="T20" fmla="*/ 17069789 w 48"/>
                <a:gd name="T21" fmla="*/ 58883707 h 31"/>
                <a:gd name="T22" fmla="*/ 10571848 w 48"/>
                <a:gd name="T23" fmla="*/ 57367078 h 31"/>
                <a:gd name="T24" fmla="*/ 1907553 w 48"/>
                <a:gd name="T25" fmla="*/ 50945755 h 31"/>
                <a:gd name="T26" fmla="*/ 1907553 w 48"/>
                <a:gd name="T27" fmla="*/ 48202802 h 31"/>
                <a:gd name="T28" fmla="*/ 0 w 48"/>
                <a:gd name="T29" fmla="*/ 43670699 h 31"/>
                <a:gd name="T30" fmla="*/ 0 w 48"/>
                <a:gd name="T31" fmla="*/ 40326189 h 31"/>
                <a:gd name="T32" fmla="*/ 6081086 w 48"/>
                <a:gd name="T33" fmla="*/ 35624170 h 31"/>
                <a:gd name="T34" fmla="*/ 4490697 w 48"/>
                <a:gd name="T35" fmla="*/ 27741868 h 31"/>
                <a:gd name="T36" fmla="*/ 4490697 w 48"/>
                <a:gd name="T37" fmla="*/ 23201344 h 31"/>
                <a:gd name="T38" fmla="*/ 12543556 w 48"/>
                <a:gd name="T39" fmla="*/ 18545099 h 31"/>
                <a:gd name="T40" fmla="*/ 14315885 w 48"/>
                <a:gd name="T41" fmla="*/ 14397231 h 31"/>
                <a:gd name="T42" fmla="*/ 18486761 w 48"/>
                <a:gd name="T43" fmla="*/ 14397231 h 31"/>
                <a:gd name="T44" fmla="*/ 23124586 w 48"/>
                <a:gd name="T45" fmla="*/ 17124821 h 31"/>
                <a:gd name="T46" fmla="*/ 37440966 w 48"/>
                <a:gd name="T47" fmla="*/ 23201344 h 31"/>
                <a:gd name="T48" fmla="*/ 40185104 w 48"/>
                <a:gd name="T49" fmla="*/ 14397231 h 31"/>
                <a:gd name="T50" fmla="*/ 40185104 w 48"/>
                <a:gd name="T51" fmla="*/ 12593830 h 31"/>
                <a:gd name="T52" fmla="*/ 46092817 w 48"/>
                <a:gd name="T53" fmla="*/ 10618742 h 31"/>
                <a:gd name="T54" fmla="*/ 49921859 w 48"/>
                <a:gd name="T55" fmla="*/ 7875316 h 31"/>
                <a:gd name="T56" fmla="*/ 60559864 w 48"/>
                <a:gd name="T57" fmla="*/ 6113892 h 31"/>
                <a:gd name="T58" fmla="*/ 66996944 w 48"/>
                <a:gd name="T59" fmla="*/ 1914920 h 31"/>
                <a:gd name="T60" fmla="*/ 88142270 w 48"/>
                <a:gd name="T61" fmla="*/ 1914920 h 31"/>
                <a:gd name="T62" fmla="*/ 92633039 w 48"/>
                <a:gd name="T63" fmla="*/ 4509328 h 31"/>
                <a:gd name="T64" fmla="*/ 92633039 w 48"/>
                <a:gd name="T65" fmla="*/ 4509328 h 31"/>
                <a:gd name="T66" fmla="*/ 100547858 w 48"/>
                <a:gd name="T67" fmla="*/ 10618742 h 31"/>
                <a:gd name="T68" fmla="*/ 100547858 w 48"/>
                <a:gd name="T69" fmla="*/ 10618742 h 31"/>
                <a:gd name="T70" fmla="*/ 98582487 w 48"/>
                <a:gd name="T71" fmla="*/ 21634510 h 31"/>
                <a:gd name="T72" fmla="*/ 86232043 w 48"/>
                <a:gd name="T73" fmla="*/ 33903141 h 31"/>
                <a:gd name="T74" fmla="*/ 82060988 w 48"/>
                <a:gd name="T75" fmla="*/ 37594548 h 31"/>
                <a:gd name="T76" fmla="*/ 77568355 w 48"/>
                <a:gd name="T77" fmla="*/ 52711281 h 31"/>
                <a:gd name="T78" fmla="*/ 69517597 w 48"/>
                <a:gd name="T79" fmla="*/ 57367078 h 31"/>
                <a:gd name="T80" fmla="*/ 69517597 w 48"/>
                <a:gd name="T81" fmla="*/ 58883707 h 3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8"/>
                <a:gd name="T124" fmla="*/ 0 h 31"/>
                <a:gd name="T125" fmla="*/ 48 w 48"/>
                <a:gd name="T126" fmla="*/ 31 h 3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8" h="31">
                  <a:moveTo>
                    <a:pt x="33" y="28"/>
                  </a:moveTo>
                  <a:cubicBezTo>
                    <a:pt x="31" y="28"/>
                    <a:pt x="30" y="28"/>
                    <a:pt x="29" y="27"/>
                  </a:cubicBezTo>
                  <a:cubicBezTo>
                    <a:pt x="28" y="27"/>
                    <a:pt x="28" y="27"/>
                    <a:pt x="27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5" y="26"/>
                    <a:pt x="25" y="27"/>
                    <a:pt x="25" y="27"/>
                  </a:cubicBezTo>
                  <a:cubicBezTo>
                    <a:pt x="25" y="28"/>
                    <a:pt x="24" y="28"/>
                    <a:pt x="24" y="29"/>
                  </a:cubicBezTo>
                  <a:cubicBezTo>
                    <a:pt x="24" y="30"/>
                    <a:pt x="23" y="30"/>
                    <a:pt x="23" y="30"/>
                  </a:cubicBezTo>
                  <a:cubicBezTo>
                    <a:pt x="22" y="30"/>
                    <a:pt x="22" y="30"/>
                    <a:pt x="21" y="31"/>
                  </a:cubicBezTo>
                  <a:cubicBezTo>
                    <a:pt x="20" y="31"/>
                    <a:pt x="19" y="31"/>
                    <a:pt x="19" y="31"/>
                  </a:cubicBezTo>
                  <a:cubicBezTo>
                    <a:pt x="16" y="31"/>
                    <a:pt x="13" y="31"/>
                    <a:pt x="10" y="31"/>
                  </a:cubicBezTo>
                  <a:cubicBezTo>
                    <a:pt x="10" y="30"/>
                    <a:pt x="9" y="29"/>
                    <a:pt x="8" y="28"/>
                  </a:cubicBezTo>
                  <a:cubicBezTo>
                    <a:pt x="7" y="28"/>
                    <a:pt x="6" y="27"/>
                    <a:pt x="5" y="27"/>
                  </a:cubicBezTo>
                  <a:cubicBezTo>
                    <a:pt x="4" y="26"/>
                    <a:pt x="2" y="25"/>
                    <a:pt x="1" y="24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0" y="22"/>
                    <a:pt x="0" y="22"/>
                    <a:pt x="0" y="21"/>
                  </a:cubicBezTo>
                  <a:cubicBezTo>
                    <a:pt x="0" y="21"/>
                    <a:pt x="0" y="19"/>
                    <a:pt x="0" y="19"/>
                  </a:cubicBezTo>
                  <a:cubicBezTo>
                    <a:pt x="1" y="18"/>
                    <a:pt x="2" y="18"/>
                    <a:pt x="3" y="17"/>
                  </a:cubicBezTo>
                  <a:cubicBezTo>
                    <a:pt x="3" y="15"/>
                    <a:pt x="4" y="14"/>
                    <a:pt x="2" y="13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3" y="10"/>
                    <a:pt x="6" y="11"/>
                    <a:pt x="6" y="9"/>
                  </a:cubicBezTo>
                  <a:cubicBezTo>
                    <a:pt x="7" y="8"/>
                    <a:pt x="7" y="8"/>
                    <a:pt x="7" y="7"/>
                  </a:cubicBezTo>
                  <a:cubicBezTo>
                    <a:pt x="7" y="7"/>
                    <a:pt x="9" y="7"/>
                    <a:pt x="9" y="7"/>
                  </a:cubicBezTo>
                  <a:cubicBezTo>
                    <a:pt x="10" y="7"/>
                    <a:pt x="11" y="7"/>
                    <a:pt x="11" y="8"/>
                  </a:cubicBezTo>
                  <a:cubicBezTo>
                    <a:pt x="13" y="9"/>
                    <a:pt x="15" y="11"/>
                    <a:pt x="18" y="11"/>
                  </a:cubicBezTo>
                  <a:cubicBezTo>
                    <a:pt x="18" y="9"/>
                    <a:pt x="19" y="8"/>
                    <a:pt x="19" y="7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0" y="5"/>
                    <a:pt x="22" y="6"/>
                    <a:pt x="22" y="5"/>
                  </a:cubicBezTo>
                  <a:cubicBezTo>
                    <a:pt x="23" y="5"/>
                    <a:pt x="24" y="4"/>
                    <a:pt x="24" y="4"/>
                  </a:cubicBezTo>
                  <a:cubicBezTo>
                    <a:pt x="26" y="3"/>
                    <a:pt x="27" y="4"/>
                    <a:pt x="29" y="3"/>
                  </a:cubicBezTo>
                  <a:cubicBezTo>
                    <a:pt x="30" y="3"/>
                    <a:pt x="31" y="1"/>
                    <a:pt x="32" y="1"/>
                  </a:cubicBezTo>
                  <a:cubicBezTo>
                    <a:pt x="35" y="0"/>
                    <a:pt x="39" y="0"/>
                    <a:pt x="42" y="1"/>
                  </a:cubicBezTo>
                  <a:cubicBezTo>
                    <a:pt x="43" y="1"/>
                    <a:pt x="44" y="3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6" y="3"/>
                    <a:pt x="47" y="4"/>
                    <a:pt x="48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7" y="7"/>
                    <a:pt x="47" y="8"/>
                    <a:pt x="47" y="10"/>
                  </a:cubicBezTo>
                  <a:cubicBezTo>
                    <a:pt x="45" y="12"/>
                    <a:pt x="43" y="15"/>
                    <a:pt x="41" y="16"/>
                  </a:cubicBezTo>
                  <a:cubicBezTo>
                    <a:pt x="40" y="17"/>
                    <a:pt x="39" y="18"/>
                    <a:pt x="39" y="18"/>
                  </a:cubicBezTo>
                  <a:cubicBezTo>
                    <a:pt x="39" y="21"/>
                    <a:pt x="39" y="23"/>
                    <a:pt x="37" y="25"/>
                  </a:cubicBezTo>
                  <a:cubicBezTo>
                    <a:pt x="36" y="25"/>
                    <a:pt x="34" y="27"/>
                    <a:pt x="33" y="27"/>
                  </a:cubicBezTo>
                  <a:lnTo>
                    <a:pt x="33" y="28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9" name="Freeform 110"/>
            <p:cNvSpPr>
              <a:spLocks/>
            </p:cNvSpPr>
            <p:nvPr/>
          </p:nvSpPr>
          <p:spPr bwMode="auto">
            <a:xfrm>
              <a:off x="6962825" y="4815070"/>
              <a:ext cx="74670" cy="27799"/>
            </a:xfrm>
            <a:custGeom>
              <a:avLst/>
              <a:gdLst>
                <a:gd name="T0" fmla="*/ 7350477 w 56"/>
                <a:gd name="T1" fmla="*/ 19444641 h 26"/>
                <a:gd name="T2" fmla="*/ 13592494 w 56"/>
                <a:gd name="T3" fmla="*/ 17604740 h 26"/>
                <a:gd name="T4" fmla="*/ 18182010 w 56"/>
                <a:gd name="T5" fmla="*/ 17604740 h 26"/>
                <a:gd name="T6" fmla="*/ 20120368 w 56"/>
                <a:gd name="T7" fmla="*/ 20026566 h 26"/>
                <a:gd name="T8" fmla="*/ 21914983 w 56"/>
                <a:gd name="T9" fmla="*/ 21137273 h 26"/>
                <a:gd name="T10" fmla="*/ 26163364 w 56"/>
                <a:gd name="T11" fmla="*/ 21137273 h 26"/>
                <a:gd name="T12" fmla="*/ 28921409 w 56"/>
                <a:gd name="T13" fmla="*/ 21921488 h 26"/>
                <a:gd name="T14" fmla="*/ 33474540 w 56"/>
                <a:gd name="T15" fmla="*/ 21921488 h 26"/>
                <a:gd name="T16" fmla="*/ 37455339 w 56"/>
                <a:gd name="T17" fmla="*/ 20026566 h 26"/>
                <a:gd name="T18" fmla="*/ 40014111 w 56"/>
                <a:gd name="T19" fmla="*/ 20026566 h 26"/>
                <a:gd name="T20" fmla="*/ 44657153 w 56"/>
                <a:gd name="T21" fmla="*/ 20026566 h 26"/>
                <a:gd name="T22" fmla="*/ 44657153 w 56"/>
                <a:gd name="T23" fmla="*/ 18660434 h 26"/>
                <a:gd name="T24" fmla="*/ 47426588 w 56"/>
                <a:gd name="T25" fmla="*/ 16821088 h 26"/>
                <a:gd name="T26" fmla="*/ 46240851 w 56"/>
                <a:gd name="T27" fmla="*/ 13633585 h 26"/>
                <a:gd name="T28" fmla="*/ 46240851 w 56"/>
                <a:gd name="T29" fmla="*/ 11820412 h 26"/>
                <a:gd name="T30" fmla="*/ 50009978 w 56"/>
                <a:gd name="T31" fmla="*/ 10127813 h 26"/>
                <a:gd name="T32" fmla="*/ 50837165 w 56"/>
                <a:gd name="T33" fmla="*/ 8287882 h 26"/>
                <a:gd name="T34" fmla="*/ 50009978 w 56"/>
                <a:gd name="T35" fmla="*/ 8287882 h 26"/>
                <a:gd name="T36" fmla="*/ 48897822 w 56"/>
                <a:gd name="T37" fmla="*/ 7503662 h 26"/>
                <a:gd name="T38" fmla="*/ 48897822 w 56"/>
                <a:gd name="T39" fmla="*/ 3198282 h 26"/>
                <a:gd name="T40" fmla="*/ 48897822 w 56"/>
                <a:gd name="T41" fmla="*/ 3198282 h 26"/>
                <a:gd name="T42" fmla="*/ 48897822 w 56"/>
                <a:gd name="T43" fmla="*/ 2476837 h 26"/>
                <a:gd name="T44" fmla="*/ 48187775 w 56"/>
                <a:gd name="T45" fmla="*/ 2476837 h 26"/>
                <a:gd name="T46" fmla="*/ 48187775 w 56"/>
                <a:gd name="T47" fmla="*/ 1839936 h 26"/>
                <a:gd name="T48" fmla="*/ 45420414 w 56"/>
                <a:gd name="T49" fmla="*/ 2476837 h 26"/>
                <a:gd name="T50" fmla="*/ 42857579 w 56"/>
                <a:gd name="T51" fmla="*/ 1839936 h 26"/>
                <a:gd name="T52" fmla="*/ 36268829 w 56"/>
                <a:gd name="T53" fmla="*/ 784235 h 26"/>
                <a:gd name="T54" fmla="*/ 33474540 w 56"/>
                <a:gd name="T55" fmla="*/ 2476837 h 26"/>
                <a:gd name="T56" fmla="*/ 32648221 w 56"/>
                <a:gd name="T57" fmla="*/ 5811039 h 26"/>
                <a:gd name="T58" fmla="*/ 32039437 w 56"/>
                <a:gd name="T59" fmla="*/ 5811039 h 26"/>
                <a:gd name="T60" fmla="*/ 28094995 w 56"/>
                <a:gd name="T61" fmla="*/ 2476837 h 26"/>
                <a:gd name="T62" fmla="*/ 27333808 w 56"/>
                <a:gd name="T63" fmla="*/ 2476837 h 26"/>
                <a:gd name="T64" fmla="*/ 26163364 w 56"/>
                <a:gd name="T65" fmla="*/ 5038211 h 26"/>
                <a:gd name="T66" fmla="*/ 25511586 w 56"/>
                <a:gd name="T67" fmla="*/ 5811039 h 26"/>
                <a:gd name="T68" fmla="*/ 23498568 w 56"/>
                <a:gd name="T69" fmla="*/ 5811039 h 26"/>
                <a:gd name="T70" fmla="*/ 21914983 w 56"/>
                <a:gd name="T71" fmla="*/ 7503662 h 26"/>
                <a:gd name="T72" fmla="*/ 21914983 w 56"/>
                <a:gd name="T73" fmla="*/ 7503662 h 26"/>
                <a:gd name="T74" fmla="*/ 21914983 w 56"/>
                <a:gd name="T75" fmla="*/ 9343585 h 26"/>
                <a:gd name="T76" fmla="*/ 22742189 w 56"/>
                <a:gd name="T77" fmla="*/ 9343585 h 26"/>
                <a:gd name="T78" fmla="*/ 20744539 w 56"/>
                <a:gd name="T79" fmla="*/ 11156751 h 26"/>
                <a:gd name="T80" fmla="*/ 14716077 w 56"/>
                <a:gd name="T81" fmla="*/ 11820412 h 26"/>
                <a:gd name="T82" fmla="*/ 13592494 w 56"/>
                <a:gd name="T83" fmla="*/ 12522682 h 26"/>
                <a:gd name="T84" fmla="*/ 9969095 w 56"/>
                <a:gd name="T85" fmla="*/ 13633585 h 26"/>
                <a:gd name="T86" fmla="*/ 8174845 w 56"/>
                <a:gd name="T87" fmla="*/ 13633585 h 26"/>
                <a:gd name="T88" fmla="*/ 7350477 w 56"/>
                <a:gd name="T89" fmla="*/ 11820412 h 26"/>
                <a:gd name="T90" fmla="*/ 6527726 w 56"/>
                <a:gd name="T91" fmla="*/ 11820412 h 26"/>
                <a:gd name="T92" fmla="*/ 4591618 w 56"/>
                <a:gd name="T93" fmla="*/ 14406455 h 26"/>
                <a:gd name="T94" fmla="*/ 2769339 w 56"/>
                <a:gd name="T95" fmla="*/ 13633585 h 26"/>
                <a:gd name="T96" fmla="*/ 826407 w 56"/>
                <a:gd name="T97" fmla="*/ 13633585 h 26"/>
                <a:gd name="T98" fmla="*/ 826407 w 56"/>
                <a:gd name="T99" fmla="*/ 14406455 h 26"/>
                <a:gd name="T100" fmla="*/ 0 w 56"/>
                <a:gd name="T101" fmla="*/ 16821088 h 26"/>
                <a:gd name="T102" fmla="*/ 1947959 w 56"/>
                <a:gd name="T103" fmla="*/ 17604740 h 26"/>
                <a:gd name="T104" fmla="*/ 2769339 w 56"/>
                <a:gd name="T105" fmla="*/ 18660434 h 26"/>
                <a:gd name="T106" fmla="*/ 7350477 w 56"/>
                <a:gd name="T107" fmla="*/ 19444641 h 2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6"/>
                <a:gd name="T163" fmla="*/ 0 h 26"/>
                <a:gd name="T164" fmla="*/ 56 w 56"/>
                <a:gd name="T165" fmla="*/ 26 h 2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6" h="26">
                  <a:moveTo>
                    <a:pt x="8" y="23"/>
                  </a:moveTo>
                  <a:cubicBezTo>
                    <a:pt x="10" y="22"/>
                    <a:pt x="13" y="24"/>
                    <a:pt x="15" y="21"/>
                  </a:cubicBezTo>
                  <a:cubicBezTo>
                    <a:pt x="16" y="21"/>
                    <a:pt x="18" y="21"/>
                    <a:pt x="20" y="21"/>
                  </a:cubicBezTo>
                  <a:cubicBezTo>
                    <a:pt x="20" y="22"/>
                    <a:pt x="21" y="23"/>
                    <a:pt x="22" y="24"/>
                  </a:cubicBezTo>
                  <a:cubicBezTo>
                    <a:pt x="23" y="25"/>
                    <a:pt x="23" y="25"/>
                    <a:pt x="24" y="25"/>
                  </a:cubicBezTo>
                  <a:cubicBezTo>
                    <a:pt x="26" y="26"/>
                    <a:pt x="27" y="25"/>
                    <a:pt x="29" y="25"/>
                  </a:cubicBezTo>
                  <a:cubicBezTo>
                    <a:pt x="30" y="26"/>
                    <a:pt x="31" y="26"/>
                    <a:pt x="32" y="26"/>
                  </a:cubicBezTo>
                  <a:cubicBezTo>
                    <a:pt x="33" y="26"/>
                    <a:pt x="35" y="26"/>
                    <a:pt x="37" y="26"/>
                  </a:cubicBezTo>
                  <a:cubicBezTo>
                    <a:pt x="38" y="26"/>
                    <a:pt x="39" y="24"/>
                    <a:pt x="41" y="24"/>
                  </a:cubicBezTo>
                  <a:cubicBezTo>
                    <a:pt x="42" y="23"/>
                    <a:pt x="43" y="24"/>
                    <a:pt x="44" y="24"/>
                  </a:cubicBezTo>
                  <a:cubicBezTo>
                    <a:pt x="45" y="25"/>
                    <a:pt x="47" y="24"/>
                    <a:pt x="49" y="24"/>
                  </a:cubicBezTo>
                  <a:cubicBezTo>
                    <a:pt x="49" y="24"/>
                    <a:pt x="49" y="22"/>
                    <a:pt x="49" y="22"/>
                  </a:cubicBezTo>
                  <a:cubicBezTo>
                    <a:pt x="50" y="21"/>
                    <a:pt x="51" y="21"/>
                    <a:pt x="52" y="20"/>
                  </a:cubicBezTo>
                  <a:cubicBezTo>
                    <a:pt x="52" y="18"/>
                    <a:pt x="53" y="17"/>
                    <a:pt x="51" y="16"/>
                  </a:cubicBezTo>
                  <a:cubicBezTo>
                    <a:pt x="51" y="16"/>
                    <a:pt x="51" y="15"/>
                    <a:pt x="51" y="14"/>
                  </a:cubicBezTo>
                  <a:cubicBezTo>
                    <a:pt x="52" y="13"/>
                    <a:pt x="55" y="14"/>
                    <a:pt x="55" y="12"/>
                  </a:cubicBezTo>
                  <a:cubicBezTo>
                    <a:pt x="56" y="11"/>
                    <a:pt x="56" y="11"/>
                    <a:pt x="56" y="10"/>
                  </a:cubicBezTo>
                  <a:cubicBezTo>
                    <a:pt x="55" y="10"/>
                    <a:pt x="56" y="10"/>
                    <a:pt x="55" y="10"/>
                  </a:cubicBezTo>
                  <a:cubicBezTo>
                    <a:pt x="55" y="10"/>
                    <a:pt x="55" y="9"/>
                    <a:pt x="54" y="9"/>
                  </a:cubicBezTo>
                  <a:cubicBezTo>
                    <a:pt x="54" y="7"/>
                    <a:pt x="54" y="6"/>
                    <a:pt x="54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4" y="4"/>
                    <a:pt x="54" y="4"/>
                    <a:pt x="54" y="3"/>
                  </a:cubicBezTo>
                  <a:cubicBezTo>
                    <a:pt x="54" y="3"/>
                    <a:pt x="54" y="3"/>
                    <a:pt x="53" y="3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2" y="2"/>
                    <a:pt x="51" y="2"/>
                    <a:pt x="50" y="3"/>
                  </a:cubicBezTo>
                  <a:cubicBezTo>
                    <a:pt x="49" y="3"/>
                    <a:pt x="48" y="2"/>
                    <a:pt x="47" y="2"/>
                  </a:cubicBezTo>
                  <a:cubicBezTo>
                    <a:pt x="45" y="2"/>
                    <a:pt x="42" y="2"/>
                    <a:pt x="40" y="1"/>
                  </a:cubicBezTo>
                  <a:cubicBezTo>
                    <a:pt x="38" y="0"/>
                    <a:pt x="37" y="1"/>
                    <a:pt x="37" y="3"/>
                  </a:cubicBezTo>
                  <a:cubicBezTo>
                    <a:pt x="36" y="4"/>
                    <a:pt x="37" y="6"/>
                    <a:pt x="36" y="7"/>
                  </a:cubicBezTo>
                  <a:cubicBezTo>
                    <a:pt x="36" y="7"/>
                    <a:pt x="35" y="7"/>
                    <a:pt x="35" y="7"/>
                  </a:cubicBezTo>
                  <a:cubicBezTo>
                    <a:pt x="33" y="6"/>
                    <a:pt x="32" y="4"/>
                    <a:pt x="31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4"/>
                    <a:pt x="30" y="5"/>
                    <a:pt x="29" y="6"/>
                  </a:cubicBezTo>
                  <a:cubicBezTo>
                    <a:pt x="29" y="6"/>
                    <a:pt x="29" y="7"/>
                    <a:pt x="28" y="7"/>
                  </a:cubicBezTo>
                  <a:cubicBezTo>
                    <a:pt x="28" y="7"/>
                    <a:pt x="27" y="7"/>
                    <a:pt x="26" y="7"/>
                  </a:cubicBezTo>
                  <a:cubicBezTo>
                    <a:pt x="25" y="7"/>
                    <a:pt x="25" y="8"/>
                    <a:pt x="24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3" y="11"/>
                    <a:pt x="24" y="11"/>
                  </a:cubicBezTo>
                  <a:cubicBezTo>
                    <a:pt x="24" y="11"/>
                    <a:pt x="24" y="11"/>
                    <a:pt x="25" y="11"/>
                  </a:cubicBezTo>
                  <a:cubicBezTo>
                    <a:pt x="25" y="13"/>
                    <a:pt x="24" y="13"/>
                    <a:pt x="23" y="13"/>
                  </a:cubicBezTo>
                  <a:cubicBezTo>
                    <a:pt x="21" y="14"/>
                    <a:pt x="18" y="13"/>
                    <a:pt x="16" y="14"/>
                  </a:cubicBezTo>
                  <a:cubicBezTo>
                    <a:pt x="16" y="14"/>
                    <a:pt x="15" y="14"/>
                    <a:pt x="15" y="15"/>
                  </a:cubicBezTo>
                  <a:cubicBezTo>
                    <a:pt x="14" y="15"/>
                    <a:pt x="12" y="15"/>
                    <a:pt x="11" y="16"/>
                  </a:cubicBezTo>
                  <a:cubicBezTo>
                    <a:pt x="10" y="16"/>
                    <a:pt x="10" y="16"/>
                    <a:pt x="9" y="16"/>
                  </a:cubicBezTo>
                  <a:cubicBezTo>
                    <a:pt x="9" y="15"/>
                    <a:pt x="9" y="14"/>
                    <a:pt x="8" y="14"/>
                  </a:cubicBezTo>
                  <a:cubicBezTo>
                    <a:pt x="8" y="14"/>
                    <a:pt x="7" y="14"/>
                    <a:pt x="7" y="14"/>
                  </a:cubicBezTo>
                  <a:cubicBezTo>
                    <a:pt x="6" y="15"/>
                    <a:pt x="7" y="18"/>
                    <a:pt x="5" y="17"/>
                  </a:cubicBezTo>
                  <a:cubicBezTo>
                    <a:pt x="4" y="17"/>
                    <a:pt x="4" y="16"/>
                    <a:pt x="3" y="16"/>
                  </a:cubicBezTo>
                  <a:cubicBezTo>
                    <a:pt x="2" y="16"/>
                    <a:pt x="2" y="16"/>
                    <a:pt x="1" y="16"/>
                  </a:cubicBezTo>
                  <a:cubicBezTo>
                    <a:pt x="1" y="16"/>
                    <a:pt x="1" y="16"/>
                    <a:pt x="1" y="17"/>
                  </a:cubicBezTo>
                  <a:cubicBezTo>
                    <a:pt x="0" y="18"/>
                    <a:pt x="0" y="19"/>
                    <a:pt x="0" y="20"/>
                  </a:cubicBezTo>
                  <a:cubicBezTo>
                    <a:pt x="0" y="20"/>
                    <a:pt x="1" y="20"/>
                    <a:pt x="2" y="21"/>
                  </a:cubicBezTo>
                  <a:cubicBezTo>
                    <a:pt x="2" y="21"/>
                    <a:pt x="2" y="22"/>
                    <a:pt x="3" y="22"/>
                  </a:cubicBezTo>
                  <a:cubicBezTo>
                    <a:pt x="4" y="22"/>
                    <a:pt x="6" y="22"/>
                    <a:pt x="8" y="2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0" name="Freeform 111"/>
            <p:cNvSpPr>
              <a:spLocks/>
            </p:cNvSpPr>
            <p:nvPr/>
          </p:nvSpPr>
          <p:spPr bwMode="auto">
            <a:xfrm>
              <a:off x="7035321" y="4806607"/>
              <a:ext cx="57995" cy="23569"/>
            </a:xfrm>
            <a:custGeom>
              <a:avLst/>
              <a:gdLst>
                <a:gd name="T0" fmla="*/ 4369091 w 43"/>
                <a:gd name="T1" fmla="*/ 40962012 h 22"/>
                <a:gd name="T2" fmla="*/ 1860108 w 43"/>
                <a:gd name="T3" fmla="*/ 40962012 h 22"/>
                <a:gd name="T4" fmla="*/ 0 w 43"/>
                <a:gd name="T5" fmla="*/ 38216536 h 22"/>
                <a:gd name="T6" fmla="*/ 0 w 43"/>
                <a:gd name="T7" fmla="*/ 29407096 h 22"/>
                <a:gd name="T8" fmla="*/ 0 w 43"/>
                <a:gd name="T9" fmla="*/ 26510886 h 22"/>
                <a:gd name="T10" fmla="*/ 0 w 43"/>
                <a:gd name="T11" fmla="*/ 26510886 h 22"/>
                <a:gd name="T12" fmla="*/ 5893195 w 43"/>
                <a:gd name="T13" fmla="*/ 24442629 h 22"/>
                <a:gd name="T14" fmla="*/ 7609730 w 43"/>
                <a:gd name="T15" fmla="*/ 22924722 h 22"/>
                <a:gd name="T16" fmla="*/ 16494699 w 43"/>
                <a:gd name="T17" fmla="*/ 22924722 h 22"/>
                <a:gd name="T18" fmla="*/ 19735327 w 43"/>
                <a:gd name="T19" fmla="*/ 16168539 h 22"/>
                <a:gd name="T20" fmla="*/ 24104407 w 43"/>
                <a:gd name="T21" fmla="*/ 13226484 h 22"/>
                <a:gd name="T22" fmla="*/ 26613378 w 43"/>
                <a:gd name="T23" fmla="*/ 8480159 h 22"/>
                <a:gd name="T24" fmla="*/ 30003951 w 43"/>
                <a:gd name="T25" fmla="*/ 4745295 h 22"/>
                <a:gd name="T26" fmla="*/ 30003951 w 43"/>
                <a:gd name="T27" fmla="*/ 2007625 h 22"/>
                <a:gd name="T28" fmla="*/ 30003951 w 43"/>
                <a:gd name="T29" fmla="*/ 2007625 h 22"/>
                <a:gd name="T30" fmla="*/ 41983120 w 43"/>
                <a:gd name="T31" fmla="*/ 4745295 h 22"/>
                <a:gd name="T32" fmla="*/ 41983120 w 43"/>
                <a:gd name="T33" fmla="*/ 8480159 h 22"/>
                <a:gd name="T34" fmla="*/ 48224523 w 43"/>
                <a:gd name="T35" fmla="*/ 8480159 h 22"/>
                <a:gd name="T36" fmla="*/ 52248212 w 43"/>
                <a:gd name="T37" fmla="*/ 4745295 h 22"/>
                <a:gd name="T38" fmla="*/ 62510484 w 43"/>
                <a:gd name="T39" fmla="*/ 6840539 h 22"/>
                <a:gd name="T40" fmla="*/ 68742906 w 43"/>
                <a:gd name="T41" fmla="*/ 8480159 h 22"/>
                <a:gd name="T42" fmla="*/ 76367567 w 43"/>
                <a:gd name="T43" fmla="*/ 13226484 h 22"/>
                <a:gd name="T44" fmla="*/ 86629858 w 43"/>
                <a:gd name="T45" fmla="*/ 16168539 h 22"/>
                <a:gd name="T46" fmla="*/ 86629858 w 43"/>
                <a:gd name="T47" fmla="*/ 13226484 h 22"/>
                <a:gd name="T48" fmla="*/ 85106535 w 43"/>
                <a:gd name="T49" fmla="*/ 20043998 h 22"/>
                <a:gd name="T50" fmla="*/ 78876218 w 43"/>
                <a:gd name="T51" fmla="*/ 29407096 h 22"/>
                <a:gd name="T52" fmla="*/ 74507100 w 43"/>
                <a:gd name="T53" fmla="*/ 26510886 h 22"/>
                <a:gd name="T54" fmla="*/ 54108340 w 43"/>
                <a:gd name="T55" fmla="*/ 26510886 h 22"/>
                <a:gd name="T56" fmla="*/ 48224523 w 43"/>
                <a:gd name="T57" fmla="*/ 31262588 h 22"/>
                <a:gd name="T58" fmla="*/ 38743351 w 43"/>
                <a:gd name="T59" fmla="*/ 33265627 h 22"/>
                <a:gd name="T60" fmla="*/ 34373369 w 43"/>
                <a:gd name="T61" fmla="*/ 36149092 h 22"/>
                <a:gd name="T62" fmla="*/ 28474633 w 43"/>
                <a:gd name="T63" fmla="*/ 38216536 h 22"/>
                <a:gd name="T64" fmla="*/ 28474633 w 43"/>
                <a:gd name="T65" fmla="*/ 40962012 h 22"/>
                <a:gd name="T66" fmla="*/ 26613378 w 43"/>
                <a:gd name="T67" fmla="*/ 49435626 h 22"/>
                <a:gd name="T68" fmla="*/ 12122866 w 43"/>
                <a:gd name="T69" fmla="*/ 42630814 h 22"/>
                <a:gd name="T70" fmla="*/ 7609730 w 43"/>
                <a:gd name="T71" fmla="*/ 40962012 h 22"/>
                <a:gd name="T72" fmla="*/ 4369091 w 43"/>
                <a:gd name="T73" fmla="*/ 40962012 h 2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3"/>
                <a:gd name="T112" fmla="*/ 0 h 22"/>
                <a:gd name="T113" fmla="*/ 43 w 43"/>
                <a:gd name="T114" fmla="*/ 22 h 2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3" h="22">
                  <a:moveTo>
                    <a:pt x="2" y="18"/>
                  </a:moveTo>
                  <a:cubicBezTo>
                    <a:pt x="1" y="18"/>
                    <a:pt x="2" y="18"/>
                    <a:pt x="1" y="18"/>
                  </a:cubicBezTo>
                  <a:cubicBezTo>
                    <a:pt x="1" y="18"/>
                    <a:pt x="1" y="17"/>
                    <a:pt x="0" y="17"/>
                  </a:cubicBezTo>
                  <a:cubicBezTo>
                    <a:pt x="0" y="16"/>
                    <a:pt x="0" y="14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2" y="12"/>
                    <a:pt x="3" y="11"/>
                  </a:cubicBezTo>
                  <a:cubicBezTo>
                    <a:pt x="4" y="11"/>
                    <a:pt x="4" y="11"/>
                    <a:pt x="4" y="10"/>
                  </a:cubicBezTo>
                  <a:cubicBezTo>
                    <a:pt x="6" y="10"/>
                    <a:pt x="7" y="10"/>
                    <a:pt x="8" y="10"/>
                  </a:cubicBezTo>
                  <a:cubicBezTo>
                    <a:pt x="9" y="10"/>
                    <a:pt x="9" y="8"/>
                    <a:pt x="10" y="7"/>
                  </a:cubicBezTo>
                  <a:cubicBezTo>
                    <a:pt x="10" y="7"/>
                    <a:pt x="11" y="7"/>
                    <a:pt x="12" y="6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3"/>
                    <a:pt x="14" y="3"/>
                    <a:pt x="15" y="2"/>
                  </a:cubicBezTo>
                  <a:cubicBezTo>
                    <a:pt x="15" y="2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1"/>
                    <a:pt x="19" y="0"/>
                    <a:pt x="21" y="2"/>
                  </a:cubicBezTo>
                  <a:cubicBezTo>
                    <a:pt x="21" y="2"/>
                    <a:pt x="21" y="4"/>
                    <a:pt x="21" y="4"/>
                  </a:cubicBezTo>
                  <a:cubicBezTo>
                    <a:pt x="22" y="4"/>
                    <a:pt x="23" y="4"/>
                    <a:pt x="24" y="4"/>
                  </a:cubicBezTo>
                  <a:cubicBezTo>
                    <a:pt x="25" y="4"/>
                    <a:pt x="25" y="3"/>
                    <a:pt x="26" y="2"/>
                  </a:cubicBezTo>
                  <a:cubicBezTo>
                    <a:pt x="28" y="2"/>
                    <a:pt x="29" y="2"/>
                    <a:pt x="31" y="3"/>
                  </a:cubicBezTo>
                  <a:cubicBezTo>
                    <a:pt x="32" y="3"/>
                    <a:pt x="33" y="4"/>
                    <a:pt x="34" y="4"/>
                  </a:cubicBezTo>
                  <a:cubicBezTo>
                    <a:pt x="36" y="5"/>
                    <a:pt x="37" y="6"/>
                    <a:pt x="38" y="6"/>
                  </a:cubicBezTo>
                  <a:cubicBezTo>
                    <a:pt x="40" y="7"/>
                    <a:pt x="41" y="7"/>
                    <a:pt x="43" y="7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7"/>
                    <a:pt x="43" y="9"/>
                    <a:pt x="42" y="9"/>
                  </a:cubicBezTo>
                  <a:cubicBezTo>
                    <a:pt x="41" y="10"/>
                    <a:pt x="40" y="11"/>
                    <a:pt x="39" y="13"/>
                  </a:cubicBezTo>
                  <a:cubicBezTo>
                    <a:pt x="39" y="14"/>
                    <a:pt x="38" y="12"/>
                    <a:pt x="37" y="12"/>
                  </a:cubicBezTo>
                  <a:cubicBezTo>
                    <a:pt x="34" y="11"/>
                    <a:pt x="30" y="11"/>
                    <a:pt x="27" y="12"/>
                  </a:cubicBezTo>
                  <a:cubicBezTo>
                    <a:pt x="26" y="12"/>
                    <a:pt x="25" y="14"/>
                    <a:pt x="24" y="14"/>
                  </a:cubicBezTo>
                  <a:cubicBezTo>
                    <a:pt x="22" y="15"/>
                    <a:pt x="21" y="14"/>
                    <a:pt x="19" y="15"/>
                  </a:cubicBezTo>
                  <a:cubicBezTo>
                    <a:pt x="19" y="15"/>
                    <a:pt x="18" y="16"/>
                    <a:pt x="17" y="16"/>
                  </a:cubicBezTo>
                  <a:cubicBezTo>
                    <a:pt x="17" y="17"/>
                    <a:pt x="15" y="16"/>
                    <a:pt x="14" y="17"/>
                  </a:cubicBezTo>
                  <a:cubicBezTo>
                    <a:pt x="14" y="17"/>
                    <a:pt x="14" y="17"/>
                    <a:pt x="14" y="18"/>
                  </a:cubicBezTo>
                  <a:cubicBezTo>
                    <a:pt x="14" y="19"/>
                    <a:pt x="13" y="20"/>
                    <a:pt x="13" y="22"/>
                  </a:cubicBezTo>
                  <a:cubicBezTo>
                    <a:pt x="10" y="22"/>
                    <a:pt x="8" y="20"/>
                    <a:pt x="6" y="19"/>
                  </a:cubicBezTo>
                  <a:cubicBezTo>
                    <a:pt x="6" y="18"/>
                    <a:pt x="5" y="18"/>
                    <a:pt x="4" y="18"/>
                  </a:cubicBezTo>
                  <a:cubicBezTo>
                    <a:pt x="4" y="18"/>
                    <a:pt x="2" y="18"/>
                    <a:pt x="2" y="18"/>
                  </a:cubicBezTo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1" name="Freeform 112"/>
            <p:cNvSpPr>
              <a:spLocks/>
            </p:cNvSpPr>
            <p:nvPr/>
          </p:nvSpPr>
          <p:spPr bwMode="auto">
            <a:xfrm>
              <a:off x="7007048" y="4743757"/>
              <a:ext cx="99321" cy="70104"/>
            </a:xfrm>
            <a:custGeom>
              <a:avLst/>
              <a:gdLst>
                <a:gd name="T0" fmla="*/ 92766648 w 74"/>
                <a:gd name="T1" fmla="*/ 12525963 h 65"/>
                <a:gd name="T2" fmla="*/ 76489593 w 74"/>
                <a:gd name="T3" fmla="*/ 12525963 h 65"/>
                <a:gd name="T4" fmla="*/ 74443929 w 74"/>
                <a:gd name="T5" fmla="*/ 6047412 h 65"/>
                <a:gd name="T6" fmla="*/ 69967298 w 74"/>
                <a:gd name="T7" fmla="*/ 1905316 h 65"/>
                <a:gd name="T8" fmla="*/ 65842332 w 74"/>
                <a:gd name="T9" fmla="*/ 0 h 65"/>
                <a:gd name="T10" fmla="*/ 56667379 w 74"/>
                <a:gd name="T11" fmla="*/ 1905316 h 65"/>
                <a:gd name="T12" fmla="*/ 44857703 w 74"/>
                <a:gd name="T13" fmla="*/ 7841282 h 65"/>
                <a:gd name="T14" fmla="*/ 38488226 w 74"/>
                <a:gd name="T15" fmla="*/ 10556576 h 65"/>
                <a:gd name="T16" fmla="*/ 26715063 w 74"/>
                <a:gd name="T17" fmla="*/ 17012015 h 65"/>
                <a:gd name="T18" fmla="*/ 23071868 w 74"/>
                <a:gd name="T19" fmla="*/ 17012015 h 65"/>
                <a:gd name="T20" fmla="*/ 11296657 w 74"/>
                <a:gd name="T21" fmla="*/ 18457163 h 65"/>
                <a:gd name="T22" fmla="*/ 6882012 w 74"/>
                <a:gd name="T23" fmla="*/ 18457163 h 65"/>
                <a:gd name="T24" fmla="*/ 6882012 w 74"/>
                <a:gd name="T25" fmla="*/ 23082530 h 65"/>
                <a:gd name="T26" fmla="*/ 2019935 w 74"/>
                <a:gd name="T27" fmla="*/ 43445295 h 65"/>
                <a:gd name="T28" fmla="*/ 4776873 w 74"/>
                <a:gd name="T29" fmla="*/ 49847829 h 65"/>
                <a:gd name="T30" fmla="*/ 4776873 w 74"/>
                <a:gd name="T31" fmla="*/ 71024977 h 65"/>
                <a:gd name="T32" fmla="*/ 8541281 w 74"/>
                <a:gd name="T33" fmla="*/ 77415120 h 65"/>
                <a:gd name="T34" fmla="*/ 13311199 w 74"/>
                <a:gd name="T35" fmla="*/ 87827608 h 65"/>
                <a:gd name="T36" fmla="*/ 16275026 w 74"/>
                <a:gd name="T37" fmla="*/ 89743977 h 65"/>
                <a:gd name="T38" fmla="*/ 20198974 w 74"/>
                <a:gd name="T39" fmla="*/ 92485736 h 65"/>
                <a:gd name="T40" fmla="*/ 24656591 w 74"/>
                <a:gd name="T41" fmla="*/ 95873465 h 65"/>
                <a:gd name="T42" fmla="*/ 26715063 w 74"/>
                <a:gd name="T43" fmla="*/ 95873465 h 65"/>
                <a:gd name="T44" fmla="*/ 36476105 w 74"/>
                <a:gd name="T45" fmla="*/ 100384712 h 65"/>
                <a:gd name="T46" fmla="*/ 38488226 w 74"/>
                <a:gd name="T47" fmla="*/ 102263495 h 65"/>
                <a:gd name="T48" fmla="*/ 41246083 w 74"/>
                <a:gd name="T49" fmla="*/ 106431872 h 65"/>
                <a:gd name="T50" fmla="*/ 49785285 w 74"/>
                <a:gd name="T51" fmla="*/ 104812577 h 65"/>
                <a:gd name="T52" fmla="*/ 58309465 w 74"/>
                <a:gd name="T53" fmla="*/ 108337394 h 65"/>
                <a:gd name="T54" fmla="*/ 61067426 w 74"/>
                <a:gd name="T55" fmla="*/ 110916455 h 65"/>
                <a:gd name="T56" fmla="*/ 65842332 w 74"/>
                <a:gd name="T57" fmla="*/ 112822204 h 65"/>
                <a:gd name="T58" fmla="*/ 69967298 w 74"/>
                <a:gd name="T59" fmla="*/ 114727500 h 65"/>
                <a:gd name="T60" fmla="*/ 79362373 w 74"/>
                <a:gd name="T61" fmla="*/ 121472904 h 65"/>
                <a:gd name="T62" fmla="*/ 81266069 w 74"/>
                <a:gd name="T63" fmla="*/ 123378728 h 65"/>
                <a:gd name="T64" fmla="*/ 94642874 w 74"/>
                <a:gd name="T65" fmla="*/ 125148970 h 65"/>
                <a:gd name="T66" fmla="*/ 94642874 w 74"/>
                <a:gd name="T67" fmla="*/ 129858468 h 65"/>
                <a:gd name="T68" fmla="*/ 101665650 w 74"/>
                <a:gd name="T69" fmla="*/ 129858468 h 65"/>
                <a:gd name="T70" fmla="*/ 106082383 w 74"/>
                <a:gd name="T71" fmla="*/ 125148970 h 65"/>
                <a:gd name="T72" fmla="*/ 117735449 w 74"/>
                <a:gd name="T73" fmla="*/ 127890804 h 65"/>
                <a:gd name="T74" fmla="*/ 124217143 w 74"/>
                <a:gd name="T75" fmla="*/ 129858468 h 65"/>
                <a:gd name="T76" fmla="*/ 134010631 w 74"/>
                <a:gd name="T77" fmla="*/ 133998825 h 65"/>
                <a:gd name="T78" fmla="*/ 144416184 w 74"/>
                <a:gd name="T79" fmla="*/ 135796183 h 65"/>
                <a:gd name="T80" fmla="*/ 144416184 w 74"/>
                <a:gd name="T81" fmla="*/ 121472904 h 65"/>
                <a:gd name="T82" fmla="*/ 149406160 w 74"/>
                <a:gd name="T83" fmla="*/ 114727500 h 65"/>
                <a:gd name="T84" fmla="*/ 158981286 w 74"/>
                <a:gd name="T85" fmla="*/ 104812577 h 65"/>
                <a:gd name="T86" fmla="*/ 160693220 w 74"/>
                <a:gd name="T87" fmla="*/ 102263495 h 65"/>
                <a:gd name="T88" fmla="*/ 165463207 w 74"/>
                <a:gd name="T89" fmla="*/ 98385789 h 65"/>
                <a:gd name="T90" fmla="*/ 165463207 w 74"/>
                <a:gd name="T91" fmla="*/ 87827608 h 65"/>
                <a:gd name="T92" fmla="*/ 162749630 w 74"/>
                <a:gd name="T93" fmla="*/ 83337978 h 65"/>
                <a:gd name="T94" fmla="*/ 160693220 w 74"/>
                <a:gd name="T95" fmla="*/ 66858671 h 65"/>
                <a:gd name="T96" fmla="*/ 155708125 w 74"/>
                <a:gd name="T97" fmla="*/ 62975091 h 65"/>
                <a:gd name="T98" fmla="*/ 155708125 w 74"/>
                <a:gd name="T99" fmla="*/ 58489641 h 65"/>
                <a:gd name="T100" fmla="*/ 160693220 w 74"/>
                <a:gd name="T101" fmla="*/ 52415817 h 65"/>
                <a:gd name="T102" fmla="*/ 158981286 w 74"/>
                <a:gd name="T103" fmla="*/ 37312408 h 65"/>
                <a:gd name="T104" fmla="*/ 155708125 w 74"/>
                <a:gd name="T105" fmla="*/ 33506222 h 65"/>
                <a:gd name="T106" fmla="*/ 155708125 w 74"/>
                <a:gd name="T107" fmla="*/ 23082530 h 65"/>
                <a:gd name="T108" fmla="*/ 154208234 w 74"/>
                <a:gd name="T109" fmla="*/ 23082530 h 65"/>
                <a:gd name="T110" fmla="*/ 140806531 w 74"/>
                <a:gd name="T111" fmla="*/ 12525963 h 65"/>
                <a:gd name="T112" fmla="*/ 122718539 w 74"/>
                <a:gd name="T113" fmla="*/ 14234676 h 65"/>
                <a:gd name="T114" fmla="*/ 109325312 w 74"/>
                <a:gd name="T115" fmla="*/ 14234676 h 65"/>
                <a:gd name="T116" fmla="*/ 101665650 w 74"/>
                <a:gd name="T117" fmla="*/ 12525963 h 65"/>
                <a:gd name="T118" fmla="*/ 94642874 w 74"/>
                <a:gd name="T119" fmla="*/ 10556576 h 65"/>
                <a:gd name="T120" fmla="*/ 92766648 w 74"/>
                <a:gd name="T121" fmla="*/ 12525963 h 6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4"/>
                <a:gd name="T184" fmla="*/ 0 h 65"/>
                <a:gd name="T185" fmla="*/ 74 w 74"/>
                <a:gd name="T186" fmla="*/ 65 h 6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4" h="65">
                  <a:moveTo>
                    <a:pt x="41" y="6"/>
                  </a:moveTo>
                  <a:cubicBezTo>
                    <a:pt x="39" y="7"/>
                    <a:pt x="36" y="7"/>
                    <a:pt x="34" y="6"/>
                  </a:cubicBezTo>
                  <a:cubicBezTo>
                    <a:pt x="33" y="5"/>
                    <a:pt x="33" y="4"/>
                    <a:pt x="33" y="3"/>
                  </a:cubicBezTo>
                  <a:cubicBezTo>
                    <a:pt x="32" y="2"/>
                    <a:pt x="32" y="2"/>
                    <a:pt x="31" y="1"/>
                  </a:cubicBezTo>
                  <a:cubicBezTo>
                    <a:pt x="30" y="1"/>
                    <a:pt x="30" y="1"/>
                    <a:pt x="29" y="0"/>
                  </a:cubicBezTo>
                  <a:cubicBezTo>
                    <a:pt x="27" y="0"/>
                    <a:pt x="26" y="0"/>
                    <a:pt x="25" y="1"/>
                  </a:cubicBezTo>
                  <a:cubicBezTo>
                    <a:pt x="24" y="2"/>
                    <a:pt x="22" y="3"/>
                    <a:pt x="20" y="4"/>
                  </a:cubicBezTo>
                  <a:cubicBezTo>
                    <a:pt x="19" y="5"/>
                    <a:pt x="18" y="4"/>
                    <a:pt x="17" y="5"/>
                  </a:cubicBezTo>
                  <a:cubicBezTo>
                    <a:pt x="15" y="5"/>
                    <a:pt x="13" y="6"/>
                    <a:pt x="12" y="8"/>
                  </a:cubicBezTo>
                  <a:cubicBezTo>
                    <a:pt x="11" y="8"/>
                    <a:pt x="10" y="8"/>
                    <a:pt x="10" y="8"/>
                  </a:cubicBezTo>
                  <a:cubicBezTo>
                    <a:pt x="8" y="9"/>
                    <a:pt x="7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4"/>
                    <a:pt x="3" y="18"/>
                    <a:pt x="1" y="21"/>
                  </a:cubicBezTo>
                  <a:cubicBezTo>
                    <a:pt x="0" y="22"/>
                    <a:pt x="0" y="24"/>
                    <a:pt x="2" y="24"/>
                  </a:cubicBezTo>
                  <a:cubicBezTo>
                    <a:pt x="3" y="28"/>
                    <a:pt x="2" y="31"/>
                    <a:pt x="2" y="34"/>
                  </a:cubicBezTo>
                  <a:cubicBezTo>
                    <a:pt x="3" y="35"/>
                    <a:pt x="4" y="36"/>
                    <a:pt x="4" y="37"/>
                  </a:cubicBezTo>
                  <a:cubicBezTo>
                    <a:pt x="5" y="39"/>
                    <a:pt x="6" y="40"/>
                    <a:pt x="6" y="42"/>
                  </a:cubicBezTo>
                  <a:cubicBezTo>
                    <a:pt x="7" y="42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6"/>
                    <a:pt x="11" y="46"/>
                  </a:cubicBezTo>
                  <a:cubicBezTo>
                    <a:pt x="11" y="46"/>
                    <a:pt x="12" y="46"/>
                    <a:pt x="12" y="46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7" y="48"/>
                    <a:pt x="17" y="49"/>
                    <a:pt x="17" y="49"/>
                  </a:cubicBezTo>
                  <a:cubicBezTo>
                    <a:pt x="17" y="50"/>
                    <a:pt x="17" y="51"/>
                    <a:pt x="18" y="51"/>
                  </a:cubicBezTo>
                  <a:cubicBezTo>
                    <a:pt x="19" y="52"/>
                    <a:pt x="21" y="51"/>
                    <a:pt x="22" y="50"/>
                  </a:cubicBezTo>
                  <a:cubicBezTo>
                    <a:pt x="24" y="49"/>
                    <a:pt x="25" y="50"/>
                    <a:pt x="26" y="52"/>
                  </a:cubicBezTo>
                  <a:cubicBezTo>
                    <a:pt x="26" y="52"/>
                    <a:pt x="26" y="53"/>
                    <a:pt x="27" y="53"/>
                  </a:cubicBezTo>
                  <a:cubicBezTo>
                    <a:pt x="28" y="53"/>
                    <a:pt x="29" y="53"/>
                    <a:pt x="29" y="54"/>
                  </a:cubicBezTo>
                  <a:cubicBezTo>
                    <a:pt x="30" y="54"/>
                    <a:pt x="30" y="54"/>
                    <a:pt x="31" y="55"/>
                  </a:cubicBezTo>
                  <a:cubicBezTo>
                    <a:pt x="32" y="56"/>
                    <a:pt x="33" y="57"/>
                    <a:pt x="35" y="58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8" y="59"/>
                    <a:pt x="40" y="58"/>
                    <a:pt x="42" y="60"/>
                  </a:cubicBezTo>
                  <a:cubicBezTo>
                    <a:pt x="42" y="60"/>
                    <a:pt x="42" y="62"/>
                    <a:pt x="42" y="62"/>
                  </a:cubicBezTo>
                  <a:cubicBezTo>
                    <a:pt x="43" y="62"/>
                    <a:pt x="44" y="62"/>
                    <a:pt x="45" y="62"/>
                  </a:cubicBezTo>
                  <a:cubicBezTo>
                    <a:pt x="46" y="62"/>
                    <a:pt x="46" y="61"/>
                    <a:pt x="47" y="60"/>
                  </a:cubicBezTo>
                  <a:cubicBezTo>
                    <a:pt x="49" y="60"/>
                    <a:pt x="50" y="60"/>
                    <a:pt x="52" y="61"/>
                  </a:cubicBezTo>
                  <a:cubicBezTo>
                    <a:pt x="53" y="61"/>
                    <a:pt x="54" y="62"/>
                    <a:pt x="55" y="62"/>
                  </a:cubicBezTo>
                  <a:cubicBezTo>
                    <a:pt x="57" y="63"/>
                    <a:pt x="58" y="64"/>
                    <a:pt x="59" y="64"/>
                  </a:cubicBezTo>
                  <a:cubicBezTo>
                    <a:pt x="61" y="65"/>
                    <a:pt x="62" y="65"/>
                    <a:pt x="64" y="65"/>
                  </a:cubicBezTo>
                  <a:cubicBezTo>
                    <a:pt x="64" y="63"/>
                    <a:pt x="64" y="60"/>
                    <a:pt x="64" y="58"/>
                  </a:cubicBezTo>
                  <a:cubicBezTo>
                    <a:pt x="64" y="57"/>
                    <a:pt x="66" y="56"/>
                    <a:pt x="66" y="55"/>
                  </a:cubicBezTo>
                  <a:cubicBezTo>
                    <a:pt x="68" y="54"/>
                    <a:pt x="69" y="52"/>
                    <a:pt x="70" y="50"/>
                  </a:cubicBezTo>
                  <a:cubicBezTo>
                    <a:pt x="70" y="50"/>
                    <a:pt x="71" y="50"/>
                    <a:pt x="71" y="49"/>
                  </a:cubicBezTo>
                  <a:cubicBezTo>
                    <a:pt x="72" y="49"/>
                    <a:pt x="73" y="48"/>
                    <a:pt x="73" y="47"/>
                  </a:cubicBezTo>
                  <a:cubicBezTo>
                    <a:pt x="74" y="45"/>
                    <a:pt x="73" y="43"/>
                    <a:pt x="73" y="42"/>
                  </a:cubicBezTo>
                  <a:cubicBezTo>
                    <a:pt x="72" y="41"/>
                    <a:pt x="72" y="40"/>
                    <a:pt x="72" y="40"/>
                  </a:cubicBezTo>
                  <a:cubicBezTo>
                    <a:pt x="70" y="37"/>
                    <a:pt x="72" y="35"/>
                    <a:pt x="71" y="32"/>
                  </a:cubicBezTo>
                  <a:cubicBezTo>
                    <a:pt x="70" y="31"/>
                    <a:pt x="70" y="31"/>
                    <a:pt x="69" y="30"/>
                  </a:cubicBezTo>
                  <a:cubicBezTo>
                    <a:pt x="69" y="29"/>
                    <a:pt x="69" y="29"/>
                    <a:pt x="69" y="28"/>
                  </a:cubicBezTo>
                  <a:cubicBezTo>
                    <a:pt x="69" y="27"/>
                    <a:pt x="71" y="26"/>
                    <a:pt x="71" y="25"/>
                  </a:cubicBezTo>
                  <a:cubicBezTo>
                    <a:pt x="72" y="23"/>
                    <a:pt x="71" y="20"/>
                    <a:pt x="70" y="18"/>
                  </a:cubicBezTo>
                  <a:cubicBezTo>
                    <a:pt x="70" y="17"/>
                    <a:pt x="69" y="16"/>
                    <a:pt x="69" y="16"/>
                  </a:cubicBezTo>
                  <a:cubicBezTo>
                    <a:pt x="69" y="14"/>
                    <a:pt x="69" y="13"/>
                    <a:pt x="69" y="11"/>
                  </a:cubicBezTo>
                  <a:cubicBezTo>
                    <a:pt x="69" y="11"/>
                    <a:pt x="68" y="11"/>
                    <a:pt x="68" y="11"/>
                  </a:cubicBezTo>
                  <a:cubicBezTo>
                    <a:pt x="66" y="9"/>
                    <a:pt x="64" y="8"/>
                    <a:pt x="62" y="6"/>
                  </a:cubicBezTo>
                  <a:cubicBezTo>
                    <a:pt x="60" y="7"/>
                    <a:pt x="57" y="6"/>
                    <a:pt x="54" y="7"/>
                  </a:cubicBezTo>
                  <a:cubicBezTo>
                    <a:pt x="53" y="8"/>
                    <a:pt x="50" y="7"/>
                    <a:pt x="48" y="7"/>
                  </a:cubicBezTo>
                  <a:cubicBezTo>
                    <a:pt x="47" y="6"/>
                    <a:pt x="46" y="6"/>
                    <a:pt x="45" y="6"/>
                  </a:cubicBezTo>
                  <a:cubicBezTo>
                    <a:pt x="44" y="5"/>
                    <a:pt x="43" y="5"/>
                    <a:pt x="42" y="5"/>
                  </a:cubicBezTo>
                  <a:lnTo>
                    <a:pt x="41" y="6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2" name="Freeform 113"/>
            <p:cNvSpPr>
              <a:spLocks/>
            </p:cNvSpPr>
            <p:nvPr/>
          </p:nvSpPr>
          <p:spPr bwMode="auto">
            <a:xfrm>
              <a:off x="7070845" y="4725625"/>
              <a:ext cx="60172" cy="32030"/>
            </a:xfrm>
            <a:custGeom>
              <a:avLst/>
              <a:gdLst>
                <a:gd name="T0" fmla="*/ 0 w 44"/>
                <a:gd name="T1" fmla="*/ 13529051 h 30"/>
                <a:gd name="T2" fmla="*/ 849380 w 44"/>
                <a:gd name="T3" fmla="*/ 11390399 h 30"/>
                <a:gd name="T4" fmla="*/ 849380 w 44"/>
                <a:gd name="T5" fmla="*/ 8611898 h 30"/>
                <a:gd name="T6" fmla="*/ 849380 w 44"/>
                <a:gd name="T7" fmla="*/ 4812844 h 30"/>
                <a:gd name="T8" fmla="*/ 0 w 44"/>
                <a:gd name="T9" fmla="*/ 2936809 h 30"/>
                <a:gd name="T10" fmla="*/ 849380 w 44"/>
                <a:gd name="T11" fmla="*/ 2936809 h 30"/>
                <a:gd name="T12" fmla="*/ 8480159 w 44"/>
                <a:gd name="T13" fmla="*/ 0 h 30"/>
                <a:gd name="T14" fmla="*/ 18036113 w 44"/>
                <a:gd name="T15" fmla="*/ 859266 h 30"/>
                <a:gd name="T16" fmla="*/ 25663078 w 44"/>
                <a:gd name="T17" fmla="*/ 2936809 h 30"/>
                <a:gd name="T18" fmla="*/ 32133918 w 44"/>
                <a:gd name="T19" fmla="*/ 2936809 h 30"/>
                <a:gd name="T20" fmla="*/ 33265627 w 44"/>
                <a:gd name="T21" fmla="*/ 3638831 h 30"/>
                <a:gd name="T22" fmla="*/ 36149092 w 44"/>
                <a:gd name="T23" fmla="*/ 7817668 h 30"/>
                <a:gd name="T24" fmla="*/ 38886749 w 44"/>
                <a:gd name="T25" fmla="*/ 7817668 h 30"/>
                <a:gd name="T26" fmla="*/ 38886749 w 44"/>
                <a:gd name="T27" fmla="*/ 8611898 h 30"/>
                <a:gd name="T28" fmla="*/ 40962012 w 44"/>
                <a:gd name="T29" fmla="*/ 11390399 h 30"/>
                <a:gd name="T30" fmla="*/ 41744243 w 44"/>
                <a:gd name="T31" fmla="*/ 12629529 h 30"/>
                <a:gd name="T32" fmla="*/ 36149092 w 44"/>
                <a:gd name="T33" fmla="*/ 15562709 h 30"/>
                <a:gd name="T34" fmla="*/ 35002578 w 44"/>
                <a:gd name="T35" fmla="*/ 16449385 h 30"/>
                <a:gd name="T36" fmla="*/ 34141571 w 44"/>
                <a:gd name="T37" fmla="*/ 22140284 h 30"/>
                <a:gd name="T38" fmla="*/ 34141571 w 44"/>
                <a:gd name="T39" fmla="*/ 23379470 h 30"/>
                <a:gd name="T40" fmla="*/ 27670977 w 44"/>
                <a:gd name="T41" fmla="*/ 25441348 h 30"/>
                <a:gd name="T42" fmla="*/ 26510886 w 44"/>
                <a:gd name="T43" fmla="*/ 28219852 h 30"/>
                <a:gd name="T44" fmla="*/ 21764422 w 44"/>
                <a:gd name="T45" fmla="*/ 26957264 h 30"/>
                <a:gd name="T46" fmla="*/ 20043998 w 44"/>
                <a:gd name="T47" fmla="*/ 26957264 h 30"/>
                <a:gd name="T48" fmla="*/ 20043998 w 44"/>
                <a:gd name="T49" fmla="*/ 26957264 h 30"/>
                <a:gd name="T50" fmla="*/ 18819602 w 44"/>
                <a:gd name="T51" fmla="*/ 26957264 h 30"/>
                <a:gd name="T52" fmla="*/ 13226484 w 44"/>
                <a:gd name="T53" fmla="*/ 22140284 h 30"/>
                <a:gd name="T54" fmla="*/ 12441464 w 44"/>
                <a:gd name="T55" fmla="*/ 22140284 h 30"/>
                <a:gd name="T56" fmla="*/ 10341118 w 44"/>
                <a:gd name="T57" fmla="*/ 17602945 h 30"/>
                <a:gd name="T58" fmla="*/ 7630664 w 44"/>
                <a:gd name="T59" fmla="*/ 16449385 h 30"/>
                <a:gd name="T60" fmla="*/ 849380 w 44"/>
                <a:gd name="T61" fmla="*/ 13529051 h 30"/>
                <a:gd name="T62" fmla="*/ 0 w 44"/>
                <a:gd name="T63" fmla="*/ 13529051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4"/>
                <a:gd name="T97" fmla="*/ 0 h 30"/>
                <a:gd name="T98" fmla="*/ 44 w 44"/>
                <a:gd name="T99" fmla="*/ 30 h 3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4" h="30">
                  <a:moveTo>
                    <a:pt x="0" y="14"/>
                  </a:moveTo>
                  <a:cubicBezTo>
                    <a:pt x="0" y="13"/>
                    <a:pt x="1" y="13"/>
                    <a:pt x="1" y="12"/>
                  </a:cubicBezTo>
                  <a:cubicBezTo>
                    <a:pt x="1" y="11"/>
                    <a:pt x="1" y="10"/>
                    <a:pt x="1" y="9"/>
                  </a:cubicBezTo>
                  <a:cubicBezTo>
                    <a:pt x="2" y="8"/>
                    <a:pt x="1" y="6"/>
                    <a:pt x="1" y="5"/>
                  </a:cubicBezTo>
                  <a:cubicBezTo>
                    <a:pt x="1" y="4"/>
                    <a:pt x="0" y="4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4" y="2"/>
                    <a:pt x="7" y="2"/>
                    <a:pt x="9" y="0"/>
                  </a:cubicBezTo>
                  <a:cubicBezTo>
                    <a:pt x="12" y="0"/>
                    <a:pt x="16" y="0"/>
                    <a:pt x="19" y="1"/>
                  </a:cubicBezTo>
                  <a:cubicBezTo>
                    <a:pt x="22" y="1"/>
                    <a:pt x="24" y="2"/>
                    <a:pt x="27" y="3"/>
                  </a:cubicBezTo>
                  <a:cubicBezTo>
                    <a:pt x="29" y="3"/>
                    <a:pt x="31" y="2"/>
                    <a:pt x="34" y="3"/>
                  </a:cubicBezTo>
                  <a:cubicBezTo>
                    <a:pt x="34" y="3"/>
                    <a:pt x="35" y="3"/>
                    <a:pt x="35" y="4"/>
                  </a:cubicBezTo>
                  <a:cubicBezTo>
                    <a:pt x="35" y="6"/>
                    <a:pt x="36" y="8"/>
                    <a:pt x="38" y="8"/>
                  </a:cubicBezTo>
                  <a:cubicBezTo>
                    <a:pt x="39" y="9"/>
                    <a:pt x="39" y="9"/>
                    <a:pt x="41" y="8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10"/>
                    <a:pt x="42" y="11"/>
                    <a:pt x="43" y="12"/>
                  </a:cubicBezTo>
                  <a:cubicBezTo>
                    <a:pt x="44" y="12"/>
                    <a:pt x="44" y="12"/>
                    <a:pt x="44" y="13"/>
                  </a:cubicBezTo>
                  <a:cubicBezTo>
                    <a:pt x="44" y="15"/>
                    <a:pt x="40" y="16"/>
                    <a:pt x="38" y="16"/>
                  </a:cubicBezTo>
                  <a:cubicBezTo>
                    <a:pt x="38" y="16"/>
                    <a:pt x="37" y="17"/>
                    <a:pt x="37" y="17"/>
                  </a:cubicBezTo>
                  <a:cubicBezTo>
                    <a:pt x="36" y="19"/>
                    <a:pt x="37" y="21"/>
                    <a:pt x="36" y="23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3" y="25"/>
                    <a:pt x="31" y="24"/>
                    <a:pt x="29" y="26"/>
                  </a:cubicBezTo>
                  <a:cubicBezTo>
                    <a:pt x="28" y="27"/>
                    <a:pt x="29" y="29"/>
                    <a:pt x="28" y="29"/>
                  </a:cubicBezTo>
                  <a:cubicBezTo>
                    <a:pt x="26" y="30"/>
                    <a:pt x="24" y="29"/>
                    <a:pt x="23" y="28"/>
                  </a:cubicBezTo>
                  <a:cubicBezTo>
                    <a:pt x="22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0" y="28"/>
                    <a:pt x="20" y="28"/>
                  </a:cubicBezTo>
                  <a:cubicBezTo>
                    <a:pt x="18" y="26"/>
                    <a:pt x="16" y="25"/>
                    <a:pt x="14" y="23"/>
                  </a:cubicBezTo>
                  <a:cubicBezTo>
                    <a:pt x="14" y="23"/>
                    <a:pt x="14" y="23"/>
                    <a:pt x="13" y="23"/>
                  </a:cubicBezTo>
                  <a:cubicBezTo>
                    <a:pt x="13" y="21"/>
                    <a:pt x="13" y="19"/>
                    <a:pt x="11" y="18"/>
                  </a:cubicBezTo>
                  <a:cubicBezTo>
                    <a:pt x="11" y="17"/>
                    <a:pt x="9" y="18"/>
                    <a:pt x="8" y="17"/>
                  </a:cubicBezTo>
                  <a:cubicBezTo>
                    <a:pt x="6" y="16"/>
                    <a:pt x="4" y="15"/>
                    <a:pt x="1" y="14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3" name="Freeform 114"/>
            <p:cNvSpPr>
              <a:spLocks/>
            </p:cNvSpPr>
            <p:nvPr/>
          </p:nvSpPr>
          <p:spPr bwMode="auto">
            <a:xfrm>
              <a:off x="7070845" y="4702662"/>
              <a:ext cx="73222" cy="32030"/>
            </a:xfrm>
            <a:custGeom>
              <a:avLst/>
              <a:gdLst>
                <a:gd name="T0" fmla="*/ 0 w 54"/>
                <a:gd name="T1" fmla="*/ 24415991 h 29"/>
                <a:gd name="T2" fmla="*/ 874095 w 54"/>
                <a:gd name="T3" fmla="*/ 19024842 h 29"/>
                <a:gd name="T4" fmla="*/ 2071929 w 54"/>
                <a:gd name="T5" fmla="*/ 16060441 h 29"/>
                <a:gd name="T6" fmla="*/ 3739447 w 54"/>
                <a:gd name="T7" fmla="*/ 13792987 h 29"/>
                <a:gd name="T8" fmla="*/ 2984029 w 54"/>
                <a:gd name="T9" fmla="*/ 10664023 h 29"/>
                <a:gd name="T10" fmla="*/ 3739447 w 54"/>
                <a:gd name="T11" fmla="*/ 6187297 h 29"/>
                <a:gd name="T12" fmla="*/ 8863872 w 54"/>
                <a:gd name="T13" fmla="*/ 4481981 h 29"/>
                <a:gd name="T14" fmla="*/ 10951795 w 54"/>
                <a:gd name="T15" fmla="*/ 4481981 h 29"/>
                <a:gd name="T16" fmla="*/ 11641450 w 54"/>
                <a:gd name="T17" fmla="*/ 6187297 h 29"/>
                <a:gd name="T18" fmla="*/ 18064640 w 54"/>
                <a:gd name="T19" fmla="*/ 11592554 h 29"/>
                <a:gd name="T20" fmla="*/ 18943658 w 54"/>
                <a:gd name="T21" fmla="*/ 12839740 h 29"/>
                <a:gd name="T22" fmla="*/ 22964094 w 54"/>
                <a:gd name="T23" fmla="*/ 10664023 h 29"/>
                <a:gd name="T24" fmla="*/ 22964094 w 54"/>
                <a:gd name="T25" fmla="*/ 7443335 h 29"/>
                <a:gd name="T26" fmla="*/ 22964094 w 54"/>
                <a:gd name="T27" fmla="*/ 4481981 h 29"/>
                <a:gd name="T28" fmla="*/ 23876004 w 54"/>
                <a:gd name="T29" fmla="*/ 2268059 h 29"/>
                <a:gd name="T30" fmla="*/ 24755278 w 54"/>
                <a:gd name="T31" fmla="*/ 2268059 h 29"/>
                <a:gd name="T32" fmla="*/ 29666476 w 54"/>
                <a:gd name="T33" fmla="*/ 0 h 29"/>
                <a:gd name="T34" fmla="*/ 31844808 w 54"/>
                <a:gd name="T35" fmla="*/ 0 h 29"/>
                <a:gd name="T36" fmla="*/ 33951763 w 54"/>
                <a:gd name="T37" fmla="*/ 3128358 h 29"/>
                <a:gd name="T38" fmla="*/ 38549332 w 54"/>
                <a:gd name="T39" fmla="*/ 7443335 h 29"/>
                <a:gd name="T40" fmla="*/ 46472236 w 54"/>
                <a:gd name="T41" fmla="*/ 7443335 h 29"/>
                <a:gd name="T42" fmla="*/ 48605189 w 54"/>
                <a:gd name="T43" fmla="*/ 10664023 h 29"/>
                <a:gd name="T44" fmla="*/ 48605189 w 54"/>
                <a:gd name="T45" fmla="*/ 10664023 h 29"/>
                <a:gd name="T46" fmla="*/ 49803041 w 54"/>
                <a:gd name="T47" fmla="*/ 11592554 h 29"/>
                <a:gd name="T48" fmla="*/ 48605189 w 54"/>
                <a:gd name="T49" fmla="*/ 17709997 h 29"/>
                <a:gd name="T50" fmla="*/ 53542461 w 54"/>
                <a:gd name="T51" fmla="*/ 24415991 h 29"/>
                <a:gd name="T52" fmla="*/ 52895407 w 54"/>
                <a:gd name="T53" fmla="*/ 24415991 h 29"/>
                <a:gd name="T54" fmla="*/ 52895407 w 54"/>
                <a:gd name="T55" fmla="*/ 24415991 h 29"/>
                <a:gd name="T56" fmla="*/ 47731111 w 54"/>
                <a:gd name="T57" fmla="*/ 27582281 h 29"/>
                <a:gd name="T58" fmla="*/ 46472236 w 54"/>
                <a:gd name="T59" fmla="*/ 28345583 h 29"/>
                <a:gd name="T60" fmla="*/ 45648068 w 54"/>
                <a:gd name="T61" fmla="*/ 28345583 h 29"/>
                <a:gd name="T62" fmla="*/ 40654059 w 54"/>
                <a:gd name="T63" fmla="*/ 29589619 h 29"/>
                <a:gd name="T64" fmla="*/ 37658319 w 54"/>
                <a:gd name="T65" fmla="*/ 29589619 h 29"/>
                <a:gd name="T66" fmla="*/ 34830772 w 54"/>
                <a:gd name="T67" fmla="*/ 25373006 h 29"/>
                <a:gd name="T68" fmla="*/ 33951763 w 54"/>
                <a:gd name="T69" fmla="*/ 24415991 h 29"/>
                <a:gd name="T70" fmla="*/ 26838890 w 54"/>
                <a:gd name="T71" fmla="*/ 24415991 h 29"/>
                <a:gd name="T72" fmla="*/ 18943658 w 54"/>
                <a:gd name="T73" fmla="*/ 22147900 h 29"/>
                <a:gd name="T74" fmla="*/ 8863872 w 54"/>
                <a:gd name="T75" fmla="*/ 21234112 h 29"/>
                <a:gd name="T76" fmla="*/ 874095 w 54"/>
                <a:gd name="T77" fmla="*/ 24415991 h 29"/>
                <a:gd name="T78" fmla="*/ 0 w 54"/>
                <a:gd name="T79" fmla="*/ 24415991 h 2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4"/>
                <a:gd name="T121" fmla="*/ 0 h 29"/>
                <a:gd name="T122" fmla="*/ 54 w 54"/>
                <a:gd name="T123" fmla="*/ 29 h 2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4" h="29">
                  <a:moveTo>
                    <a:pt x="0" y="23"/>
                  </a:moveTo>
                  <a:cubicBezTo>
                    <a:pt x="0" y="21"/>
                    <a:pt x="0" y="20"/>
                    <a:pt x="1" y="18"/>
                  </a:cubicBezTo>
                  <a:cubicBezTo>
                    <a:pt x="1" y="17"/>
                    <a:pt x="1" y="16"/>
                    <a:pt x="2" y="15"/>
                  </a:cubicBezTo>
                  <a:cubicBezTo>
                    <a:pt x="2" y="14"/>
                    <a:pt x="4" y="14"/>
                    <a:pt x="4" y="13"/>
                  </a:cubicBezTo>
                  <a:cubicBezTo>
                    <a:pt x="4" y="12"/>
                    <a:pt x="5" y="10"/>
                    <a:pt x="3" y="10"/>
                  </a:cubicBezTo>
                  <a:cubicBezTo>
                    <a:pt x="3" y="8"/>
                    <a:pt x="3" y="7"/>
                    <a:pt x="4" y="6"/>
                  </a:cubicBezTo>
                  <a:cubicBezTo>
                    <a:pt x="5" y="5"/>
                    <a:pt x="8" y="5"/>
                    <a:pt x="9" y="4"/>
                  </a:cubicBezTo>
                  <a:cubicBezTo>
                    <a:pt x="9" y="4"/>
                    <a:pt x="10" y="4"/>
                    <a:pt x="11" y="4"/>
                  </a:cubicBezTo>
                  <a:cubicBezTo>
                    <a:pt x="12" y="5"/>
                    <a:pt x="12" y="6"/>
                    <a:pt x="12" y="6"/>
                  </a:cubicBezTo>
                  <a:cubicBezTo>
                    <a:pt x="15" y="7"/>
                    <a:pt x="17" y="9"/>
                    <a:pt x="18" y="11"/>
                  </a:cubicBezTo>
                  <a:cubicBezTo>
                    <a:pt x="18" y="11"/>
                    <a:pt x="18" y="12"/>
                    <a:pt x="19" y="12"/>
                  </a:cubicBezTo>
                  <a:cubicBezTo>
                    <a:pt x="21" y="12"/>
                    <a:pt x="22" y="12"/>
                    <a:pt x="23" y="10"/>
                  </a:cubicBezTo>
                  <a:cubicBezTo>
                    <a:pt x="24" y="9"/>
                    <a:pt x="24" y="8"/>
                    <a:pt x="23" y="7"/>
                  </a:cubicBezTo>
                  <a:cubicBezTo>
                    <a:pt x="23" y="6"/>
                    <a:pt x="22" y="5"/>
                    <a:pt x="23" y="4"/>
                  </a:cubicBezTo>
                  <a:cubicBezTo>
                    <a:pt x="23" y="3"/>
                    <a:pt x="24" y="3"/>
                    <a:pt x="24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7" y="2"/>
                    <a:pt x="29" y="2"/>
                    <a:pt x="30" y="0"/>
                  </a:cubicBezTo>
                  <a:cubicBezTo>
                    <a:pt x="30" y="0"/>
                    <a:pt x="31" y="0"/>
                    <a:pt x="32" y="0"/>
                  </a:cubicBezTo>
                  <a:cubicBezTo>
                    <a:pt x="33" y="1"/>
                    <a:pt x="33" y="2"/>
                    <a:pt x="34" y="3"/>
                  </a:cubicBezTo>
                  <a:cubicBezTo>
                    <a:pt x="35" y="5"/>
                    <a:pt x="38" y="5"/>
                    <a:pt x="39" y="7"/>
                  </a:cubicBezTo>
                  <a:cubicBezTo>
                    <a:pt x="42" y="7"/>
                    <a:pt x="44" y="7"/>
                    <a:pt x="47" y="7"/>
                  </a:cubicBezTo>
                  <a:cubicBezTo>
                    <a:pt x="47" y="8"/>
                    <a:pt x="48" y="9"/>
                    <a:pt x="49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1"/>
                    <a:pt x="50" y="11"/>
                    <a:pt x="50" y="11"/>
                  </a:cubicBezTo>
                  <a:cubicBezTo>
                    <a:pt x="49" y="13"/>
                    <a:pt x="49" y="15"/>
                    <a:pt x="49" y="17"/>
                  </a:cubicBezTo>
                  <a:cubicBezTo>
                    <a:pt x="50" y="19"/>
                    <a:pt x="53" y="20"/>
                    <a:pt x="54" y="23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1" y="24"/>
                    <a:pt x="50" y="25"/>
                    <a:pt x="48" y="26"/>
                  </a:cubicBezTo>
                  <a:cubicBezTo>
                    <a:pt x="48" y="27"/>
                    <a:pt x="48" y="27"/>
                    <a:pt x="47" y="27"/>
                  </a:cubicBezTo>
                  <a:cubicBezTo>
                    <a:pt x="47" y="27"/>
                    <a:pt x="46" y="27"/>
                    <a:pt x="46" y="27"/>
                  </a:cubicBezTo>
                  <a:cubicBezTo>
                    <a:pt x="44" y="28"/>
                    <a:pt x="42" y="28"/>
                    <a:pt x="41" y="28"/>
                  </a:cubicBezTo>
                  <a:cubicBezTo>
                    <a:pt x="39" y="29"/>
                    <a:pt x="39" y="29"/>
                    <a:pt x="38" y="28"/>
                  </a:cubicBezTo>
                  <a:cubicBezTo>
                    <a:pt x="36" y="28"/>
                    <a:pt x="35" y="26"/>
                    <a:pt x="35" y="24"/>
                  </a:cubicBezTo>
                  <a:cubicBezTo>
                    <a:pt x="35" y="23"/>
                    <a:pt x="34" y="23"/>
                    <a:pt x="34" y="23"/>
                  </a:cubicBezTo>
                  <a:cubicBezTo>
                    <a:pt x="31" y="22"/>
                    <a:pt x="29" y="23"/>
                    <a:pt x="27" y="23"/>
                  </a:cubicBezTo>
                  <a:cubicBezTo>
                    <a:pt x="24" y="22"/>
                    <a:pt x="22" y="21"/>
                    <a:pt x="19" y="21"/>
                  </a:cubicBezTo>
                  <a:cubicBezTo>
                    <a:pt x="16" y="20"/>
                    <a:pt x="12" y="20"/>
                    <a:pt x="9" y="20"/>
                  </a:cubicBezTo>
                  <a:cubicBezTo>
                    <a:pt x="7" y="22"/>
                    <a:pt x="4" y="22"/>
                    <a:pt x="1" y="23"/>
                  </a:cubicBezTo>
                  <a:lnTo>
                    <a:pt x="0" y="2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4" name="Freeform 115"/>
            <p:cNvSpPr>
              <a:spLocks/>
            </p:cNvSpPr>
            <p:nvPr/>
          </p:nvSpPr>
          <p:spPr bwMode="auto">
            <a:xfrm>
              <a:off x="7094768" y="4682717"/>
              <a:ext cx="45672" cy="27799"/>
            </a:xfrm>
            <a:custGeom>
              <a:avLst/>
              <a:gdLst>
                <a:gd name="T0" fmla="*/ 6023953 w 34"/>
                <a:gd name="T1" fmla="*/ 17604740 h 26"/>
                <a:gd name="T2" fmla="*/ 6023953 w 34"/>
                <a:gd name="T3" fmla="*/ 13633585 h 26"/>
                <a:gd name="T4" fmla="*/ 5300376 w 34"/>
                <a:gd name="T5" fmla="*/ 13633585 h 26"/>
                <a:gd name="T6" fmla="*/ 2560181 w 34"/>
                <a:gd name="T7" fmla="*/ 14406455 h 26"/>
                <a:gd name="T8" fmla="*/ 1898557 w 34"/>
                <a:gd name="T9" fmla="*/ 13633585 h 26"/>
                <a:gd name="T10" fmla="*/ 1898557 w 34"/>
                <a:gd name="T11" fmla="*/ 11156751 h 26"/>
                <a:gd name="T12" fmla="*/ 806887 w 34"/>
                <a:gd name="T13" fmla="*/ 11156751 h 26"/>
                <a:gd name="T14" fmla="*/ 0 w 34"/>
                <a:gd name="T15" fmla="*/ 7503662 h 26"/>
                <a:gd name="T16" fmla="*/ 0 w 34"/>
                <a:gd name="T17" fmla="*/ 5038211 h 26"/>
                <a:gd name="T18" fmla="*/ 1898557 w 34"/>
                <a:gd name="T19" fmla="*/ 4316773 h 26"/>
                <a:gd name="T20" fmla="*/ 3318400 w 34"/>
                <a:gd name="T21" fmla="*/ 4316773 h 26"/>
                <a:gd name="T22" fmla="*/ 5300376 w 34"/>
                <a:gd name="T23" fmla="*/ 3198282 h 26"/>
                <a:gd name="T24" fmla="*/ 8957156 w 34"/>
                <a:gd name="T25" fmla="*/ 1839936 h 26"/>
                <a:gd name="T26" fmla="*/ 14174003 w 34"/>
                <a:gd name="T27" fmla="*/ 784235 h 26"/>
                <a:gd name="T28" fmla="*/ 19433342 w 34"/>
                <a:gd name="T29" fmla="*/ 784235 h 26"/>
                <a:gd name="T30" fmla="*/ 26630397 w 34"/>
                <a:gd name="T31" fmla="*/ 1839936 h 26"/>
                <a:gd name="T32" fmla="*/ 29344636 w 34"/>
                <a:gd name="T33" fmla="*/ 1839936 h 26"/>
                <a:gd name="T34" fmla="*/ 29948683 w 34"/>
                <a:gd name="T35" fmla="*/ 1839936 h 26"/>
                <a:gd name="T36" fmla="*/ 26630397 w 34"/>
                <a:gd name="T37" fmla="*/ 6922623 h 26"/>
                <a:gd name="T38" fmla="*/ 26630397 w 34"/>
                <a:gd name="T39" fmla="*/ 14406455 h 26"/>
                <a:gd name="T40" fmla="*/ 29344636 w 34"/>
                <a:gd name="T41" fmla="*/ 16821088 h 26"/>
                <a:gd name="T42" fmla="*/ 27437644 w 34"/>
                <a:gd name="T43" fmla="*/ 18660434 h 26"/>
                <a:gd name="T44" fmla="*/ 26630397 w 34"/>
                <a:gd name="T45" fmla="*/ 20026566 h 26"/>
                <a:gd name="T46" fmla="*/ 26630397 w 34"/>
                <a:gd name="T47" fmla="*/ 21921488 h 26"/>
                <a:gd name="T48" fmla="*/ 19433342 w 34"/>
                <a:gd name="T49" fmla="*/ 21921488 h 26"/>
                <a:gd name="T50" fmla="*/ 14978991 w 34"/>
                <a:gd name="T51" fmla="*/ 18660434 h 26"/>
                <a:gd name="T52" fmla="*/ 13070851 w 34"/>
                <a:gd name="T53" fmla="*/ 16241531 h 26"/>
                <a:gd name="T54" fmla="*/ 11661007 w 34"/>
                <a:gd name="T55" fmla="*/ 16241531 h 26"/>
                <a:gd name="T56" fmla="*/ 7173119 w 34"/>
                <a:gd name="T57" fmla="*/ 17604740 h 26"/>
                <a:gd name="T58" fmla="*/ 6023953 w 34"/>
                <a:gd name="T59" fmla="*/ 17604740 h 2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4"/>
                <a:gd name="T91" fmla="*/ 0 h 26"/>
                <a:gd name="T92" fmla="*/ 34 w 34"/>
                <a:gd name="T93" fmla="*/ 26 h 2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4" h="26">
                  <a:moveTo>
                    <a:pt x="7" y="21"/>
                  </a:moveTo>
                  <a:cubicBezTo>
                    <a:pt x="7" y="19"/>
                    <a:pt x="7" y="18"/>
                    <a:pt x="7" y="16"/>
                  </a:cubicBezTo>
                  <a:cubicBezTo>
                    <a:pt x="7" y="16"/>
                    <a:pt x="6" y="16"/>
                    <a:pt x="6" y="16"/>
                  </a:cubicBezTo>
                  <a:cubicBezTo>
                    <a:pt x="6" y="17"/>
                    <a:pt x="4" y="18"/>
                    <a:pt x="3" y="17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2" y="15"/>
                    <a:pt x="2" y="14"/>
                    <a:pt x="2" y="13"/>
                  </a:cubicBezTo>
                  <a:cubicBezTo>
                    <a:pt x="2" y="13"/>
                    <a:pt x="1" y="13"/>
                    <a:pt x="1" y="13"/>
                  </a:cubicBezTo>
                  <a:cubicBezTo>
                    <a:pt x="1" y="12"/>
                    <a:pt x="1" y="10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1" y="5"/>
                    <a:pt x="2" y="5"/>
                  </a:cubicBezTo>
                  <a:cubicBezTo>
                    <a:pt x="3" y="5"/>
                    <a:pt x="3" y="5"/>
                    <a:pt x="4" y="5"/>
                  </a:cubicBezTo>
                  <a:cubicBezTo>
                    <a:pt x="5" y="5"/>
                    <a:pt x="5" y="4"/>
                    <a:pt x="6" y="4"/>
                  </a:cubicBezTo>
                  <a:cubicBezTo>
                    <a:pt x="7" y="3"/>
                    <a:pt x="8" y="3"/>
                    <a:pt x="10" y="2"/>
                  </a:cubicBezTo>
                  <a:cubicBezTo>
                    <a:pt x="12" y="1"/>
                    <a:pt x="14" y="2"/>
                    <a:pt x="16" y="1"/>
                  </a:cubicBezTo>
                  <a:cubicBezTo>
                    <a:pt x="18" y="0"/>
                    <a:pt x="21" y="1"/>
                    <a:pt x="22" y="1"/>
                  </a:cubicBezTo>
                  <a:cubicBezTo>
                    <a:pt x="25" y="2"/>
                    <a:pt x="27" y="1"/>
                    <a:pt x="30" y="2"/>
                  </a:cubicBezTo>
                  <a:cubicBezTo>
                    <a:pt x="31" y="3"/>
                    <a:pt x="32" y="3"/>
                    <a:pt x="33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5"/>
                    <a:pt x="32" y="7"/>
                    <a:pt x="30" y="8"/>
                  </a:cubicBezTo>
                  <a:cubicBezTo>
                    <a:pt x="30" y="11"/>
                    <a:pt x="30" y="14"/>
                    <a:pt x="30" y="17"/>
                  </a:cubicBezTo>
                  <a:cubicBezTo>
                    <a:pt x="31" y="18"/>
                    <a:pt x="34" y="19"/>
                    <a:pt x="33" y="20"/>
                  </a:cubicBezTo>
                  <a:cubicBezTo>
                    <a:pt x="32" y="21"/>
                    <a:pt x="32" y="22"/>
                    <a:pt x="31" y="22"/>
                  </a:cubicBezTo>
                  <a:cubicBezTo>
                    <a:pt x="31" y="23"/>
                    <a:pt x="30" y="23"/>
                    <a:pt x="30" y="24"/>
                  </a:cubicBezTo>
                  <a:cubicBezTo>
                    <a:pt x="30" y="25"/>
                    <a:pt x="29" y="25"/>
                    <a:pt x="30" y="26"/>
                  </a:cubicBezTo>
                  <a:cubicBezTo>
                    <a:pt x="27" y="26"/>
                    <a:pt x="25" y="26"/>
                    <a:pt x="22" y="26"/>
                  </a:cubicBezTo>
                  <a:cubicBezTo>
                    <a:pt x="21" y="24"/>
                    <a:pt x="18" y="24"/>
                    <a:pt x="17" y="22"/>
                  </a:cubicBezTo>
                  <a:cubicBezTo>
                    <a:pt x="16" y="21"/>
                    <a:pt x="16" y="20"/>
                    <a:pt x="15" y="19"/>
                  </a:cubicBezTo>
                  <a:cubicBezTo>
                    <a:pt x="14" y="19"/>
                    <a:pt x="13" y="19"/>
                    <a:pt x="13" y="19"/>
                  </a:cubicBezTo>
                  <a:cubicBezTo>
                    <a:pt x="12" y="21"/>
                    <a:pt x="10" y="21"/>
                    <a:pt x="8" y="21"/>
                  </a:cubicBezTo>
                  <a:lnTo>
                    <a:pt x="7" y="21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5" name="Freeform 116"/>
            <p:cNvSpPr>
              <a:spLocks/>
            </p:cNvSpPr>
            <p:nvPr/>
          </p:nvSpPr>
          <p:spPr bwMode="auto">
            <a:xfrm>
              <a:off x="7099118" y="4728647"/>
              <a:ext cx="89170" cy="58015"/>
            </a:xfrm>
            <a:custGeom>
              <a:avLst/>
              <a:gdLst>
                <a:gd name="T0" fmla="*/ 18819581 w 66"/>
                <a:gd name="T1" fmla="*/ 4442262 h 54"/>
                <a:gd name="T2" fmla="*/ 23659148 w 66"/>
                <a:gd name="T3" fmla="*/ 3286163 h 54"/>
                <a:gd name="T4" fmla="*/ 24442627 w 66"/>
                <a:gd name="T5" fmla="*/ 3286163 h 54"/>
                <a:gd name="T6" fmla="*/ 25663075 w 66"/>
                <a:gd name="T7" fmla="*/ 2546795 h 54"/>
                <a:gd name="T8" fmla="*/ 30553758 w 66"/>
                <a:gd name="T9" fmla="*/ 0 h 54"/>
                <a:gd name="T10" fmla="*/ 30553758 w 66"/>
                <a:gd name="T11" fmla="*/ 0 h 54"/>
                <a:gd name="T12" fmla="*/ 31262565 w 66"/>
                <a:gd name="T13" fmla="*/ 0 h 54"/>
                <a:gd name="T14" fmla="*/ 38886745 w 66"/>
                <a:gd name="T15" fmla="*/ 803127 h 54"/>
                <a:gd name="T16" fmla="*/ 39736169 w 66"/>
                <a:gd name="T17" fmla="*/ 4442262 h 54"/>
                <a:gd name="T18" fmla="*/ 43839705 w 66"/>
                <a:gd name="T19" fmla="*/ 4442262 h 54"/>
                <a:gd name="T20" fmla="*/ 44482614 w 66"/>
                <a:gd name="T21" fmla="*/ 3286163 h 54"/>
                <a:gd name="T22" fmla="*/ 46582089 w 66"/>
                <a:gd name="T23" fmla="*/ 3286163 h 54"/>
                <a:gd name="T24" fmla="*/ 49435583 w 66"/>
                <a:gd name="T25" fmla="*/ 7134310 h 54"/>
                <a:gd name="T26" fmla="*/ 51443122 w 66"/>
                <a:gd name="T27" fmla="*/ 14889923 h 54"/>
                <a:gd name="T28" fmla="*/ 52962808 w 66"/>
                <a:gd name="T29" fmla="*/ 16778835 h 54"/>
                <a:gd name="T30" fmla="*/ 52962808 w 66"/>
                <a:gd name="T31" fmla="*/ 19336972 h 54"/>
                <a:gd name="T32" fmla="*/ 55073742 w 66"/>
                <a:gd name="T33" fmla="*/ 20129127 h 54"/>
                <a:gd name="T34" fmla="*/ 57074852 w 66"/>
                <a:gd name="T35" fmla="*/ 20879594 h 54"/>
                <a:gd name="T36" fmla="*/ 57773467 w 66"/>
                <a:gd name="T37" fmla="*/ 20879594 h 54"/>
                <a:gd name="T38" fmla="*/ 58931611 w 66"/>
                <a:gd name="T39" fmla="*/ 24571059 h 54"/>
                <a:gd name="T40" fmla="*/ 61811426 w 66"/>
                <a:gd name="T41" fmla="*/ 27290458 h 54"/>
                <a:gd name="T42" fmla="*/ 60658161 w 66"/>
                <a:gd name="T43" fmla="*/ 30587791 h 54"/>
                <a:gd name="T44" fmla="*/ 59808765 w 66"/>
                <a:gd name="T45" fmla="*/ 31644412 h 54"/>
                <a:gd name="T46" fmla="*/ 58931611 w 66"/>
                <a:gd name="T47" fmla="*/ 30587791 h 54"/>
                <a:gd name="T48" fmla="*/ 57773467 w 66"/>
                <a:gd name="T49" fmla="*/ 29784624 h 54"/>
                <a:gd name="T50" fmla="*/ 55921587 w 66"/>
                <a:gd name="T51" fmla="*/ 30587791 h 54"/>
                <a:gd name="T52" fmla="*/ 55921587 w 66"/>
                <a:gd name="T53" fmla="*/ 39461335 h 54"/>
                <a:gd name="T54" fmla="*/ 55073742 w 66"/>
                <a:gd name="T55" fmla="*/ 40205047 h 54"/>
                <a:gd name="T56" fmla="*/ 50082122 w 66"/>
                <a:gd name="T57" fmla="*/ 44647486 h 54"/>
                <a:gd name="T58" fmla="*/ 45332010 w 66"/>
                <a:gd name="T59" fmla="*/ 45477671 h 54"/>
                <a:gd name="T60" fmla="*/ 42630772 w 66"/>
                <a:gd name="T61" fmla="*/ 44647486 h 54"/>
                <a:gd name="T62" fmla="*/ 36884084 w 66"/>
                <a:gd name="T63" fmla="*/ 46539052 h 54"/>
                <a:gd name="T64" fmla="*/ 36149069 w 66"/>
                <a:gd name="T65" fmla="*/ 45477671 h 54"/>
                <a:gd name="T66" fmla="*/ 32133915 w 66"/>
                <a:gd name="T67" fmla="*/ 45477671 h 54"/>
                <a:gd name="T68" fmla="*/ 29407055 w 66"/>
                <a:gd name="T69" fmla="*/ 45477671 h 54"/>
                <a:gd name="T70" fmla="*/ 17330084 w 66"/>
                <a:gd name="T71" fmla="*/ 42153997 h 54"/>
                <a:gd name="T72" fmla="*/ 10341117 w 66"/>
                <a:gd name="T73" fmla="*/ 42153997 h 54"/>
                <a:gd name="T74" fmla="*/ 4745294 w 66"/>
                <a:gd name="T75" fmla="*/ 44042854 h 54"/>
                <a:gd name="T76" fmla="*/ 2007625 w 66"/>
                <a:gd name="T77" fmla="*/ 45477671 h 54"/>
                <a:gd name="T78" fmla="*/ 2007625 w 66"/>
                <a:gd name="T79" fmla="*/ 44647486 h 54"/>
                <a:gd name="T80" fmla="*/ 2007625 w 66"/>
                <a:gd name="T81" fmla="*/ 40205047 h 54"/>
                <a:gd name="T82" fmla="*/ 0 w 66"/>
                <a:gd name="T83" fmla="*/ 38316350 h 54"/>
                <a:gd name="T84" fmla="*/ 0 w 66"/>
                <a:gd name="T85" fmla="*/ 36918861 h 54"/>
                <a:gd name="T86" fmla="*/ 2007625 w 66"/>
                <a:gd name="T87" fmla="*/ 34215700 h 54"/>
                <a:gd name="T88" fmla="*/ 849380 w 66"/>
                <a:gd name="T89" fmla="*/ 27895730 h 54"/>
                <a:gd name="T90" fmla="*/ 0 w 66"/>
                <a:gd name="T91" fmla="*/ 26459878 h 54"/>
                <a:gd name="T92" fmla="*/ 0 w 66"/>
                <a:gd name="T93" fmla="*/ 22024230 h 54"/>
                <a:gd name="T94" fmla="*/ 0 w 66"/>
                <a:gd name="T95" fmla="*/ 22024230 h 54"/>
                <a:gd name="T96" fmla="*/ 2007625 w 66"/>
                <a:gd name="T97" fmla="*/ 22024230 h 54"/>
                <a:gd name="T98" fmla="*/ 6840533 w 66"/>
                <a:gd name="T99" fmla="*/ 22625156 h 54"/>
                <a:gd name="T100" fmla="*/ 7630663 w 66"/>
                <a:gd name="T101" fmla="*/ 20129127 h 54"/>
                <a:gd name="T102" fmla="*/ 14073912 w 66"/>
                <a:gd name="T103" fmla="*/ 18176437 h 54"/>
                <a:gd name="T104" fmla="*/ 14073912 w 66"/>
                <a:gd name="T105" fmla="*/ 17581964 h 54"/>
                <a:gd name="T106" fmla="*/ 15293841 w 66"/>
                <a:gd name="T107" fmla="*/ 12312200 h 54"/>
                <a:gd name="T108" fmla="*/ 16168527 w 66"/>
                <a:gd name="T109" fmla="*/ 11603822 h 54"/>
                <a:gd name="T110" fmla="*/ 21764401 w 66"/>
                <a:gd name="T111" fmla="*/ 8877940 h 54"/>
                <a:gd name="T112" fmla="*/ 20915062 w 66"/>
                <a:gd name="T113" fmla="*/ 7728566 h 54"/>
                <a:gd name="T114" fmla="*/ 18819581 w 66"/>
                <a:gd name="T115" fmla="*/ 5235110 h 54"/>
                <a:gd name="T116" fmla="*/ 18819581 w 66"/>
                <a:gd name="T117" fmla="*/ 4442262 h 5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6"/>
                <a:gd name="T178" fmla="*/ 0 h 54"/>
                <a:gd name="T179" fmla="*/ 66 w 66"/>
                <a:gd name="T180" fmla="*/ 54 h 5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6" h="54">
                  <a:moveTo>
                    <a:pt x="20" y="5"/>
                  </a:moveTo>
                  <a:cubicBezTo>
                    <a:pt x="21" y="5"/>
                    <a:pt x="23" y="5"/>
                    <a:pt x="25" y="4"/>
                  </a:cubicBezTo>
                  <a:cubicBezTo>
                    <a:pt x="25" y="4"/>
                    <a:pt x="26" y="4"/>
                    <a:pt x="26" y="4"/>
                  </a:cubicBezTo>
                  <a:cubicBezTo>
                    <a:pt x="27" y="4"/>
                    <a:pt x="27" y="4"/>
                    <a:pt x="27" y="3"/>
                  </a:cubicBezTo>
                  <a:cubicBezTo>
                    <a:pt x="29" y="2"/>
                    <a:pt x="30" y="1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1"/>
                    <a:pt x="38" y="0"/>
                    <a:pt x="41" y="1"/>
                  </a:cubicBezTo>
                  <a:cubicBezTo>
                    <a:pt x="42" y="2"/>
                    <a:pt x="41" y="4"/>
                    <a:pt x="42" y="5"/>
                  </a:cubicBezTo>
                  <a:cubicBezTo>
                    <a:pt x="43" y="6"/>
                    <a:pt x="44" y="5"/>
                    <a:pt x="46" y="5"/>
                  </a:cubicBezTo>
                  <a:cubicBezTo>
                    <a:pt x="47" y="5"/>
                    <a:pt x="47" y="4"/>
                    <a:pt x="47" y="4"/>
                  </a:cubicBezTo>
                  <a:cubicBezTo>
                    <a:pt x="48" y="4"/>
                    <a:pt x="48" y="4"/>
                    <a:pt x="49" y="4"/>
                  </a:cubicBezTo>
                  <a:cubicBezTo>
                    <a:pt x="50" y="5"/>
                    <a:pt x="52" y="7"/>
                    <a:pt x="52" y="8"/>
                  </a:cubicBezTo>
                  <a:cubicBezTo>
                    <a:pt x="53" y="11"/>
                    <a:pt x="51" y="15"/>
                    <a:pt x="54" y="17"/>
                  </a:cubicBezTo>
                  <a:cubicBezTo>
                    <a:pt x="54" y="17"/>
                    <a:pt x="55" y="18"/>
                    <a:pt x="56" y="19"/>
                  </a:cubicBezTo>
                  <a:cubicBezTo>
                    <a:pt x="56" y="20"/>
                    <a:pt x="56" y="21"/>
                    <a:pt x="56" y="22"/>
                  </a:cubicBezTo>
                  <a:cubicBezTo>
                    <a:pt x="57" y="23"/>
                    <a:pt x="57" y="23"/>
                    <a:pt x="58" y="23"/>
                  </a:cubicBezTo>
                  <a:cubicBezTo>
                    <a:pt x="59" y="24"/>
                    <a:pt x="60" y="23"/>
                    <a:pt x="60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2" y="25"/>
                    <a:pt x="61" y="27"/>
                    <a:pt x="62" y="28"/>
                  </a:cubicBezTo>
                  <a:cubicBezTo>
                    <a:pt x="62" y="29"/>
                    <a:pt x="64" y="30"/>
                    <a:pt x="65" y="31"/>
                  </a:cubicBezTo>
                  <a:cubicBezTo>
                    <a:pt x="65" y="32"/>
                    <a:pt x="66" y="34"/>
                    <a:pt x="64" y="35"/>
                  </a:cubicBezTo>
                  <a:cubicBezTo>
                    <a:pt x="64" y="35"/>
                    <a:pt x="63" y="35"/>
                    <a:pt x="63" y="36"/>
                  </a:cubicBezTo>
                  <a:cubicBezTo>
                    <a:pt x="63" y="36"/>
                    <a:pt x="62" y="36"/>
                    <a:pt x="62" y="35"/>
                  </a:cubicBezTo>
                  <a:cubicBezTo>
                    <a:pt x="61" y="35"/>
                    <a:pt x="61" y="35"/>
                    <a:pt x="61" y="34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59" y="38"/>
                    <a:pt x="59" y="42"/>
                    <a:pt x="59" y="45"/>
                  </a:cubicBezTo>
                  <a:cubicBezTo>
                    <a:pt x="59" y="45"/>
                    <a:pt x="58" y="45"/>
                    <a:pt x="58" y="46"/>
                  </a:cubicBezTo>
                  <a:cubicBezTo>
                    <a:pt x="56" y="47"/>
                    <a:pt x="54" y="49"/>
                    <a:pt x="53" y="51"/>
                  </a:cubicBezTo>
                  <a:cubicBezTo>
                    <a:pt x="51" y="52"/>
                    <a:pt x="50" y="52"/>
                    <a:pt x="48" y="52"/>
                  </a:cubicBezTo>
                  <a:cubicBezTo>
                    <a:pt x="47" y="51"/>
                    <a:pt x="46" y="51"/>
                    <a:pt x="45" y="51"/>
                  </a:cubicBezTo>
                  <a:cubicBezTo>
                    <a:pt x="44" y="53"/>
                    <a:pt x="41" y="54"/>
                    <a:pt x="39" y="53"/>
                  </a:cubicBezTo>
                  <a:cubicBezTo>
                    <a:pt x="38" y="53"/>
                    <a:pt x="38" y="52"/>
                    <a:pt x="38" y="52"/>
                  </a:cubicBezTo>
                  <a:cubicBezTo>
                    <a:pt x="37" y="51"/>
                    <a:pt x="35" y="51"/>
                    <a:pt x="34" y="52"/>
                  </a:cubicBezTo>
                  <a:cubicBezTo>
                    <a:pt x="33" y="52"/>
                    <a:pt x="32" y="52"/>
                    <a:pt x="31" y="52"/>
                  </a:cubicBezTo>
                  <a:cubicBezTo>
                    <a:pt x="27" y="49"/>
                    <a:pt x="22" y="49"/>
                    <a:pt x="18" y="48"/>
                  </a:cubicBezTo>
                  <a:cubicBezTo>
                    <a:pt x="16" y="48"/>
                    <a:pt x="13" y="48"/>
                    <a:pt x="11" y="48"/>
                  </a:cubicBezTo>
                  <a:cubicBezTo>
                    <a:pt x="9" y="49"/>
                    <a:pt x="7" y="50"/>
                    <a:pt x="5" y="50"/>
                  </a:cubicBezTo>
                  <a:cubicBezTo>
                    <a:pt x="4" y="50"/>
                    <a:pt x="3" y="51"/>
                    <a:pt x="2" y="52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0"/>
                    <a:pt x="2" y="48"/>
                    <a:pt x="2" y="46"/>
                  </a:cubicBezTo>
                  <a:cubicBezTo>
                    <a:pt x="1" y="45"/>
                    <a:pt x="1" y="45"/>
                    <a:pt x="0" y="44"/>
                  </a:cubicBezTo>
                  <a:cubicBezTo>
                    <a:pt x="0" y="43"/>
                    <a:pt x="0" y="43"/>
                    <a:pt x="0" y="42"/>
                  </a:cubicBezTo>
                  <a:cubicBezTo>
                    <a:pt x="0" y="41"/>
                    <a:pt x="2" y="40"/>
                    <a:pt x="2" y="39"/>
                  </a:cubicBezTo>
                  <a:cubicBezTo>
                    <a:pt x="3" y="37"/>
                    <a:pt x="2" y="34"/>
                    <a:pt x="1" y="32"/>
                  </a:cubicBezTo>
                  <a:cubicBezTo>
                    <a:pt x="1" y="31"/>
                    <a:pt x="0" y="30"/>
                    <a:pt x="0" y="30"/>
                  </a:cubicBezTo>
                  <a:cubicBezTo>
                    <a:pt x="0" y="28"/>
                    <a:pt x="0" y="27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1" y="25"/>
                    <a:pt x="2" y="25"/>
                  </a:cubicBezTo>
                  <a:cubicBezTo>
                    <a:pt x="3" y="26"/>
                    <a:pt x="5" y="27"/>
                    <a:pt x="7" y="26"/>
                  </a:cubicBezTo>
                  <a:cubicBezTo>
                    <a:pt x="8" y="26"/>
                    <a:pt x="7" y="24"/>
                    <a:pt x="8" y="23"/>
                  </a:cubicBezTo>
                  <a:cubicBezTo>
                    <a:pt x="10" y="21"/>
                    <a:pt x="12" y="22"/>
                    <a:pt x="15" y="21"/>
                  </a:cubicBezTo>
                  <a:cubicBezTo>
                    <a:pt x="15" y="21"/>
                    <a:pt x="15" y="21"/>
                    <a:pt x="15" y="20"/>
                  </a:cubicBezTo>
                  <a:cubicBezTo>
                    <a:pt x="16" y="18"/>
                    <a:pt x="15" y="16"/>
                    <a:pt x="16" y="14"/>
                  </a:cubicBezTo>
                  <a:cubicBezTo>
                    <a:pt x="16" y="14"/>
                    <a:pt x="17" y="13"/>
                    <a:pt x="17" y="13"/>
                  </a:cubicBezTo>
                  <a:cubicBezTo>
                    <a:pt x="19" y="13"/>
                    <a:pt x="23" y="12"/>
                    <a:pt x="23" y="10"/>
                  </a:cubicBezTo>
                  <a:cubicBezTo>
                    <a:pt x="23" y="9"/>
                    <a:pt x="23" y="9"/>
                    <a:pt x="22" y="9"/>
                  </a:cubicBezTo>
                  <a:cubicBezTo>
                    <a:pt x="21" y="8"/>
                    <a:pt x="20" y="7"/>
                    <a:pt x="20" y="6"/>
                  </a:cubicBezTo>
                  <a:lnTo>
                    <a:pt x="20" y="5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6" name="Freeform 118"/>
            <p:cNvSpPr>
              <a:spLocks/>
            </p:cNvSpPr>
            <p:nvPr/>
          </p:nvSpPr>
          <p:spPr bwMode="auto">
            <a:xfrm>
              <a:off x="7060695" y="4540095"/>
              <a:ext cx="105845" cy="138998"/>
            </a:xfrm>
            <a:custGeom>
              <a:avLst/>
              <a:gdLst>
                <a:gd name="T0" fmla="*/ 46815598 w 79"/>
                <a:gd name="T1" fmla="*/ 111301276 h 129"/>
                <a:gd name="T2" fmla="*/ 36918946 w 79"/>
                <a:gd name="T3" fmla="*/ 112063453 h 129"/>
                <a:gd name="T4" fmla="*/ 32091337 w 79"/>
                <a:gd name="T5" fmla="*/ 114054072 h 129"/>
                <a:gd name="T6" fmla="*/ 30043030 w 79"/>
                <a:gd name="T7" fmla="*/ 115997560 h 129"/>
                <a:gd name="T8" fmla="*/ 24261446 w 79"/>
                <a:gd name="T9" fmla="*/ 116642096 h 129"/>
                <a:gd name="T10" fmla="*/ 20416444 w 79"/>
                <a:gd name="T11" fmla="*/ 114824620 h 129"/>
                <a:gd name="T12" fmla="*/ 17632933 w 79"/>
                <a:gd name="T13" fmla="*/ 112063453 h 129"/>
                <a:gd name="T14" fmla="*/ 13557310 w 79"/>
                <a:gd name="T15" fmla="*/ 110630874 h 129"/>
                <a:gd name="T16" fmla="*/ 10769099 w 79"/>
                <a:gd name="T17" fmla="*/ 108687311 h 129"/>
                <a:gd name="T18" fmla="*/ 7831966 w 79"/>
                <a:gd name="T19" fmla="*/ 103298831 h 129"/>
                <a:gd name="T20" fmla="*/ 8625130 w 79"/>
                <a:gd name="T21" fmla="*/ 98718830 h 129"/>
                <a:gd name="T22" fmla="*/ 7831966 w 79"/>
                <a:gd name="T23" fmla="*/ 94847616 h 129"/>
                <a:gd name="T24" fmla="*/ 5727422 w 79"/>
                <a:gd name="T25" fmla="*/ 86020553 h 129"/>
                <a:gd name="T26" fmla="*/ 6968235 w 79"/>
                <a:gd name="T27" fmla="*/ 80678451 h 129"/>
                <a:gd name="T28" fmla="*/ 10769099 w 79"/>
                <a:gd name="T29" fmla="*/ 79495406 h 129"/>
                <a:gd name="T30" fmla="*/ 13557310 w 79"/>
                <a:gd name="T31" fmla="*/ 76745532 h 129"/>
                <a:gd name="T32" fmla="*/ 17632933 w 79"/>
                <a:gd name="T33" fmla="*/ 74108529 h 129"/>
                <a:gd name="T34" fmla="*/ 21322035 w 79"/>
                <a:gd name="T35" fmla="*/ 69549455 h 129"/>
                <a:gd name="T36" fmla="*/ 25491404 w 79"/>
                <a:gd name="T37" fmla="*/ 66777051 h 129"/>
                <a:gd name="T38" fmla="*/ 32732856 w 79"/>
                <a:gd name="T39" fmla="*/ 60637027 h 129"/>
                <a:gd name="T40" fmla="*/ 31191389 w 79"/>
                <a:gd name="T41" fmla="*/ 56057705 h 129"/>
                <a:gd name="T42" fmla="*/ 31191389 w 79"/>
                <a:gd name="T43" fmla="*/ 52598272 h 129"/>
                <a:gd name="T44" fmla="*/ 28286632 w 79"/>
                <a:gd name="T45" fmla="*/ 48724946 h 129"/>
                <a:gd name="T46" fmla="*/ 22185795 w 79"/>
                <a:gd name="T47" fmla="*/ 48050472 h 129"/>
                <a:gd name="T48" fmla="*/ 21322035 w 79"/>
                <a:gd name="T49" fmla="*/ 37346877 h 129"/>
                <a:gd name="T50" fmla="*/ 20416444 w 79"/>
                <a:gd name="T51" fmla="*/ 32566378 h 129"/>
                <a:gd name="T52" fmla="*/ 17632933 w 79"/>
                <a:gd name="T53" fmla="*/ 27986208 h 129"/>
                <a:gd name="T54" fmla="*/ 18538950 w 79"/>
                <a:gd name="T55" fmla="*/ 24610311 h 129"/>
                <a:gd name="T56" fmla="*/ 16494421 w 79"/>
                <a:gd name="T57" fmla="*/ 20041622 h 129"/>
                <a:gd name="T58" fmla="*/ 10769099 w 79"/>
                <a:gd name="T59" fmla="*/ 17278386 h 129"/>
                <a:gd name="T60" fmla="*/ 4819725 w 79"/>
                <a:gd name="T61" fmla="*/ 14664845 h 129"/>
                <a:gd name="T62" fmla="*/ 0 w 79"/>
                <a:gd name="T63" fmla="*/ 10793065 h 129"/>
                <a:gd name="T64" fmla="*/ 3643773 w 79"/>
                <a:gd name="T65" fmla="*/ 6222912 h 129"/>
                <a:gd name="T66" fmla="*/ 7831966 w 79"/>
                <a:gd name="T67" fmla="*/ 12736628 h 129"/>
                <a:gd name="T68" fmla="*/ 12691979 w 79"/>
                <a:gd name="T69" fmla="*/ 14664845 h 129"/>
                <a:gd name="T70" fmla="*/ 18538950 w 79"/>
                <a:gd name="T71" fmla="*/ 13344448 h 129"/>
                <a:gd name="T72" fmla="*/ 25491404 w 79"/>
                <a:gd name="T73" fmla="*/ 16105813 h 129"/>
                <a:gd name="T74" fmla="*/ 30043030 w 79"/>
                <a:gd name="T75" fmla="*/ 14664845 h 129"/>
                <a:gd name="T76" fmla="*/ 32732856 w 79"/>
                <a:gd name="T77" fmla="*/ 6222912 h 129"/>
                <a:gd name="T78" fmla="*/ 40562737 w 79"/>
                <a:gd name="T79" fmla="*/ 824695 h 129"/>
                <a:gd name="T80" fmla="*/ 52515734 w 79"/>
                <a:gd name="T81" fmla="*/ 1943467 h 129"/>
                <a:gd name="T82" fmla="*/ 54640508 w 79"/>
                <a:gd name="T83" fmla="*/ 6222912 h 129"/>
                <a:gd name="T84" fmla="*/ 53413372 w 79"/>
                <a:gd name="T85" fmla="*/ 11875728 h 129"/>
                <a:gd name="T86" fmla="*/ 52515734 w 79"/>
                <a:gd name="T87" fmla="*/ 18098516 h 129"/>
                <a:gd name="T88" fmla="*/ 53413372 w 79"/>
                <a:gd name="T89" fmla="*/ 21859569 h 129"/>
                <a:gd name="T90" fmla="*/ 61229495 w 79"/>
                <a:gd name="T91" fmla="*/ 27226255 h 129"/>
                <a:gd name="T92" fmla="*/ 59103320 w 79"/>
                <a:gd name="T93" fmla="*/ 31447376 h 129"/>
                <a:gd name="T94" fmla="*/ 57428975 w 79"/>
                <a:gd name="T95" fmla="*/ 35317911 h 129"/>
                <a:gd name="T96" fmla="*/ 63924226 w 79"/>
                <a:gd name="T97" fmla="*/ 48050472 h 129"/>
                <a:gd name="T98" fmla="*/ 63282650 w 79"/>
                <a:gd name="T99" fmla="*/ 59939364 h 129"/>
                <a:gd name="T100" fmla="*/ 63924226 w 79"/>
                <a:gd name="T101" fmla="*/ 64161050 h 129"/>
                <a:gd name="T102" fmla="*/ 69010018 w 79"/>
                <a:gd name="T103" fmla="*/ 68703836 h 129"/>
                <a:gd name="T104" fmla="*/ 66956938 w 79"/>
                <a:gd name="T105" fmla="*/ 72512572 h 129"/>
                <a:gd name="T106" fmla="*/ 69716698 w 79"/>
                <a:gd name="T107" fmla="*/ 76126334 h 129"/>
                <a:gd name="T108" fmla="*/ 75963007 w 79"/>
                <a:gd name="T109" fmla="*/ 85159588 h 129"/>
                <a:gd name="T110" fmla="*/ 66956938 w 79"/>
                <a:gd name="T111" fmla="*/ 97894364 h 129"/>
                <a:gd name="T112" fmla="*/ 61229495 w 79"/>
                <a:gd name="T113" fmla="*/ 104123599 h 129"/>
                <a:gd name="T114" fmla="*/ 55452817 w 79"/>
                <a:gd name="T115" fmla="*/ 107492577 h 129"/>
                <a:gd name="T116" fmla="*/ 55452817 w 79"/>
                <a:gd name="T117" fmla="*/ 110630874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9"/>
                <a:gd name="T178" fmla="*/ 0 h 129"/>
                <a:gd name="T179" fmla="*/ 79 w 79"/>
                <a:gd name="T180" fmla="*/ 129 h 12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9" h="129">
                  <a:moveTo>
                    <a:pt x="57" y="122"/>
                  </a:moveTo>
                  <a:cubicBezTo>
                    <a:pt x="55" y="123"/>
                    <a:pt x="51" y="122"/>
                    <a:pt x="48" y="123"/>
                  </a:cubicBezTo>
                  <a:cubicBezTo>
                    <a:pt x="48" y="123"/>
                    <a:pt x="47" y="123"/>
                    <a:pt x="46" y="123"/>
                  </a:cubicBezTo>
                  <a:cubicBezTo>
                    <a:pt x="43" y="124"/>
                    <a:pt x="40" y="123"/>
                    <a:pt x="38" y="124"/>
                  </a:cubicBezTo>
                  <a:cubicBezTo>
                    <a:pt x="36" y="125"/>
                    <a:pt x="35" y="125"/>
                    <a:pt x="33" y="126"/>
                  </a:cubicBezTo>
                  <a:cubicBezTo>
                    <a:pt x="33" y="126"/>
                    <a:pt x="33" y="126"/>
                    <a:pt x="33" y="126"/>
                  </a:cubicBezTo>
                  <a:cubicBezTo>
                    <a:pt x="32" y="126"/>
                    <a:pt x="33" y="127"/>
                    <a:pt x="32" y="128"/>
                  </a:cubicBezTo>
                  <a:cubicBezTo>
                    <a:pt x="32" y="128"/>
                    <a:pt x="31" y="128"/>
                    <a:pt x="31" y="128"/>
                  </a:cubicBezTo>
                  <a:cubicBezTo>
                    <a:pt x="30" y="128"/>
                    <a:pt x="30" y="127"/>
                    <a:pt x="30" y="127"/>
                  </a:cubicBezTo>
                  <a:cubicBezTo>
                    <a:pt x="28" y="126"/>
                    <a:pt x="26" y="128"/>
                    <a:pt x="25" y="129"/>
                  </a:cubicBezTo>
                  <a:cubicBezTo>
                    <a:pt x="24" y="129"/>
                    <a:pt x="23" y="129"/>
                    <a:pt x="22" y="128"/>
                  </a:cubicBezTo>
                  <a:cubicBezTo>
                    <a:pt x="21" y="128"/>
                    <a:pt x="22" y="127"/>
                    <a:pt x="21" y="127"/>
                  </a:cubicBezTo>
                  <a:cubicBezTo>
                    <a:pt x="21" y="126"/>
                    <a:pt x="19" y="126"/>
                    <a:pt x="18" y="125"/>
                  </a:cubicBezTo>
                  <a:cubicBezTo>
                    <a:pt x="18" y="125"/>
                    <a:pt x="18" y="124"/>
                    <a:pt x="18" y="124"/>
                  </a:cubicBezTo>
                  <a:cubicBezTo>
                    <a:pt x="18" y="123"/>
                    <a:pt x="17" y="122"/>
                    <a:pt x="16" y="122"/>
                  </a:cubicBezTo>
                  <a:cubicBezTo>
                    <a:pt x="16" y="122"/>
                    <a:pt x="15" y="122"/>
                    <a:pt x="14" y="122"/>
                  </a:cubicBezTo>
                  <a:cubicBezTo>
                    <a:pt x="13" y="122"/>
                    <a:pt x="13" y="122"/>
                    <a:pt x="12" y="122"/>
                  </a:cubicBezTo>
                  <a:cubicBezTo>
                    <a:pt x="12" y="121"/>
                    <a:pt x="11" y="121"/>
                    <a:pt x="11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9" y="118"/>
                    <a:pt x="9" y="116"/>
                    <a:pt x="8" y="114"/>
                  </a:cubicBezTo>
                  <a:cubicBezTo>
                    <a:pt x="7" y="113"/>
                    <a:pt x="7" y="112"/>
                    <a:pt x="8" y="110"/>
                  </a:cubicBezTo>
                  <a:cubicBezTo>
                    <a:pt x="8" y="110"/>
                    <a:pt x="8" y="109"/>
                    <a:pt x="9" y="109"/>
                  </a:cubicBezTo>
                  <a:cubicBezTo>
                    <a:pt x="9" y="108"/>
                    <a:pt x="9" y="107"/>
                    <a:pt x="9" y="107"/>
                  </a:cubicBezTo>
                  <a:cubicBezTo>
                    <a:pt x="8" y="106"/>
                    <a:pt x="8" y="106"/>
                    <a:pt x="8" y="105"/>
                  </a:cubicBezTo>
                  <a:cubicBezTo>
                    <a:pt x="6" y="103"/>
                    <a:pt x="8" y="99"/>
                    <a:pt x="6" y="96"/>
                  </a:cubicBezTo>
                  <a:cubicBezTo>
                    <a:pt x="6" y="96"/>
                    <a:pt x="6" y="96"/>
                    <a:pt x="6" y="95"/>
                  </a:cubicBezTo>
                  <a:cubicBezTo>
                    <a:pt x="6" y="93"/>
                    <a:pt x="7" y="92"/>
                    <a:pt x="7" y="90"/>
                  </a:cubicBezTo>
                  <a:cubicBezTo>
                    <a:pt x="7" y="90"/>
                    <a:pt x="7" y="89"/>
                    <a:pt x="7" y="89"/>
                  </a:cubicBezTo>
                  <a:cubicBezTo>
                    <a:pt x="7" y="89"/>
                    <a:pt x="8" y="89"/>
                    <a:pt x="9" y="89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2" y="88"/>
                    <a:pt x="12" y="88"/>
                    <a:pt x="13" y="87"/>
                  </a:cubicBezTo>
                  <a:cubicBezTo>
                    <a:pt x="13" y="86"/>
                    <a:pt x="14" y="86"/>
                    <a:pt x="14" y="85"/>
                  </a:cubicBezTo>
                  <a:cubicBezTo>
                    <a:pt x="14" y="84"/>
                    <a:pt x="15" y="84"/>
                    <a:pt x="16" y="84"/>
                  </a:cubicBezTo>
                  <a:cubicBezTo>
                    <a:pt x="17" y="83"/>
                    <a:pt x="17" y="83"/>
                    <a:pt x="18" y="82"/>
                  </a:cubicBezTo>
                  <a:cubicBezTo>
                    <a:pt x="18" y="81"/>
                    <a:pt x="18" y="80"/>
                    <a:pt x="18" y="80"/>
                  </a:cubicBezTo>
                  <a:cubicBezTo>
                    <a:pt x="19" y="78"/>
                    <a:pt x="21" y="78"/>
                    <a:pt x="22" y="77"/>
                  </a:cubicBezTo>
                  <a:cubicBezTo>
                    <a:pt x="23" y="76"/>
                    <a:pt x="24" y="76"/>
                    <a:pt x="25" y="76"/>
                  </a:cubicBezTo>
                  <a:cubicBezTo>
                    <a:pt x="26" y="75"/>
                    <a:pt x="26" y="75"/>
                    <a:pt x="26" y="74"/>
                  </a:cubicBezTo>
                  <a:cubicBezTo>
                    <a:pt x="27" y="71"/>
                    <a:pt x="28" y="69"/>
                    <a:pt x="30" y="67"/>
                  </a:cubicBezTo>
                  <a:cubicBezTo>
                    <a:pt x="31" y="66"/>
                    <a:pt x="32" y="67"/>
                    <a:pt x="34" y="67"/>
                  </a:cubicBezTo>
                  <a:cubicBezTo>
                    <a:pt x="34" y="65"/>
                    <a:pt x="34" y="64"/>
                    <a:pt x="33" y="63"/>
                  </a:cubicBezTo>
                  <a:cubicBezTo>
                    <a:pt x="33" y="62"/>
                    <a:pt x="32" y="62"/>
                    <a:pt x="32" y="62"/>
                  </a:cubicBezTo>
                  <a:cubicBezTo>
                    <a:pt x="32" y="61"/>
                    <a:pt x="32" y="60"/>
                    <a:pt x="32" y="60"/>
                  </a:cubicBezTo>
                  <a:cubicBezTo>
                    <a:pt x="33" y="59"/>
                    <a:pt x="33" y="58"/>
                    <a:pt x="32" y="58"/>
                  </a:cubicBezTo>
                  <a:cubicBezTo>
                    <a:pt x="32" y="57"/>
                    <a:pt x="31" y="57"/>
                    <a:pt x="31" y="57"/>
                  </a:cubicBezTo>
                  <a:cubicBezTo>
                    <a:pt x="31" y="55"/>
                    <a:pt x="30" y="55"/>
                    <a:pt x="29" y="54"/>
                  </a:cubicBezTo>
                  <a:cubicBezTo>
                    <a:pt x="27" y="54"/>
                    <a:pt x="25" y="54"/>
                    <a:pt x="23" y="54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1"/>
                    <a:pt x="23" y="49"/>
                    <a:pt x="22" y="47"/>
                  </a:cubicBezTo>
                  <a:cubicBezTo>
                    <a:pt x="22" y="45"/>
                    <a:pt x="22" y="43"/>
                    <a:pt x="22" y="41"/>
                  </a:cubicBezTo>
                  <a:cubicBezTo>
                    <a:pt x="22" y="40"/>
                    <a:pt x="21" y="39"/>
                    <a:pt x="21" y="38"/>
                  </a:cubicBezTo>
                  <a:cubicBezTo>
                    <a:pt x="21" y="37"/>
                    <a:pt x="21" y="37"/>
                    <a:pt x="21" y="36"/>
                  </a:cubicBezTo>
                  <a:cubicBezTo>
                    <a:pt x="20" y="35"/>
                    <a:pt x="20" y="33"/>
                    <a:pt x="20" y="32"/>
                  </a:cubicBezTo>
                  <a:cubicBezTo>
                    <a:pt x="20" y="32"/>
                    <a:pt x="19" y="32"/>
                    <a:pt x="18" y="31"/>
                  </a:cubicBezTo>
                  <a:cubicBezTo>
                    <a:pt x="18" y="30"/>
                    <a:pt x="18" y="29"/>
                    <a:pt x="18" y="28"/>
                  </a:cubicBezTo>
                  <a:cubicBezTo>
                    <a:pt x="19" y="28"/>
                    <a:pt x="19" y="28"/>
                    <a:pt x="19" y="27"/>
                  </a:cubicBezTo>
                  <a:cubicBezTo>
                    <a:pt x="19" y="26"/>
                    <a:pt x="19" y="25"/>
                    <a:pt x="18" y="23"/>
                  </a:cubicBezTo>
                  <a:cubicBezTo>
                    <a:pt x="18" y="23"/>
                    <a:pt x="18" y="22"/>
                    <a:pt x="17" y="22"/>
                  </a:cubicBezTo>
                  <a:cubicBezTo>
                    <a:pt x="16" y="21"/>
                    <a:pt x="15" y="21"/>
                    <a:pt x="13" y="21"/>
                  </a:cubicBezTo>
                  <a:cubicBezTo>
                    <a:pt x="12" y="20"/>
                    <a:pt x="12" y="19"/>
                    <a:pt x="11" y="19"/>
                  </a:cubicBezTo>
                  <a:cubicBezTo>
                    <a:pt x="10" y="18"/>
                    <a:pt x="8" y="18"/>
                    <a:pt x="7" y="17"/>
                  </a:cubicBezTo>
                  <a:cubicBezTo>
                    <a:pt x="6" y="17"/>
                    <a:pt x="5" y="16"/>
                    <a:pt x="5" y="16"/>
                  </a:cubicBezTo>
                  <a:cubicBezTo>
                    <a:pt x="3" y="15"/>
                    <a:pt x="2" y="14"/>
                    <a:pt x="1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0"/>
                    <a:pt x="0" y="8"/>
                    <a:pt x="1" y="7"/>
                  </a:cubicBezTo>
                  <a:cubicBezTo>
                    <a:pt x="2" y="7"/>
                    <a:pt x="3" y="7"/>
                    <a:pt x="4" y="7"/>
                  </a:cubicBezTo>
                  <a:cubicBezTo>
                    <a:pt x="5" y="8"/>
                    <a:pt x="6" y="8"/>
                    <a:pt x="6" y="9"/>
                  </a:cubicBezTo>
                  <a:cubicBezTo>
                    <a:pt x="7" y="11"/>
                    <a:pt x="7" y="13"/>
                    <a:pt x="8" y="14"/>
                  </a:cubicBezTo>
                  <a:cubicBezTo>
                    <a:pt x="9" y="15"/>
                    <a:pt x="9" y="16"/>
                    <a:pt x="10" y="16"/>
                  </a:cubicBezTo>
                  <a:cubicBezTo>
                    <a:pt x="11" y="17"/>
                    <a:pt x="12" y="16"/>
                    <a:pt x="13" y="16"/>
                  </a:cubicBezTo>
                  <a:cubicBezTo>
                    <a:pt x="14" y="17"/>
                    <a:pt x="16" y="17"/>
                    <a:pt x="17" y="16"/>
                  </a:cubicBezTo>
                  <a:cubicBezTo>
                    <a:pt x="18" y="16"/>
                    <a:pt x="18" y="15"/>
                    <a:pt x="19" y="15"/>
                  </a:cubicBezTo>
                  <a:cubicBezTo>
                    <a:pt x="20" y="15"/>
                    <a:pt x="22" y="15"/>
                    <a:pt x="23" y="17"/>
                  </a:cubicBezTo>
                  <a:cubicBezTo>
                    <a:pt x="24" y="18"/>
                    <a:pt x="25" y="17"/>
                    <a:pt x="26" y="18"/>
                  </a:cubicBezTo>
                  <a:cubicBezTo>
                    <a:pt x="27" y="18"/>
                    <a:pt x="28" y="18"/>
                    <a:pt x="28" y="18"/>
                  </a:cubicBezTo>
                  <a:cubicBezTo>
                    <a:pt x="29" y="17"/>
                    <a:pt x="30" y="17"/>
                    <a:pt x="31" y="16"/>
                  </a:cubicBezTo>
                  <a:cubicBezTo>
                    <a:pt x="32" y="15"/>
                    <a:pt x="33" y="15"/>
                    <a:pt x="34" y="13"/>
                  </a:cubicBezTo>
                  <a:cubicBezTo>
                    <a:pt x="34" y="11"/>
                    <a:pt x="33" y="9"/>
                    <a:pt x="34" y="7"/>
                  </a:cubicBezTo>
                  <a:cubicBezTo>
                    <a:pt x="35" y="5"/>
                    <a:pt x="36" y="3"/>
                    <a:pt x="38" y="2"/>
                  </a:cubicBezTo>
                  <a:cubicBezTo>
                    <a:pt x="39" y="2"/>
                    <a:pt x="41" y="2"/>
                    <a:pt x="42" y="1"/>
                  </a:cubicBezTo>
                  <a:cubicBezTo>
                    <a:pt x="43" y="0"/>
                    <a:pt x="45" y="0"/>
                    <a:pt x="46" y="1"/>
                  </a:cubicBezTo>
                  <a:cubicBezTo>
                    <a:pt x="49" y="2"/>
                    <a:pt x="51" y="1"/>
                    <a:pt x="54" y="2"/>
                  </a:cubicBezTo>
                  <a:cubicBezTo>
                    <a:pt x="55" y="3"/>
                    <a:pt x="56" y="4"/>
                    <a:pt x="56" y="5"/>
                  </a:cubicBezTo>
                  <a:cubicBezTo>
                    <a:pt x="57" y="6"/>
                    <a:pt x="57" y="7"/>
                    <a:pt x="56" y="7"/>
                  </a:cubicBezTo>
                  <a:cubicBezTo>
                    <a:pt x="55" y="9"/>
                    <a:pt x="55" y="11"/>
                    <a:pt x="55" y="13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5" y="13"/>
                    <a:pt x="54" y="14"/>
                    <a:pt x="54" y="14"/>
                  </a:cubicBezTo>
                  <a:cubicBezTo>
                    <a:pt x="53" y="16"/>
                    <a:pt x="54" y="18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1"/>
                    <a:pt x="53" y="23"/>
                    <a:pt x="55" y="24"/>
                  </a:cubicBezTo>
                  <a:cubicBezTo>
                    <a:pt x="56" y="25"/>
                    <a:pt x="59" y="24"/>
                    <a:pt x="60" y="26"/>
                  </a:cubicBezTo>
                  <a:cubicBezTo>
                    <a:pt x="61" y="27"/>
                    <a:pt x="63" y="28"/>
                    <a:pt x="63" y="30"/>
                  </a:cubicBezTo>
                  <a:cubicBezTo>
                    <a:pt x="64" y="31"/>
                    <a:pt x="64" y="32"/>
                    <a:pt x="63" y="33"/>
                  </a:cubicBezTo>
                  <a:cubicBezTo>
                    <a:pt x="62" y="34"/>
                    <a:pt x="62" y="34"/>
                    <a:pt x="61" y="35"/>
                  </a:cubicBezTo>
                  <a:cubicBezTo>
                    <a:pt x="61" y="35"/>
                    <a:pt x="61" y="36"/>
                    <a:pt x="60" y="36"/>
                  </a:cubicBezTo>
                  <a:cubicBezTo>
                    <a:pt x="60" y="37"/>
                    <a:pt x="59" y="38"/>
                    <a:pt x="59" y="39"/>
                  </a:cubicBezTo>
                  <a:cubicBezTo>
                    <a:pt x="59" y="40"/>
                    <a:pt x="59" y="41"/>
                    <a:pt x="59" y="42"/>
                  </a:cubicBezTo>
                  <a:cubicBezTo>
                    <a:pt x="61" y="46"/>
                    <a:pt x="65" y="49"/>
                    <a:pt x="66" y="53"/>
                  </a:cubicBezTo>
                  <a:cubicBezTo>
                    <a:pt x="67" y="56"/>
                    <a:pt x="66" y="58"/>
                    <a:pt x="65" y="60"/>
                  </a:cubicBezTo>
                  <a:cubicBezTo>
                    <a:pt x="65" y="62"/>
                    <a:pt x="65" y="64"/>
                    <a:pt x="65" y="66"/>
                  </a:cubicBezTo>
                  <a:cubicBezTo>
                    <a:pt x="65" y="67"/>
                    <a:pt x="65" y="68"/>
                    <a:pt x="65" y="69"/>
                  </a:cubicBezTo>
                  <a:cubicBezTo>
                    <a:pt x="66" y="70"/>
                    <a:pt x="66" y="70"/>
                    <a:pt x="66" y="71"/>
                  </a:cubicBezTo>
                  <a:cubicBezTo>
                    <a:pt x="67" y="72"/>
                    <a:pt x="67" y="74"/>
                    <a:pt x="68" y="75"/>
                  </a:cubicBezTo>
                  <a:cubicBezTo>
                    <a:pt x="69" y="75"/>
                    <a:pt x="70" y="75"/>
                    <a:pt x="71" y="76"/>
                  </a:cubicBezTo>
                  <a:cubicBezTo>
                    <a:pt x="71" y="76"/>
                    <a:pt x="71" y="77"/>
                    <a:pt x="71" y="78"/>
                  </a:cubicBezTo>
                  <a:cubicBezTo>
                    <a:pt x="71" y="79"/>
                    <a:pt x="69" y="79"/>
                    <a:pt x="69" y="80"/>
                  </a:cubicBezTo>
                  <a:cubicBezTo>
                    <a:pt x="69" y="81"/>
                    <a:pt x="69" y="83"/>
                    <a:pt x="70" y="84"/>
                  </a:cubicBezTo>
                  <a:cubicBezTo>
                    <a:pt x="71" y="84"/>
                    <a:pt x="72" y="84"/>
                    <a:pt x="72" y="84"/>
                  </a:cubicBezTo>
                  <a:cubicBezTo>
                    <a:pt x="74" y="86"/>
                    <a:pt x="76" y="88"/>
                    <a:pt x="79" y="89"/>
                  </a:cubicBezTo>
                  <a:cubicBezTo>
                    <a:pt x="79" y="91"/>
                    <a:pt x="79" y="93"/>
                    <a:pt x="78" y="94"/>
                  </a:cubicBezTo>
                  <a:cubicBezTo>
                    <a:pt x="76" y="98"/>
                    <a:pt x="73" y="101"/>
                    <a:pt x="71" y="105"/>
                  </a:cubicBezTo>
                  <a:cubicBezTo>
                    <a:pt x="70" y="106"/>
                    <a:pt x="70" y="107"/>
                    <a:pt x="69" y="108"/>
                  </a:cubicBezTo>
                  <a:cubicBezTo>
                    <a:pt x="68" y="109"/>
                    <a:pt x="66" y="110"/>
                    <a:pt x="65" y="112"/>
                  </a:cubicBezTo>
                  <a:cubicBezTo>
                    <a:pt x="64" y="113"/>
                    <a:pt x="64" y="114"/>
                    <a:pt x="63" y="115"/>
                  </a:cubicBezTo>
                  <a:cubicBezTo>
                    <a:pt x="62" y="116"/>
                    <a:pt x="61" y="117"/>
                    <a:pt x="60" y="118"/>
                  </a:cubicBezTo>
                  <a:cubicBezTo>
                    <a:pt x="59" y="118"/>
                    <a:pt x="58" y="119"/>
                    <a:pt x="57" y="119"/>
                  </a:cubicBezTo>
                  <a:cubicBezTo>
                    <a:pt x="57" y="120"/>
                    <a:pt x="57" y="120"/>
                    <a:pt x="57" y="121"/>
                  </a:cubicBezTo>
                  <a:lnTo>
                    <a:pt x="57" y="122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7" name="Freeform 119"/>
            <p:cNvSpPr>
              <a:spLocks/>
            </p:cNvSpPr>
            <p:nvPr/>
          </p:nvSpPr>
          <p:spPr bwMode="auto">
            <a:xfrm>
              <a:off x="6634419" y="4587837"/>
              <a:ext cx="102220" cy="45930"/>
            </a:xfrm>
            <a:custGeom>
              <a:avLst/>
              <a:gdLst>
                <a:gd name="T0" fmla="*/ 64656941 w 76"/>
                <a:gd name="T1" fmla="*/ 12122866 h 43"/>
                <a:gd name="T2" fmla="*/ 60932461 w 76"/>
                <a:gd name="T3" fmla="*/ 9470346 h 43"/>
                <a:gd name="T4" fmla="*/ 62851114 w 76"/>
                <a:gd name="T5" fmla="*/ 7609730 h 43"/>
                <a:gd name="T6" fmla="*/ 60114752 w 76"/>
                <a:gd name="T7" fmla="*/ 4369091 h 43"/>
                <a:gd name="T8" fmla="*/ 58184530 w 76"/>
                <a:gd name="T9" fmla="*/ 3239786 h 43"/>
                <a:gd name="T10" fmla="*/ 54755042 w 76"/>
                <a:gd name="T11" fmla="*/ 0 h 43"/>
                <a:gd name="T12" fmla="*/ 52223757 w 76"/>
                <a:gd name="T13" fmla="*/ 1860108 h 43"/>
                <a:gd name="T14" fmla="*/ 44959940 w 76"/>
                <a:gd name="T15" fmla="*/ 5161223 h 43"/>
                <a:gd name="T16" fmla="*/ 42185516 w 76"/>
                <a:gd name="T17" fmla="*/ 7022497 h 43"/>
                <a:gd name="T18" fmla="*/ 38487820 w 76"/>
                <a:gd name="T19" fmla="*/ 4369091 h 43"/>
                <a:gd name="T20" fmla="*/ 38487820 w 76"/>
                <a:gd name="T21" fmla="*/ 8402175 h 43"/>
                <a:gd name="T22" fmla="*/ 36855209 w 76"/>
                <a:gd name="T23" fmla="*/ 5161223 h 43"/>
                <a:gd name="T24" fmla="*/ 30398267 w 76"/>
                <a:gd name="T25" fmla="*/ 11330453 h 43"/>
                <a:gd name="T26" fmla="*/ 27797813 w 76"/>
                <a:gd name="T27" fmla="*/ 7022497 h 43"/>
                <a:gd name="T28" fmla="*/ 25065878 w 76"/>
                <a:gd name="T29" fmla="*/ 5161223 h 43"/>
                <a:gd name="T30" fmla="*/ 22441023 w 76"/>
                <a:gd name="T31" fmla="*/ 12773963 h 43"/>
                <a:gd name="T32" fmla="*/ 20511121 w 76"/>
                <a:gd name="T33" fmla="*/ 14634214 h 43"/>
                <a:gd name="T34" fmla="*/ 17911171 w 76"/>
                <a:gd name="T35" fmla="*/ 5161223 h 43"/>
                <a:gd name="T36" fmla="*/ 14534347 w 76"/>
                <a:gd name="T37" fmla="*/ 1860108 h 43"/>
                <a:gd name="T38" fmla="*/ 10642502 w 76"/>
                <a:gd name="T39" fmla="*/ 2508984 h 43"/>
                <a:gd name="T40" fmla="*/ 11802431 w 76"/>
                <a:gd name="T41" fmla="*/ 4369091 h 43"/>
                <a:gd name="T42" fmla="*/ 11802431 w 76"/>
                <a:gd name="T43" fmla="*/ 5893195 h 43"/>
                <a:gd name="T44" fmla="*/ 7286717 w 76"/>
                <a:gd name="T45" fmla="*/ 3239786 h 43"/>
                <a:gd name="T46" fmla="*/ 4518607 w 76"/>
                <a:gd name="T47" fmla="*/ 9470346 h 43"/>
                <a:gd name="T48" fmla="*/ 814565 w 76"/>
                <a:gd name="T49" fmla="*/ 12122866 h 43"/>
                <a:gd name="T50" fmla="*/ 0 w 76"/>
                <a:gd name="T51" fmla="*/ 13842148 h 43"/>
                <a:gd name="T52" fmla="*/ 6171011 w 76"/>
                <a:gd name="T53" fmla="*/ 15426147 h 43"/>
                <a:gd name="T54" fmla="*/ 12617060 w 76"/>
                <a:gd name="T55" fmla="*/ 12773963 h 43"/>
                <a:gd name="T56" fmla="*/ 13263485 w 76"/>
                <a:gd name="T57" fmla="*/ 15426147 h 43"/>
                <a:gd name="T58" fmla="*/ 15181271 w 76"/>
                <a:gd name="T59" fmla="*/ 17874011 h 43"/>
                <a:gd name="T60" fmla="*/ 3352262 w 76"/>
                <a:gd name="T61" fmla="*/ 19735327 h 43"/>
                <a:gd name="T62" fmla="*/ 6171011 w 76"/>
                <a:gd name="T63" fmla="*/ 20531245 h 43"/>
                <a:gd name="T64" fmla="*/ 11802431 w 76"/>
                <a:gd name="T65" fmla="*/ 20531245 h 43"/>
                <a:gd name="T66" fmla="*/ 14534347 w 76"/>
                <a:gd name="T67" fmla="*/ 24104407 h 43"/>
                <a:gd name="T68" fmla="*/ 15995410 w 76"/>
                <a:gd name="T69" fmla="*/ 28474633 h 43"/>
                <a:gd name="T70" fmla="*/ 9870647 w 76"/>
                <a:gd name="T71" fmla="*/ 28474633 h 43"/>
                <a:gd name="T72" fmla="*/ 12617060 w 76"/>
                <a:gd name="T73" fmla="*/ 31133610 h 43"/>
                <a:gd name="T74" fmla="*/ 17911171 w 76"/>
                <a:gd name="T75" fmla="*/ 31133610 h 43"/>
                <a:gd name="T76" fmla="*/ 30398267 w 76"/>
                <a:gd name="T77" fmla="*/ 34971703 h 43"/>
                <a:gd name="T78" fmla="*/ 33154772 w 76"/>
                <a:gd name="T79" fmla="*/ 36882039 h 43"/>
                <a:gd name="T80" fmla="*/ 38487820 w 76"/>
                <a:gd name="T81" fmla="*/ 36233498 h 43"/>
                <a:gd name="T82" fmla="*/ 46393672 w 76"/>
                <a:gd name="T83" fmla="*/ 31720857 h 43"/>
                <a:gd name="T84" fmla="*/ 51045749 w 76"/>
                <a:gd name="T85" fmla="*/ 29266792 h 43"/>
                <a:gd name="T86" fmla="*/ 60114752 w 76"/>
                <a:gd name="T87" fmla="*/ 26613378 h 43"/>
                <a:gd name="T88" fmla="*/ 68219153 w 76"/>
                <a:gd name="T89" fmla="*/ 17081927 h 43"/>
                <a:gd name="T90" fmla="*/ 67398165 w 76"/>
                <a:gd name="T91" fmla="*/ 13842148 h 43"/>
                <a:gd name="T92" fmla="*/ 65471146 w 76"/>
                <a:gd name="T93" fmla="*/ 12773963 h 4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6"/>
                <a:gd name="T142" fmla="*/ 0 h 43"/>
                <a:gd name="T143" fmla="*/ 76 w 76"/>
                <a:gd name="T144" fmla="*/ 43 h 4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6" h="43">
                  <a:moveTo>
                    <a:pt x="73" y="15"/>
                  </a:moveTo>
                  <a:cubicBezTo>
                    <a:pt x="73" y="14"/>
                    <a:pt x="72" y="14"/>
                    <a:pt x="72" y="14"/>
                  </a:cubicBezTo>
                  <a:cubicBezTo>
                    <a:pt x="72" y="13"/>
                    <a:pt x="71" y="12"/>
                    <a:pt x="71" y="12"/>
                  </a:cubicBezTo>
                  <a:cubicBezTo>
                    <a:pt x="70" y="11"/>
                    <a:pt x="69" y="12"/>
                    <a:pt x="68" y="11"/>
                  </a:cubicBezTo>
                  <a:cubicBezTo>
                    <a:pt x="67" y="10"/>
                    <a:pt x="69" y="10"/>
                    <a:pt x="70" y="1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69" y="8"/>
                    <a:pt x="68" y="8"/>
                    <a:pt x="67" y="7"/>
                  </a:cubicBezTo>
                  <a:cubicBezTo>
                    <a:pt x="67" y="7"/>
                    <a:pt x="67" y="6"/>
                    <a:pt x="67" y="5"/>
                  </a:cubicBezTo>
                  <a:cubicBezTo>
                    <a:pt x="67" y="5"/>
                    <a:pt x="68" y="4"/>
                    <a:pt x="68" y="4"/>
                  </a:cubicBezTo>
                  <a:cubicBezTo>
                    <a:pt x="67" y="3"/>
                    <a:pt x="66" y="4"/>
                    <a:pt x="65" y="4"/>
                  </a:cubicBezTo>
                  <a:cubicBezTo>
                    <a:pt x="64" y="5"/>
                    <a:pt x="63" y="4"/>
                    <a:pt x="62" y="3"/>
                  </a:cubicBezTo>
                  <a:cubicBezTo>
                    <a:pt x="62" y="2"/>
                    <a:pt x="62" y="1"/>
                    <a:pt x="61" y="0"/>
                  </a:cubicBezTo>
                  <a:cubicBezTo>
                    <a:pt x="60" y="0"/>
                    <a:pt x="59" y="0"/>
                    <a:pt x="58" y="0"/>
                  </a:cubicBezTo>
                  <a:cubicBezTo>
                    <a:pt x="58" y="1"/>
                    <a:pt x="58" y="2"/>
                    <a:pt x="58" y="2"/>
                  </a:cubicBezTo>
                  <a:cubicBezTo>
                    <a:pt x="57" y="3"/>
                    <a:pt x="57" y="4"/>
                    <a:pt x="56" y="5"/>
                  </a:cubicBezTo>
                  <a:cubicBezTo>
                    <a:pt x="54" y="7"/>
                    <a:pt x="52" y="6"/>
                    <a:pt x="50" y="6"/>
                  </a:cubicBezTo>
                  <a:cubicBezTo>
                    <a:pt x="50" y="7"/>
                    <a:pt x="49" y="7"/>
                    <a:pt x="49" y="8"/>
                  </a:cubicBezTo>
                  <a:cubicBezTo>
                    <a:pt x="48" y="9"/>
                    <a:pt x="48" y="8"/>
                    <a:pt x="47" y="8"/>
                  </a:cubicBezTo>
                  <a:cubicBezTo>
                    <a:pt x="47" y="8"/>
                    <a:pt x="46" y="8"/>
                    <a:pt x="46" y="8"/>
                  </a:cubicBezTo>
                  <a:cubicBezTo>
                    <a:pt x="46" y="6"/>
                    <a:pt x="45" y="5"/>
                    <a:pt x="43" y="5"/>
                  </a:cubicBezTo>
                  <a:cubicBezTo>
                    <a:pt x="43" y="7"/>
                    <a:pt x="43" y="8"/>
                    <a:pt x="43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10"/>
                    <a:pt x="43" y="9"/>
                    <a:pt x="43" y="9"/>
                  </a:cubicBezTo>
                  <a:cubicBezTo>
                    <a:pt x="42" y="8"/>
                    <a:pt x="42" y="7"/>
                    <a:pt x="41" y="6"/>
                  </a:cubicBezTo>
                  <a:cubicBezTo>
                    <a:pt x="39" y="5"/>
                    <a:pt x="37" y="6"/>
                    <a:pt x="35" y="7"/>
                  </a:cubicBezTo>
                  <a:cubicBezTo>
                    <a:pt x="34" y="8"/>
                    <a:pt x="34" y="11"/>
                    <a:pt x="34" y="13"/>
                  </a:cubicBezTo>
                  <a:cubicBezTo>
                    <a:pt x="33" y="13"/>
                    <a:pt x="32" y="12"/>
                    <a:pt x="32" y="11"/>
                  </a:cubicBezTo>
                  <a:cubicBezTo>
                    <a:pt x="31" y="11"/>
                    <a:pt x="31" y="9"/>
                    <a:pt x="31" y="8"/>
                  </a:cubicBezTo>
                  <a:cubicBezTo>
                    <a:pt x="31" y="7"/>
                    <a:pt x="30" y="7"/>
                    <a:pt x="29" y="6"/>
                  </a:cubicBezTo>
                  <a:cubicBezTo>
                    <a:pt x="29" y="5"/>
                    <a:pt x="28" y="6"/>
                    <a:pt x="28" y="6"/>
                  </a:cubicBezTo>
                  <a:cubicBezTo>
                    <a:pt x="27" y="8"/>
                    <a:pt x="28" y="11"/>
                    <a:pt x="28" y="13"/>
                  </a:cubicBezTo>
                  <a:cubicBezTo>
                    <a:pt x="28" y="14"/>
                    <a:pt x="26" y="14"/>
                    <a:pt x="25" y="15"/>
                  </a:cubicBezTo>
                  <a:cubicBezTo>
                    <a:pt x="25" y="16"/>
                    <a:pt x="24" y="16"/>
                    <a:pt x="24" y="17"/>
                  </a:cubicBezTo>
                  <a:cubicBezTo>
                    <a:pt x="24" y="17"/>
                    <a:pt x="23" y="17"/>
                    <a:pt x="23" y="17"/>
                  </a:cubicBezTo>
                  <a:cubicBezTo>
                    <a:pt x="22" y="14"/>
                    <a:pt x="23" y="11"/>
                    <a:pt x="22" y="8"/>
                  </a:cubicBezTo>
                  <a:cubicBezTo>
                    <a:pt x="22" y="7"/>
                    <a:pt x="21" y="6"/>
                    <a:pt x="20" y="6"/>
                  </a:cubicBezTo>
                  <a:cubicBezTo>
                    <a:pt x="20" y="6"/>
                    <a:pt x="19" y="6"/>
                    <a:pt x="19" y="6"/>
                  </a:cubicBezTo>
                  <a:cubicBezTo>
                    <a:pt x="17" y="5"/>
                    <a:pt x="16" y="4"/>
                    <a:pt x="16" y="2"/>
                  </a:cubicBezTo>
                  <a:cubicBezTo>
                    <a:pt x="15" y="1"/>
                    <a:pt x="14" y="1"/>
                    <a:pt x="12" y="1"/>
                  </a:cubicBezTo>
                  <a:cubicBezTo>
                    <a:pt x="11" y="1"/>
                    <a:pt x="12" y="2"/>
                    <a:pt x="12" y="3"/>
                  </a:cubicBezTo>
                  <a:cubicBezTo>
                    <a:pt x="12" y="3"/>
                    <a:pt x="12" y="3"/>
                    <a:pt x="13" y="3"/>
                  </a:cubicBezTo>
                  <a:cubicBezTo>
                    <a:pt x="13" y="4"/>
                    <a:pt x="12" y="4"/>
                    <a:pt x="13" y="5"/>
                  </a:cubicBezTo>
                  <a:cubicBezTo>
                    <a:pt x="14" y="5"/>
                    <a:pt x="14" y="6"/>
                    <a:pt x="14" y="7"/>
                  </a:cubicBezTo>
                  <a:cubicBezTo>
                    <a:pt x="14" y="7"/>
                    <a:pt x="13" y="7"/>
                    <a:pt x="13" y="7"/>
                  </a:cubicBezTo>
                  <a:cubicBezTo>
                    <a:pt x="11" y="6"/>
                    <a:pt x="10" y="6"/>
                    <a:pt x="9" y="5"/>
                  </a:cubicBezTo>
                  <a:cubicBezTo>
                    <a:pt x="9" y="4"/>
                    <a:pt x="8" y="4"/>
                    <a:pt x="8" y="4"/>
                  </a:cubicBezTo>
                  <a:cubicBezTo>
                    <a:pt x="7" y="5"/>
                    <a:pt x="8" y="7"/>
                    <a:pt x="7" y="8"/>
                  </a:cubicBezTo>
                  <a:cubicBezTo>
                    <a:pt x="7" y="9"/>
                    <a:pt x="6" y="10"/>
                    <a:pt x="5" y="11"/>
                  </a:cubicBezTo>
                  <a:cubicBezTo>
                    <a:pt x="5" y="12"/>
                    <a:pt x="3" y="12"/>
                    <a:pt x="3" y="12"/>
                  </a:cubicBezTo>
                  <a:cubicBezTo>
                    <a:pt x="2" y="13"/>
                    <a:pt x="2" y="14"/>
                    <a:pt x="1" y="14"/>
                  </a:cubicBezTo>
                  <a:cubicBezTo>
                    <a:pt x="1" y="14"/>
                    <a:pt x="0" y="15"/>
                    <a:pt x="0" y="15"/>
                  </a:cubicBezTo>
                  <a:cubicBezTo>
                    <a:pt x="0" y="15"/>
                    <a:pt x="0" y="15"/>
                    <a:pt x="0" y="16"/>
                  </a:cubicBezTo>
                  <a:cubicBezTo>
                    <a:pt x="1" y="16"/>
                    <a:pt x="2" y="15"/>
                    <a:pt x="3" y="16"/>
                  </a:cubicBezTo>
                  <a:cubicBezTo>
                    <a:pt x="4" y="18"/>
                    <a:pt x="5" y="19"/>
                    <a:pt x="7" y="18"/>
                  </a:cubicBezTo>
                  <a:cubicBezTo>
                    <a:pt x="8" y="17"/>
                    <a:pt x="9" y="17"/>
                    <a:pt x="10" y="16"/>
                  </a:cubicBezTo>
                  <a:cubicBezTo>
                    <a:pt x="11" y="16"/>
                    <a:pt x="12" y="15"/>
                    <a:pt x="14" y="15"/>
                  </a:cubicBezTo>
                  <a:cubicBezTo>
                    <a:pt x="15" y="15"/>
                    <a:pt x="17" y="15"/>
                    <a:pt x="19" y="15"/>
                  </a:cubicBezTo>
                  <a:cubicBezTo>
                    <a:pt x="19" y="18"/>
                    <a:pt x="16" y="17"/>
                    <a:pt x="15" y="18"/>
                  </a:cubicBezTo>
                  <a:cubicBezTo>
                    <a:pt x="15" y="18"/>
                    <a:pt x="15" y="19"/>
                    <a:pt x="15" y="19"/>
                  </a:cubicBezTo>
                  <a:cubicBezTo>
                    <a:pt x="16" y="20"/>
                    <a:pt x="17" y="20"/>
                    <a:pt x="17" y="21"/>
                  </a:cubicBezTo>
                  <a:cubicBezTo>
                    <a:pt x="13" y="21"/>
                    <a:pt x="9" y="20"/>
                    <a:pt x="6" y="21"/>
                  </a:cubicBezTo>
                  <a:cubicBezTo>
                    <a:pt x="5" y="21"/>
                    <a:pt x="4" y="22"/>
                    <a:pt x="4" y="23"/>
                  </a:cubicBezTo>
                  <a:cubicBezTo>
                    <a:pt x="4" y="23"/>
                    <a:pt x="4" y="24"/>
                    <a:pt x="4" y="24"/>
                  </a:cubicBezTo>
                  <a:cubicBezTo>
                    <a:pt x="5" y="25"/>
                    <a:pt x="6" y="25"/>
                    <a:pt x="7" y="24"/>
                  </a:cubicBezTo>
                  <a:cubicBezTo>
                    <a:pt x="7" y="24"/>
                    <a:pt x="8" y="23"/>
                    <a:pt x="9" y="23"/>
                  </a:cubicBezTo>
                  <a:cubicBezTo>
                    <a:pt x="10" y="23"/>
                    <a:pt x="13" y="22"/>
                    <a:pt x="13" y="24"/>
                  </a:cubicBezTo>
                  <a:cubicBezTo>
                    <a:pt x="13" y="25"/>
                    <a:pt x="13" y="27"/>
                    <a:pt x="14" y="27"/>
                  </a:cubicBezTo>
                  <a:cubicBezTo>
                    <a:pt x="15" y="28"/>
                    <a:pt x="16" y="27"/>
                    <a:pt x="16" y="28"/>
                  </a:cubicBezTo>
                  <a:cubicBezTo>
                    <a:pt x="17" y="29"/>
                    <a:pt x="16" y="31"/>
                    <a:pt x="17" y="32"/>
                  </a:cubicBezTo>
                  <a:cubicBezTo>
                    <a:pt x="17" y="32"/>
                    <a:pt x="18" y="33"/>
                    <a:pt x="18" y="33"/>
                  </a:cubicBezTo>
                  <a:cubicBezTo>
                    <a:pt x="17" y="33"/>
                    <a:pt x="17" y="34"/>
                    <a:pt x="16" y="34"/>
                  </a:cubicBezTo>
                  <a:cubicBezTo>
                    <a:pt x="14" y="34"/>
                    <a:pt x="13" y="33"/>
                    <a:pt x="11" y="33"/>
                  </a:cubicBezTo>
                  <a:cubicBezTo>
                    <a:pt x="10" y="34"/>
                    <a:pt x="10" y="35"/>
                    <a:pt x="11" y="36"/>
                  </a:cubicBezTo>
                  <a:cubicBezTo>
                    <a:pt x="12" y="36"/>
                    <a:pt x="13" y="36"/>
                    <a:pt x="14" y="36"/>
                  </a:cubicBezTo>
                  <a:cubicBezTo>
                    <a:pt x="15" y="35"/>
                    <a:pt x="16" y="35"/>
                    <a:pt x="17" y="35"/>
                  </a:cubicBezTo>
                  <a:cubicBezTo>
                    <a:pt x="18" y="36"/>
                    <a:pt x="19" y="36"/>
                    <a:pt x="20" y="36"/>
                  </a:cubicBezTo>
                  <a:cubicBezTo>
                    <a:pt x="22" y="37"/>
                    <a:pt x="25" y="38"/>
                    <a:pt x="28" y="39"/>
                  </a:cubicBezTo>
                  <a:cubicBezTo>
                    <a:pt x="30" y="40"/>
                    <a:pt x="32" y="40"/>
                    <a:pt x="34" y="41"/>
                  </a:cubicBezTo>
                  <a:cubicBezTo>
                    <a:pt x="34" y="41"/>
                    <a:pt x="35" y="42"/>
                    <a:pt x="36" y="42"/>
                  </a:cubicBezTo>
                  <a:cubicBezTo>
                    <a:pt x="36" y="42"/>
                    <a:pt x="37" y="42"/>
                    <a:pt x="37" y="43"/>
                  </a:cubicBezTo>
                  <a:cubicBezTo>
                    <a:pt x="39" y="43"/>
                    <a:pt x="40" y="43"/>
                    <a:pt x="42" y="43"/>
                  </a:cubicBezTo>
                  <a:cubicBezTo>
                    <a:pt x="42" y="43"/>
                    <a:pt x="43" y="42"/>
                    <a:pt x="43" y="42"/>
                  </a:cubicBezTo>
                  <a:cubicBezTo>
                    <a:pt x="44" y="40"/>
                    <a:pt x="46" y="38"/>
                    <a:pt x="48" y="38"/>
                  </a:cubicBezTo>
                  <a:cubicBezTo>
                    <a:pt x="49" y="37"/>
                    <a:pt x="50" y="37"/>
                    <a:pt x="52" y="37"/>
                  </a:cubicBezTo>
                  <a:cubicBezTo>
                    <a:pt x="53" y="37"/>
                    <a:pt x="54" y="35"/>
                    <a:pt x="55" y="35"/>
                  </a:cubicBezTo>
                  <a:cubicBezTo>
                    <a:pt x="56" y="34"/>
                    <a:pt x="56" y="34"/>
                    <a:pt x="57" y="34"/>
                  </a:cubicBezTo>
                  <a:cubicBezTo>
                    <a:pt x="59" y="33"/>
                    <a:pt x="60" y="32"/>
                    <a:pt x="62" y="31"/>
                  </a:cubicBezTo>
                  <a:cubicBezTo>
                    <a:pt x="64" y="31"/>
                    <a:pt x="66" y="32"/>
                    <a:pt x="67" y="31"/>
                  </a:cubicBezTo>
                  <a:cubicBezTo>
                    <a:pt x="69" y="29"/>
                    <a:pt x="70" y="28"/>
                    <a:pt x="71" y="26"/>
                  </a:cubicBezTo>
                  <a:cubicBezTo>
                    <a:pt x="73" y="24"/>
                    <a:pt x="76" y="23"/>
                    <a:pt x="76" y="20"/>
                  </a:cubicBezTo>
                  <a:cubicBezTo>
                    <a:pt x="76" y="20"/>
                    <a:pt x="75" y="20"/>
                    <a:pt x="75" y="20"/>
                  </a:cubicBezTo>
                  <a:cubicBezTo>
                    <a:pt x="74" y="18"/>
                    <a:pt x="75" y="17"/>
                    <a:pt x="75" y="16"/>
                  </a:cubicBezTo>
                  <a:cubicBezTo>
                    <a:pt x="75" y="16"/>
                    <a:pt x="74" y="16"/>
                    <a:pt x="74" y="16"/>
                  </a:cubicBezTo>
                  <a:cubicBezTo>
                    <a:pt x="73" y="15"/>
                    <a:pt x="73" y="15"/>
                    <a:pt x="73" y="1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8" name="Freeform 124"/>
            <p:cNvSpPr>
              <a:spLocks/>
            </p:cNvSpPr>
            <p:nvPr/>
          </p:nvSpPr>
          <p:spPr bwMode="auto">
            <a:xfrm>
              <a:off x="6975874" y="4552183"/>
              <a:ext cx="115995" cy="186740"/>
            </a:xfrm>
            <a:custGeom>
              <a:avLst/>
              <a:gdLst>
                <a:gd name="T0" fmla="*/ 75217554 w 86"/>
                <a:gd name="T1" fmla="*/ 40348290 h 173"/>
                <a:gd name="T2" fmla="*/ 69719409 w 86"/>
                <a:gd name="T3" fmla="*/ 43131028 h 173"/>
                <a:gd name="T4" fmla="*/ 64836836 w 86"/>
                <a:gd name="T5" fmla="*/ 50540003 h 173"/>
                <a:gd name="T6" fmla="*/ 64213032 w 86"/>
                <a:gd name="T7" fmla="*/ 57820947 h 173"/>
                <a:gd name="T8" fmla="*/ 62147758 w 86"/>
                <a:gd name="T9" fmla="*/ 61434590 h 173"/>
                <a:gd name="T10" fmla="*/ 51198376 w 86"/>
                <a:gd name="T11" fmla="*/ 68627425 h 173"/>
                <a:gd name="T12" fmla="*/ 46557665 w 86"/>
                <a:gd name="T13" fmla="*/ 70660839 h 173"/>
                <a:gd name="T14" fmla="*/ 41678000 w 86"/>
                <a:gd name="T15" fmla="*/ 78895022 h 173"/>
                <a:gd name="T16" fmla="*/ 39700158 w 86"/>
                <a:gd name="T17" fmla="*/ 88965477 h 173"/>
                <a:gd name="T18" fmla="*/ 41678000 w 86"/>
                <a:gd name="T19" fmla="*/ 101719373 h 173"/>
                <a:gd name="T20" fmla="*/ 49158142 w 86"/>
                <a:gd name="T21" fmla="*/ 104391551 h 173"/>
                <a:gd name="T22" fmla="*/ 51198376 w 86"/>
                <a:gd name="T23" fmla="*/ 111783206 h 173"/>
                <a:gd name="T24" fmla="*/ 34174943 w 86"/>
                <a:gd name="T25" fmla="*/ 112613960 h 173"/>
                <a:gd name="T26" fmla="*/ 49158142 w 86"/>
                <a:gd name="T27" fmla="*/ 114573114 h 173"/>
                <a:gd name="T28" fmla="*/ 43652821 w 86"/>
                <a:gd name="T29" fmla="*/ 119192597 h 173"/>
                <a:gd name="T30" fmla="*/ 36176447 w 86"/>
                <a:gd name="T31" fmla="*/ 130920503 h 173"/>
                <a:gd name="T32" fmla="*/ 34174943 w 86"/>
                <a:gd name="T33" fmla="*/ 142076059 h 173"/>
                <a:gd name="T34" fmla="*/ 26833730 w 86"/>
                <a:gd name="T35" fmla="*/ 148377878 h 173"/>
                <a:gd name="T36" fmla="*/ 22526449 w 86"/>
                <a:gd name="T37" fmla="*/ 156398788 h 173"/>
                <a:gd name="T38" fmla="*/ 12978404 w 86"/>
                <a:gd name="T39" fmla="*/ 157730801 h 173"/>
                <a:gd name="T40" fmla="*/ 12141685 w 86"/>
                <a:gd name="T41" fmla="*/ 145568424 h 173"/>
                <a:gd name="T42" fmla="*/ 7480177 w 86"/>
                <a:gd name="T43" fmla="*/ 137483443 h 173"/>
                <a:gd name="T44" fmla="*/ 1976594 w 86"/>
                <a:gd name="T45" fmla="*/ 129220809 h 173"/>
                <a:gd name="T46" fmla="*/ 0 w 86"/>
                <a:gd name="T47" fmla="*/ 116578983 h 173"/>
                <a:gd name="T48" fmla="*/ 2814470 w 86"/>
                <a:gd name="T49" fmla="*/ 110666579 h 173"/>
                <a:gd name="T50" fmla="*/ 5498241 w 86"/>
                <a:gd name="T51" fmla="*/ 100599803 h 173"/>
                <a:gd name="T52" fmla="*/ 8355956 w 86"/>
                <a:gd name="T53" fmla="*/ 90556195 h 173"/>
                <a:gd name="T54" fmla="*/ 5498241 w 86"/>
                <a:gd name="T55" fmla="*/ 86915837 h 173"/>
                <a:gd name="T56" fmla="*/ 4665681 w 86"/>
                <a:gd name="T57" fmla="*/ 66880978 h 173"/>
                <a:gd name="T58" fmla="*/ 16518345 w 86"/>
                <a:gd name="T59" fmla="*/ 60606666 h 173"/>
                <a:gd name="T60" fmla="*/ 13854457 w 86"/>
                <a:gd name="T61" fmla="*/ 53201502 h 173"/>
                <a:gd name="T62" fmla="*/ 18493317 w 86"/>
                <a:gd name="T63" fmla="*/ 36594738 h 173"/>
                <a:gd name="T64" fmla="*/ 25996218 w 86"/>
                <a:gd name="T65" fmla="*/ 31143671 h 173"/>
                <a:gd name="T66" fmla="*/ 29863716 w 86"/>
                <a:gd name="T67" fmla="*/ 20247179 h 173"/>
                <a:gd name="T68" fmla="*/ 35303472 w 86"/>
                <a:gd name="T69" fmla="*/ 10896638 h 173"/>
                <a:gd name="T70" fmla="*/ 41678000 w 86"/>
                <a:gd name="T71" fmla="*/ 6579469 h 173"/>
                <a:gd name="T72" fmla="*/ 53823854 w 86"/>
                <a:gd name="T73" fmla="*/ 0 h 173"/>
                <a:gd name="T74" fmla="*/ 59333404 w 86"/>
                <a:gd name="T75" fmla="*/ 1959136 h 173"/>
                <a:gd name="T76" fmla="*/ 68843167 w 86"/>
                <a:gd name="T77" fmla="*/ 7405204 h 173"/>
                <a:gd name="T78" fmla="*/ 75217554 w 86"/>
                <a:gd name="T79" fmla="*/ 10896638 h 173"/>
                <a:gd name="T80" fmla="*/ 75217554 w 86"/>
                <a:gd name="T81" fmla="*/ 18288407 h 173"/>
                <a:gd name="T82" fmla="*/ 77827434 w 86"/>
                <a:gd name="T83" fmla="*/ 24867926 h 173"/>
                <a:gd name="T84" fmla="*/ 79883210 w 86"/>
                <a:gd name="T85" fmla="*/ 38397616 h 17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6"/>
                <a:gd name="T130" fmla="*/ 0 h 173"/>
                <a:gd name="T131" fmla="*/ 86 w 86"/>
                <a:gd name="T132" fmla="*/ 173 h 17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6" h="173">
                  <a:moveTo>
                    <a:pt x="86" y="43"/>
                  </a:moveTo>
                  <a:cubicBezTo>
                    <a:pt x="85" y="43"/>
                    <a:pt x="85" y="43"/>
                    <a:pt x="84" y="43"/>
                  </a:cubicBezTo>
                  <a:cubicBezTo>
                    <a:pt x="83" y="43"/>
                    <a:pt x="82" y="44"/>
                    <a:pt x="81" y="44"/>
                  </a:cubicBezTo>
                  <a:cubicBezTo>
                    <a:pt x="80" y="44"/>
                    <a:pt x="78" y="44"/>
                    <a:pt x="76" y="44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46"/>
                    <a:pt x="76" y="47"/>
                    <a:pt x="75" y="47"/>
                  </a:cubicBezTo>
                  <a:cubicBezTo>
                    <a:pt x="75" y="47"/>
                    <a:pt x="75" y="47"/>
                    <a:pt x="74" y="48"/>
                  </a:cubicBezTo>
                  <a:cubicBezTo>
                    <a:pt x="74" y="49"/>
                    <a:pt x="73" y="51"/>
                    <a:pt x="72" y="51"/>
                  </a:cubicBezTo>
                  <a:cubicBezTo>
                    <a:pt x="72" y="53"/>
                    <a:pt x="71" y="54"/>
                    <a:pt x="70" y="55"/>
                  </a:cubicBezTo>
                  <a:cubicBezTo>
                    <a:pt x="70" y="55"/>
                    <a:pt x="70" y="56"/>
                    <a:pt x="69" y="56"/>
                  </a:cubicBezTo>
                  <a:cubicBezTo>
                    <a:pt x="69" y="56"/>
                    <a:pt x="69" y="57"/>
                    <a:pt x="69" y="57"/>
                  </a:cubicBezTo>
                  <a:cubicBezTo>
                    <a:pt x="70" y="59"/>
                    <a:pt x="70" y="61"/>
                    <a:pt x="69" y="63"/>
                  </a:cubicBezTo>
                  <a:cubicBezTo>
                    <a:pt x="68" y="63"/>
                    <a:pt x="68" y="64"/>
                    <a:pt x="68" y="64"/>
                  </a:cubicBezTo>
                  <a:cubicBezTo>
                    <a:pt x="68" y="64"/>
                    <a:pt x="68" y="65"/>
                    <a:pt x="68" y="65"/>
                  </a:cubicBezTo>
                  <a:cubicBezTo>
                    <a:pt x="68" y="65"/>
                    <a:pt x="67" y="66"/>
                    <a:pt x="67" y="67"/>
                  </a:cubicBezTo>
                  <a:cubicBezTo>
                    <a:pt x="65" y="69"/>
                    <a:pt x="64" y="71"/>
                    <a:pt x="61" y="72"/>
                  </a:cubicBezTo>
                  <a:cubicBezTo>
                    <a:pt x="61" y="73"/>
                    <a:pt x="60" y="73"/>
                    <a:pt x="59" y="73"/>
                  </a:cubicBezTo>
                  <a:cubicBezTo>
                    <a:pt x="58" y="74"/>
                    <a:pt x="57" y="75"/>
                    <a:pt x="55" y="75"/>
                  </a:cubicBezTo>
                  <a:cubicBezTo>
                    <a:pt x="55" y="76"/>
                    <a:pt x="54" y="76"/>
                    <a:pt x="54" y="77"/>
                  </a:cubicBezTo>
                  <a:cubicBezTo>
                    <a:pt x="53" y="77"/>
                    <a:pt x="51" y="76"/>
                    <a:pt x="50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49" y="79"/>
                    <a:pt x="48" y="79"/>
                    <a:pt x="47" y="80"/>
                  </a:cubicBezTo>
                  <a:cubicBezTo>
                    <a:pt x="47" y="81"/>
                    <a:pt x="47" y="83"/>
                    <a:pt x="47" y="84"/>
                  </a:cubicBezTo>
                  <a:cubicBezTo>
                    <a:pt x="46" y="85"/>
                    <a:pt x="45" y="85"/>
                    <a:pt x="45" y="86"/>
                  </a:cubicBezTo>
                  <a:cubicBezTo>
                    <a:pt x="44" y="88"/>
                    <a:pt x="44" y="89"/>
                    <a:pt x="44" y="91"/>
                  </a:cubicBezTo>
                  <a:cubicBezTo>
                    <a:pt x="44" y="91"/>
                    <a:pt x="44" y="92"/>
                    <a:pt x="44" y="93"/>
                  </a:cubicBezTo>
                  <a:cubicBezTo>
                    <a:pt x="43" y="94"/>
                    <a:pt x="43" y="96"/>
                    <a:pt x="43" y="97"/>
                  </a:cubicBezTo>
                  <a:cubicBezTo>
                    <a:pt x="42" y="100"/>
                    <a:pt x="42" y="102"/>
                    <a:pt x="43" y="105"/>
                  </a:cubicBezTo>
                  <a:cubicBezTo>
                    <a:pt x="43" y="106"/>
                    <a:pt x="44" y="108"/>
                    <a:pt x="44" y="110"/>
                  </a:cubicBezTo>
                  <a:cubicBezTo>
                    <a:pt x="45" y="110"/>
                    <a:pt x="45" y="111"/>
                    <a:pt x="45" y="111"/>
                  </a:cubicBezTo>
                  <a:cubicBezTo>
                    <a:pt x="46" y="111"/>
                    <a:pt x="46" y="111"/>
                    <a:pt x="47" y="111"/>
                  </a:cubicBezTo>
                  <a:cubicBezTo>
                    <a:pt x="47" y="110"/>
                    <a:pt x="48" y="110"/>
                    <a:pt x="49" y="111"/>
                  </a:cubicBezTo>
                  <a:cubicBezTo>
                    <a:pt x="50" y="112"/>
                    <a:pt x="52" y="113"/>
                    <a:pt x="53" y="114"/>
                  </a:cubicBezTo>
                  <a:cubicBezTo>
                    <a:pt x="53" y="115"/>
                    <a:pt x="54" y="116"/>
                    <a:pt x="55" y="117"/>
                  </a:cubicBezTo>
                  <a:cubicBezTo>
                    <a:pt x="56" y="118"/>
                    <a:pt x="57" y="119"/>
                    <a:pt x="56" y="120"/>
                  </a:cubicBezTo>
                  <a:cubicBezTo>
                    <a:pt x="56" y="121"/>
                    <a:pt x="56" y="122"/>
                    <a:pt x="55" y="122"/>
                  </a:cubicBezTo>
                  <a:cubicBezTo>
                    <a:pt x="55" y="122"/>
                    <a:pt x="54" y="122"/>
                    <a:pt x="53" y="122"/>
                  </a:cubicBezTo>
                  <a:cubicBezTo>
                    <a:pt x="53" y="122"/>
                    <a:pt x="53" y="123"/>
                    <a:pt x="53" y="123"/>
                  </a:cubicBezTo>
                  <a:cubicBezTo>
                    <a:pt x="48" y="123"/>
                    <a:pt x="43" y="122"/>
                    <a:pt x="37" y="123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39" y="124"/>
                    <a:pt x="40" y="124"/>
                    <a:pt x="42" y="124"/>
                  </a:cubicBezTo>
                  <a:cubicBezTo>
                    <a:pt x="46" y="124"/>
                    <a:pt x="49" y="124"/>
                    <a:pt x="53" y="125"/>
                  </a:cubicBezTo>
                  <a:cubicBezTo>
                    <a:pt x="53" y="125"/>
                    <a:pt x="53" y="126"/>
                    <a:pt x="52" y="126"/>
                  </a:cubicBezTo>
                  <a:cubicBezTo>
                    <a:pt x="51" y="127"/>
                    <a:pt x="51" y="128"/>
                    <a:pt x="50" y="129"/>
                  </a:cubicBezTo>
                  <a:cubicBezTo>
                    <a:pt x="49" y="129"/>
                    <a:pt x="48" y="129"/>
                    <a:pt x="47" y="130"/>
                  </a:cubicBezTo>
                  <a:cubicBezTo>
                    <a:pt x="45" y="131"/>
                    <a:pt x="44" y="132"/>
                    <a:pt x="42" y="133"/>
                  </a:cubicBezTo>
                  <a:cubicBezTo>
                    <a:pt x="42" y="134"/>
                    <a:pt x="41" y="134"/>
                    <a:pt x="41" y="135"/>
                  </a:cubicBezTo>
                  <a:cubicBezTo>
                    <a:pt x="40" y="138"/>
                    <a:pt x="42" y="141"/>
                    <a:pt x="39" y="143"/>
                  </a:cubicBezTo>
                  <a:cubicBezTo>
                    <a:pt x="39" y="145"/>
                    <a:pt x="39" y="147"/>
                    <a:pt x="38" y="149"/>
                  </a:cubicBezTo>
                  <a:cubicBezTo>
                    <a:pt x="38" y="150"/>
                    <a:pt x="38" y="150"/>
                    <a:pt x="38" y="150"/>
                  </a:cubicBezTo>
                  <a:cubicBezTo>
                    <a:pt x="37" y="152"/>
                    <a:pt x="38" y="154"/>
                    <a:pt x="37" y="155"/>
                  </a:cubicBezTo>
                  <a:cubicBezTo>
                    <a:pt x="36" y="157"/>
                    <a:pt x="35" y="158"/>
                    <a:pt x="35" y="160"/>
                  </a:cubicBezTo>
                  <a:cubicBezTo>
                    <a:pt x="35" y="160"/>
                    <a:pt x="34" y="161"/>
                    <a:pt x="34" y="161"/>
                  </a:cubicBezTo>
                  <a:cubicBezTo>
                    <a:pt x="32" y="161"/>
                    <a:pt x="30" y="161"/>
                    <a:pt x="29" y="162"/>
                  </a:cubicBezTo>
                  <a:cubicBezTo>
                    <a:pt x="28" y="163"/>
                    <a:pt x="28" y="163"/>
                    <a:pt x="27" y="164"/>
                  </a:cubicBezTo>
                  <a:cubicBezTo>
                    <a:pt x="26" y="164"/>
                    <a:pt x="25" y="165"/>
                    <a:pt x="25" y="166"/>
                  </a:cubicBezTo>
                  <a:cubicBezTo>
                    <a:pt x="24" y="167"/>
                    <a:pt x="25" y="169"/>
                    <a:pt x="24" y="171"/>
                  </a:cubicBezTo>
                  <a:cubicBezTo>
                    <a:pt x="23" y="172"/>
                    <a:pt x="21" y="171"/>
                    <a:pt x="20" y="172"/>
                  </a:cubicBezTo>
                  <a:cubicBezTo>
                    <a:pt x="19" y="172"/>
                    <a:pt x="17" y="171"/>
                    <a:pt x="16" y="172"/>
                  </a:cubicBezTo>
                  <a:cubicBezTo>
                    <a:pt x="15" y="173"/>
                    <a:pt x="14" y="173"/>
                    <a:pt x="14" y="172"/>
                  </a:cubicBezTo>
                  <a:cubicBezTo>
                    <a:pt x="13" y="171"/>
                    <a:pt x="13" y="169"/>
                    <a:pt x="14" y="167"/>
                  </a:cubicBezTo>
                  <a:cubicBezTo>
                    <a:pt x="14" y="166"/>
                    <a:pt x="14" y="164"/>
                    <a:pt x="14" y="164"/>
                  </a:cubicBezTo>
                  <a:cubicBezTo>
                    <a:pt x="13" y="162"/>
                    <a:pt x="14" y="161"/>
                    <a:pt x="13" y="159"/>
                  </a:cubicBezTo>
                  <a:cubicBezTo>
                    <a:pt x="12" y="158"/>
                    <a:pt x="12" y="156"/>
                    <a:pt x="11" y="155"/>
                  </a:cubicBezTo>
                  <a:cubicBezTo>
                    <a:pt x="11" y="154"/>
                    <a:pt x="11" y="154"/>
                    <a:pt x="11" y="154"/>
                  </a:cubicBezTo>
                  <a:cubicBezTo>
                    <a:pt x="10" y="153"/>
                    <a:pt x="8" y="152"/>
                    <a:pt x="8" y="150"/>
                  </a:cubicBezTo>
                  <a:cubicBezTo>
                    <a:pt x="7" y="149"/>
                    <a:pt x="6" y="148"/>
                    <a:pt x="4" y="146"/>
                  </a:cubicBezTo>
                  <a:cubicBezTo>
                    <a:pt x="4" y="145"/>
                    <a:pt x="4" y="144"/>
                    <a:pt x="4" y="143"/>
                  </a:cubicBezTo>
                  <a:cubicBezTo>
                    <a:pt x="3" y="142"/>
                    <a:pt x="2" y="142"/>
                    <a:pt x="2" y="141"/>
                  </a:cubicBezTo>
                  <a:cubicBezTo>
                    <a:pt x="2" y="140"/>
                    <a:pt x="2" y="138"/>
                    <a:pt x="2" y="137"/>
                  </a:cubicBezTo>
                  <a:cubicBezTo>
                    <a:pt x="1" y="136"/>
                    <a:pt x="1" y="136"/>
                    <a:pt x="0" y="135"/>
                  </a:cubicBezTo>
                  <a:cubicBezTo>
                    <a:pt x="0" y="132"/>
                    <a:pt x="1" y="130"/>
                    <a:pt x="0" y="127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2" y="126"/>
                    <a:pt x="2" y="126"/>
                    <a:pt x="2" y="125"/>
                  </a:cubicBezTo>
                  <a:cubicBezTo>
                    <a:pt x="3" y="123"/>
                    <a:pt x="3" y="122"/>
                    <a:pt x="3" y="121"/>
                  </a:cubicBezTo>
                  <a:cubicBezTo>
                    <a:pt x="3" y="119"/>
                    <a:pt x="5" y="118"/>
                    <a:pt x="6" y="117"/>
                  </a:cubicBezTo>
                  <a:cubicBezTo>
                    <a:pt x="8" y="116"/>
                    <a:pt x="8" y="115"/>
                    <a:pt x="7" y="114"/>
                  </a:cubicBezTo>
                  <a:cubicBezTo>
                    <a:pt x="7" y="112"/>
                    <a:pt x="6" y="111"/>
                    <a:pt x="6" y="110"/>
                  </a:cubicBezTo>
                  <a:cubicBezTo>
                    <a:pt x="5" y="108"/>
                    <a:pt x="5" y="106"/>
                    <a:pt x="6" y="105"/>
                  </a:cubicBezTo>
                  <a:cubicBezTo>
                    <a:pt x="7" y="104"/>
                    <a:pt x="9" y="103"/>
                    <a:pt x="9" y="102"/>
                  </a:cubicBezTo>
                  <a:cubicBezTo>
                    <a:pt x="9" y="101"/>
                    <a:pt x="9" y="100"/>
                    <a:pt x="9" y="99"/>
                  </a:cubicBezTo>
                  <a:cubicBezTo>
                    <a:pt x="8" y="99"/>
                    <a:pt x="8" y="98"/>
                    <a:pt x="8" y="98"/>
                  </a:cubicBezTo>
                  <a:cubicBezTo>
                    <a:pt x="8" y="97"/>
                    <a:pt x="7" y="97"/>
                    <a:pt x="7" y="97"/>
                  </a:cubicBezTo>
                  <a:cubicBezTo>
                    <a:pt x="7" y="96"/>
                    <a:pt x="6" y="96"/>
                    <a:pt x="6" y="95"/>
                  </a:cubicBezTo>
                  <a:cubicBezTo>
                    <a:pt x="5" y="93"/>
                    <a:pt x="5" y="91"/>
                    <a:pt x="5" y="88"/>
                  </a:cubicBezTo>
                  <a:cubicBezTo>
                    <a:pt x="4" y="85"/>
                    <a:pt x="5" y="81"/>
                    <a:pt x="5" y="78"/>
                  </a:cubicBezTo>
                  <a:cubicBezTo>
                    <a:pt x="5" y="76"/>
                    <a:pt x="5" y="74"/>
                    <a:pt x="5" y="73"/>
                  </a:cubicBezTo>
                  <a:cubicBezTo>
                    <a:pt x="5" y="71"/>
                    <a:pt x="6" y="70"/>
                    <a:pt x="7" y="69"/>
                  </a:cubicBezTo>
                  <a:cubicBezTo>
                    <a:pt x="8" y="67"/>
                    <a:pt x="9" y="64"/>
                    <a:pt x="12" y="65"/>
                  </a:cubicBezTo>
                  <a:cubicBezTo>
                    <a:pt x="14" y="66"/>
                    <a:pt x="16" y="67"/>
                    <a:pt x="18" y="66"/>
                  </a:cubicBezTo>
                  <a:cubicBezTo>
                    <a:pt x="18" y="66"/>
                    <a:pt x="18" y="64"/>
                    <a:pt x="18" y="64"/>
                  </a:cubicBezTo>
                  <a:cubicBezTo>
                    <a:pt x="17" y="63"/>
                    <a:pt x="16" y="63"/>
                    <a:pt x="15" y="62"/>
                  </a:cubicBezTo>
                  <a:cubicBezTo>
                    <a:pt x="14" y="61"/>
                    <a:pt x="14" y="60"/>
                    <a:pt x="15" y="58"/>
                  </a:cubicBezTo>
                  <a:cubicBezTo>
                    <a:pt x="15" y="57"/>
                    <a:pt x="16" y="56"/>
                    <a:pt x="17" y="55"/>
                  </a:cubicBezTo>
                  <a:cubicBezTo>
                    <a:pt x="18" y="52"/>
                    <a:pt x="19" y="50"/>
                    <a:pt x="20" y="47"/>
                  </a:cubicBezTo>
                  <a:cubicBezTo>
                    <a:pt x="20" y="45"/>
                    <a:pt x="20" y="43"/>
                    <a:pt x="20" y="40"/>
                  </a:cubicBezTo>
                  <a:cubicBezTo>
                    <a:pt x="20" y="39"/>
                    <a:pt x="21" y="39"/>
                    <a:pt x="22" y="39"/>
                  </a:cubicBezTo>
                  <a:cubicBezTo>
                    <a:pt x="23" y="38"/>
                    <a:pt x="25" y="37"/>
                    <a:pt x="26" y="36"/>
                  </a:cubicBezTo>
                  <a:cubicBezTo>
                    <a:pt x="27" y="36"/>
                    <a:pt x="28" y="35"/>
                    <a:pt x="28" y="34"/>
                  </a:cubicBezTo>
                  <a:cubicBezTo>
                    <a:pt x="28" y="33"/>
                    <a:pt x="29" y="33"/>
                    <a:pt x="29" y="33"/>
                  </a:cubicBezTo>
                  <a:cubicBezTo>
                    <a:pt x="30" y="31"/>
                    <a:pt x="31" y="30"/>
                    <a:pt x="31" y="29"/>
                  </a:cubicBezTo>
                  <a:cubicBezTo>
                    <a:pt x="31" y="26"/>
                    <a:pt x="31" y="24"/>
                    <a:pt x="32" y="22"/>
                  </a:cubicBezTo>
                  <a:cubicBezTo>
                    <a:pt x="32" y="21"/>
                    <a:pt x="32" y="20"/>
                    <a:pt x="33" y="19"/>
                  </a:cubicBezTo>
                  <a:cubicBezTo>
                    <a:pt x="34" y="17"/>
                    <a:pt x="34" y="14"/>
                    <a:pt x="36" y="12"/>
                  </a:cubicBezTo>
                  <a:cubicBezTo>
                    <a:pt x="37" y="12"/>
                    <a:pt x="38" y="12"/>
                    <a:pt x="38" y="12"/>
                  </a:cubicBezTo>
                  <a:cubicBezTo>
                    <a:pt x="39" y="13"/>
                    <a:pt x="40" y="14"/>
                    <a:pt x="41" y="14"/>
                  </a:cubicBezTo>
                  <a:cubicBezTo>
                    <a:pt x="41" y="15"/>
                    <a:pt x="43" y="15"/>
                    <a:pt x="43" y="14"/>
                  </a:cubicBezTo>
                  <a:cubicBezTo>
                    <a:pt x="44" y="11"/>
                    <a:pt x="42" y="7"/>
                    <a:pt x="45" y="7"/>
                  </a:cubicBezTo>
                  <a:cubicBezTo>
                    <a:pt x="49" y="6"/>
                    <a:pt x="52" y="7"/>
                    <a:pt x="55" y="9"/>
                  </a:cubicBezTo>
                  <a:cubicBezTo>
                    <a:pt x="56" y="10"/>
                    <a:pt x="57" y="10"/>
                    <a:pt x="58" y="9"/>
                  </a:cubicBezTo>
                  <a:cubicBezTo>
                    <a:pt x="58" y="6"/>
                    <a:pt x="58" y="3"/>
                    <a:pt x="58" y="0"/>
                  </a:cubicBezTo>
                  <a:cubicBezTo>
                    <a:pt x="59" y="0"/>
                    <a:pt x="60" y="0"/>
                    <a:pt x="61" y="0"/>
                  </a:cubicBezTo>
                  <a:cubicBezTo>
                    <a:pt x="61" y="1"/>
                    <a:pt x="63" y="1"/>
                    <a:pt x="63" y="1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5" y="3"/>
                    <a:pt x="66" y="4"/>
                    <a:pt x="68" y="5"/>
                  </a:cubicBezTo>
                  <a:cubicBezTo>
                    <a:pt x="68" y="5"/>
                    <a:pt x="69" y="6"/>
                    <a:pt x="70" y="6"/>
                  </a:cubicBezTo>
                  <a:cubicBezTo>
                    <a:pt x="71" y="7"/>
                    <a:pt x="73" y="7"/>
                    <a:pt x="74" y="8"/>
                  </a:cubicBezTo>
                  <a:cubicBezTo>
                    <a:pt x="75" y="8"/>
                    <a:pt x="75" y="9"/>
                    <a:pt x="76" y="10"/>
                  </a:cubicBezTo>
                  <a:cubicBezTo>
                    <a:pt x="78" y="10"/>
                    <a:pt x="79" y="10"/>
                    <a:pt x="80" y="11"/>
                  </a:cubicBezTo>
                  <a:cubicBezTo>
                    <a:pt x="81" y="11"/>
                    <a:pt x="81" y="12"/>
                    <a:pt x="81" y="12"/>
                  </a:cubicBezTo>
                  <a:cubicBezTo>
                    <a:pt x="82" y="14"/>
                    <a:pt x="82" y="15"/>
                    <a:pt x="82" y="16"/>
                  </a:cubicBezTo>
                  <a:cubicBezTo>
                    <a:pt x="82" y="17"/>
                    <a:pt x="82" y="17"/>
                    <a:pt x="81" y="17"/>
                  </a:cubicBezTo>
                  <a:cubicBezTo>
                    <a:pt x="81" y="18"/>
                    <a:pt x="81" y="19"/>
                    <a:pt x="81" y="20"/>
                  </a:cubicBezTo>
                  <a:cubicBezTo>
                    <a:pt x="82" y="21"/>
                    <a:pt x="83" y="21"/>
                    <a:pt x="83" y="21"/>
                  </a:cubicBezTo>
                  <a:cubicBezTo>
                    <a:pt x="83" y="22"/>
                    <a:pt x="83" y="24"/>
                    <a:pt x="84" y="25"/>
                  </a:cubicBezTo>
                  <a:cubicBezTo>
                    <a:pt x="84" y="26"/>
                    <a:pt x="84" y="26"/>
                    <a:pt x="84" y="27"/>
                  </a:cubicBezTo>
                  <a:cubicBezTo>
                    <a:pt x="84" y="28"/>
                    <a:pt x="85" y="29"/>
                    <a:pt x="85" y="30"/>
                  </a:cubicBezTo>
                  <a:cubicBezTo>
                    <a:pt x="85" y="32"/>
                    <a:pt x="85" y="34"/>
                    <a:pt x="85" y="36"/>
                  </a:cubicBezTo>
                  <a:cubicBezTo>
                    <a:pt x="86" y="38"/>
                    <a:pt x="86" y="40"/>
                    <a:pt x="86" y="42"/>
                  </a:cubicBezTo>
                  <a:lnTo>
                    <a:pt x="86" y="4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9" name="Freeform 125"/>
            <p:cNvSpPr>
              <a:spLocks/>
            </p:cNvSpPr>
            <p:nvPr/>
          </p:nvSpPr>
          <p:spPr bwMode="auto">
            <a:xfrm>
              <a:off x="7043297" y="4704474"/>
              <a:ext cx="8699" cy="13295"/>
            </a:xfrm>
            <a:custGeom>
              <a:avLst/>
              <a:gdLst>
                <a:gd name="T0" fmla="*/ 2234466 w 7"/>
                <a:gd name="T1" fmla="*/ 727531 h 12"/>
                <a:gd name="T2" fmla="*/ 1156064 w 7"/>
                <a:gd name="T3" fmla="*/ 1697572 h 12"/>
                <a:gd name="T4" fmla="*/ 505778 w 7"/>
                <a:gd name="T5" fmla="*/ 2243220 h 12"/>
                <a:gd name="T6" fmla="*/ 0 w 7"/>
                <a:gd name="T7" fmla="*/ 5234181 h 12"/>
                <a:gd name="T8" fmla="*/ 505778 w 7"/>
                <a:gd name="T9" fmla="*/ 6931750 h 12"/>
                <a:gd name="T10" fmla="*/ 1156064 w 7"/>
                <a:gd name="T11" fmla="*/ 9242333 h 12"/>
                <a:gd name="T12" fmla="*/ 1724631 w 7"/>
                <a:gd name="T13" fmla="*/ 9242333 h 12"/>
                <a:gd name="T14" fmla="*/ 2642432 w 7"/>
                <a:gd name="T15" fmla="*/ 6253184 h 12"/>
                <a:gd name="T16" fmla="*/ 2642432 w 7"/>
                <a:gd name="T17" fmla="*/ 4688532 h 12"/>
                <a:gd name="T18" fmla="*/ 2642432 w 7"/>
                <a:gd name="T19" fmla="*/ 4688532 h 12"/>
                <a:gd name="T20" fmla="*/ 2642432 w 7"/>
                <a:gd name="T21" fmla="*/ 2243220 h 12"/>
                <a:gd name="T22" fmla="*/ 3942014 w 7"/>
                <a:gd name="T23" fmla="*/ 727531 h 12"/>
                <a:gd name="T24" fmla="*/ 3942014 w 7"/>
                <a:gd name="T25" fmla="*/ 0 h 12"/>
                <a:gd name="T26" fmla="*/ 2234466 w 7"/>
                <a:gd name="T27" fmla="*/ 727531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"/>
                <a:gd name="T43" fmla="*/ 0 h 12"/>
                <a:gd name="T44" fmla="*/ 7 w 7"/>
                <a:gd name="T45" fmla="*/ 12 h 1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" h="12">
                  <a:moveTo>
                    <a:pt x="4" y="1"/>
                  </a:moveTo>
                  <a:cubicBezTo>
                    <a:pt x="3" y="1"/>
                    <a:pt x="3" y="1"/>
                    <a:pt x="2" y="2"/>
                  </a:cubicBezTo>
                  <a:cubicBezTo>
                    <a:pt x="2" y="2"/>
                    <a:pt x="1" y="3"/>
                    <a:pt x="1" y="3"/>
                  </a:cubicBezTo>
                  <a:cubicBezTo>
                    <a:pt x="1" y="5"/>
                    <a:pt x="0" y="6"/>
                    <a:pt x="0" y="7"/>
                  </a:cubicBezTo>
                  <a:cubicBezTo>
                    <a:pt x="1" y="8"/>
                    <a:pt x="1" y="8"/>
                    <a:pt x="1" y="9"/>
                  </a:cubicBezTo>
                  <a:cubicBezTo>
                    <a:pt x="2" y="10"/>
                    <a:pt x="1" y="11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4" y="10"/>
                    <a:pt x="4" y="9"/>
                    <a:pt x="5" y="8"/>
                  </a:cubicBezTo>
                  <a:cubicBezTo>
                    <a:pt x="6" y="8"/>
                    <a:pt x="5" y="7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4"/>
                    <a:pt x="5" y="3"/>
                  </a:cubicBezTo>
                  <a:cubicBezTo>
                    <a:pt x="6" y="2"/>
                    <a:pt x="6" y="1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6" y="0"/>
                    <a:pt x="5" y="0"/>
                    <a:pt x="4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0" name="Freeform 126"/>
            <p:cNvSpPr>
              <a:spLocks/>
            </p:cNvSpPr>
            <p:nvPr/>
          </p:nvSpPr>
          <p:spPr bwMode="auto">
            <a:xfrm>
              <a:off x="7080996" y="4693595"/>
              <a:ext cx="12324" cy="12088"/>
            </a:xfrm>
            <a:custGeom>
              <a:avLst/>
              <a:gdLst>
                <a:gd name="T0" fmla="*/ 1697572 w 9"/>
                <a:gd name="T1" fmla="*/ 6840539 h 11"/>
                <a:gd name="T2" fmla="*/ 1697572 w 9"/>
                <a:gd name="T3" fmla="*/ 10341118 h 11"/>
                <a:gd name="T4" fmla="*/ 2243220 w 9"/>
                <a:gd name="T5" fmla="*/ 10341118 h 11"/>
                <a:gd name="T6" fmla="*/ 2243220 w 9"/>
                <a:gd name="T7" fmla="*/ 6840539 h 11"/>
                <a:gd name="T8" fmla="*/ 4688532 w 9"/>
                <a:gd name="T9" fmla="*/ 4745295 h 11"/>
                <a:gd name="T10" fmla="*/ 6253179 w 9"/>
                <a:gd name="T11" fmla="*/ 4745295 h 11"/>
                <a:gd name="T12" fmla="*/ 6931749 w 9"/>
                <a:gd name="T13" fmla="*/ 849380 h 11"/>
                <a:gd name="T14" fmla="*/ 3961001 w 9"/>
                <a:gd name="T15" fmla="*/ 849380 h 11"/>
                <a:gd name="T16" fmla="*/ 0 w 9"/>
                <a:gd name="T17" fmla="*/ 3587761 h 11"/>
                <a:gd name="T18" fmla="*/ 0 w 9"/>
                <a:gd name="T19" fmla="*/ 5595820 h 11"/>
                <a:gd name="T20" fmla="*/ 727531 w 9"/>
                <a:gd name="T21" fmla="*/ 5595820 h 11"/>
                <a:gd name="T22" fmla="*/ 1697572 w 9"/>
                <a:gd name="T23" fmla="*/ 6840539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11"/>
                <a:gd name="T38" fmla="*/ 9 w 9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11">
                  <a:moveTo>
                    <a:pt x="2" y="7"/>
                  </a:moveTo>
                  <a:cubicBezTo>
                    <a:pt x="2" y="8"/>
                    <a:pt x="1" y="10"/>
                    <a:pt x="2" y="11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0"/>
                    <a:pt x="3" y="8"/>
                    <a:pt x="3" y="7"/>
                  </a:cubicBezTo>
                  <a:cubicBezTo>
                    <a:pt x="4" y="6"/>
                    <a:pt x="5" y="6"/>
                    <a:pt x="6" y="5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9" y="4"/>
                    <a:pt x="9" y="2"/>
                    <a:pt x="9" y="1"/>
                  </a:cubicBezTo>
                  <a:cubicBezTo>
                    <a:pt x="8" y="0"/>
                    <a:pt x="6" y="1"/>
                    <a:pt x="5" y="1"/>
                  </a:cubicBezTo>
                  <a:cubicBezTo>
                    <a:pt x="3" y="2"/>
                    <a:pt x="1" y="2"/>
                    <a:pt x="0" y="4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lnTo>
                    <a:pt x="2" y="7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1" name="Freeform 127"/>
            <p:cNvSpPr>
              <a:spLocks/>
            </p:cNvSpPr>
            <p:nvPr/>
          </p:nvSpPr>
          <p:spPr bwMode="auto">
            <a:xfrm>
              <a:off x="7081721" y="4690573"/>
              <a:ext cx="7248" cy="3022"/>
            </a:xfrm>
            <a:custGeom>
              <a:avLst/>
              <a:gdLst>
                <a:gd name="T0" fmla="*/ 5085394 w 5"/>
                <a:gd name="T1" fmla="*/ 0 h 3"/>
                <a:gd name="T2" fmla="*/ 3577445 w 5"/>
                <a:gd name="T3" fmla="*/ 0 h 3"/>
                <a:gd name="T4" fmla="*/ 1064436 w 5"/>
                <a:gd name="T5" fmla="*/ 0 h 3"/>
                <a:gd name="T6" fmla="*/ 0 w 5"/>
                <a:gd name="T7" fmla="*/ 2243220 h 3"/>
                <a:gd name="T8" fmla="*/ 2554647 w 5"/>
                <a:gd name="T9" fmla="*/ 2243220 h 3"/>
                <a:gd name="T10" fmla="*/ 3577445 w 5"/>
                <a:gd name="T11" fmla="*/ 2243220 h 3"/>
                <a:gd name="T12" fmla="*/ 5085394 w 5"/>
                <a:gd name="T13" fmla="*/ 727531 h 3"/>
                <a:gd name="T14" fmla="*/ 5085394 w 5"/>
                <a:gd name="T15" fmla="*/ 727531 h 3"/>
                <a:gd name="T16" fmla="*/ 5085394 w 5"/>
                <a:gd name="T17" fmla="*/ 0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3"/>
                <a:gd name="T29" fmla="*/ 5 w 5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3">
                  <a:moveTo>
                    <a:pt x="4" y="0"/>
                  </a:move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0" y="1"/>
                    <a:pt x="1" y="2"/>
                    <a:pt x="0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4" y="2"/>
                    <a:pt x="5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2" name="Freeform 129"/>
            <p:cNvSpPr>
              <a:spLocks/>
            </p:cNvSpPr>
            <p:nvPr/>
          </p:nvSpPr>
          <p:spPr bwMode="auto">
            <a:xfrm>
              <a:off x="6949053" y="4903302"/>
              <a:ext cx="17399" cy="27195"/>
            </a:xfrm>
            <a:custGeom>
              <a:avLst/>
              <a:gdLst>
                <a:gd name="T0" fmla="*/ 13281841 w 13"/>
                <a:gd name="T1" fmla="*/ 3515237 h 25"/>
                <a:gd name="T2" fmla="*/ 10957538 w 13"/>
                <a:gd name="T3" fmla="*/ 835001 h 25"/>
                <a:gd name="T4" fmla="*/ 9596174 w 13"/>
                <a:gd name="T5" fmla="*/ 0 h 25"/>
                <a:gd name="T6" fmla="*/ 979497 w 13"/>
                <a:gd name="T7" fmla="*/ 4650620 h 25"/>
                <a:gd name="T8" fmla="*/ 0 w 13"/>
                <a:gd name="T9" fmla="*/ 6629066 h 25"/>
                <a:gd name="T10" fmla="*/ 2335724 w 13"/>
                <a:gd name="T11" fmla="*/ 7460446 h 25"/>
                <a:gd name="T12" fmla="*/ 2335724 w 13"/>
                <a:gd name="T13" fmla="*/ 12117629 h 25"/>
                <a:gd name="T14" fmla="*/ 4595099 w 13"/>
                <a:gd name="T15" fmla="*/ 12953021 h 25"/>
                <a:gd name="T16" fmla="*/ 3318681 w 13"/>
                <a:gd name="T17" fmla="*/ 18442993 h 25"/>
                <a:gd name="T18" fmla="*/ 3318681 w 13"/>
                <a:gd name="T19" fmla="*/ 20413475 h 25"/>
                <a:gd name="T20" fmla="*/ 4595099 w 13"/>
                <a:gd name="T21" fmla="*/ 21138070 h 25"/>
                <a:gd name="T22" fmla="*/ 5569804 w 13"/>
                <a:gd name="T23" fmla="*/ 23108688 h 25"/>
                <a:gd name="T24" fmla="*/ 7913775 w 13"/>
                <a:gd name="T25" fmla="*/ 23108688 h 25"/>
                <a:gd name="T26" fmla="*/ 8621839 w 13"/>
                <a:gd name="T27" fmla="*/ 20413475 h 25"/>
                <a:gd name="T28" fmla="*/ 10957538 w 13"/>
                <a:gd name="T29" fmla="*/ 20413475 h 25"/>
                <a:gd name="T30" fmla="*/ 13281841 w 13"/>
                <a:gd name="T31" fmla="*/ 19578455 h 25"/>
                <a:gd name="T32" fmla="*/ 14203962 w 13"/>
                <a:gd name="T33" fmla="*/ 17606647 h 25"/>
                <a:gd name="T34" fmla="*/ 14203962 w 13"/>
                <a:gd name="T35" fmla="*/ 12953021 h 25"/>
                <a:gd name="T36" fmla="*/ 14203962 w 13"/>
                <a:gd name="T37" fmla="*/ 12117629 h 25"/>
                <a:gd name="T38" fmla="*/ 14203962 w 13"/>
                <a:gd name="T39" fmla="*/ 3515237 h 25"/>
                <a:gd name="T40" fmla="*/ 13281841 w 13"/>
                <a:gd name="T41" fmla="*/ 3515237 h 2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3"/>
                <a:gd name="T64" fmla="*/ 0 h 25"/>
                <a:gd name="T65" fmla="*/ 13 w 13"/>
                <a:gd name="T66" fmla="*/ 25 h 2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3" h="25">
                  <a:moveTo>
                    <a:pt x="12" y="4"/>
                  </a:moveTo>
                  <a:cubicBezTo>
                    <a:pt x="11" y="3"/>
                    <a:pt x="11" y="2"/>
                    <a:pt x="10" y="1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7" y="2"/>
                    <a:pt x="4" y="5"/>
                    <a:pt x="1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1" y="7"/>
                    <a:pt x="2" y="8"/>
                    <a:pt x="2" y="8"/>
                  </a:cubicBezTo>
                  <a:cubicBezTo>
                    <a:pt x="3" y="10"/>
                    <a:pt x="2" y="12"/>
                    <a:pt x="2" y="13"/>
                  </a:cubicBezTo>
                  <a:cubicBezTo>
                    <a:pt x="3" y="13"/>
                    <a:pt x="4" y="14"/>
                    <a:pt x="4" y="14"/>
                  </a:cubicBezTo>
                  <a:cubicBezTo>
                    <a:pt x="4" y="16"/>
                    <a:pt x="4" y="18"/>
                    <a:pt x="3" y="20"/>
                  </a:cubicBezTo>
                  <a:cubicBezTo>
                    <a:pt x="3" y="20"/>
                    <a:pt x="2" y="21"/>
                    <a:pt x="3" y="22"/>
                  </a:cubicBezTo>
                  <a:cubicBezTo>
                    <a:pt x="3" y="22"/>
                    <a:pt x="4" y="23"/>
                    <a:pt x="4" y="23"/>
                  </a:cubicBezTo>
                  <a:cubicBezTo>
                    <a:pt x="4" y="24"/>
                    <a:pt x="4" y="24"/>
                    <a:pt x="5" y="25"/>
                  </a:cubicBezTo>
                  <a:cubicBezTo>
                    <a:pt x="6" y="25"/>
                    <a:pt x="7" y="25"/>
                    <a:pt x="7" y="25"/>
                  </a:cubicBezTo>
                  <a:cubicBezTo>
                    <a:pt x="7" y="24"/>
                    <a:pt x="7" y="22"/>
                    <a:pt x="8" y="22"/>
                  </a:cubicBezTo>
                  <a:cubicBezTo>
                    <a:pt x="8" y="21"/>
                    <a:pt x="9" y="21"/>
                    <a:pt x="10" y="22"/>
                  </a:cubicBezTo>
                  <a:cubicBezTo>
                    <a:pt x="10" y="22"/>
                    <a:pt x="11" y="21"/>
                    <a:pt x="12" y="21"/>
                  </a:cubicBezTo>
                  <a:cubicBezTo>
                    <a:pt x="13" y="21"/>
                    <a:pt x="12" y="20"/>
                    <a:pt x="13" y="19"/>
                  </a:cubicBezTo>
                  <a:cubicBezTo>
                    <a:pt x="13" y="17"/>
                    <a:pt x="12" y="15"/>
                    <a:pt x="13" y="14"/>
                  </a:cubicBezTo>
                  <a:cubicBezTo>
                    <a:pt x="13" y="14"/>
                    <a:pt x="13" y="13"/>
                    <a:pt x="13" y="13"/>
                  </a:cubicBezTo>
                  <a:cubicBezTo>
                    <a:pt x="13" y="10"/>
                    <a:pt x="13" y="7"/>
                    <a:pt x="13" y="4"/>
                  </a:cubicBezTo>
                  <a:cubicBezTo>
                    <a:pt x="13" y="4"/>
                    <a:pt x="12" y="4"/>
                    <a:pt x="12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3" name="Freeform 133"/>
            <p:cNvSpPr>
              <a:spLocks/>
            </p:cNvSpPr>
            <p:nvPr/>
          </p:nvSpPr>
          <p:spPr bwMode="auto">
            <a:xfrm>
              <a:off x="7122318" y="4916597"/>
              <a:ext cx="5801" cy="3626"/>
            </a:xfrm>
            <a:custGeom>
              <a:avLst/>
              <a:gdLst>
                <a:gd name="T0" fmla="*/ 4450654 w 4"/>
                <a:gd name="T1" fmla="*/ 0 h 3"/>
                <a:gd name="T2" fmla="*/ 0 w 4"/>
                <a:gd name="T3" fmla="*/ 727531 h 3"/>
                <a:gd name="T4" fmla="*/ 2497529 w 4"/>
                <a:gd name="T5" fmla="*/ 2243220 h 3"/>
                <a:gd name="T6" fmla="*/ 6243820 w 4"/>
                <a:gd name="T7" fmla="*/ 1697572 h 3"/>
                <a:gd name="T8" fmla="*/ 6243820 w 4"/>
                <a:gd name="T9" fmla="*/ 0 h 3"/>
                <a:gd name="T10" fmla="*/ 4450654 w 4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0" y="2"/>
                    <a:pt x="0" y="2"/>
                    <a:pt x="1" y="3"/>
                  </a:cubicBezTo>
                  <a:cubicBezTo>
                    <a:pt x="2" y="3"/>
                    <a:pt x="3" y="3"/>
                    <a:pt x="3" y="2"/>
                  </a:cubicBezTo>
                  <a:cubicBezTo>
                    <a:pt x="4" y="1"/>
                    <a:pt x="3" y="1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4" name="Freeform 137"/>
            <p:cNvSpPr>
              <a:spLocks/>
            </p:cNvSpPr>
            <p:nvPr/>
          </p:nvSpPr>
          <p:spPr bwMode="auto">
            <a:xfrm>
              <a:off x="6889606" y="4917201"/>
              <a:ext cx="13050" cy="7856"/>
            </a:xfrm>
            <a:custGeom>
              <a:avLst/>
              <a:gdLst>
                <a:gd name="T0" fmla="*/ 2411948 w 10"/>
                <a:gd name="T1" fmla="*/ 1213713 h 7"/>
                <a:gd name="T2" fmla="*/ 0 w 10"/>
                <a:gd name="T3" fmla="*/ 4210842 h 7"/>
                <a:gd name="T4" fmla="*/ 0 w 10"/>
                <a:gd name="T5" fmla="*/ 5930334 h 7"/>
                <a:gd name="T6" fmla="*/ 3218622 w 10"/>
                <a:gd name="T7" fmla="*/ 10226328 h 7"/>
                <a:gd name="T8" fmla="*/ 4267293 w 10"/>
                <a:gd name="T9" fmla="*/ 10226328 h 7"/>
                <a:gd name="T10" fmla="*/ 5547481 w 10"/>
                <a:gd name="T11" fmla="*/ 7158428 h 7"/>
                <a:gd name="T12" fmla="*/ 5547481 w 10"/>
                <a:gd name="T13" fmla="*/ 4210842 h 7"/>
                <a:gd name="T14" fmla="*/ 4267293 w 10"/>
                <a:gd name="T15" fmla="*/ 2947589 h 7"/>
                <a:gd name="T16" fmla="*/ 3724571 w 10"/>
                <a:gd name="T17" fmla="*/ 1213713 h 7"/>
                <a:gd name="T18" fmla="*/ 2411948 w 10"/>
                <a:gd name="T19" fmla="*/ 1213713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7"/>
                <a:gd name="T32" fmla="*/ 10 w 1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7">
                  <a:moveTo>
                    <a:pt x="4" y="1"/>
                  </a:moveTo>
                  <a:cubicBezTo>
                    <a:pt x="3" y="2"/>
                    <a:pt x="1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2" y="4"/>
                    <a:pt x="4" y="6"/>
                    <a:pt x="5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8" y="6"/>
                    <a:pt x="9" y="6"/>
                    <a:pt x="9" y="5"/>
                  </a:cubicBezTo>
                  <a:cubicBezTo>
                    <a:pt x="10" y="4"/>
                    <a:pt x="10" y="3"/>
                    <a:pt x="9" y="3"/>
                  </a:cubicBezTo>
                  <a:cubicBezTo>
                    <a:pt x="9" y="3"/>
                    <a:pt x="8" y="3"/>
                    <a:pt x="7" y="2"/>
                  </a:cubicBezTo>
                  <a:cubicBezTo>
                    <a:pt x="7" y="2"/>
                    <a:pt x="7" y="1"/>
                    <a:pt x="6" y="1"/>
                  </a:cubicBezTo>
                  <a:cubicBezTo>
                    <a:pt x="6" y="0"/>
                    <a:pt x="5" y="0"/>
                    <a:pt x="4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5" name="Freeform 138"/>
            <p:cNvSpPr>
              <a:spLocks/>
            </p:cNvSpPr>
            <p:nvPr/>
          </p:nvSpPr>
          <p:spPr bwMode="auto">
            <a:xfrm>
              <a:off x="6904829" y="4915388"/>
              <a:ext cx="5075" cy="4834"/>
            </a:xfrm>
            <a:custGeom>
              <a:avLst/>
              <a:gdLst>
                <a:gd name="T0" fmla="*/ 1699274 w 4"/>
                <a:gd name="T1" fmla="*/ 6243820 h 4"/>
                <a:gd name="T2" fmla="*/ 418284 w 4"/>
                <a:gd name="T3" fmla="*/ 2497529 h 4"/>
                <a:gd name="T4" fmla="*/ 418284 w 4"/>
                <a:gd name="T5" fmla="*/ 4450654 h 4"/>
                <a:gd name="T6" fmla="*/ 1699274 w 4"/>
                <a:gd name="T7" fmla="*/ 9219213 h 4"/>
                <a:gd name="T8" fmla="*/ 1699274 w 4"/>
                <a:gd name="T9" fmla="*/ 624382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4" y="3"/>
                  </a:moveTo>
                  <a:cubicBezTo>
                    <a:pt x="4" y="1"/>
                    <a:pt x="2" y="0"/>
                    <a:pt x="1" y="1"/>
                  </a:cubicBezTo>
                  <a:cubicBezTo>
                    <a:pt x="1" y="1"/>
                    <a:pt x="0" y="2"/>
                    <a:pt x="1" y="2"/>
                  </a:cubicBezTo>
                  <a:cubicBezTo>
                    <a:pt x="2" y="3"/>
                    <a:pt x="3" y="3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6" name="Freeform 139"/>
            <p:cNvSpPr>
              <a:spLocks/>
            </p:cNvSpPr>
            <p:nvPr/>
          </p:nvSpPr>
          <p:spPr bwMode="auto">
            <a:xfrm>
              <a:off x="6880180" y="4926266"/>
              <a:ext cx="4350" cy="3022"/>
            </a:xfrm>
            <a:custGeom>
              <a:avLst/>
              <a:gdLst>
                <a:gd name="T0" fmla="*/ 1697572 w 3"/>
                <a:gd name="T1" fmla="*/ 727531 h 3"/>
                <a:gd name="T2" fmla="*/ 0 w 3"/>
                <a:gd name="T3" fmla="*/ 2243220 h 3"/>
                <a:gd name="T4" fmla="*/ 1697572 w 3"/>
                <a:gd name="T5" fmla="*/ 2243220 h 3"/>
                <a:gd name="T6" fmla="*/ 2243220 w 3"/>
                <a:gd name="T7" fmla="*/ 727531 h 3"/>
                <a:gd name="T8" fmla="*/ 1697572 w 3"/>
                <a:gd name="T9" fmla="*/ 72753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1" y="0"/>
                    <a:pt x="0" y="2"/>
                    <a:pt x="0" y="3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3"/>
                    <a:pt x="3" y="2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7" name="Freeform 141"/>
            <p:cNvSpPr>
              <a:spLocks/>
            </p:cNvSpPr>
            <p:nvPr/>
          </p:nvSpPr>
          <p:spPr bwMode="auto">
            <a:xfrm>
              <a:off x="6914254" y="4518943"/>
              <a:ext cx="238512" cy="185531"/>
            </a:xfrm>
            <a:custGeom>
              <a:avLst/>
              <a:gdLst>
                <a:gd name="T0" fmla="*/ 37940890 w 178"/>
                <a:gd name="T1" fmla="*/ 143114837 h 171"/>
                <a:gd name="T2" fmla="*/ 32464658 w 178"/>
                <a:gd name="T3" fmla="*/ 149910955 h 171"/>
                <a:gd name="T4" fmla="*/ 23878917 w 178"/>
                <a:gd name="T5" fmla="*/ 156325131 h 171"/>
                <a:gd name="T6" fmla="*/ 6610479 w 178"/>
                <a:gd name="T7" fmla="*/ 154260356 h 171"/>
                <a:gd name="T8" fmla="*/ 6610479 w 178"/>
                <a:gd name="T9" fmla="*/ 148041159 h 171"/>
                <a:gd name="T10" fmla="*/ 7445212 w 178"/>
                <a:gd name="T11" fmla="*/ 145201914 h 171"/>
                <a:gd name="T12" fmla="*/ 7445212 w 178"/>
                <a:gd name="T13" fmla="*/ 137545139 h 171"/>
                <a:gd name="T14" fmla="*/ 833842 w 178"/>
                <a:gd name="T15" fmla="*/ 129981657 h 171"/>
                <a:gd name="T16" fmla="*/ 833842 w 178"/>
                <a:gd name="T17" fmla="*/ 123229463 h 171"/>
                <a:gd name="T18" fmla="*/ 9414747 w 178"/>
                <a:gd name="T19" fmla="*/ 110020378 h 171"/>
                <a:gd name="T20" fmla="*/ 15597752 w 178"/>
                <a:gd name="T21" fmla="*/ 104455972 h 171"/>
                <a:gd name="T22" fmla="*/ 22214566 w 178"/>
                <a:gd name="T23" fmla="*/ 103669860 h 171"/>
                <a:gd name="T24" fmla="*/ 29661834 w 178"/>
                <a:gd name="T25" fmla="*/ 98106890 h 171"/>
                <a:gd name="T26" fmla="*/ 33293672 w 178"/>
                <a:gd name="T27" fmla="*/ 96905192 h 171"/>
                <a:gd name="T28" fmla="*/ 31326166 w 178"/>
                <a:gd name="T29" fmla="*/ 90450871 h 171"/>
                <a:gd name="T30" fmla="*/ 37940890 w 178"/>
                <a:gd name="T31" fmla="*/ 84896898 h 171"/>
                <a:gd name="T32" fmla="*/ 42584644 w 178"/>
                <a:gd name="T33" fmla="*/ 80172434 h 171"/>
                <a:gd name="T34" fmla="*/ 46938750 w 178"/>
                <a:gd name="T35" fmla="*/ 75459821 h 171"/>
                <a:gd name="T36" fmla="*/ 52416378 w 178"/>
                <a:gd name="T37" fmla="*/ 65808997 h 171"/>
                <a:gd name="T38" fmla="*/ 56343500 w 178"/>
                <a:gd name="T39" fmla="*/ 55372211 h 171"/>
                <a:gd name="T40" fmla="*/ 63790579 w 178"/>
                <a:gd name="T41" fmla="*/ 49809204 h 171"/>
                <a:gd name="T42" fmla="*/ 71958169 w 178"/>
                <a:gd name="T43" fmla="*/ 40642915 h 171"/>
                <a:gd name="T44" fmla="*/ 78558076 w 178"/>
                <a:gd name="T45" fmla="*/ 33934372 h 171"/>
                <a:gd name="T46" fmla="*/ 82913559 w 178"/>
                <a:gd name="T47" fmla="*/ 24283699 h 171"/>
                <a:gd name="T48" fmla="*/ 87712543 w 178"/>
                <a:gd name="T49" fmla="*/ 23437255 h 171"/>
                <a:gd name="T50" fmla="*/ 92328276 w 178"/>
                <a:gd name="T51" fmla="*/ 20801078 h 171"/>
                <a:gd name="T52" fmla="*/ 98666744 w 178"/>
                <a:gd name="T53" fmla="*/ 19932937 h 171"/>
                <a:gd name="T54" fmla="*/ 105958394 w 178"/>
                <a:gd name="T55" fmla="*/ 19932937 h 171"/>
                <a:gd name="T56" fmla="*/ 103310413 w 178"/>
                <a:gd name="T57" fmla="*/ 15209735 h 171"/>
                <a:gd name="T58" fmla="*/ 114542776 w 178"/>
                <a:gd name="T59" fmla="*/ 14005059 h 171"/>
                <a:gd name="T60" fmla="*/ 120854364 w 178"/>
                <a:gd name="T61" fmla="*/ 9650713 h 171"/>
                <a:gd name="T62" fmla="*/ 127467823 w 178"/>
                <a:gd name="T63" fmla="*/ 1999708 h 171"/>
                <a:gd name="T64" fmla="*/ 129156732 w 178"/>
                <a:gd name="T65" fmla="*/ 4724456 h 171"/>
                <a:gd name="T66" fmla="*/ 129156732 w 178"/>
                <a:gd name="T67" fmla="*/ 15209735 h 171"/>
                <a:gd name="T68" fmla="*/ 135773740 w 178"/>
                <a:gd name="T69" fmla="*/ 3571093 h 171"/>
                <a:gd name="T70" fmla="*/ 137807786 w 178"/>
                <a:gd name="T71" fmla="*/ 11161873 h 171"/>
                <a:gd name="T72" fmla="*/ 140482647 w 178"/>
                <a:gd name="T73" fmla="*/ 5570905 h 171"/>
                <a:gd name="T74" fmla="*/ 147928102 w 178"/>
                <a:gd name="T75" fmla="*/ 4724456 h 171"/>
                <a:gd name="T76" fmla="*/ 146740324 w 178"/>
                <a:gd name="T77" fmla="*/ 9650713 h 171"/>
                <a:gd name="T78" fmla="*/ 155993836 w 178"/>
                <a:gd name="T79" fmla="*/ 6772680 h 171"/>
                <a:gd name="T80" fmla="*/ 164312476 w 178"/>
                <a:gd name="T81" fmla="*/ 11161873 h 171"/>
                <a:gd name="T82" fmla="*/ 155993836 w 178"/>
                <a:gd name="T83" fmla="*/ 17869556 h 171"/>
                <a:gd name="T84" fmla="*/ 160852357 w 178"/>
                <a:gd name="T85" fmla="*/ 21568650 h 171"/>
                <a:gd name="T86" fmla="*/ 152217046 w 178"/>
                <a:gd name="T87" fmla="*/ 24283699 h 171"/>
                <a:gd name="T88" fmla="*/ 139295170 w 178"/>
                <a:gd name="T89" fmla="*/ 18713845 h 171"/>
                <a:gd name="T90" fmla="*/ 129156732 w 178"/>
                <a:gd name="T91" fmla="*/ 33087966 h 171"/>
                <a:gd name="T92" fmla="*/ 118202834 w 178"/>
                <a:gd name="T93" fmla="*/ 31939680 h 171"/>
                <a:gd name="T94" fmla="*/ 107932488 w 178"/>
                <a:gd name="T95" fmla="*/ 31095392 h 171"/>
                <a:gd name="T96" fmla="*/ 100480615 w 178"/>
                <a:gd name="T97" fmla="*/ 29008163 h 171"/>
                <a:gd name="T98" fmla="*/ 93190323 w 178"/>
                <a:gd name="T99" fmla="*/ 36647607 h 171"/>
                <a:gd name="T100" fmla="*/ 77435798 w 178"/>
                <a:gd name="T101" fmla="*/ 39530247 h 171"/>
                <a:gd name="T102" fmla="*/ 71124248 w 178"/>
                <a:gd name="T103" fmla="*/ 55372211 h 171"/>
                <a:gd name="T104" fmla="*/ 62693369 w 178"/>
                <a:gd name="T105" fmla="*/ 65029688 h 171"/>
                <a:gd name="T106" fmla="*/ 56343500 w 178"/>
                <a:gd name="T107" fmla="*/ 82897217 h 171"/>
                <a:gd name="T108" fmla="*/ 53541638 w 178"/>
                <a:gd name="T109" fmla="*/ 89313283 h 171"/>
                <a:gd name="T110" fmla="*/ 46938750 w 178"/>
                <a:gd name="T111" fmla="*/ 111260634 h 171"/>
                <a:gd name="T112" fmla="*/ 50865871 w 178"/>
                <a:gd name="T113" fmla="*/ 121670241 h 171"/>
                <a:gd name="T114" fmla="*/ 48898309 w 178"/>
                <a:gd name="T115" fmla="*/ 135545533 h 171"/>
                <a:gd name="T116" fmla="*/ 43418604 w 178"/>
                <a:gd name="T117" fmla="*/ 147194867 h 1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78"/>
                <a:gd name="T178" fmla="*/ 0 h 171"/>
                <a:gd name="T179" fmla="*/ 178 w 178"/>
                <a:gd name="T180" fmla="*/ 171 h 17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78" h="171">
                  <a:moveTo>
                    <a:pt x="46" y="157"/>
                  </a:moveTo>
                  <a:cubicBezTo>
                    <a:pt x="46" y="157"/>
                    <a:pt x="45" y="156"/>
                    <a:pt x="44" y="156"/>
                  </a:cubicBezTo>
                  <a:cubicBezTo>
                    <a:pt x="43" y="155"/>
                    <a:pt x="43" y="153"/>
                    <a:pt x="42" y="152"/>
                  </a:cubicBezTo>
                  <a:cubicBezTo>
                    <a:pt x="42" y="152"/>
                    <a:pt x="41" y="152"/>
                    <a:pt x="41" y="152"/>
                  </a:cubicBezTo>
                  <a:cubicBezTo>
                    <a:pt x="40" y="154"/>
                    <a:pt x="41" y="155"/>
                    <a:pt x="40" y="156"/>
                  </a:cubicBezTo>
                  <a:cubicBezTo>
                    <a:pt x="40" y="157"/>
                    <a:pt x="39" y="157"/>
                    <a:pt x="38" y="157"/>
                  </a:cubicBezTo>
                  <a:cubicBezTo>
                    <a:pt x="38" y="158"/>
                    <a:pt x="38" y="159"/>
                    <a:pt x="38" y="159"/>
                  </a:cubicBezTo>
                  <a:cubicBezTo>
                    <a:pt x="37" y="159"/>
                    <a:pt x="36" y="160"/>
                    <a:pt x="35" y="159"/>
                  </a:cubicBezTo>
                  <a:cubicBezTo>
                    <a:pt x="34" y="159"/>
                    <a:pt x="33" y="159"/>
                    <a:pt x="32" y="159"/>
                  </a:cubicBezTo>
                  <a:cubicBezTo>
                    <a:pt x="32" y="160"/>
                    <a:pt x="33" y="161"/>
                    <a:pt x="32" y="161"/>
                  </a:cubicBezTo>
                  <a:cubicBezTo>
                    <a:pt x="31" y="162"/>
                    <a:pt x="31" y="164"/>
                    <a:pt x="29" y="165"/>
                  </a:cubicBezTo>
                  <a:cubicBezTo>
                    <a:pt x="28" y="165"/>
                    <a:pt x="27" y="166"/>
                    <a:pt x="26" y="166"/>
                  </a:cubicBezTo>
                  <a:cubicBezTo>
                    <a:pt x="24" y="167"/>
                    <a:pt x="23" y="169"/>
                    <a:pt x="22" y="170"/>
                  </a:cubicBezTo>
                  <a:cubicBezTo>
                    <a:pt x="21" y="170"/>
                    <a:pt x="20" y="170"/>
                    <a:pt x="19" y="171"/>
                  </a:cubicBezTo>
                  <a:cubicBezTo>
                    <a:pt x="18" y="171"/>
                    <a:pt x="17" y="171"/>
                    <a:pt x="16" y="170"/>
                  </a:cubicBezTo>
                  <a:cubicBezTo>
                    <a:pt x="13" y="168"/>
                    <a:pt x="11" y="166"/>
                    <a:pt x="7" y="164"/>
                  </a:cubicBezTo>
                  <a:cubicBezTo>
                    <a:pt x="6" y="163"/>
                    <a:pt x="5" y="161"/>
                    <a:pt x="6" y="160"/>
                  </a:cubicBezTo>
                  <a:cubicBezTo>
                    <a:pt x="6" y="159"/>
                    <a:pt x="7" y="160"/>
                    <a:pt x="8" y="160"/>
                  </a:cubicBezTo>
                  <a:cubicBezTo>
                    <a:pt x="8" y="160"/>
                    <a:pt x="8" y="159"/>
                    <a:pt x="7" y="159"/>
                  </a:cubicBezTo>
                  <a:cubicBezTo>
                    <a:pt x="7" y="159"/>
                    <a:pt x="7" y="158"/>
                    <a:pt x="7" y="157"/>
                  </a:cubicBezTo>
                  <a:cubicBezTo>
                    <a:pt x="7" y="157"/>
                    <a:pt x="8" y="157"/>
                    <a:pt x="8" y="157"/>
                  </a:cubicBezTo>
                  <a:cubicBezTo>
                    <a:pt x="9" y="157"/>
                    <a:pt x="9" y="156"/>
                    <a:pt x="9" y="156"/>
                  </a:cubicBezTo>
                  <a:cubicBezTo>
                    <a:pt x="9" y="155"/>
                    <a:pt x="10" y="155"/>
                    <a:pt x="9" y="154"/>
                  </a:cubicBezTo>
                  <a:cubicBezTo>
                    <a:pt x="9" y="154"/>
                    <a:pt x="8" y="154"/>
                    <a:pt x="8" y="154"/>
                  </a:cubicBezTo>
                  <a:cubicBezTo>
                    <a:pt x="8" y="154"/>
                    <a:pt x="7" y="153"/>
                    <a:pt x="7" y="153"/>
                  </a:cubicBezTo>
                  <a:cubicBezTo>
                    <a:pt x="6" y="152"/>
                    <a:pt x="4" y="152"/>
                    <a:pt x="2" y="152"/>
                  </a:cubicBezTo>
                  <a:cubicBezTo>
                    <a:pt x="2" y="150"/>
                    <a:pt x="4" y="150"/>
                    <a:pt x="5" y="149"/>
                  </a:cubicBezTo>
                  <a:cubicBezTo>
                    <a:pt x="6" y="148"/>
                    <a:pt x="8" y="147"/>
                    <a:pt x="8" y="146"/>
                  </a:cubicBezTo>
                  <a:cubicBezTo>
                    <a:pt x="6" y="146"/>
                    <a:pt x="5" y="147"/>
                    <a:pt x="4" y="145"/>
                  </a:cubicBezTo>
                  <a:cubicBezTo>
                    <a:pt x="4" y="144"/>
                    <a:pt x="3" y="143"/>
                    <a:pt x="3" y="142"/>
                  </a:cubicBezTo>
                  <a:cubicBezTo>
                    <a:pt x="2" y="141"/>
                    <a:pt x="2" y="140"/>
                    <a:pt x="2" y="139"/>
                  </a:cubicBezTo>
                  <a:cubicBezTo>
                    <a:pt x="1" y="139"/>
                    <a:pt x="1" y="138"/>
                    <a:pt x="1" y="138"/>
                  </a:cubicBezTo>
                  <a:cubicBezTo>
                    <a:pt x="1" y="137"/>
                    <a:pt x="1" y="137"/>
                    <a:pt x="1" y="136"/>
                  </a:cubicBezTo>
                  <a:cubicBezTo>
                    <a:pt x="1" y="136"/>
                    <a:pt x="1" y="136"/>
                    <a:pt x="2" y="136"/>
                  </a:cubicBezTo>
                  <a:cubicBezTo>
                    <a:pt x="2" y="135"/>
                    <a:pt x="1" y="134"/>
                    <a:pt x="1" y="133"/>
                  </a:cubicBezTo>
                  <a:cubicBezTo>
                    <a:pt x="1" y="133"/>
                    <a:pt x="1" y="132"/>
                    <a:pt x="1" y="131"/>
                  </a:cubicBezTo>
                  <a:cubicBezTo>
                    <a:pt x="1" y="129"/>
                    <a:pt x="1" y="128"/>
                    <a:pt x="0" y="126"/>
                  </a:cubicBezTo>
                  <a:cubicBezTo>
                    <a:pt x="0" y="125"/>
                    <a:pt x="0" y="123"/>
                    <a:pt x="2" y="122"/>
                  </a:cubicBezTo>
                  <a:cubicBezTo>
                    <a:pt x="3" y="120"/>
                    <a:pt x="5" y="119"/>
                    <a:pt x="7" y="119"/>
                  </a:cubicBezTo>
                  <a:cubicBezTo>
                    <a:pt x="8" y="119"/>
                    <a:pt x="10" y="118"/>
                    <a:pt x="10" y="117"/>
                  </a:cubicBezTo>
                  <a:cubicBezTo>
                    <a:pt x="10" y="117"/>
                    <a:pt x="10" y="115"/>
                    <a:pt x="11" y="115"/>
                  </a:cubicBezTo>
                  <a:cubicBezTo>
                    <a:pt x="12" y="114"/>
                    <a:pt x="14" y="115"/>
                    <a:pt x="16" y="115"/>
                  </a:cubicBezTo>
                  <a:cubicBezTo>
                    <a:pt x="16" y="115"/>
                    <a:pt x="16" y="114"/>
                    <a:pt x="16" y="113"/>
                  </a:cubicBezTo>
                  <a:cubicBezTo>
                    <a:pt x="15" y="112"/>
                    <a:pt x="16" y="111"/>
                    <a:pt x="17" y="111"/>
                  </a:cubicBezTo>
                  <a:cubicBezTo>
                    <a:pt x="18" y="111"/>
                    <a:pt x="19" y="111"/>
                    <a:pt x="20" y="110"/>
                  </a:cubicBezTo>
                  <a:cubicBezTo>
                    <a:pt x="21" y="109"/>
                    <a:pt x="22" y="110"/>
                    <a:pt x="23" y="111"/>
                  </a:cubicBezTo>
                  <a:cubicBezTo>
                    <a:pt x="23" y="112"/>
                    <a:pt x="23" y="112"/>
                    <a:pt x="24" y="111"/>
                  </a:cubicBezTo>
                  <a:cubicBezTo>
                    <a:pt x="24" y="111"/>
                    <a:pt x="24" y="110"/>
                    <a:pt x="24" y="110"/>
                  </a:cubicBezTo>
                  <a:cubicBezTo>
                    <a:pt x="25" y="109"/>
                    <a:pt x="27" y="109"/>
                    <a:pt x="27" y="108"/>
                  </a:cubicBezTo>
                  <a:cubicBezTo>
                    <a:pt x="27" y="107"/>
                    <a:pt x="27" y="107"/>
                    <a:pt x="28" y="106"/>
                  </a:cubicBezTo>
                  <a:cubicBezTo>
                    <a:pt x="29" y="106"/>
                    <a:pt x="30" y="106"/>
                    <a:pt x="31" y="106"/>
                  </a:cubicBezTo>
                  <a:cubicBezTo>
                    <a:pt x="32" y="105"/>
                    <a:pt x="31" y="104"/>
                    <a:pt x="32" y="104"/>
                  </a:cubicBezTo>
                  <a:cubicBezTo>
                    <a:pt x="33" y="103"/>
                    <a:pt x="34" y="104"/>
                    <a:pt x="35" y="105"/>
                  </a:cubicBezTo>
                  <a:cubicBezTo>
                    <a:pt x="36" y="105"/>
                    <a:pt x="37" y="105"/>
                    <a:pt x="38" y="105"/>
                  </a:cubicBezTo>
                  <a:cubicBezTo>
                    <a:pt x="38" y="105"/>
                    <a:pt x="38" y="104"/>
                    <a:pt x="38" y="104"/>
                  </a:cubicBezTo>
                  <a:cubicBezTo>
                    <a:pt x="38" y="103"/>
                    <a:pt x="37" y="104"/>
                    <a:pt x="36" y="103"/>
                  </a:cubicBezTo>
                  <a:cubicBezTo>
                    <a:pt x="36" y="103"/>
                    <a:pt x="36" y="102"/>
                    <a:pt x="36" y="102"/>
                  </a:cubicBezTo>
                  <a:cubicBezTo>
                    <a:pt x="35" y="101"/>
                    <a:pt x="34" y="101"/>
                    <a:pt x="33" y="101"/>
                  </a:cubicBezTo>
                  <a:cubicBezTo>
                    <a:pt x="32" y="100"/>
                    <a:pt x="33" y="100"/>
                    <a:pt x="34" y="99"/>
                  </a:cubicBezTo>
                  <a:cubicBezTo>
                    <a:pt x="34" y="98"/>
                    <a:pt x="34" y="97"/>
                    <a:pt x="34" y="96"/>
                  </a:cubicBezTo>
                  <a:cubicBezTo>
                    <a:pt x="34" y="95"/>
                    <a:pt x="35" y="95"/>
                    <a:pt x="36" y="95"/>
                  </a:cubicBezTo>
                  <a:cubicBezTo>
                    <a:pt x="37" y="95"/>
                    <a:pt x="37" y="92"/>
                    <a:pt x="39" y="92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1"/>
                    <a:pt x="40" y="91"/>
                    <a:pt x="41" y="90"/>
                  </a:cubicBezTo>
                  <a:cubicBezTo>
                    <a:pt x="42" y="90"/>
                    <a:pt x="43" y="90"/>
                    <a:pt x="45" y="90"/>
                  </a:cubicBezTo>
                  <a:cubicBezTo>
                    <a:pt x="45" y="91"/>
                    <a:pt x="46" y="91"/>
                    <a:pt x="47" y="90"/>
                  </a:cubicBezTo>
                  <a:cubicBezTo>
                    <a:pt x="47" y="90"/>
                    <a:pt x="47" y="89"/>
                    <a:pt x="46" y="88"/>
                  </a:cubicBezTo>
                  <a:cubicBezTo>
                    <a:pt x="46" y="87"/>
                    <a:pt x="46" y="86"/>
                    <a:pt x="46" y="85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8" y="83"/>
                    <a:pt x="49" y="84"/>
                    <a:pt x="50" y="83"/>
                  </a:cubicBezTo>
                  <a:cubicBezTo>
                    <a:pt x="50" y="83"/>
                    <a:pt x="50" y="83"/>
                    <a:pt x="51" y="82"/>
                  </a:cubicBezTo>
                  <a:cubicBezTo>
                    <a:pt x="51" y="82"/>
                    <a:pt x="51" y="81"/>
                    <a:pt x="51" y="80"/>
                  </a:cubicBezTo>
                  <a:cubicBezTo>
                    <a:pt x="51" y="79"/>
                    <a:pt x="52" y="79"/>
                    <a:pt x="53" y="78"/>
                  </a:cubicBezTo>
                  <a:cubicBezTo>
                    <a:pt x="53" y="78"/>
                    <a:pt x="53" y="77"/>
                    <a:pt x="54" y="77"/>
                  </a:cubicBezTo>
                  <a:cubicBezTo>
                    <a:pt x="55" y="76"/>
                    <a:pt x="55" y="74"/>
                    <a:pt x="56" y="72"/>
                  </a:cubicBezTo>
                  <a:cubicBezTo>
                    <a:pt x="56" y="71"/>
                    <a:pt x="57" y="71"/>
                    <a:pt x="57" y="70"/>
                  </a:cubicBezTo>
                  <a:cubicBezTo>
                    <a:pt x="57" y="68"/>
                    <a:pt x="56" y="66"/>
                    <a:pt x="57" y="64"/>
                  </a:cubicBezTo>
                  <a:cubicBezTo>
                    <a:pt x="57" y="63"/>
                    <a:pt x="58" y="63"/>
                    <a:pt x="59" y="63"/>
                  </a:cubicBezTo>
                  <a:cubicBezTo>
                    <a:pt x="59" y="63"/>
                    <a:pt x="60" y="62"/>
                    <a:pt x="60" y="62"/>
                  </a:cubicBezTo>
                  <a:cubicBezTo>
                    <a:pt x="61" y="61"/>
                    <a:pt x="60" y="60"/>
                    <a:pt x="61" y="59"/>
                  </a:cubicBezTo>
                  <a:cubicBezTo>
                    <a:pt x="62" y="58"/>
                    <a:pt x="63" y="58"/>
                    <a:pt x="64" y="57"/>
                  </a:cubicBezTo>
                  <a:cubicBezTo>
                    <a:pt x="65" y="57"/>
                    <a:pt x="66" y="57"/>
                    <a:pt x="67" y="57"/>
                  </a:cubicBezTo>
                  <a:cubicBezTo>
                    <a:pt x="67" y="56"/>
                    <a:pt x="67" y="55"/>
                    <a:pt x="67" y="55"/>
                  </a:cubicBezTo>
                  <a:cubicBezTo>
                    <a:pt x="67" y="53"/>
                    <a:pt x="68" y="53"/>
                    <a:pt x="69" y="53"/>
                  </a:cubicBezTo>
                  <a:cubicBezTo>
                    <a:pt x="70" y="52"/>
                    <a:pt x="71" y="53"/>
                    <a:pt x="71" y="52"/>
                  </a:cubicBezTo>
                  <a:cubicBezTo>
                    <a:pt x="72" y="51"/>
                    <a:pt x="71" y="50"/>
                    <a:pt x="70" y="50"/>
                  </a:cubicBezTo>
                  <a:cubicBezTo>
                    <a:pt x="69" y="49"/>
                    <a:pt x="70" y="47"/>
                    <a:pt x="71" y="47"/>
                  </a:cubicBezTo>
                  <a:cubicBezTo>
                    <a:pt x="74" y="47"/>
                    <a:pt x="76" y="46"/>
                    <a:pt x="78" y="43"/>
                  </a:cubicBezTo>
                  <a:cubicBezTo>
                    <a:pt x="78" y="42"/>
                    <a:pt x="80" y="41"/>
                    <a:pt x="80" y="39"/>
                  </a:cubicBezTo>
                  <a:cubicBezTo>
                    <a:pt x="81" y="39"/>
                    <a:pt x="81" y="38"/>
                    <a:pt x="81" y="38"/>
                  </a:cubicBezTo>
                  <a:cubicBezTo>
                    <a:pt x="82" y="38"/>
                    <a:pt x="83" y="38"/>
                    <a:pt x="83" y="37"/>
                  </a:cubicBezTo>
                  <a:cubicBezTo>
                    <a:pt x="84" y="37"/>
                    <a:pt x="85" y="36"/>
                    <a:pt x="85" y="36"/>
                  </a:cubicBezTo>
                  <a:cubicBezTo>
                    <a:pt x="85" y="35"/>
                    <a:pt x="85" y="34"/>
                    <a:pt x="85" y="33"/>
                  </a:cubicBezTo>
                  <a:cubicBezTo>
                    <a:pt x="85" y="32"/>
                    <a:pt x="86" y="32"/>
                    <a:pt x="86" y="31"/>
                  </a:cubicBezTo>
                  <a:cubicBezTo>
                    <a:pt x="87" y="31"/>
                    <a:pt x="88" y="31"/>
                    <a:pt x="88" y="30"/>
                  </a:cubicBezTo>
                  <a:cubicBezTo>
                    <a:pt x="90" y="29"/>
                    <a:pt x="89" y="27"/>
                    <a:pt x="90" y="26"/>
                  </a:cubicBezTo>
                  <a:cubicBezTo>
                    <a:pt x="91" y="26"/>
                    <a:pt x="92" y="28"/>
                    <a:pt x="93" y="29"/>
                  </a:cubicBezTo>
                  <a:cubicBezTo>
                    <a:pt x="93" y="29"/>
                    <a:pt x="94" y="29"/>
                    <a:pt x="94" y="29"/>
                  </a:cubicBezTo>
                  <a:cubicBezTo>
                    <a:pt x="94" y="27"/>
                    <a:pt x="93" y="26"/>
                    <a:pt x="94" y="25"/>
                  </a:cubicBezTo>
                  <a:cubicBezTo>
                    <a:pt x="94" y="25"/>
                    <a:pt x="94" y="25"/>
                    <a:pt x="95" y="25"/>
                  </a:cubicBezTo>
                  <a:cubicBezTo>
                    <a:pt x="95" y="26"/>
                    <a:pt x="95" y="26"/>
                    <a:pt x="96" y="27"/>
                  </a:cubicBezTo>
                  <a:cubicBezTo>
                    <a:pt x="96" y="27"/>
                    <a:pt x="97" y="27"/>
                    <a:pt x="97" y="26"/>
                  </a:cubicBezTo>
                  <a:cubicBezTo>
                    <a:pt x="97" y="26"/>
                    <a:pt x="97" y="25"/>
                    <a:pt x="97" y="24"/>
                  </a:cubicBezTo>
                  <a:cubicBezTo>
                    <a:pt x="98" y="23"/>
                    <a:pt x="99" y="23"/>
                    <a:pt x="100" y="22"/>
                  </a:cubicBezTo>
                  <a:cubicBezTo>
                    <a:pt x="100" y="22"/>
                    <a:pt x="101" y="22"/>
                    <a:pt x="102" y="21"/>
                  </a:cubicBezTo>
                  <a:cubicBezTo>
                    <a:pt x="102" y="21"/>
                    <a:pt x="103" y="20"/>
                    <a:pt x="103" y="20"/>
                  </a:cubicBezTo>
                  <a:cubicBezTo>
                    <a:pt x="105" y="19"/>
                    <a:pt x="105" y="21"/>
                    <a:pt x="106" y="22"/>
                  </a:cubicBezTo>
                  <a:cubicBezTo>
                    <a:pt x="106" y="22"/>
                    <a:pt x="107" y="22"/>
                    <a:pt x="107" y="21"/>
                  </a:cubicBezTo>
                  <a:cubicBezTo>
                    <a:pt x="108" y="21"/>
                    <a:pt x="109" y="20"/>
                    <a:pt x="110" y="19"/>
                  </a:cubicBezTo>
                  <a:cubicBezTo>
                    <a:pt x="111" y="19"/>
                    <a:pt x="112" y="19"/>
                    <a:pt x="114" y="19"/>
                  </a:cubicBezTo>
                  <a:cubicBezTo>
                    <a:pt x="114" y="20"/>
                    <a:pt x="115" y="20"/>
                    <a:pt x="115" y="21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5" y="21"/>
                    <a:pt x="115" y="22"/>
                    <a:pt x="115" y="22"/>
                  </a:cubicBezTo>
                  <a:cubicBezTo>
                    <a:pt x="116" y="22"/>
                    <a:pt x="116" y="22"/>
                    <a:pt x="116" y="22"/>
                  </a:cubicBezTo>
                  <a:cubicBezTo>
                    <a:pt x="117" y="21"/>
                    <a:pt x="116" y="20"/>
                    <a:pt x="116" y="19"/>
                  </a:cubicBezTo>
                  <a:cubicBezTo>
                    <a:pt x="115" y="18"/>
                    <a:pt x="113" y="18"/>
                    <a:pt x="112" y="16"/>
                  </a:cubicBezTo>
                  <a:cubicBezTo>
                    <a:pt x="111" y="16"/>
                    <a:pt x="112" y="14"/>
                    <a:pt x="113" y="14"/>
                  </a:cubicBezTo>
                  <a:cubicBezTo>
                    <a:pt x="115" y="13"/>
                    <a:pt x="117" y="13"/>
                    <a:pt x="119" y="14"/>
                  </a:cubicBezTo>
                  <a:cubicBezTo>
                    <a:pt x="120" y="14"/>
                    <a:pt x="121" y="14"/>
                    <a:pt x="122" y="14"/>
                  </a:cubicBezTo>
                  <a:cubicBezTo>
                    <a:pt x="123" y="14"/>
                    <a:pt x="123" y="15"/>
                    <a:pt x="124" y="15"/>
                  </a:cubicBezTo>
                  <a:cubicBezTo>
                    <a:pt x="124" y="16"/>
                    <a:pt x="124" y="17"/>
                    <a:pt x="124" y="18"/>
                  </a:cubicBezTo>
                  <a:cubicBezTo>
                    <a:pt x="125" y="19"/>
                    <a:pt x="127" y="19"/>
                    <a:pt x="127" y="18"/>
                  </a:cubicBezTo>
                  <a:cubicBezTo>
                    <a:pt x="128" y="17"/>
                    <a:pt x="127" y="15"/>
                    <a:pt x="127" y="14"/>
                  </a:cubicBezTo>
                  <a:cubicBezTo>
                    <a:pt x="127" y="12"/>
                    <a:pt x="129" y="11"/>
                    <a:pt x="131" y="10"/>
                  </a:cubicBezTo>
                  <a:cubicBezTo>
                    <a:pt x="132" y="9"/>
                    <a:pt x="132" y="7"/>
                    <a:pt x="133" y="6"/>
                  </a:cubicBezTo>
                  <a:cubicBezTo>
                    <a:pt x="134" y="5"/>
                    <a:pt x="135" y="6"/>
                    <a:pt x="137" y="6"/>
                  </a:cubicBezTo>
                  <a:cubicBezTo>
                    <a:pt x="137" y="6"/>
                    <a:pt x="137" y="6"/>
                    <a:pt x="137" y="6"/>
                  </a:cubicBezTo>
                  <a:cubicBezTo>
                    <a:pt x="137" y="5"/>
                    <a:pt x="137" y="3"/>
                    <a:pt x="138" y="2"/>
                  </a:cubicBezTo>
                  <a:cubicBezTo>
                    <a:pt x="138" y="2"/>
                    <a:pt x="139" y="2"/>
                    <a:pt x="140" y="2"/>
                  </a:cubicBezTo>
                  <a:cubicBezTo>
                    <a:pt x="140" y="2"/>
                    <a:pt x="140" y="1"/>
                    <a:pt x="141" y="1"/>
                  </a:cubicBezTo>
                  <a:cubicBezTo>
                    <a:pt x="142" y="0"/>
                    <a:pt x="144" y="1"/>
                    <a:pt x="143" y="2"/>
                  </a:cubicBezTo>
                  <a:cubicBezTo>
                    <a:pt x="142" y="3"/>
                    <a:pt x="141" y="4"/>
                    <a:pt x="140" y="5"/>
                  </a:cubicBezTo>
                  <a:cubicBezTo>
                    <a:pt x="139" y="6"/>
                    <a:pt x="139" y="8"/>
                    <a:pt x="137" y="9"/>
                  </a:cubicBezTo>
                  <a:cubicBezTo>
                    <a:pt x="138" y="12"/>
                    <a:pt x="137" y="15"/>
                    <a:pt x="138" y="17"/>
                  </a:cubicBezTo>
                  <a:cubicBezTo>
                    <a:pt x="138" y="18"/>
                    <a:pt x="138" y="17"/>
                    <a:pt x="139" y="17"/>
                  </a:cubicBezTo>
                  <a:cubicBezTo>
                    <a:pt x="139" y="17"/>
                    <a:pt x="140" y="16"/>
                    <a:pt x="140" y="16"/>
                  </a:cubicBezTo>
                  <a:cubicBezTo>
                    <a:pt x="140" y="14"/>
                    <a:pt x="140" y="13"/>
                    <a:pt x="141" y="12"/>
                  </a:cubicBezTo>
                  <a:cubicBezTo>
                    <a:pt x="141" y="11"/>
                    <a:pt x="142" y="11"/>
                    <a:pt x="142" y="10"/>
                  </a:cubicBezTo>
                  <a:cubicBezTo>
                    <a:pt x="143" y="10"/>
                    <a:pt x="143" y="9"/>
                    <a:pt x="143" y="8"/>
                  </a:cubicBezTo>
                  <a:cubicBezTo>
                    <a:pt x="145" y="7"/>
                    <a:pt x="146" y="6"/>
                    <a:pt x="147" y="4"/>
                  </a:cubicBezTo>
                  <a:cubicBezTo>
                    <a:pt x="147" y="4"/>
                    <a:pt x="147" y="4"/>
                    <a:pt x="147" y="4"/>
                  </a:cubicBezTo>
                  <a:cubicBezTo>
                    <a:pt x="148" y="6"/>
                    <a:pt x="147" y="7"/>
                    <a:pt x="146" y="9"/>
                  </a:cubicBezTo>
                  <a:cubicBezTo>
                    <a:pt x="146" y="10"/>
                    <a:pt x="146" y="11"/>
                    <a:pt x="147" y="12"/>
                  </a:cubicBezTo>
                  <a:cubicBezTo>
                    <a:pt x="147" y="12"/>
                    <a:pt x="148" y="12"/>
                    <a:pt x="149" y="12"/>
                  </a:cubicBezTo>
                  <a:cubicBezTo>
                    <a:pt x="150" y="11"/>
                    <a:pt x="150" y="11"/>
                    <a:pt x="151" y="10"/>
                  </a:cubicBezTo>
                  <a:cubicBezTo>
                    <a:pt x="151" y="10"/>
                    <a:pt x="151" y="9"/>
                    <a:pt x="151" y="8"/>
                  </a:cubicBezTo>
                  <a:cubicBezTo>
                    <a:pt x="152" y="8"/>
                    <a:pt x="152" y="7"/>
                    <a:pt x="152" y="7"/>
                  </a:cubicBezTo>
                  <a:cubicBezTo>
                    <a:pt x="152" y="7"/>
                    <a:pt x="152" y="6"/>
                    <a:pt x="152" y="6"/>
                  </a:cubicBezTo>
                  <a:cubicBezTo>
                    <a:pt x="152" y="6"/>
                    <a:pt x="152" y="5"/>
                    <a:pt x="152" y="6"/>
                  </a:cubicBezTo>
                  <a:cubicBezTo>
                    <a:pt x="152" y="4"/>
                    <a:pt x="152" y="2"/>
                    <a:pt x="154" y="2"/>
                  </a:cubicBezTo>
                  <a:cubicBezTo>
                    <a:pt x="155" y="1"/>
                    <a:pt x="157" y="1"/>
                    <a:pt x="158" y="2"/>
                  </a:cubicBezTo>
                  <a:cubicBezTo>
                    <a:pt x="159" y="3"/>
                    <a:pt x="161" y="4"/>
                    <a:pt x="160" y="5"/>
                  </a:cubicBezTo>
                  <a:cubicBezTo>
                    <a:pt x="159" y="5"/>
                    <a:pt x="158" y="5"/>
                    <a:pt x="158" y="6"/>
                  </a:cubicBezTo>
                  <a:cubicBezTo>
                    <a:pt x="157" y="7"/>
                    <a:pt x="157" y="8"/>
                    <a:pt x="157" y="9"/>
                  </a:cubicBezTo>
                  <a:cubicBezTo>
                    <a:pt x="156" y="9"/>
                    <a:pt x="156" y="10"/>
                    <a:pt x="157" y="11"/>
                  </a:cubicBezTo>
                  <a:cubicBezTo>
                    <a:pt x="157" y="11"/>
                    <a:pt x="158" y="11"/>
                    <a:pt x="159" y="10"/>
                  </a:cubicBezTo>
                  <a:cubicBezTo>
                    <a:pt x="160" y="10"/>
                    <a:pt x="160" y="9"/>
                    <a:pt x="161" y="8"/>
                  </a:cubicBezTo>
                  <a:cubicBezTo>
                    <a:pt x="162" y="8"/>
                    <a:pt x="163" y="7"/>
                    <a:pt x="164" y="6"/>
                  </a:cubicBezTo>
                  <a:cubicBezTo>
                    <a:pt x="165" y="6"/>
                    <a:pt x="166" y="6"/>
                    <a:pt x="166" y="6"/>
                  </a:cubicBezTo>
                  <a:cubicBezTo>
                    <a:pt x="167" y="6"/>
                    <a:pt x="168" y="6"/>
                    <a:pt x="169" y="7"/>
                  </a:cubicBezTo>
                  <a:cubicBezTo>
                    <a:pt x="170" y="7"/>
                    <a:pt x="171" y="7"/>
                    <a:pt x="172" y="7"/>
                  </a:cubicBezTo>
                  <a:cubicBezTo>
                    <a:pt x="173" y="8"/>
                    <a:pt x="174" y="9"/>
                    <a:pt x="174" y="11"/>
                  </a:cubicBezTo>
                  <a:cubicBezTo>
                    <a:pt x="175" y="12"/>
                    <a:pt x="176" y="12"/>
                    <a:pt x="177" y="12"/>
                  </a:cubicBezTo>
                  <a:cubicBezTo>
                    <a:pt x="177" y="12"/>
                    <a:pt x="178" y="12"/>
                    <a:pt x="178" y="12"/>
                  </a:cubicBezTo>
                  <a:cubicBezTo>
                    <a:pt x="178" y="13"/>
                    <a:pt x="178" y="14"/>
                    <a:pt x="177" y="14"/>
                  </a:cubicBezTo>
                  <a:cubicBezTo>
                    <a:pt x="176" y="14"/>
                    <a:pt x="175" y="14"/>
                    <a:pt x="175" y="14"/>
                  </a:cubicBezTo>
                  <a:cubicBezTo>
                    <a:pt x="174" y="15"/>
                    <a:pt x="174" y="17"/>
                    <a:pt x="172" y="17"/>
                  </a:cubicBezTo>
                  <a:cubicBezTo>
                    <a:pt x="171" y="18"/>
                    <a:pt x="168" y="17"/>
                    <a:pt x="169" y="19"/>
                  </a:cubicBezTo>
                  <a:cubicBezTo>
                    <a:pt x="169" y="19"/>
                    <a:pt x="170" y="19"/>
                    <a:pt x="170" y="19"/>
                  </a:cubicBezTo>
                  <a:cubicBezTo>
                    <a:pt x="171" y="20"/>
                    <a:pt x="171" y="21"/>
                    <a:pt x="172" y="21"/>
                  </a:cubicBezTo>
                  <a:cubicBezTo>
                    <a:pt x="173" y="22"/>
                    <a:pt x="174" y="21"/>
                    <a:pt x="176" y="22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2" y="26"/>
                    <a:pt x="169" y="28"/>
                    <a:pt x="166" y="30"/>
                  </a:cubicBezTo>
                  <a:cubicBezTo>
                    <a:pt x="165" y="31"/>
                    <a:pt x="165" y="31"/>
                    <a:pt x="164" y="32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4" y="30"/>
                    <a:pt x="164" y="28"/>
                    <a:pt x="165" y="26"/>
                  </a:cubicBezTo>
                  <a:cubicBezTo>
                    <a:pt x="166" y="26"/>
                    <a:pt x="166" y="25"/>
                    <a:pt x="165" y="24"/>
                  </a:cubicBezTo>
                  <a:cubicBezTo>
                    <a:pt x="165" y="23"/>
                    <a:pt x="164" y="22"/>
                    <a:pt x="163" y="21"/>
                  </a:cubicBezTo>
                  <a:cubicBezTo>
                    <a:pt x="160" y="20"/>
                    <a:pt x="158" y="21"/>
                    <a:pt x="155" y="20"/>
                  </a:cubicBezTo>
                  <a:cubicBezTo>
                    <a:pt x="154" y="19"/>
                    <a:pt x="152" y="19"/>
                    <a:pt x="151" y="20"/>
                  </a:cubicBezTo>
                  <a:cubicBezTo>
                    <a:pt x="150" y="21"/>
                    <a:pt x="148" y="21"/>
                    <a:pt x="147" y="21"/>
                  </a:cubicBezTo>
                  <a:cubicBezTo>
                    <a:pt x="145" y="22"/>
                    <a:pt x="144" y="24"/>
                    <a:pt x="143" y="26"/>
                  </a:cubicBezTo>
                  <a:cubicBezTo>
                    <a:pt x="142" y="28"/>
                    <a:pt x="143" y="30"/>
                    <a:pt x="143" y="32"/>
                  </a:cubicBezTo>
                  <a:cubicBezTo>
                    <a:pt x="142" y="34"/>
                    <a:pt x="141" y="34"/>
                    <a:pt x="140" y="35"/>
                  </a:cubicBezTo>
                  <a:cubicBezTo>
                    <a:pt x="139" y="36"/>
                    <a:pt x="138" y="36"/>
                    <a:pt x="137" y="37"/>
                  </a:cubicBezTo>
                  <a:cubicBezTo>
                    <a:pt x="137" y="37"/>
                    <a:pt x="136" y="37"/>
                    <a:pt x="135" y="37"/>
                  </a:cubicBezTo>
                  <a:cubicBezTo>
                    <a:pt x="134" y="36"/>
                    <a:pt x="133" y="37"/>
                    <a:pt x="132" y="36"/>
                  </a:cubicBezTo>
                  <a:cubicBezTo>
                    <a:pt x="131" y="34"/>
                    <a:pt x="129" y="34"/>
                    <a:pt x="128" y="34"/>
                  </a:cubicBezTo>
                  <a:cubicBezTo>
                    <a:pt x="127" y="34"/>
                    <a:pt x="127" y="35"/>
                    <a:pt x="126" y="35"/>
                  </a:cubicBezTo>
                  <a:cubicBezTo>
                    <a:pt x="125" y="36"/>
                    <a:pt x="123" y="36"/>
                    <a:pt x="122" y="35"/>
                  </a:cubicBezTo>
                  <a:cubicBezTo>
                    <a:pt x="121" y="35"/>
                    <a:pt x="120" y="36"/>
                    <a:pt x="119" y="35"/>
                  </a:cubicBezTo>
                  <a:cubicBezTo>
                    <a:pt x="118" y="35"/>
                    <a:pt x="118" y="34"/>
                    <a:pt x="117" y="33"/>
                  </a:cubicBezTo>
                  <a:cubicBezTo>
                    <a:pt x="116" y="32"/>
                    <a:pt x="116" y="30"/>
                    <a:pt x="115" y="28"/>
                  </a:cubicBezTo>
                  <a:cubicBezTo>
                    <a:pt x="115" y="27"/>
                    <a:pt x="114" y="27"/>
                    <a:pt x="113" y="26"/>
                  </a:cubicBezTo>
                  <a:cubicBezTo>
                    <a:pt x="112" y="26"/>
                    <a:pt x="111" y="26"/>
                    <a:pt x="110" y="26"/>
                  </a:cubicBezTo>
                  <a:cubicBezTo>
                    <a:pt x="109" y="27"/>
                    <a:pt x="110" y="29"/>
                    <a:pt x="109" y="31"/>
                  </a:cubicBezTo>
                  <a:cubicBezTo>
                    <a:pt x="109" y="31"/>
                    <a:pt x="107" y="31"/>
                    <a:pt x="107" y="30"/>
                  </a:cubicBezTo>
                  <a:cubicBezTo>
                    <a:pt x="106" y="30"/>
                    <a:pt x="105" y="30"/>
                    <a:pt x="104" y="30"/>
                  </a:cubicBezTo>
                  <a:cubicBezTo>
                    <a:pt x="104" y="33"/>
                    <a:pt x="104" y="36"/>
                    <a:pt x="104" y="39"/>
                  </a:cubicBezTo>
                  <a:cubicBezTo>
                    <a:pt x="103" y="40"/>
                    <a:pt x="102" y="40"/>
                    <a:pt x="101" y="39"/>
                  </a:cubicBezTo>
                  <a:cubicBezTo>
                    <a:pt x="98" y="37"/>
                    <a:pt x="95" y="36"/>
                    <a:pt x="91" y="37"/>
                  </a:cubicBezTo>
                  <a:cubicBezTo>
                    <a:pt x="88" y="37"/>
                    <a:pt x="90" y="41"/>
                    <a:pt x="89" y="44"/>
                  </a:cubicBezTo>
                  <a:cubicBezTo>
                    <a:pt x="89" y="45"/>
                    <a:pt x="87" y="45"/>
                    <a:pt x="87" y="44"/>
                  </a:cubicBezTo>
                  <a:cubicBezTo>
                    <a:pt x="86" y="44"/>
                    <a:pt x="85" y="43"/>
                    <a:pt x="84" y="42"/>
                  </a:cubicBezTo>
                  <a:cubicBezTo>
                    <a:pt x="84" y="42"/>
                    <a:pt x="83" y="42"/>
                    <a:pt x="82" y="42"/>
                  </a:cubicBezTo>
                  <a:cubicBezTo>
                    <a:pt x="80" y="44"/>
                    <a:pt x="80" y="47"/>
                    <a:pt x="79" y="49"/>
                  </a:cubicBezTo>
                  <a:cubicBezTo>
                    <a:pt x="78" y="50"/>
                    <a:pt x="78" y="51"/>
                    <a:pt x="78" y="52"/>
                  </a:cubicBezTo>
                  <a:cubicBezTo>
                    <a:pt x="77" y="54"/>
                    <a:pt x="77" y="56"/>
                    <a:pt x="77" y="59"/>
                  </a:cubicBezTo>
                  <a:cubicBezTo>
                    <a:pt x="77" y="60"/>
                    <a:pt x="76" y="61"/>
                    <a:pt x="75" y="63"/>
                  </a:cubicBezTo>
                  <a:cubicBezTo>
                    <a:pt x="75" y="63"/>
                    <a:pt x="74" y="63"/>
                    <a:pt x="74" y="64"/>
                  </a:cubicBezTo>
                  <a:cubicBezTo>
                    <a:pt x="74" y="65"/>
                    <a:pt x="73" y="66"/>
                    <a:pt x="72" y="66"/>
                  </a:cubicBezTo>
                  <a:cubicBezTo>
                    <a:pt x="71" y="67"/>
                    <a:pt x="69" y="68"/>
                    <a:pt x="68" y="69"/>
                  </a:cubicBezTo>
                  <a:cubicBezTo>
                    <a:pt x="67" y="69"/>
                    <a:pt x="66" y="69"/>
                    <a:pt x="66" y="70"/>
                  </a:cubicBezTo>
                  <a:cubicBezTo>
                    <a:pt x="66" y="73"/>
                    <a:pt x="66" y="75"/>
                    <a:pt x="66" y="77"/>
                  </a:cubicBezTo>
                  <a:cubicBezTo>
                    <a:pt x="65" y="80"/>
                    <a:pt x="64" y="82"/>
                    <a:pt x="63" y="85"/>
                  </a:cubicBezTo>
                  <a:cubicBezTo>
                    <a:pt x="62" y="86"/>
                    <a:pt x="61" y="87"/>
                    <a:pt x="61" y="88"/>
                  </a:cubicBezTo>
                  <a:cubicBezTo>
                    <a:pt x="60" y="90"/>
                    <a:pt x="60" y="91"/>
                    <a:pt x="61" y="92"/>
                  </a:cubicBezTo>
                  <a:cubicBezTo>
                    <a:pt x="62" y="93"/>
                    <a:pt x="63" y="93"/>
                    <a:pt x="64" y="94"/>
                  </a:cubicBezTo>
                  <a:cubicBezTo>
                    <a:pt x="64" y="94"/>
                    <a:pt x="64" y="96"/>
                    <a:pt x="64" y="96"/>
                  </a:cubicBezTo>
                  <a:cubicBezTo>
                    <a:pt x="62" y="97"/>
                    <a:pt x="60" y="96"/>
                    <a:pt x="58" y="95"/>
                  </a:cubicBezTo>
                  <a:cubicBezTo>
                    <a:pt x="55" y="94"/>
                    <a:pt x="54" y="97"/>
                    <a:pt x="53" y="99"/>
                  </a:cubicBezTo>
                  <a:cubicBezTo>
                    <a:pt x="52" y="100"/>
                    <a:pt x="51" y="101"/>
                    <a:pt x="51" y="103"/>
                  </a:cubicBezTo>
                  <a:cubicBezTo>
                    <a:pt x="51" y="104"/>
                    <a:pt x="51" y="106"/>
                    <a:pt x="51" y="108"/>
                  </a:cubicBezTo>
                  <a:cubicBezTo>
                    <a:pt x="51" y="111"/>
                    <a:pt x="50" y="115"/>
                    <a:pt x="51" y="118"/>
                  </a:cubicBezTo>
                  <a:cubicBezTo>
                    <a:pt x="51" y="121"/>
                    <a:pt x="51" y="123"/>
                    <a:pt x="52" y="125"/>
                  </a:cubicBezTo>
                  <a:cubicBezTo>
                    <a:pt x="52" y="126"/>
                    <a:pt x="53" y="126"/>
                    <a:pt x="53" y="127"/>
                  </a:cubicBezTo>
                  <a:cubicBezTo>
                    <a:pt x="53" y="127"/>
                    <a:pt x="54" y="127"/>
                    <a:pt x="54" y="128"/>
                  </a:cubicBezTo>
                  <a:cubicBezTo>
                    <a:pt x="54" y="128"/>
                    <a:pt x="54" y="129"/>
                    <a:pt x="55" y="129"/>
                  </a:cubicBezTo>
                  <a:cubicBezTo>
                    <a:pt x="55" y="130"/>
                    <a:pt x="55" y="131"/>
                    <a:pt x="55" y="132"/>
                  </a:cubicBezTo>
                  <a:cubicBezTo>
                    <a:pt x="55" y="133"/>
                    <a:pt x="53" y="134"/>
                    <a:pt x="52" y="135"/>
                  </a:cubicBezTo>
                  <a:cubicBezTo>
                    <a:pt x="51" y="136"/>
                    <a:pt x="51" y="138"/>
                    <a:pt x="52" y="140"/>
                  </a:cubicBezTo>
                  <a:cubicBezTo>
                    <a:pt x="52" y="141"/>
                    <a:pt x="53" y="142"/>
                    <a:pt x="53" y="144"/>
                  </a:cubicBezTo>
                  <a:cubicBezTo>
                    <a:pt x="54" y="145"/>
                    <a:pt x="54" y="146"/>
                    <a:pt x="52" y="147"/>
                  </a:cubicBezTo>
                  <a:cubicBezTo>
                    <a:pt x="51" y="148"/>
                    <a:pt x="49" y="149"/>
                    <a:pt x="49" y="151"/>
                  </a:cubicBezTo>
                  <a:cubicBezTo>
                    <a:pt x="49" y="152"/>
                    <a:pt x="49" y="153"/>
                    <a:pt x="48" y="155"/>
                  </a:cubicBezTo>
                  <a:cubicBezTo>
                    <a:pt x="48" y="156"/>
                    <a:pt x="48" y="156"/>
                    <a:pt x="47" y="156"/>
                  </a:cubicBezTo>
                  <a:lnTo>
                    <a:pt x="46" y="157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8" name="Freeform 142"/>
            <p:cNvSpPr>
              <a:spLocks/>
            </p:cNvSpPr>
            <p:nvPr/>
          </p:nvSpPr>
          <p:spPr bwMode="auto">
            <a:xfrm>
              <a:off x="7070120" y="4526194"/>
              <a:ext cx="13050" cy="4834"/>
            </a:xfrm>
            <a:custGeom>
              <a:avLst/>
              <a:gdLst>
                <a:gd name="T0" fmla="*/ 8585865 w 10"/>
                <a:gd name="T1" fmla="*/ 0 h 5"/>
                <a:gd name="T2" fmla="*/ 1064436 w 10"/>
                <a:gd name="T3" fmla="*/ 1064436 h 5"/>
                <a:gd name="T4" fmla="*/ 1064436 w 10"/>
                <a:gd name="T5" fmla="*/ 3577445 h 5"/>
                <a:gd name="T6" fmla="*/ 2554647 w 10"/>
                <a:gd name="T7" fmla="*/ 5085394 h 5"/>
                <a:gd name="T8" fmla="*/ 8585865 w 10"/>
                <a:gd name="T9" fmla="*/ 3577445 h 5"/>
                <a:gd name="T10" fmla="*/ 11140513 w 10"/>
                <a:gd name="T11" fmla="*/ 0 h 5"/>
                <a:gd name="T12" fmla="*/ 11140513 w 10"/>
                <a:gd name="T13" fmla="*/ 0 h 5"/>
                <a:gd name="T14" fmla="*/ 8585865 w 10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5"/>
                <a:gd name="T26" fmla="*/ 10 w 10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5">
                  <a:moveTo>
                    <a:pt x="7" y="0"/>
                  </a:moveTo>
                  <a:cubicBezTo>
                    <a:pt x="4" y="1"/>
                    <a:pt x="3" y="1"/>
                    <a:pt x="1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4" y="5"/>
                    <a:pt x="6" y="4"/>
                    <a:pt x="7" y="3"/>
                  </a:cubicBezTo>
                  <a:cubicBezTo>
                    <a:pt x="9" y="3"/>
                    <a:pt x="10" y="2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9" name="Freeform 143"/>
            <p:cNvSpPr>
              <a:spLocks/>
            </p:cNvSpPr>
            <p:nvPr/>
          </p:nvSpPr>
          <p:spPr bwMode="auto">
            <a:xfrm>
              <a:off x="7040397" y="4538281"/>
              <a:ext cx="8699" cy="4834"/>
            </a:xfrm>
            <a:custGeom>
              <a:avLst/>
              <a:gdLst>
                <a:gd name="T0" fmla="*/ 2243220 w 6"/>
                <a:gd name="T1" fmla="*/ 0 h 4"/>
                <a:gd name="T2" fmla="*/ 727531 w 6"/>
                <a:gd name="T3" fmla="*/ 4450654 h 4"/>
                <a:gd name="T4" fmla="*/ 0 w 6"/>
                <a:gd name="T5" fmla="*/ 9219213 h 4"/>
                <a:gd name="T6" fmla="*/ 2243220 w 6"/>
                <a:gd name="T7" fmla="*/ 9219213 h 4"/>
                <a:gd name="T8" fmla="*/ 3961001 w 6"/>
                <a:gd name="T9" fmla="*/ 6243820 h 4"/>
                <a:gd name="T10" fmla="*/ 3961001 w 6"/>
                <a:gd name="T11" fmla="*/ 0 h 4"/>
                <a:gd name="T12" fmla="*/ 2243220 w 6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4"/>
                <a:gd name="T23" fmla="*/ 6 w 6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4">
                  <a:moveTo>
                    <a:pt x="3" y="0"/>
                  </a:moveTo>
                  <a:cubicBezTo>
                    <a:pt x="2" y="1"/>
                    <a:pt x="1" y="1"/>
                    <a:pt x="1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4" y="4"/>
                    <a:pt x="5" y="3"/>
                    <a:pt x="5" y="3"/>
                  </a:cubicBezTo>
                  <a:cubicBezTo>
                    <a:pt x="5" y="2"/>
                    <a:pt x="6" y="1"/>
                    <a:pt x="5" y="0"/>
                  </a:cubicBezTo>
                  <a:cubicBezTo>
                    <a:pt x="4" y="0"/>
                    <a:pt x="3" y="0"/>
                    <a:pt x="3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0" name="Freeform 144"/>
            <p:cNvSpPr>
              <a:spLocks/>
            </p:cNvSpPr>
            <p:nvPr/>
          </p:nvSpPr>
          <p:spPr bwMode="auto">
            <a:xfrm>
              <a:off x="7035321" y="4540700"/>
              <a:ext cx="5075" cy="6647"/>
            </a:xfrm>
            <a:custGeom>
              <a:avLst/>
              <a:gdLst>
                <a:gd name="T0" fmla="*/ 418284 w 4"/>
                <a:gd name="T1" fmla="*/ 1697572 h 6"/>
                <a:gd name="T2" fmla="*/ 418284 w 4"/>
                <a:gd name="T3" fmla="*/ 2970751 h 6"/>
                <a:gd name="T4" fmla="*/ 941139 w 4"/>
                <a:gd name="T5" fmla="*/ 3961001 h 6"/>
                <a:gd name="T6" fmla="*/ 1359459 w 4"/>
                <a:gd name="T7" fmla="*/ 3961001 h 6"/>
                <a:gd name="T8" fmla="*/ 1359459 w 4"/>
                <a:gd name="T9" fmla="*/ 727531 h 6"/>
                <a:gd name="T10" fmla="*/ 941139 w 4"/>
                <a:gd name="T11" fmla="*/ 727531 h 6"/>
                <a:gd name="T12" fmla="*/ 418284 w 4"/>
                <a:gd name="T13" fmla="*/ 224322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1" y="2"/>
                  </a:moveTo>
                  <a:cubicBezTo>
                    <a:pt x="1" y="3"/>
                    <a:pt x="0" y="4"/>
                    <a:pt x="1" y="4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2" y="5"/>
                    <a:pt x="3" y="6"/>
                    <a:pt x="3" y="5"/>
                  </a:cubicBezTo>
                  <a:cubicBezTo>
                    <a:pt x="4" y="4"/>
                    <a:pt x="4" y="2"/>
                    <a:pt x="3" y="1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1"/>
                    <a:pt x="1" y="2"/>
                    <a:pt x="1" y="3"/>
                  </a:cubicBezTo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1" name="Freeform 145"/>
            <p:cNvSpPr>
              <a:spLocks/>
            </p:cNvSpPr>
            <p:nvPr/>
          </p:nvSpPr>
          <p:spPr bwMode="auto">
            <a:xfrm>
              <a:off x="7021549" y="4546139"/>
              <a:ext cx="10876" cy="7856"/>
            </a:xfrm>
            <a:custGeom>
              <a:avLst/>
              <a:gdLst>
                <a:gd name="T0" fmla="*/ 5955246 w 8"/>
                <a:gd name="T1" fmla="*/ 0 h 7"/>
                <a:gd name="T2" fmla="*/ 5058432 w 8"/>
                <a:gd name="T3" fmla="*/ 0 h 7"/>
                <a:gd name="T4" fmla="*/ 5058432 w 8"/>
                <a:gd name="T5" fmla="*/ 0 h 7"/>
                <a:gd name="T6" fmla="*/ 2129866 w 8"/>
                <a:gd name="T7" fmla="*/ 1213713 h 7"/>
                <a:gd name="T8" fmla="*/ 896786 w 8"/>
                <a:gd name="T9" fmla="*/ 1213713 h 7"/>
                <a:gd name="T10" fmla="*/ 0 w 8"/>
                <a:gd name="T11" fmla="*/ 5930334 h 7"/>
                <a:gd name="T12" fmla="*/ 896786 w 8"/>
                <a:gd name="T13" fmla="*/ 8872004 h 7"/>
                <a:gd name="T14" fmla="*/ 3065115 w 8"/>
                <a:gd name="T15" fmla="*/ 8872004 h 7"/>
                <a:gd name="T16" fmla="*/ 5955246 w 8"/>
                <a:gd name="T17" fmla="*/ 7158428 h 7"/>
                <a:gd name="T18" fmla="*/ 7279645 w 8"/>
                <a:gd name="T19" fmla="*/ 4210842 h 7"/>
                <a:gd name="T20" fmla="*/ 8176458 w 8"/>
                <a:gd name="T21" fmla="*/ 0 h 7"/>
                <a:gd name="T22" fmla="*/ 5955246 w 8"/>
                <a:gd name="T23" fmla="*/ 0 h 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"/>
                <a:gd name="T37" fmla="*/ 0 h 7"/>
                <a:gd name="T38" fmla="*/ 8 w 8"/>
                <a:gd name="T39" fmla="*/ 7 h 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" h="7">
                  <a:moveTo>
                    <a:pt x="6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2" y="7"/>
                    <a:pt x="3" y="6"/>
                    <a:pt x="3" y="6"/>
                  </a:cubicBezTo>
                  <a:cubicBezTo>
                    <a:pt x="4" y="5"/>
                    <a:pt x="5" y="5"/>
                    <a:pt x="6" y="5"/>
                  </a:cubicBezTo>
                  <a:cubicBezTo>
                    <a:pt x="7" y="4"/>
                    <a:pt x="7" y="3"/>
                    <a:pt x="7" y="3"/>
                  </a:cubicBezTo>
                  <a:cubicBezTo>
                    <a:pt x="8" y="2"/>
                    <a:pt x="8" y="1"/>
                    <a:pt x="8" y="0"/>
                  </a:cubicBezTo>
                  <a:cubicBezTo>
                    <a:pt x="8" y="0"/>
                    <a:pt x="7" y="0"/>
                    <a:pt x="6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2" name="Freeform 146"/>
            <p:cNvSpPr>
              <a:spLocks/>
            </p:cNvSpPr>
            <p:nvPr/>
          </p:nvSpPr>
          <p:spPr bwMode="auto">
            <a:xfrm>
              <a:off x="7009948" y="4553995"/>
              <a:ext cx="11598" cy="9669"/>
            </a:xfrm>
            <a:custGeom>
              <a:avLst/>
              <a:gdLst>
                <a:gd name="T0" fmla="*/ 5234180 w 9"/>
                <a:gd name="T1" fmla="*/ 2243220 h 9"/>
                <a:gd name="T2" fmla="*/ 2970751 w 9"/>
                <a:gd name="T3" fmla="*/ 2243220 h 9"/>
                <a:gd name="T4" fmla="*/ 2243220 w 9"/>
                <a:gd name="T5" fmla="*/ 0 h 9"/>
                <a:gd name="T6" fmla="*/ 727531 w 9"/>
                <a:gd name="T7" fmla="*/ 0 h 9"/>
                <a:gd name="T8" fmla="*/ 727531 w 9"/>
                <a:gd name="T9" fmla="*/ 2970751 h 9"/>
                <a:gd name="T10" fmla="*/ 0 w 9"/>
                <a:gd name="T11" fmla="*/ 3961001 h 9"/>
                <a:gd name="T12" fmla="*/ 0 w 9"/>
                <a:gd name="T13" fmla="*/ 6931749 h 9"/>
                <a:gd name="T14" fmla="*/ 1697572 w 9"/>
                <a:gd name="T15" fmla="*/ 6931749 h 9"/>
                <a:gd name="T16" fmla="*/ 5234180 w 9"/>
                <a:gd name="T17" fmla="*/ 4688532 h 9"/>
                <a:gd name="T18" fmla="*/ 5234180 w 9"/>
                <a:gd name="T19" fmla="*/ 4688532 h 9"/>
                <a:gd name="T20" fmla="*/ 6253179 w 9"/>
                <a:gd name="T21" fmla="*/ 2243220 h 9"/>
                <a:gd name="T22" fmla="*/ 5234180 w 9"/>
                <a:gd name="T23" fmla="*/ 2243220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9"/>
                <a:gd name="T38" fmla="*/ 9 w 9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9">
                  <a:moveTo>
                    <a:pt x="7" y="3"/>
                  </a:moveTo>
                  <a:cubicBezTo>
                    <a:pt x="6" y="4"/>
                    <a:pt x="4" y="4"/>
                    <a:pt x="4" y="3"/>
                  </a:cubicBezTo>
                  <a:cubicBezTo>
                    <a:pt x="3" y="3"/>
                    <a:pt x="4" y="1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1"/>
                    <a:pt x="1" y="3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9"/>
                    <a:pt x="1" y="9"/>
                    <a:pt x="2" y="9"/>
                  </a:cubicBezTo>
                  <a:cubicBezTo>
                    <a:pt x="4" y="8"/>
                    <a:pt x="5" y="7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5"/>
                    <a:pt x="9" y="4"/>
                    <a:pt x="8" y="3"/>
                  </a:cubicBezTo>
                  <a:cubicBezTo>
                    <a:pt x="8" y="2"/>
                    <a:pt x="7" y="2"/>
                    <a:pt x="7" y="3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3" name="Freeform 147"/>
            <p:cNvSpPr>
              <a:spLocks/>
            </p:cNvSpPr>
            <p:nvPr/>
          </p:nvSpPr>
          <p:spPr bwMode="auto">
            <a:xfrm>
              <a:off x="7007774" y="4548555"/>
              <a:ext cx="7248" cy="5438"/>
            </a:xfrm>
            <a:custGeom>
              <a:avLst/>
              <a:gdLst>
                <a:gd name="T0" fmla="*/ 3577445 w 5"/>
                <a:gd name="T1" fmla="*/ 1064436 h 5"/>
                <a:gd name="T2" fmla="*/ 1064436 w 5"/>
                <a:gd name="T3" fmla="*/ 6131150 h 5"/>
                <a:gd name="T4" fmla="*/ 2554647 w 5"/>
                <a:gd name="T5" fmla="*/ 6131150 h 5"/>
                <a:gd name="T6" fmla="*/ 2554647 w 5"/>
                <a:gd name="T7" fmla="*/ 5085394 h 5"/>
                <a:gd name="T8" fmla="*/ 6131150 w 5"/>
                <a:gd name="T9" fmla="*/ 1064436 h 5"/>
                <a:gd name="T10" fmla="*/ 3577445 w 5"/>
                <a:gd name="T11" fmla="*/ 1064436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3" y="1"/>
                  </a:moveTo>
                  <a:cubicBezTo>
                    <a:pt x="2" y="3"/>
                    <a:pt x="0" y="4"/>
                    <a:pt x="1" y="5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4" y="4"/>
                    <a:pt x="5" y="2"/>
                    <a:pt x="5" y="1"/>
                  </a:cubicBezTo>
                  <a:cubicBezTo>
                    <a:pt x="4" y="1"/>
                    <a:pt x="3" y="0"/>
                    <a:pt x="3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4" name="Freeform 148"/>
            <p:cNvSpPr>
              <a:spLocks/>
            </p:cNvSpPr>
            <p:nvPr/>
          </p:nvSpPr>
          <p:spPr bwMode="auto">
            <a:xfrm>
              <a:off x="6997624" y="4561852"/>
              <a:ext cx="9425" cy="4834"/>
            </a:xfrm>
            <a:custGeom>
              <a:avLst/>
              <a:gdLst>
                <a:gd name="T0" fmla="*/ 7158428 w 7"/>
                <a:gd name="T1" fmla="*/ 0 h 5"/>
                <a:gd name="T2" fmla="*/ 1213713 w 7"/>
                <a:gd name="T3" fmla="*/ 5085394 h 5"/>
                <a:gd name="T4" fmla="*/ 4210842 w 7"/>
                <a:gd name="T5" fmla="*/ 5085394 h 5"/>
                <a:gd name="T6" fmla="*/ 7158428 w 7"/>
                <a:gd name="T7" fmla="*/ 3577445 h 5"/>
                <a:gd name="T8" fmla="*/ 10226328 w 7"/>
                <a:gd name="T9" fmla="*/ 3577445 h 5"/>
                <a:gd name="T10" fmla="*/ 10226328 w 7"/>
                <a:gd name="T11" fmla="*/ 1064436 h 5"/>
                <a:gd name="T12" fmla="*/ 7158428 w 7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5"/>
                <a:gd name="T23" fmla="*/ 7 w 7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5">
                  <a:moveTo>
                    <a:pt x="5" y="0"/>
                  </a:moveTo>
                  <a:cubicBezTo>
                    <a:pt x="3" y="0"/>
                    <a:pt x="0" y="2"/>
                    <a:pt x="1" y="4"/>
                  </a:cubicBezTo>
                  <a:cubicBezTo>
                    <a:pt x="2" y="5"/>
                    <a:pt x="3" y="5"/>
                    <a:pt x="3" y="4"/>
                  </a:cubicBezTo>
                  <a:cubicBezTo>
                    <a:pt x="4" y="4"/>
                    <a:pt x="4" y="3"/>
                    <a:pt x="5" y="3"/>
                  </a:cubicBezTo>
                  <a:cubicBezTo>
                    <a:pt x="5" y="3"/>
                    <a:pt x="6" y="3"/>
                    <a:pt x="7" y="3"/>
                  </a:cubicBezTo>
                  <a:cubicBezTo>
                    <a:pt x="7" y="2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5" name="Freeform 149"/>
            <p:cNvSpPr>
              <a:spLocks/>
            </p:cNvSpPr>
            <p:nvPr/>
          </p:nvSpPr>
          <p:spPr bwMode="auto">
            <a:xfrm>
              <a:off x="6944703" y="4717769"/>
              <a:ext cx="28273" cy="25986"/>
            </a:xfrm>
            <a:custGeom>
              <a:avLst/>
              <a:gdLst>
                <a:gd name="T0" fmla="*/ 12950905 w 21"/>
                <a:gd name="T1" fmla="*/ 24547147 h 24"/>
                <a:gd name="T2" fmla="*/ 5439381 w 21"/>
                <a:gd name="T3" fmla="*/ 24547147 h 24"/>
                <a:gd name="T4" fmla="*/ 5439381 w 21"/>
                <a:gd name="T5" fmla="*/ 24547147 h 24"/>
                <a:gd name="T6" fmla="*/ 5439381 w 21"/>
                <a:gd name="T7" fmla="*/ 23798965 h 24"/>
                <a:gd name="T8" fmla="*/ 4514290 w 21"/>
                <a:gd name="T9" fmla="*/ 19419101 h 24"/>
                <a:gd name="T10" fmla="*/ 0 w 21"/>
                <a:gd name="T11" fmla="*/ 15581415 h 24"/>
                <a:gd name="T12" fmla="*/ 0 w 21"/>
                <a:gd name="T13" fmla="*/ 14143705 h 24"/>
                <a:gd name="T14" fmla="*/ 959507 w 21"/>
                <a:gd name="T15" fmla="*/ 12557623 h 24"/>
                <a:gd name="T16" fmla="*/ 959507 w 21"/>
                <a:gd name="T17" fmla="*/ 8176465 h 24"/>
                <a:gd name="T18" fmla="*/ 959507 w 21"/>
                <a:gd name="T19" fmla="*/ 8176465 h 24"/>
                <a:gd name="T20" fmla="*/ 959507 w 21"/>
                <a:gd name="T21" fmla="*/ 4351850 h 24"/>
                <a:gd name="T22" fmla="*/ 10748306 w 21"/>
                <a:gd name="T23" fmla="*/ 3065439 h 24"/>
                <a:gd name="T24" fmla="*/ 11680953 w 21"/>
                <a:gd name="T25" fmla="*/ 0 h 24"/>
                <a:gd name="T26" fmla="*/ 14871980 w 21"/>
                <a:gd name="T27" fmla="*/ 0 h 24"/>
                <a:gd name="T28" fmla="*/ 16919961 w 21"/>
                <a:gd name="T29" fmla="*/ 4351850 h 24"/>
                <a:gd name="T30" fmla="*/ 16919961 w 21"/>
                <a:gd name="T31" fmla="*/ 5287420 h 24"/>
                <a:gd name="T32" fmla="*/ 22371868 w 21"/>
                <a:gd name="T33" fmla="*/ 5287420 h 24"/>
                <a:gd name="T34" fmla="*/ 22371868 w 21"/>
                <a:gd name="T35" fmla="*/ 5287420 h 24"/>
                <a:gd name="T36" fmla="*/ 22371868 w 21"/>
                <a:gd name="T37" fmla="*/ 7280415 h 24"/>
                <a:gd name="T38" fmla="*/ 20139202 w 21"/>
                <a:gd name="T39" fmla="*/ 9111497 h 24"/>
                <a:gd name="T40" fmla="*/ 20139202 w 21"/>
                <a:gd name="T41" fmla="*/ 9111497 h 24"/>
                <a:gd name="T42" fmla="*/ 19221950 w 21"/>
                <a:gd name="T43" fmla="*/ 10335640 h 24"/>
                <a:gd name="T44" fmla="*/ 17856874 w 21"/>
                <a:gd name="T45" fmla="*/ 11242634 h 24"/>
                <a:gd name="T46" fmla="*/ 16919961 w 21"/>
                <a:gd name="T47" fmla="*/ 15581415 h 24"/>
                <a:gd name="T48" fmla="*/ 14871980 w 21"/>
                <a:gd name="T49" fmla="*/ 17290978 h 24"/>
                <a:gd name="T50" fmla="*/ 13910476 w 21"/>
                <a:gd name="T51" fmla="*/ 20751062 h 24"/>
                <a:gd name="T52" fmla="*/ 13910476 w 21"/>
                <a:gd name="T53" fmla="*/ 22349417 h 24"/>
                <a:gd name="T54" fmla="*/ 14871980 w 21"/>
                <a:gd name="T55" fmla="*/ 24547147 h 24"/>
                <a:gd name="T56" fmla="*/ 12950905 w 21"/>
                <a:gd name="T57" fmla="*/ 24547147 h 2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1"/>
                <a:gd name="T88" fmla="*/ 0 h 24"/>
                <a:gd name="T89" fmla="*/ 21 w 21"/>
                <a:gd name="T90" fmla="*/ 24 h 2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1" h="24">
                  <a:moveTo>
                    <a:pt x="12" y="24"/>
                  </a:moveTo>
                  <a:cubicBezTo>
                    <a:pt x="10" y="24"/>
                    <a:pt x="8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3"/>
                    <a:pt x="5" y="23"/>
                  </a:cubicBezTo>
                  <a:cubicBezTo>
                    <a:pt x="5" y="21"/>
                    <a:pt x="5" y="20"/>
                    <a:pt x="4" y="19"/>
                  </a:cubicBezTo>
                  <a:cubicBezTo>
                    <a:pt x="3" y="17"/>
                    <a:pt x="1" y="17"/>
                    <a:pt x="0" y="15"/>
                  </a:cubicBezTo>
                  <a:cubicBezTo>
                    <a:pt x="0" y="15"/>
                    <a:pt x="0" y="14"/>
                    <a:pt x="0" y="14"/>
                  </a:cubicBezTo>
                  <a:cubicBezTo>
                    <a:pt x="1" y="13"/>
                    <a:pt x="1" y="12"/>
                    <a:pt x="1" y="12"/>
                  </a:cubicBezTo>
                  <a:cubicBezTo>
                    <a:pt x="2" y="11"/>
                    <a:pt x="2" y="9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1" y="5"/>
                    <a:pt x="1" y="4"/>
                  </a:cubicBezTo>
                  <a:cubicBezTo>
                    <a:pt x="4" y="3"/>
                    <a:pt x="7" y="5"/>
                    <a:pt x="10" y="3"/>
                  </a:cubicBezTo>
                  <a:cubicBezTo>
                    <a:pt x="11" y="2"/>
                    <a:pt x="10" y="1"/>
                    <a:pt x="11" y="0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6" y="1"/>
                    <a:pt x="15" y="3"/>
                    <a:pt x="16" y="4"/>
                  </a:cubicBezTo>
                  <a:cubicBezTo>
                    <a:pt x="16" y="4"/>
                    <a:pt x="16" y="5"/>
                    <a:pt x="16" y="5"/>
                  </a:cubicBezTo>
                  <a:cubicBezTo>
                    <a:pt x="18" y="5"/>
                    <a:pt x="19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6"/>
                    <a:pt x="21" y="7"/>
                    <a:pt x="21" y="7"/>
                  </a:cubicBezTo>
                  <a:cubicBezTo>
                    <a:pt x="20" y="7"/>
                    <a:pt x="19" y="8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10"/>
                    <a:pt x="18" y="10"/>
                  </a:cubicBezTo>
                  <a:cubicBezTo>
                    <a:pt x="18" y="10"/>
                    <a:pt x="17" y="11"/>
                    <a:pt x="17" y="11"/>
                  </a:cubicBezTo>
                  <a:cubicBezTo>
                    <a:pt x="17" y="12"/>
                    <a:pt x="17" y="14"/>
                    <a:pt x="16" y="15"/>
                  </a:cubicBezTo>
                  <a:cubicBezTo>
                    <a:pt x="15" y="16"/>
                    <a:pt x="15" y="16"/>
                    <a:pt x="14" y="17"/>
                  </a:cubicBezTo>
                  <a:cubicBezTo>
                    <a:pt x="13" y="18"/>
                    <a:pt x="13" y="19"/>
                    <a:pt x="13" y="20"/>
                  </a:cubicBezTo>
                  <a:cubicBezTo>
                    <a:pt x="12" y="21"/>
                    <a:pt x="12" y="22"/>
                    <a:pt x="13" y="22"/>
                  </a:cubicBezTo>
                  <a:cubicBezTo>
                    <a:pt x="13" y="23"/>
                    <a:pt x="14" y="24"/>
                    <a:pt x="14" y="24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6" name="Freeform 150"/>
            <p:cNvSpPr>
              <a:spLocks/>
            </p:cNvSpPr>
            <p:nvPr/>
          </p:nvSpPr>
          <p:spPr bwMode="auto">
            <a:xfrm>
              <a:off x="6946876" y="4708706"/>
              <a:ext cx="23201" cy="10879"/>
            </a:xfrm>
            <a:custGeom>
              <a:avLst/>
              <a:gdLst>
                <a:gd name="T0" fmla="*/ 5234180 w 18"/>
                <a:gd name="T1" fmla="*/ 5085394 h 10"/>
                <a:gd name="T2" fmla="*/ 1697572 w 18"/>
                <a:gd name="T3" fmla="*/ 7196548 h 10"/>
                <a:gd name="T4" fmla="*/ 727531 w 18"/>
                <a:gd name="T5" fmla="*/ 12204941 h 10"/>
                <a:gd name="T6" fmla="*/ 727531 w 18"/>
                <a:gd name="T7" fmla="*/ 12204941 h 10"/>
                <a:gd name="T8" fmla="*/ 2970751 w 18"/>
                <a:gd name="T9" fmla="*/ 8585865 h 10"/>
                <a:gd name="T10" fmla="*/ 5234180 w 18"/>
                <a:gd name="T11" fmla="*/ 8585865 h 10"/>
                <a:gd name="T12" fmla="*/ 12213086 w 18"/>
                <a:gd name="T13" fmla="*/ 7196548 h 10"/>
                <a:gd name="T14" fmla="*/ 13184928 w 18"/>
                <a:gd name="T15" fmla="*/ 5085394 h 10"/>
                <a:gd name="T16" fmla="*/ 13184928 w 18"/>
                <a:gd name="T17" fmla="*/ 0 h 10"/>
                <a:gd name="T18" fmla="*/ 11620009 w 18"/>
                <a:gd name="T19" fmla="*/ 0 h 10"/>
                <a:gd name="T20" fmla="*/ 9242332 w 18"/>
                <a:gd name="T21" fmla="*/ 1064436 h 10"/>
                <a:gd name="T22" fmla="*/ 8614987 w 18"/>
                <a:gd name="T23" fmla="*/ 1064436 h 10"/>
                <a:gd name="T24" fmla="*/ 6931749 w 18"/>
                <a:gd name="T25" fmla="*/ 3577445 h 10"/>
                <a:gd name="T26" fmla="*/ 5234180 w 18"/>
                <a:gd name="T27" fmla="*/ 5085394 h 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8"/>
                <a:gd name="T43" fmla="*/ 0 h 10"/>
                <a:gd name="T44" fmla="*/ 18 w 18"/>
                <a:gd name="T45" fmla="*/ 10 h 1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8" h="10">
                  <a:moveTo>
                    <a:pt x="7" y="4"/>
                  </a:moveTo>
                  <a:cubicBezTo>
                    <a:pt x="5" y="4"/>
                    <a:pt x="4" y="5"/>
                    <a:pt x="2" y="6"/>
                  </a:cubicBezTo>
                  <a:cubicBezTo>
                    <a:pt x="0" y="7"/>
                    <a:pt x="0" y="9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9"/>
                    <a:pt x="3" y="8"/>
                    <a:pt x="4" y="7"/>
                  </a:cubicBezTo>
                  <a:cubicBezTo>
                    <a:pt x="5" y="7"/>
                    <a:pt x="6" y="7"/>
                    <a:pt x="7" y="7"/>
                  </a:cubicBezTo>
                  <a:cubicBezTo>
                    <a:pt x="10" y="6"/>
                    <a:pt x="13" y="7"/>
                    <a:pt x="16" y="6"/>
                  </a:cubicBezTo>
                  <a:cubicBezTo>
                    <a:pt x="16" y="5"/>
                    <a:pt x="17" y="5"/>
                    <a:pt x="17" y="4"/>
                  </a:cubicBezTo>
                  <a:cubicBezTo>
                    <a:pt x="18" y="3"/>
                    <a:pt x="17" y="1"/>
                    <a:pt x="17" y="0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4" y="1"/>
                    <a:pt x="13" y="0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0" y="2"/>
                    <a:pt x="10" y="3"/>
                    <a:pt x="9" y="3"/>
                  </a:cubicBezTo>
                  <a:cubicBezTo>
                    <a:pt x="9" y="3"/>
                    <a:pt x="8" y="4"/>
                    <a:pt x="7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7" name="Freeform 151"/>
            <p:cNvSpPr>
              <a:spLocks/>
            </p:cNvSpPr>
            <p:nvPr/>
          </p:nvSpPr>
          <p:spPr bwMode="auto">
            <a:xfrm>
              <a:off x="6965727" y="4734691"/>
              <a:ext cx="8699" cy="7253"/>
            </a:xfrm>
            <a:custGeom>
              <a:avLst/>
              <a:gdLst>
                <a:gd name="T0" fmla="*/ 2642432 w 7"/>
                <a:gd name="T1" fmla="*/ 1724631 h 7"/>
                <a:gd name="T2" fmla="*/ 1724631 w 7"/>
                <a:gd name="T3" fmla="*/ 0 h 7"/>
                <a:gd name="T4" fmla="*/ 0 w 7"/>
                <a:gd name="T5" fmla="*/ 1724631 h 7"/>
                <a:gd name="T6" fmla="*/ 0 w 7"/>
                <a:gd name="T7" fmla="*/ 2234466 h 7"/>
                <a:gd name="T8" fmla="*/ 1724631 w 7"/>
                <a:gd name="T9" fmla="*/ 3397424 h 7"/>
                <a:gd name="T10" fmla="*/ 2642432 w 7"/>
                <a:gd name="T11" fmla="*/ 3942014 h 7"/>
                <a:gd name="T12" fmla="*/ 3397424 w 7"/>
                <a:gd name="T13" fmla="*/ 1724631 h 7"/>
                <a:gd name="T14" fmla="*/ 2642432 w 7"/>
                <a:gd name="T15" fmla="*/ 1724631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7"/>
                <a:gd name="T26" fmla="*/ 7 w 7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7">
                  <a:moveTo>
                    <a:pt x="5" y="3"/>
                  </a:moveTo>
                  <a:cubicBezTo>
                    <a:pt x="5" y="2"/>
                    <a:pt x="5" y="0"/>
                    <a:pt x="3" y="0"/>
                  </a:cubicBezTo>
                  <a:cubicBezTo>
                    <a:pt x="3" y="2"/>
                    <a:pt x="1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1" y="5"/>
                    <a:pt x="2" y="6"/>
                    <a:pt x="3" y="6"/>
                  </a:cubicBezTo>
                  <a:cubicBezTo>
                    <a:pt x="3" y="7"/>
                    <a:pt x="4" y="7"/>
                    <a:pt x="5" y="7"/>
                  </a:cubicBezTo>
                  <a:cubicBezTo>
                    <a:pt x="7" y="6"/>
                    <a:pt x="6" y="4"/>
                    <a:pt x="6" y="3"/>
                  </a:cubicBezTo>
                  <a:lnTo>
                    <a:pt x="5" y="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8" name="Freeform 152"/>
            <p:cNvSpPr>
              <a:spLocks/>
            </p:cNvSpPr>
            <p:nvPr/>
          </p:nvSpPr>
          <p:spPr bwMode="auto">
            <a:xfrm>
              <a:off x="6974427" y="4725625"/>
              <a:ext cx="16674" cy="18129"/>
            </a:xfrm>
            <a:custGeom>
              <a:avLst/>
              <a:gdLst>
                <a:gd name="T0" fmla="*/ 3927944 w 12"/>
                <a:gd name="T1" fmla="*/ 4351847 h 16"/>
                <a:gd name="T2" fmla="*/ 1147259 w 12"/>
                <a:gd name="T3" fmla="*/ 8176458 h 16"/>
                <a:gd name="T4" fmla="*/ 2772543 w 12"/>
                <a:gd name="T5" fmla="*/ 12013775 h 16"/>
                <a:gd name="T6" fmla="*/ 5549682 w 12"/>
                <a:gd name="T7" fmla="*/ 12013775 h 16"/>
                <a:gd name="T8" fmla="*/ 8321772 w 12"/>
                <a:gd name="T9" fmla="*/ 15456858 h 16"/>
                <a:gd name="T10" fmla="*/ 9492531 w 12"/>
                <a:gd name="T11" fmla="*/ 15456858 h 16"/>
                <a:gd name="T12" fmla="*/ 13411727 w 12"/>
                <a:gd name="T13" fmla="*/ 13463332 h 16"/>
                <a:gd name="T14" fmla="*/ 13411727 w 12"/>
                <a:gd name="T15" fmla="*/ 13463332 h 16"/>
                <a:gd name="T16" fmla="*/ 13411727 w 12"/>
                <a:gd name="T17" fmla="*/ 10335629 h 16"/>
                <a:gd name="T18" fmla="*/ 13411727 w 12"/>
                <a:gd name="T19" fmla="*/ 9111496 h 16"/>
                <a:gd name="T20" fmla="*/ 15045123 w 12"/>
                <a:gd name="T21" fmla="*/ 8176458 h 16"/>
                <a:gd name="T22" fmla="*/ 15045123 w 12"/>
                <a:gd name="T23" fmla="*/ 3065115 h 16"/>
                <a:gd name="T24" fmla="*/ 10639125 w 12"/>
                <a:gd name="T25" fmla="*/ 896786 h 16"/>
                <a:gd name="T26" fmla="*/ 9492531 w 12"/>
                <a:gd name="T27" fmla="*/ 3065115 h 16"/>
                <a:gd name="T28" fmla="*/ 5549682 w 12"/>
                <a:gd name="T29" fmla="*/ 3065115 h 16"/>
                <a:gd name="T30" fmla="*/ 3927944 w 12"/>
                <a:gd name="T31" fmla="*/ 4351847 h 16"/>
                <a:gd name="T32" fmla="*/ 3927944 w 12"/>
                <a:gd name="T33" fmla="*/ 4351847 h 1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2"/>
                <a:gd name="T52" fmla="*/ 0 h 16"/>
                <a:gd name="T53" fmla="*/ 12 w 12"/>
                <a:gd name="T54" fmla="*/ 16 h 1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2" h="16">
                  <a:moveTo>
                    <a:pt x="3" y="4"/>
                  </a:moveTo>
                  <a:cubicBezTo>
                    <a:pt x="2" y="5"/>
                    <a:pt x="1" y="6"/>
                    <a:pt x="1" y="8"/>
                  </a:cubicBezTo>
                  <a:cubicBezTo>
                    <a:pt x="1" y="9"/>
                    <a:pt x="0" y="11"/>
                    <a:pt x="2" y="12"/>
                  </a:cubicBezTo>
                  <a:cubicBezTo>
                    <a:pt x="2" y="13"/>
                    <a:pt x="3" y="12"/>
                    <a:pt x="4" y="12"/>
                  </a:cubicBezTo>
                  <a:cubicBezTo>
                    <a:pt x="5" y="13"/>
                    <a:pt x="5" y="15"/>
                    <a:pt x="6" y="15"/>
                  </a:cubicBezTo>
                  <a:cubicBezTo>
                    <a:pt x="6" y="16"/>
                    <a:pt x="7" y="16"/>
                    <a:pt x="7" y="15"/>
                  </a:cubicBezTo>
                  <a:cubicBezTo>
                    <a:pt x="8" y="14"/>
                    <a:pt x="9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1" y="12"/>
                    <a:pt x="11" y="11"/>
                    <a:pt x="10" y="10"/>
                  </a:cubicBezTo>
                  <a:cubicBezTo>
                    <a:pt x="9" y="10"/>
                    <a:pt x="10" y="9"/>
                    <a:pt x="10" y="9"/>
                  </a:cubicBezTo>
                  <a:cubicBezTo>
                    <a:pt x="10" y="9"/>
                    <a:pt x="11" y="9"/>
                    <a:pt x="11" y="8"/>
                  </a:cubicBezTo>
                  <a:cubicBezTo>
                    <a:pt x="12" y="6"/>
                    <a:pt x="11" y="4"/>
                    <a:pt x="11" y="3"/>
                  </a:cubicBezTo>
                  <a:cubicBezTo>
                    <a:pt x="11" y="2"/>
                    <a:pt x="9" y="0"/>
                    <a:pt x="8" y="1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6" y="4"/>
                    <a:pt x="5" y="3"/>
                    <a:pt x="4" y="3"/>
                  </a:cubicBezTo>
                  <a:cubicBezTo>
                    <a:pt x="4" y="4"/>
                    <a:pt x="3" y="4"/>
                    <a:pt x="3" y="4"/>
                  </a:cubicBezTo>
                  <a:cubicBezTo>
                    <a:pt x="3" y="5"/>
                    <a:pt x="3" y="4"/>
                    <a:pt x="3" y="4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9" name="Freeform 153"/>
            <p:cNvSpPr>
              <a:spLocks/>
            </p:cNvSpPr>
            <p:nvPr/>
          </p:nvSpPr>
          <p:spPr bwMode="auto">
            <a:xfrm>
              <a:off x="6974427" y="4744361"/>
              <a:ext cx="9425" cy="4834"/>
            </a:xfrm>
            <a:custGeom>
              <a:avLst/>
              <a:gdLst>
                <a:gd name="T0" fmla="*/ 7158428 w 7"/>
                <a:gd name="T1" fmla="*/ 0 h 4"/>
                <a:gd name="T2" fmla="*/ 1213713 w 7"/>
                <a:gd name="T3" fmla="*/ 0 h 4"/>
                <a:gd name="T4" fmla="*/ 1213713 w 7"/>
                <a:gd name="T5" fmla="*/ 6243820 h 4"/>
                <a:gd name="T6" fmla="*/ 10226328 w 7"/>
                <a:gd name="T7" fmla="*/ 9219213 h 4"/>
                <a:gd name="T8" fmla="*/ 10226328 w 7"/>
                <a:gd name="T9" fmla="*/ 4450654 h 4"/>
                <a:gd name="T10" fmla="*/ 8872004 w 7"/>
                <a:gd name="T11" fmla="*/ 2497529 h 4"/>
                <a:gd name="T12" fmla="*/ 7158428 w 7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5" y="0"/>
                  </a:moveTo>
                  <a:cubicBezTo>
                    <a:pt x="3" y="0"/>
                    <a:pt x="2" y="0"/>
                    <a:pt x="1" y="0"/>
                  </a:cubicBezTo>
                  <a:cubicBezTo>
                    <a:pt x="1" y="1"/>
                    <a:pt x="0" y="3"/>
                    <a:pt x="1" y="3"/>
                  </a:cubicBezTo>
                  <a:cubicBezTo>
                    <a:pt x="3" y="4"/>
                    <a:pt x="5" y="3"/>
                    <a:pt x="7" y="4"/>
                  </a:cubicBezTo>
                  <a:cubicBezTo>
                    <a:pt x="7" y="3"/>
                    <a:pt x="7" y="2"/>
                    <a:pt x="7" y="2"/>
                  </a:cubicBezTo>
                  <a:cubicBezTo>
                    <a:pt x="6" y="2"/>
                    <a:pt x="7" y="1"/>
                    <a:pt x="6" y="1"/>
                  </a:cubicBezTo>
                  <a:cubicBezTo>
                    <a:pt x="7" y="0"/>
                    <a:pt x="5" y="0"/>
                    <a:pt x="5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0" name="Freeform 154"/>
            <p:cNvSpPr>
              <a:spLocks/>
            </p:cNvSpPr>
            <p:nvPr/>
          </p:nvSpPr>
          <p:spPr bwMode="auto">
            <a:xfrm>
              <a:off x="6816384" y="4789688"/>
              <a:ext cx="131218" cy="100924"/>
            </a:xfrm>
            <a:custGeom>
              <a:avLst/>
              <a:gdLst>
                <a:gd name="T0" fmla="*/ 61632271 w 98"/>
                <a:gd name="T1" fmla="*/ 8567093 h 93"/>
                <a:gd name="T2" fmla="*/ 66223908 w 98"/>
                <a:gd name="T3" fmla="*/ 12566268 h 93"/>
                <a:gd name="T4" fmla="*/ 72873048 w 98"/>
                <a:gd name="T5" fmla="*/ 15475594 h 93"/>
                <a:gd name="T6" fmla="*/ 74351032 w 98"/>
                <a:gd name="T7" fmla="*/ 16332023 h 93"/>
                <a:gd name="T8" fmla="*/ 76956485 w 98"/>
                <a:gd name="T9" fmla="*/ 17500720 h 93"/>
                <a:gd name="T10" fmla="*/ 79751697 w 98"/>
                <a:gd name="T11" fmla="*/ 19097484 h 93"/>
                <a:gd name="T12" fmla="*/ 84320329 w 98"/>
                <a:gd name="T13" fmla="*/ 18241140 h 93"/>
                <a:gd name="T14" fmla="*/ 88900124 w 98"/>
                <a:gd name="T15" fmla="*/ 21134158 h 93"/>
                <a:gd name="T16" fmla="*/ 88900124 w 98"/>
                <a:gd name="T17" fmla="*/ 22017545 h 93"/>
                <a:gd name="T18" fmla="*/ 86344530 w 98"/>
                <a:gd name="T19" fmla="*/ 25952147 h 93"/>
                <a:gd name="T20" fmla="*/ 85490754 w 98"/>
                <a:gd name="T21" fmla="*/ 30963187 h 93"/>
                <a:gd name="T22" fmla="*/ 84320329 w 98"/>
                <a:gd name="T23" fmla="*/ 35752884 h 93"/>
                <a:gd name="T24" fmla="*/ 85490754 w 98"/>
                <a:gd name="T25" fmla="*/ 37493750 h 93"/>
                <a:gd name="T26" fmla="*/ 81764282 w 98"/>
                <a:gd name="T27" fmla="*/ 39374357 h 93"/>
                <a:gd name="T28" fmla="*/ 76348757 w 98"/>
                <a:gd name="T29" fmla="*/ 45176820 h 93"/>
                <a:gd name="T30" fmla="*/ 76348757 w 98"/>
                <a:gd name="T31" fmla="*/ 47941608 h 93"/>
                <a:gd name="T32" fmla="*/ 82871648 w 98"/>
                <a:gd name="T33" fmla="*/ 52084496 h 93"/>
                <a:gd name="T34" fmla="*/ 82871648 w 98"/>
                <a:gd name="T35" fmla="*/ 52977894 h 93"/>
                <a:gd name="T36" fmla="*/ 82871648 w 98"/>
                <a:gd name="T37" fmla="*/ 54850079 h 93"/>
                <a:gd name="T38" fmla="*/ 81764282 w 98"/>
                <a:gd name="T39" fmla="*/ 61392167 h 93"/>
                <a:gd name="T40" fmla="*/ 79751697 w 98"/>
                <a:gd name="T41" fmla="*/ 63417037 h 93"/>
                <a:gd name="T42" fmla="*/ 83495895 w 98"/>
                <a:gd name="T43" fmla="*/ 69103198 h 93"/>
                <a:gd name="T44" fmla="*/ 86344530 w 98"/>
                <a:gd name="T45" fmla="*/ 71982141 h 93"/>
                <a:gd name="T46" fmla="*/ 86344530 w 98"/>
                <a:gd name="T47" fmla="*/ 75269555 h 93"/>
                <a:gd name="T48" fmla="*/ 82871648 w 98"/>
                <a:gd name="T49" fmla="*/ 78036652 h 93"/>
                <a:gd name="T50" fmla="*/ 73571667 w 98"/>
                <a:gd name="T51" fmla="*/ 81658182 h 93"/>
                <a:gd name="T52" fmla="*/ 71576883 w 98"/>
                <a:gd name="T53" fmla="*/ 78036652 h 93"/>
                <a:gd name="T54" fmla="*/ 65514012 w 98"/>
                <a:gd name="T55" fmla="*/ 76774789 h 93"/>
                <a:gd name="T56" fmla="*/ 60134448 w 98"/>
                <a:gd name="T57" fmla="*/ 78036652 h 93"/>
                <a:gd name="T58" fmla="*/ 56252782 w 98"/>
                <a:gd name="T59" fmla="*/ 86601699 h 93"/>
                <a:gd name="T60" fmla="*/ 56252782 w 98"/>
                <a:gd name="T61" fmla="*/ 87458156 h 93"/>
                <a:gd name="T62" fmla="*/ 45420413 w 98"/>
                <a:gd name="T63" fmla="*/ 89369326 h 93"/>
                <a:gd name="T64" fmla="*/ 32039417 w 98"/>
                <a:gd name="T65" fmla="*/ 85708376 h 93"/>
                <a:gd name="T66" fmla="*/ 25511585 w 98"/>
                <a:gd name="T67" fmla="*/ 83683279 h 93"/>
                <a:gd name="T68" fmla="*/ 21914982 w 98"/>
                <a:gd name="T69" fmla="*/ 79749359 h 93"/>
                <a:gd name="T70" fmla="*/ 21914982 w 98"/>
                <a:gd name="T71" fmla="*/ 78892655 h 93"/>
                <a:gd name="T72" fmla="*/ 23498567 w 98"/>
                <a:gd name="T73" fmla="*/ 71982141 h 93"/>
                <a:gd name="T74" fmla="*/ 25511585 w 98"/>
                <a:gd name="T75" fmla="*/ 65442210 h 93"/>
                <a:gd name="T76" fmla="*/ 25511585 w 98"/>
                <a:gd name="T77" fmla="*/ 49994752 h 93"/>
                <a:gd name="T78" fmla="*/ 21914982 w 98"/>
                <a:gd name="T79" fmla="*/ 47941608 h 93"/>
                <a:gd name="T80" fmla="*/ 20120367 w 98"/>
                <a:gd name="T81" fmla="*/ 45176820 h 93"/>
                <a:gd name="T82" fmla="*/ 18182009 w 98"/>
                <a:gd name="T83" fmla="*/ 40257792 h 93"/>
                <a:gd name="T84" fmla="*/ 15386778 w 98"/>
                <a:gd name="T85" fmla="*/ 37493750 h 93"/>
                <a:gd name="T86" fmla="*/ 9969094 w 98"/>
                <a:gd name="T87" fmla="*/ 35752884 h 93"/>
                <a:gd name="T88" fmla="*/ 2648625 w 98"/>
                <a:gd name="T89" fmla="*/ 34519143 h 93"/>
                <a:gd name="T90" fmla="*/ 2648625 w 98"/>
                <a:gd name="T91" fmla="*/ 31818509 h 93"/>
                <a:gd name="T92" fmla="*/ 2648625 w 98"/>
                <a:gd name="T93" fmla="*/ 29726646 h 93"/>
                <a:gd name="T94" fmla="*/ 826407 w 98"/>
                <a:gd name="T95" fmla="*/ 28833228 h 93"/>
                <a:gd name="T96" fmla="*/ 4591617 w 98"/>
                <a:gd name="T97" fmla="*/ 25952147 h 93"/>
                <a:gd name="T98" fmla="*/ 13592484 w 98"/>
                <a:gd name="T99" fmla="*/ 25276402 h 93"/>
                <a:gd name="T100" fmla="*/ 20120367 w 98"/>
                <a:gd name="T101" fmla="*/ 26808112 h 93"/>
                <a:gd name="T102" fmla="*/ 22742188 w 98"/>
                <a:gd name="T103" fmla="*/ 19097484 h 93"/>
                <a:gd name="T104" fmla="*/ 25511585 w 98"/>
                <a:gd name="T105" fmla="*/ 14251080 h 93"/>
                <a:gd name="T106" fmla="*/ 27333807 w 98"/>
                <a:gd name="T107" fmla="*/ 18241140 h 93"/>
                <a:gd name="T108" fmla="*/ 34687883 w 98"/>
                <a:gd name="T109" fmla="*/ 15475594 h 93"/>
                <a:gd name="T110" fmla="*/ 36268827 w 98"/>
                <a:gd name="T111" fmla="*/ 14251080 h 93"/>
                <a:gd name="T112" fmla="*/ 38890648 w 98"/>
                <a:gd name="T113" fmla="*/ 12566268 h 93"/>
                <a:gd name="T114" fmla="*/ 43481786 w 98"/>
                <a:gd name="T115" fmla="*/ 10685027 h 93"/>
                <a:gd name="T116" fmla="*/ 45420413 w 98"/>
                <a:gd name="T117" fmla="*/ 2918506 h 93"/>
                <a:gd name="T118" fmla="*/ 50009976 w 98"/>
                <a:gd name="T119" fmla="*/ 0 h 9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8"/>
                <a:gd name="T181" fmla="*/ 0 h 93"/>
                <a:gd name="T182" fmla="*/ 98 w 98"/>
                <a:gd name="T183" fmla="*/ 93 h 9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8" h="93">
                  <a:moveTo>
                    <a:pt x="56" y="1"/>
                  </a:moveTo>
                  <a:cubicBezTo>
                    <a:pt x="59" y="5"/>
                    <a:pt x="64" y="7"/>
                    <a:pt x="68" y="9"/>
                  </a:cubicBezTo>
                  <a:cubicBezTo>
                    <a:pt x="69" y="9"/>
                    <a:pt x="69" y="11"/>
                    <a:pt x="70" y="12"/>
                  </a:cubicBezTo>
                  <a:cubicBezTo>
                    <a:pt x="71" y="12"/>
                    <a:pt x="72" y="12"/>
                    <a:pt x="73" y="13"/>
                  </a:cubicBezTo>
                  <a:cubicBezTo>
                    <a:pt x="74" y="14"/>
                    <a:pt x="75" y="16"/>
                    <a:pt x="77" y="16"/>
                  </a:cubicBezTo>
                  <a:cubicBezTo>
                    <a:pt x="78" y="17"/>
                    <a:pt x="79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7"/>
                    <a:pt x="81" y="17"/>
                    <a:pt x="82" y="17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3" y="18"/>
                    <a:pt x="84" y="17"/>
                    <a:pt x="85" y="18"/>
                  </a:cubicBezTo>
                  <a:cubicBezTo>
                    <a:pt x="85" y="18"/>
                    <a:pt x="85" y="18"/>
                    <a:pt x="85" y="18"/>
                  </a:cubicBezTo>
                  <a:cubicBezTo>
                    <a:pt x="86" y="19"/>
                    <a:pt x="87" y="20"/>
                    <a:pt x="88" y="20"/>
                  </a:cubicBezTo>
                  <a:cubicBezTo>
                    <a:pt x="89" y="20"/>
                    <a:pt x="90" y="20"/>
                    <a:pt x="91" y="19"/>
                  </a:cubicBezTo>
                  <a:cubicBezTo>
                    <a:pt x="92" y="19"/>
                    <a:pt x="92" y="19"/>
                    <a:pt x="93" y="19"/>
                  </a:cubicBezTo>
                  <a:cubicBezTo>
                    <a:pt x="94" y="20"/>
                    <a:pt x="95" y="20"/>
                    <a:pt x="96" y="21"/>
                  </a:cubicBezTo>
                  <a:cubicBezTo>
                    <a:pt x="96" y="21"/>
                    <a:pt x="97" y="21"/>
                    <a:pt x="98" y="22"/>
                  </a:cubicBezTo>
                  <a:cubicBezTo>
                    <a:pt x="98" y="22"/>
                    <a:pt x="98" y="22"/>
                    <a:pt x="98" y="22"/>
                  </a:cubicBezTo>
                  <a:cubicBezTo>
                    <a:pt x="98" y="23"/>
                    <a:pt x="98" y="23"/>
                    <a:pt x="98" y="23"/>
                  </a:cubicBezTo>
                  <a:cubicBezTo>
                    <a:pt x="97" y="24"/>
                    <a:pt x="97" y="24"/>
                    <a:pt x="97" y="25"/>
                  </a:cubicBezTo>
                  <a:cubicBezTo>
                    <a:pt x="96" y="26"/>
                    <a:pt x="96" y="26"/>
                    <a:pt x="95" y="27"/>
                  </a:cubicBezTo>
                  <a:cubicBezTo>
                    <a:pt x="95" y="28"/>
                    <a:pt x="95" y="29"/>
                    <a:pt x="95" y="30"/>
                  </a:cubicBezTo>
                  <a:cubicBezTo>
                    <a:pt x="94" y="31"/>
                    <a:pt x="94" y="32"/>
                    <a:pt x="94" y="32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4"/>
                    <a:pt x="93" y="35"/>
                    <a:pt x="93" y="37"/>
                  </a:cubicBezTo>
                  <a:cubicBezTo>
                    <a:pt x="93" y="38"/>
                    <a:pt x="94" y="38"/>
                    <a:pt x="94" y="39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3" y="40"/>
                    <a:pt x="93" y="40"/>
                    <a:pt x="92" y="40"/>
                  </a:cubicBezTo>
                  <a:cubicBezTo>
                    <a:pt x="91" y="41"/>
                    <a:pt x="90" y="40"/>
                    <a:pt x="90" y="41"/>
                  </a:cubicBezTo>
                  <a:cubicBezTo>
                    <a:pt x="89" y="42"/>
                    <a:pt x="90" y="43"/>
                    <a:pt x="90" y="44"/>
                  </a:cubicBezTo>
                  <a:cubicBezTo>
                    <a:pt x="88" y="45"/>
                    <a:pt x="86" y="45"/>
                    <a:pt x="84" y="47"/>
                  </a:cubicBezTo>
                  <a:cubicBezTo>
                    <a:pt x="84" y="47"/>
                    <a:pt x="83" y="48"/>
                    <a:pt x="84" y="49"/>
                  </a:cubicBezTo>
                  <a:cubicBezTo>
                    <a:pt x="84" y="49"/>
                    <a:pt x="84" y="50"/>
                    <a:pt x="84" y="50"/>
                  </a:cubicBezTo>
                  <a:cubicBezTo>
                    <a:pt x="86" y="51"/>
                    <a:pt x="87" y="50"/>
                    <a:pt x="89" y="50"/>
                  </a:cubicBezTo>
                  <a:cubicBezTo>
                    <a:pt x="90" y="51"/>
                    <a:pt x="90" y="53"/>
                    <a:pt x="91" y="54"/>
                  </a:cubicBezTo>
                  <a:cubicBezTo>
                    <a:pt x="91" y="54"/>
                    <a:pt x="91" y="55"/>
                    <a:pt x="91" y="55"/>
                  </a:cubicBezTo>
                  <a:cubicBezTo>
                    <a:pt x="91" y="55"/>
                    <a:pt x="92" y="55"/>
                    <a:pt x="91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6"/>
                    <a:pt x="91" y="57"/>
                    <a:pt x="91" y="57"/>
                  </a:cubicBezTo>
                  <a:cubicBezTo>
                    <a:pt x="90" y="59"/>
                    <a:pt x="91" y="61"/>
                    <a:pt x="91" y="63"/>
                  </a:cubicBezTo>
                  <a:cubicBezTo>
                    <a:pt x="91" y="63"/>
                    <a:pt x="90" y="63"/>
                    <a:pt x="90" y="64"/>
                  </a:cubicBezTo>
                  <a:cubicBezTo>
                    <a:pt x="90" y="64"/>
                    <a:pt x="89" y="64"/>
                    <a:pt x="88" y="64"/>
                  </a:cubicBezTo>
                  <a:cubicBezTo>
                    <a:pt x="88" y="64"/>
                    <a:pt x="88" y="65"/>
                    <a:pt x="88" y="66"/>
                  </a:cubicBezTo>
                  <a:cubicBezTo>
                    <a:pt x="89" y="67"/>
                    <a:pt x="90" y="67"/>
                    <a:pt x="91" y="68"/>
                  </a:cubicBezTo>
                  <a:cubicBezTo>
                    <a:pt x="92" y="69"/>
                    <a:pt x="91" y="71"/>
                    <a:pt x="92" y="72"/>
                  </a:cubicBezTo>
                  <a:cubicBezTo>
                    <a:pt x="92" y="73"/>
                    <a:pt x="93" y="74"/>
                    <a:pt x="94" y="74"/>
                  </a:cubicBezTo>
                  <a:cubicBezTo>
                    <a:pt x="94" y="74"/>
                    <a:pt x="94" y="75"/>
                    <a:pt x="95" y="75"/>
                  </a:cubicBezTo>
                  <a:cubicBezTo>
                    <a:pt x="95" y="76"/>
                    <a:pt x="95" y="77"/>
                    <a:pt x="95" y="77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4" y="79"/>
                    <a:pt x="93" y="79"/>
                    <a:pt x="92" y="80"/>
                  </a:cubicBezTo>
                  <a:cubicBezTo>
                    <a:pt x="91" y="80"/>
                    <a:pt x="91" y="81"/>
                    <a:pt x="91" y="81"/>
                  </a:cubicBezTo>
                  <a:cubicBezTo>
                    <a:pt x="89" y="83"/>
                    <a:pt x="88" y="84"/>
                    <a:pt x="87" y="85"/>
                  </a:cubicBezTo>
                  <a:cubicBezTo>
                    <a:pt x="85" y="85"/>
                    <a:pt x="83" y="86"/>
                    <a:pt x="81" y="85"/>
                  </a:cubicBezTo>
                  <a:cubicBezTo>
                    <a:pt x="81" y="85"/>
                    <a:pt x="81" y="84"/>
                    <a:pt x="81" y="84"/>
                  </a:cubicBezTo>
                  <a:cubicBezTo>
                    <a:pt x="80" y="83"/>
                    <a:pt x="79" y="82"/>
                    <a:pt x="79" y="81"/>
                  </a:cubicBezTo>
                  <a:cubicBezTo>
                    <a:pt x="77" y="81"/>
                    <a:pt x="75" y="82"/>
                    <a:pt x="73" y="81"/>
                  </a:cubicBezTo>
                  <a:cubicBezTo>
                    <a:pt x="73" y="81"/>
                    <a:pt x="73" y="80"/>
                    <a:pt x="72" y="80"/>
                  </a:cubicBezTo>
                  <a:cubicBezTo>
                    <a:pt x="71" y="80"/>
                    <a:pt x="69" y="80"/>
                    <a:pt x="68" y="80"/>
                  </a:cubicBezTo>
                  <a:cubicBezTo>
                    <a:pt x="67" y="80"/>
                    <a:pt x="66" y="80"/>
                    <a:pt x="66" y="81"/>
                  </a:cubicBezTo>
                  <a:cubicBezTo>
                    <a:pt x="65" y="83"/>
                    <a:pt x="63" y="83"/>
                    <a:pt x="62" y="84"/>
                  </a:cubicBezTo>
                  <a:cubicBezTo>
                    <a:pt x="62" y="86"/>
                    <a:pt x="61" y="88"/>
                    <a:pt x="62" y="90"/>
                  </a:cubicBezTo>
                  <a:cubicBezTo>
                    <a:pt x="62" y="90"/>
                    <a:pt x="62" y="90"/>
                    <a:pt x="63" y="91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0" y="92"/>
                    <a:pt x="58" y="92"/>
                    <a:pt x="56" y="93"/>
                  </a:cubicBezTo>
                  <a:cubicBezTo>
                    <a:pt x="54" y="93"/>
                    <a:pt x="52" y="93"/>
                    <a:pt x="50" y="93"/>
                  </a:cubicBezTo>
                  <a:cubicBezTo>
                    <a:pt x="48" y="92"/>
                    <a:pt x="46" y="91"/>
                    <a:pt x="44" y="91"/>
                  </a:cubicBezTo>
                  <a:cubicBezTo>
                    <a:pt x="41" y="90"/>
                    <a:pt x="38" y="90"/>
                    <a:pt x="35" y="89"/>
                  </a:cubicBezTo>
                  <a:cubicBezTo>
                    <a:pt x="33" y="89"/>
                    <a:pt x="31" y="88"/>
                    <a:pt x="30" y="88"/>
                  </a:cubicBezTo>
                  <a:cubicBezTo>
                    <a:pt x="29" y="88"/>
                    <a:pt x="28" y="87"/>
                    <a:pt x="28" y="87"/>
                  </a:cubicBezTo>
                  <a:cubicBezTo>
                    <a:pt x="27" y="86"/>
                    <a:pt x="26" y="86"/>
                    <a:pt x="26" y="85"/>
                  </a:cubicBezTo>
                  <a:cubicBezTo>
                    <a:pt x="25" y="84"/>
                    <a:pt x="24" y="84"/>
                    <a:pt x="24" y="83"/>
                  </a:cubicBezTo>
                  <a:cubicBezTo>
                    <a:pt x="23" y="83"/>
                    <a:pt x="23" y="83"/>
                    <a:pt x="23" y="83"/>
                  </a:cubicBezTo>
                  <a:cubicBezTo>
                    <a:pt x="23" y="83"/>
                    <a:pt x="24" y="82"/>
                    <a:pt x="24" y="82"/>
                  </a:cubicBezTo>
                  <a:cubicBezTo>
                    <a:pt x="24" y="81"/>
                    <a:pt x="24" y="81"/>
                    <a:pt x="24" y="80"/>
                  </a:cubicBezTo>
                  <a:cubicBezTo>
                    <a:pt x="25" y="78"/>
                    <a:pt x="26" y="77"/>
                    <a:pt x="26" y="75"/>
                  </a:cubicBezTo>
                  <a:cubicBezTo>
                    <a:pt x="27" y="73"/>
                    <a:pt x="26" y="72"/>
                    <a:pt x="27" y="71"/>
                  </a:cubicBezTo>
                  <a:cubicBezTo>
                    <a:pt x="27" y="70"/>
                    <a:pt x="28" y="69"/>
                    <a:pt x="28" y="68"/>
                  </a:cubicBezTo>
                  <a:cubicBezTo>
                    <a:pt x="29" y="66"/>
                    <a:pt x="29" y="63"/>
                    <a:pt x="29" y="61"/>
                  </a:cubicBezTo>
                  <a:cubicBezTo>
                    <a:pt x="28" y="58"/>
                    <a:pt x="30" y="54"/>
                    <a:pt x="28" y="52"/>
                  </a:cubicBezTo>
                  <a:cubicBezTo>
                    <a:pt x="27" y="52"/>
                    <a:pt x="26" y="52"/>
                    <a:pt x="25" y="51"/>
                  </a:cubicBezTo>
                  <a:cubicBezTo>
                    <a:pt x="25" y="51"/>
                    <a:pt x="24" y="50"/>
                    <a:pt x="24" y="50"/>
                  </a:cubicBezTo>
                  <a:cubicBezTo>
                    <a:pt x="23" y="50"/>
                    <a:pt x="23" y="49"/>
                    <a:pt x="22" y="49"/>
                  </a:cubicBezTo>
                  <a:cubicBezTo>
                    <a:pt x="22" y="48"/>
                    <a:pt x="22" y="48"/>
                    <a:pt x="22" y="47"/>
                  </a:cubicBezTo>
                  <a:cubicBezTo>
                    <a:pt x="21" y="46"/>
                    <a:pt x="22" y="46"/>
                    <a:pt x="21" y="45"/>
                  </a:cubicBezTo>
                  <a:cubicBezTo>
                    <a:pt x="21" y="44"/>
                    <a:pt x="20" y="43"/>
                    <a:pt x="20" y="42"/>
                  </a:cubicBezTo>
                  <a:cubicBezTo>
                    <a:pt x="20" y="42"/>
                    <a:pt x="19" y="42"/>
                    <a:pt x="19" y="42"/>
                  </a:cubicBezTo>
                  <a:cubicBezTo>
                    <a:pt x="18" y="41"/>
                    <a:pt x="18" y="40"/>
                    <a:pt x="17" y="39"/>
                  </a:cubicBezTo>
                  <a:cubicBezTo>
                    <a:pt x="16" y="39"/>
                    <a:pt x="14" y="39"/>
                    <a:pt x="13" y="39"/>
                  </a:cubicBezTo>
                  <a:cubicBezTo>
                    <a:pt x="12" y="39"/>
                    <a:pt x="12" y="38"/>
                    <a:pt x="11" y="37"/>
                  </a:cubicBezTo>
                  <a:cubicBezTo>
                    <a:pt x="11" y="37"/>
                    <a:pt x="10" y="37"/>
                    <a:pt x="9" y="36"/>
                  </a:cubicBezTo>
                  <a:cubicBezTo>
                    <a:pt x="7" y="36"/>
                    <a:pt x="5" y="37"/>
                    <a:pt x="3" y="36"/>
                  </a:cubicBezTo>
                  <a:cubicBezTo>
                    <a:pt x="2" y="36"/>
                    <a:pt x="2" y="35"/>
                    <a:pt x="2" y="34"/>
                  </a:cubicBezTo>
                  <a:cubicBezTo>
                    <a:pt x="3" y="34"/>
                    <a:pt x="3" y="33"/>
                    <a:pt x="3" y="33"/>
                  </a:cubicBezTo>
                  <a:cubicBezTo>
                    <a:pt x="3" y="32"/>
                    <a:pt x="2" y="33"/>
                    <a:pt x="2" y="33"/>
                  </a:cubicBezTo>
                  <a:cubicBezTo>
                    <a:pt x="1" y="32"/>
                    <a:pt x="2" y="31"/>
                    <a:pt x="3" y="31"/>
                  </a:cubicBezTo>
                  <a:cubicBezTo>
                    <a:pt x="3" y="31"/>
                    <a:pt x="3" y="31"/>
                    <a:pt x="3" y="30"/>
                  </a:cubicBezTo>
                  <a:cubicBezTo>
                    <a:pt x="2" y="30"/>
                    <a:pt x="1" y="31"/>
                    <a:pt x="1" y="30"/>
                  </a:cubicBezTo>
                  <a:cubicBezTo>
                    <a:pt x="0" y="30"/>
                    <a:pt x="0" y="29"/>
                    <a:pt x="1" y="29"/>
                  </a:cubicBezTo>
                  <a:cubicBezTo>
                    <a:pt x="2" y="27"/>
                    <a:pt x="3" y="27"/>
                    <a:pt x="5" y="27"/>
                  </a:cubicBezTo>
                  <a:cubicBezTo>
                    <a:pt x="7" y="26"/>
                    <a:pt x="9" y="27"/>
                    <a:pt x="11" y="25"/>
                  </a:cubicBezTo>
                  <a:cubicBezTo>
                    <a:pt x="12" y="25"/>
                    <a:pt x="13" y="25"/>
                    <a:pt x="15" y="26"/>
                  </a:cubicBezTo>
                  <a:cubicBezTo>
                    <a:pt x="16" y="26"/>
                    <a:pt x="16" y="27"/>
                    <a:pt x="17" y="27"/>
                  </a:cubicBezTo>
                  <a:cubicBezTo>
                    <a:pt x="19" y="28"/>
                    <a:pt x="20" y="28"/>
                    <a:pt x="22" y="28"/>
                  </a:cubicBezTo>
                  <a:cubicBezTo>
                    <a:pt x="23" y="27"/>
                    <a:pt x="25" y="28"/>
                    <a:pt x="25" y="27"/>
                  </a:cubicBezTo>
                  <a:cubicBezTo>
                    <a:pt x="25" y="24"/>
                    <a:pt x="25" y="22"/>
                    <a:pt x="25" y="20"/>
                  </a:cubicBezTo>
                  <a:cubicBezTo>
                    <a:pt x="24" y="18"/>
                    <a:pt x="23" y="17"/>
                    <a:pt x="23" y="15"/>
                  </a:cubicBezTo>
                  <a:cubicBezTo>
                    <a:pt x="25" y="15"/>
                    <a:pt x="26" y="15"/>
                    <a:pt x="28" y="15"/>
                  </a:cubicBezTo>
                  <a:cubicBezTo>
                    <a:pt x="28" y="15"/>
                    <a:pt x="28" y="16"/>
                    <a:pt x="28" y="16"/>
                  </a:cubicBezTo>
                  <a:cubicBezTo>
                    <a:pt x="28" y="17"/>
                    <a:pt x="29" y="19"/>
                    <a:pt x="30" y="19"/>
                  </a:cubicBezTo>
                  <a:cubicBezTo>
                    <a:pt x="33" y="20"/>
                    <a:pt x="35" y="20"/>
                    <a:pt x="38" y="19"/>
                  </a:cubicBezTo>
                  <a:cubicBezTo>
                    <a:pt x="38" y="18"/>
                    <a:pt x="38" y="17"/>
                    <a:pt x="38" y="16"/>
                  </a:cubicBezTo>
                  <a:cubicBezTo>
                    <a:pt x="38" y="16"/>
                    <a:pt x="39" y="15"/>
                    <a:pt x="39" y="15"/>
                  </a:cubicBezTo>
                  <a:cubicBezTo>
                    <a:pt x="39" y="15"/>
                    <a:pt x="40" y="15"/>
                    <a:pt x="40" y="15"/>
                  </a:cubicBezTo>
                  <a:cubicBezTo>
                    <a:pt x="40" y="14"/>
                    <a:pt x="41" y="14"/>
                    <a:pt x="41" y="13"/>
                  </a:cubicBezTo>
                  <a:cubicBezTo>
                    <a:pt x="42" y="13"/>
                    <a:pt x="43" y="13"/>
                    <a:pt x="43" y="13"/>
                  </a:cubicBezTo>
                  <a:cubicBezTo>
                    <a:pt x="44" y="12"/>
                    <a:pt x="45" y="12"/>
                    <a:pt x="46" y="12"/>
                  </a:cubicBezTo>
                  <a:cubicBezTo>
                    <a:pt x="47" y="12"/>
                    <a:pt x="47" y="11"/>
                    <a:pt x="48" y="11"/>
                  </a:cubicBezTo>
                  <a:cubicBezTo>
                    <a:pt x="48" y="10"/>
                    <a:pt x="49" y="10"/>
                    <a:pt x="49" y="10"/>
                  </a:cubicBezTo>
                  <a:cubicBezTo>
                    <a:pt x="51" y="8"/>
                    <a:pt x="50" y="5"/>
                    <a:pt x="50" y="3"/>
                  </a:cubicBezTo>
                  <a:cubicBezTo>
                    <a:pt x="50" y="2"/>
                    <a:pt x="51" y="2"/>
                    <a:pt x="51" y="2"/>
                  </a:cubicBezTo>
                  <a:cubicBezTo>
                    <a:pt x="52" y="1"/>
                    <a:pt x="54" y="1"/>
                    <a:pt x="55" y="0"/>
                  </a:cubicBezTo>
                  <a:lnTo>
                    <a:pt x="56" y="1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1" name="Freeform 155"/>
            <p:cNvSpPr>
              <a:spLocks/>
            </p:cNvSpPr>
            <p:nvPr/>
          </p:nvSpPr>
          <p:spPr bwMode="auto">
            <a:xfrm>
              <a:off x="6952677" y="4881545"/>
              <a:ext cx="10873" cy="20547"/>
            </a:xfrm>
            <a:custGeom>
              <a:avLst/>
              <a:gdLst>
                <a:gd name="T0" fmla="*/ 3394577 w 8"/>
                <a:gd name="T1" fmla="*/ 11496685 h 19"/>
                <a:gd name="T2" fmla="*/ 3058782 w 8"/>
                <a:gd name="T3" fmla="*/ 865359 h 19"/>
                <a:gd name="T4" fmla="*/ 2453348 w 8"/>
                <a:gd name="T5" fmla="*/ 865359 h 19"/>
                <a:gd name="T6" fmla="*/ 2453348 w 8"/>
                <a:gd name="T7" fmla="*/ 4854159 h 19"/>
                <a:gd name="T8" fmla="*/ 941139 w 8"/>
                <a:gd name="T9" fmla="*/ 7008797 h 19"/>
                <a:gd name="T10" fmla="*/ 418284 w 8"/>
                <a:gd name="T11" fmla="*/ 7008797 h 19"/>
                <a:gd name="T12" fmla="*/ 0 w 8"/>
                <a:gd name="T13" fmla="*/ 7881242 h 19"/>
                <a:gd name="T14" fmla="*/ 0 w 8"/>
                <a:gd name="T15" fmla="*/ 9968069 h 19"/>
                <a:gd name="T16" fmla="*/ 418284 w 8"/>
                <a:gd name="T17" fmla="*/ 10840510 h 19"/>
                <a:gd name="T18" fmla="*/ 941139 w 8"/>
                <a:gd name="T19" fmla="*/ 15706817 h 19"/>
                <a:gd name="T20" fmla="*/ 1699274 w 8"/>
                <a:gd name="T21" fmla="*/ 16599778 h 19"/>
                <a:gd name="T22" fmla="*/ 2117562 w 8"/>
                <a:gd name="T23" fmla="*/ 17849252 h 19"/>
                <a:gd name="T24" fmla="*/ 2453348 w 8"/>
                <a:gd name="T25" fmla="*/ 18666092 h 19"/>
                <a:gd name="T26" fmla="*/ 3058782 w 8"/>
                <a:gd name="T27" fmla="*/ 12773055 h 19"/>
                <a:gd name="T28" fmla="*/ 3394577 w 8"/>
                <a:gd name="T29" fmla="*/ 11496685 h 1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"/>
                <a:gd name="T46" fmla="*/ 0 h 19"/>
                <a:gd name="T47" fmla="*/ 8 w 8"/>
                <a:gd name="T48" fmla="*/ 19 h 1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" h="19">
                  <a:moveTo>
                    <a:pt x="8" y="12"/>
                  </a:moveTo>
                  <a:cubicBezTo>
                    <a:pt x="8" y="8"/>
                    <a:pt x="8" y="5"/>
                    <a:pt x="7" y="1"/>
                  </a:cubicBezTo>
                  <a:cubicBezTo>
                    <a:pt x="7" y="1"/>
                    <a:pt x="7" y="0"/>
                    <a:pt x="6" y="1"/>
                  </a:cubicBezTo>
                  <a:cubicBezTo>
                    <a:pt x="6" y="2"/>
                    <a:pt x="6" y="4"/>
                    <a:pt x="6" y="5"/>
                  </a:cubicBezTo>
                  <a:cubicBezTo>
                    <a:pt x="5" y="6"/>
                    <a:pt x="3" y="6"/>
                    <a:pt x="2" y="7"/>
                  </a:cubicBezTo>
                  <a:cubicBezTo>
                    <a:pt x="2" y="7"/>
                    <a:pt x="2" y="7"/>
                    <a:pt x="1" y="7"/>
                  </a:cubicBezTo>
                  <a:cubicBezTo>
                    <a:pt x="1" y="7"/>
                    <a:pt x="0" y="8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ubicBezTo>
                    <a:pt x="0" y="10"/>
                    <a:pt x="1" y="10"/>
                    <a:pt x="1" y="11"/>
                  </a:cubicBezTo>
                  <a:cubicBezTo>
                    <a:pt x="1" y="13"/>
                    <a:pt x="1" y="14"/>
                    <a:pt x="2" y="16"/>
                  </a:cubicBezTo>
                  <a:cubicBezTo>
                    <a:pt x="2" y="17"/>
                    <a:pt x="3" y="17"/>
                    <a:pt x="4" y="17"/>
                  </a:cubicBezTo>
                  <a:cubicBezTo>
                    <a:pt x="4" y="18"/>
                    <a:pt x="4" y="18"/>
                    <a:pt x="5" y="18"/>
                  </a:cubicBezTo>
                  <a:cubicBezTo>
                    <a:pt x="5" y="19"/>
                    <a:pt x="6" y="19"/>
                    <a:pt x="6" y="19"/>
                  </a:cubicBezTo>
                  <a:cubicBezTo>
                    <a:pt x="8" y="17"/>
                    <a:pt x="7" y="15"/>
                    <a:pt x="7" y="13"/>
                  </a:cubicBezTo>
                  <a:lnTo>
                    <a:pt x="8" y="12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2" name="Freeform 156"/>
            <p:cNvSpPr>
              <a:spLocks/>
            </p:cNvSpPr>
            <p:nvPr/>
          </p:nvSpPr>
          <p:spPr bwMode="auto">
            <a:xfrm>
              <a:off x="7062146" y="4740132"/>
              <a:ext cx="26825" cy="12088"/>
            </a:xfrm>
            <a:custGeom>
              <a:avLst/>
              <a:gdLst>
                <a:gd name="T0" fmla="*/ 5927927 w 20"/>
                <a:gd name="T1" fmla="*/ 0 h 11"/>
                <a:gd name="T2" fmla="*/ 5187343 w 20"/>
                <a:gd name="T3" fmla="*/ 2007625 h 11"/>
                <a:gd name="T4" fmla="*/ 4391010 w 20"/>
                <a:gd name="T5" fmla="*/ 2007625 h 11"/>
                <a:gd name="T6" fmla="*/ 3261053 w 20"/>
                <a:gd name="T7" fmla="*/ 2894074 h 11"/>
                <a:gd name="T8" fmla="*/ 2522523 w 20"/>
                <a:gd name="T9" fmla="*/ 3587761 h 11"/>
                <a:gd name="T10" fmla="*/ 795113 w 20"/>
                <a:gd name="T11" fmla="*/ 6840539 h 11"/>
                <a:gd name="T12" fmla="*/ 0 w 20"/>
                <a:gd name="T13" fmla="*/ 8480159 h 11"/>
                <a:gd name="T14" fmla="*/ 795113 w 20"/>
                <a:gd name="T15" fmla="*/ 7630664 h 11"/>
                <a:gd name="T16" fmla="*/ 3261053 w 20"/>
                <a:gd name="T17" fmla="*/ 8480159 h 11"/>
                <a:gd name="T18" fmla="*/ 5927927 w 20"/>
                <a:gd name="T19" fmla="*/ 9698926 h 11"/>
                <a:gd name="T20" fmla="*/ 11455630 w 20"/>
                <a:gd name="T21" fmla="*/ 9698926 h 11"/>
                <a:gd name="T22" fmla="*/ 17186742 w 20"/>
                <a:gd name="T23" fmla="*/ 8480159 h 11"/>
                <a:gd name="T24" fmla="*/ 15548153 w 20"/>
                <a:gd name="T25" fmla="*/ 3587761 h 11"/>
                <a:gd name="T26" fmla="*/ 12876646 w 20"/>
                <a:gd name="T27" fmla="*/ 2894074 h 11"/>
                <a:gd name="T28" fmla="*/ 7062610 w 20"/>
                <a:gd name="T29" fmla="*/ 0 h 11"/>
                <a:gd name="T30" fmla="*/ 5927927 w 20"/>
                <a:gd name="T31" fmla="*/ 0 h 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"/>
                <a:gd name="T49" fmla="*/ 0 h 11"/>
                <a:gd name="T50" fmla="*/ 20 w 20"/>
                <a:gd name="T51" fmla="*/ 11 h 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" h="11">
                  <a:moveTo>
                    <a:pt x="7" y="0"/>
                  </a:moveTo>
                  <a:cubicBezTo>
                    <a:pt x="7" y="0"/>
                    <a:pt x="7" y="1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4"/>
                    <a:pt x="3" y="4"/>
                  </a:cubicBezTo>
                  <a:cubicBezTo>
                    <a:pt x="3" y="5"/>
                    <a:pt x="2" y="7"/>
                    <a:pt x="1" y="7"/>
                  </a:cubicBezTo>
                  <a:cubicBezTo>
                    <a:pt x="1" y="8"/>
                    <a:pt x="0" y="9"/>
                    <a:pt x="0" y="9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8"/>
                    <a:pt x="3" y="8"/>
                    <a:pt x="4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9" y="10"/>
                    <a:pt x="12" y="11"/>
                    <a:pt x="13" y="10"/>
                  </a:cubicBezTo>
                  <a:cubicBezTo>
                    <a:pt x="15" y="9"/>
                    <a:pt x="18" y="9"/>
                    <a:pt x="20" y="9"/>
                  </a:cubicBezTo>
                  <a:cubicBezTo>
                    <a:pt x="20" y="7"/>
                    <a:pt x="20" y="5"/>
                    <a:pt x="18" y="4"/>
                  </a:cubicBezTo>
                  <a:cubicBezTo>
                    <a:pt x="18" y="3"/>
                    <a:pt x="16" y="4"/>
                    <a:pt x="15" y="3"/>
                  </a:cubicBezTo>
                  <a:cubicBezTo>
                    <a:pt x="13" y="2"/>
                    <a:pt x="11" y="1"/>
                    <a:pt x="8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3" name="Freeform 158"/>
            <p:cNvSpPr>
              <a:spLocks/>
            </p:cNvSpPr>
            <p:nvPr/>
          </p:nvSpPr>
          <p:spPr bwMode="auto">
            <a:xfrm>
              <a:off x="6760562" y="4738922"/>
              <a:ext cx="47123" cy="45325"/>
            </a:xfrm>
            <a:custGeom>
              <a:avLst/>
              <a:gdLst>
                <a:gd name="T0" fmla="*/ 31121467 w 35"/>
                <a:gd name="T1" fmla="*/ 16200323 h 42"/>
                <a:gd name="T2" fmla="*/ 31121467 w 35"/>
                <a:gd name="T3" fmla="*/ 13910476 h 42"/>
                <a:gd name="T4" fmla="*/ 29866394 w 35"/>
                <a:gd name="T5" fmla="*/ 12950905 h 42"/>
                <a:gd name="T6" fmla="*/ 24012421 w 35"/>
                <a:gd name="T7" fmla="*/ 12950905 h 42"/>
                <a:gd name="T8" fmla="*/ 23090372 w 35"/>
                <a:gd name="T9" fmla="*/ 13910476 h 42"/>
                <a:gd name="T10" fmla="*/ 19046438 w 35"/>
                <a:gd name="T11" fmla="*/ 11680953 h 42"/>
                <a:gd name="T12" fmla="*/ 19046438 w 35"/>
                <a:gd name="T13" fmla="*/ 7499890 h 42"/>
                <a:gd name="T14" fmla="*/ 21891985 w 35"/>
                <a:gd name="T15" fmla="*/ 5439381 h 42"/>
                <a:gd name="T16" fmla="*/ 26195007 w 35"/>
                <a:gd name="T17" fmla="*/ 959507 h 42"/>
                <a:gd name="T18" fmla="*/ 27010987 w 35"/>
                <a:gd name="T19" fmla="*/ 0 h 42"/>
                <a:gd name="T20" fmla="*/ 21891985 w 35"/>
                <a:gd name="T21" fmla="*/ 959507 h 42"/>
                <a:gd name="T22" fmla="*/ 18156584 w 35"/>
                <a:gd name="T23" fmla="*/ 2284540 h 42"/>
                <a:gd name="T24" fmla="*/ 15979006 w 35"/>
                <a:gd name="T25" fmla="*/ 2284540 h 42"/>
                <a:gd name="T26" fmla="*/ 15153948 w 35"/>
                <a:gd name="T27" fmla="*/ 5439381 h 42"/>
                <a:gd name="T28" fmla="*/ 16884986 w 35"/>
                <a:gd name="T29" fmla="*/ 8458466 h 42"/>
                <a:gd name="T30" fmla="*/ 15979006 w 35"/>
                <a:gd name="T31" fmla="*/ 9396189 h 42"/>
                <a:gd name="T32" fmla="*/ 13123513 w 35"/>
                <a:gd name="T33" fmla="*/ 10748306 h 42"/>
                <a:gd name="T34" fmla="*/ 11767284 w 35"/>
                <a:gd name="T35" fmla="*/ 10748306 h 42"/>
                <a:gd name="T36" fmla="*/ 10125725 w 35"/>
                <a:gd name="T37" fmla="*/ 10748306 h 42"/>
                <a:gd name="T38" fmla="*/ 8031634 w 35"/>
                <a:gd name="T39" fmla="*/ 10748306 h 42"/>
                <a:gd name="T40" fmla="*/ 5856167 w 35"/>
                <a:gd name="T41" fmla="*/ 11680953 h 42"/>
                <a:gd name="T42" fmla="*/ 4962109 w 35"/>
                <a:gd name="T43" fmla="*/ 14871980 h 42"/>
                <a:gd name="T44" fmla="*/ 7120176 w 35"/>
                <a:gd name="T45" fmla="*/ 16919961 h 42"/>
                <a:gd name="T46" fmla="*/ 7120176 w 35"/>
                <a:gd name="T47" fmla="*/ 17856874 h 42"/>
                <a:gd name="T48" fmla="*/ 4962109 w 35"/>
                <a:gd name="T49" fmla="*/ 20139202 h 42"/>
                <a:gd name="T50" fmla="*/ 4962109 w 35"/>
                <a:gd name="T51" fmla="*/ 24661715 h 42"/>
                <a:gd name="T52" fmla="*/ 8031634 w 35"/>
                <a:gd name="T53" fmla="*/ 25591200 h 42"/>
                <a:gd name="T54" fmla="*/ 8031634 w 35"/>
                <a:gd name="T55" fmla="*/ 28605942 h 42"/>
                <a:gd name="T56" fmla="*/ 3761754 w 35"/>
                <a:gd name="T57" fmla="*/ 30835484 h 42"/>
                <a:gd name="T58" fmla="*/ 3761754 w 35"/>
                <a:gd name="T59" fmla="*/ 34056588 h 42"/>
                <a:gd name="T60" fmla="*/ 0 w 35"/>
                <a:gd name="T61" fmla="*/ 36341349 h 42"/>
                <a:gd name="T62" fmla="*/ 0 w 35"/>
                <a:gd name="T63" fmla="*/ 37206644 h 42"/>
                <a:gd name="T64" fmla="*/ 2092456 w 35"/>
                <a:gd name="T65" fmla="*/ 37206644 h 42"/>
                <a:gd name="T66" fmla="*/ 2092456 w 35"/>
                <a:gd name="T67" fmla="*/ 38572186 h 42"/>
                <a:gd name="T68" fmla="*/ 0 w 35"/>
                <a:gd name="T69" fmla="*/ 40285604 h 42"/>
                <a:gd name="T70" fmla="*/ 3761754 w 35"/>
                <a:gd name="T71" fmla="*/ 42516346 h 42"/>
                <a:gd name="T72" fmla="*/ 4962109 w 35"/>
                <a:gd name="T73" fmla="*/ 42516346 h 42"/>
                <a:gd name="T74" fmla="*/ 5856167 w 35"/>
                <a:gd name="T75" fmla="*/ 44800612 h 42"/>
                <a:gd name="T76" fmla="*/ 8920729 w 35"/>
                <a:gd name="T77" fmla="*/ 44800612 h 42"/>
                <a:gd name="T78" fmla="*/ 13123513 w 35"/>
                <a:gd name="T79" fmla="*/ 44800612 h 42"/>
                <a:gd name="T80" fmla="*/ 13887473 w 35"/>
                <a:gd name="T81" fmla="*/ 44800612 h 42"/>
                <a:gd name="T82" fmla="*/ 15153948 w 35"/>
                <a:gd name="T83" fmla="*/ 42516346 h 42"/>
                <a:gd name="T84" fmla="*/ 18156584 w 35"/>
                <a:gd name="T85" fmla="*/ 41556842 h 42"/>
                <a:gd name="T86" fmla="*/ 21154870 w 35"/>
                <a:gd name="T87" fmla="*/ 39491271 h 42"/>
                <a:gd name="T88" fmla="*/ 27905261 w 35"/>
                <a:gd name="T89" fmla="*/ 38572186 h 42"/>
                <a:gd name="T90" fmla="*/ 32038868 w 35"/>
                <a:gd name="T91" fmla="*/ 36341349 h 42"/>
                <a:gd name="T92" fmla="*/ 32933143 w 35"/>
                <a:gd name="T93" fmla="*/ 31768036 h 42"/>
                <a:gd name="T94" fmla="*/ 34131302 w 35"/>
                <a:gd name="T95" fmla="*/ 30110722 h 42"/>
                <a:gd name="T96" fmla="*/ 34131302 w 35"/>
                <a:gd name="T97" fmla="*/ 27811790 h 42"/>
                <a:gd name="T98" fmla="*/ 32933143 w 35"/>
                <a:gd name="T99" fmla="*/ 20139202 h 42"/>
                <a:gd name="T100" fmla="*/ 31121467 w 35"/>
                <a:gd name="T101" fmla="*/ 17856874 h 42"/>
                <a:gd name="T102" fmla="*/ 31121467 w 35"/>
                <a:gd name="T103" fmla="*/ 16200323 h 4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5"/>
                <a:gd name="T157" fmla="*/ 0 h 42"/>
                <a:gd name="T158" fmla="*/ 35 w 35"/>
                <a:gd name="T159" fmla="*/ 42 h 4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5" h="42">
                  <a:moveTo>
                    <a:pt x="31" y="15"/>
                  </a:move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0" y="12"/>
                    <a:pt x="30" y="12"/>
                  </a:cubicBezTo>
                  <a:cubicBezTo>
                    <a:pt x="28" y="12"/>
                    <a:pt x="26" y="11"/>
                    <a:pt x="24" y="12"/>
                  </a:cubicBezTo>
                  <a:cubicBezTo>
                    <a:pt x="24" y="12"/>
                    <a:pt x="23" y="13"/>
                    <a:pt x="23" y="13"/>
                  </a:cubicBezTo>
                  <a:cubicBezTo>
                    <a:pt x="22" y="14"/>
                    <a:pt x="20" y="12"/>
                    <a:pt x="19" y="11"/>
                  </a:cubicBezTo>
                  <a:cubicBezTo>
                    <a:pt x="19" y="10"/>
                    <a:pt x="19" y="8"/>
                    <a:pt x="19" y="7"/>
                  </a:cubicBezTo>
                  <a:cubicBezTo>
                    <a:pt x="20" y="6"/>
                    <a:pt x="21" y="6"/>
                    <a:pt x="22" y="5"/>
                  </a:cubicBezTo>
                  <a:cubicBezTo>
                    <a:pt x="23" y="3"/>
                    <a:pt x="25" y="2"/>
                    <a:pt x="26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3" y="0"/>
                    <a:pt x="22" y="1"/>
                  </a:cubicBezTo>
                  <a:cubicBezTo>
                    <a:pt x="20" y="1"/>
                    <a:pt x="19" y="2"/>
                    <a:pt x="18" y="2"/>
                  </a:cubicBezTo>
                  <a:cubicBezTo>
                    <a:pt x="17" y="2"/>
                    <a:pt x="17" y="2"/>
                    <a:pt x="16" y="2"/>
                  </a:cubicBezTo>
                  <a:cubicBezTo>
                    <a:pt x="15" y="3"/>
                    <a:pt x="14" y="4"/>
                    <a:pt x="15" y="5"/>
                  </a:cubicBezTo>
                  <a:cubicBezTo>
                    <a:pt x="15" y="6"/>
                    <a:pt x="18" y="6"/>
                    <a:pt x="17" y="8"/>
                  </a:cubicBezTo>
                  <a:cubicBezTo>
                    <a:pt x="17" y="8"/>
                    <a:pt x="16" y="9"/>
                    <a:pt x="16" y="9"/>
                  </a:cubicBezTo>
                  <a:cubicBezTo>
                    <a:pt x="15" y="10"/>
                    <a:pt x="14" y="9"/>
                    <a:pt x="13" y="10"/>
                  </a:cubicBezTo>
                  <a:cubicBezTo>
                    <a:pt x="13" y="10"/>
                    <a:pt x="13" y="10"/>
                    <a:pt x="12" y="10"/>
                  </a:cubicBezTo>
                  <a:cubicBezTo>
                    <a:pt x="11" y="11"/>
                    <a:pt x="10" y="10"/>
                    <a:pt x="10" y="10"/>
                  </a:cubicBezTo>
                  <a:cubicBezTo>
                    <a:pt x="9" y="9"/>
                    <a:pt x="8" y="9"/>
                    <a:pt x="8" y="10"/>
                  </a:cubicBezTo>
                  <a:cubicBezTo>
                    <a:pt x="7" y="10"/>
                    <a:pt x="6" y="10"/>
                    <a:pt x="6" y="11"/>
                  </a:cubicBezTo>
                  <a:cubicBezTo>
                    <a:pt x="5" y="12"/>
                    <a:pt x="4" y="13"/>
                    <a:pt x="5" y="14"/>
                  </a:cubicBezTo>
                  <a:cubicBezTo>
                    <a:pt x="5" y="15"/>
                    <a:pt x="6" y="15"/>
                    <a:pt x="7" y="16"/>
                  </a:cubicBezTo>
                  <a:cubicBezTo>
                    <a:pt x="7" y="16"/>
                    <a:pt x="7" y="17"/>
                    <a:pt x="7" y="17"/>
                  </a:cubicBezTo>
                  <a:cubicBezTo>
                    <a:pt x="6" y="18"/>
                    <a:pt x="5" y="18"/>
                    <a:pt x="5" y="19"/>
                  </a:cubicBezTo>
                  <a:cubicBezTo>
                    <a:pt x="4" y="20"/>
                    <a:pt x="5" y="22"/>
                    <a:pt x="5" y="23"/>
                  </a:cubicBezTo>
                  <a:cubicBezTo>
                    <a:pt x="6" y="24"/>
                    <a:pt x="7" y="23"/>
                    <a:pt x="8" y="24"/>
                  </a:cubicBezTo>
                  <a:cubicBezTo>
                    <a:pt x="8" y="25"/>
                    <a:pt x="8" y="26"/>
                    <a:pt x="8" y="27"/>
                  </a:cubicBezTo>
                  <a:cubicBezTo>
                    <a:pt x="7" y="28"/>
                    <a:pt x="5" y="28"/>
                    <a:pt x="4" y="29"/>
                  </a:cubicBezTo>
                  <a:cubicBezTo>
                    <a:pt x="4" y="30"/>
                    <a:pt x="4" y="31"/>
                    <a:pt x="4" y="32"/>
                  </a:cubicBezTo>
                  <a:cubicBezTo>
                    <a:pt x="3" y="33"/>
                    <a:pt x="2" y="33"/>
                    <a:pt x="0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" y="35"/>
                    <a:pt x="1" y="35"/>
                    <a:pt x="2" y="35"/>
                  </a:cubicBezTo>
                  <a:cubicBezTo>
                    <a:pt x="2" y="35"/>
                    <a:pt x="2" y="36"/>
                    <a:pt x="2" y="36"/>
                  </a:cubicBezTo>
                  <a:cubicBezTo>
                    <a:pt x="1" y="37"/>
                    <a:pt x="0" y="37"/>
                    <a:pt x="0" y="38"/>
                  </a:cubicBezTo>
                  <a:cubicBezTo>
                    <a:pt x="1" y="39"/>
                    <a:pt x="3" y="39"/>
                    <a:pt x="4" y="40"/>
                  </a:cubicBezTo>
                  <a:cubicBezTo>
                    <a:pt x="4" y="40"/>
                    <a:pt x="5" y="40"/>
                    <a:pt x="5" y="40"/>
                  </a:cubicBezTo>
                  <a:cubicBezTo>
                    <a:pt x="5" y="41"/>
                    <a:pt x="5" y="41"/>
                    <a:pt x="6" y="42"/>
                  </a:cubicBezTo>
                  <a:cubicBezTo>
                    <a:pt x="7" y="42"/>
                    <a:pt x="8" y="42"/>
                    <a:pt x="9" y="42"/>
                  </a:cubicBezTo>
                  <a:cubicBezTo>
                    <a:pt x="11" y="42"/>
                    <a:pt x="12" y="42"/>
                    <a:pt x="13" y="42"/>
                  </a:cubicBezTo>
                  <a:cubicBezTo>
                    <a:pt x="13" y="42"/>
                    <a:pt x="14" y="42"/>
                    <a:pt x="14" y="42"/>
                  </a:cubicBezTo>
                  <a:cubicBezTo>
                    <a:pt x="14" y="41"/>
                    <a:pt x="15" y="41"/>
                    <a:pt x="15" y="40"/>
                  </a:cubicBezTo>
                  <a:cubicBezTo>
                    <a:pt x="16" y="40"/>
                    <a:pt x="17" y="40"/>
                    <a:pt x="18" y="39"/>
                  </a:cubicBezTo>
                  <a:cubicBezTo>
                    <a:pt x="19" y="38"/>
                    <a:pt x="20" y="37"/>
                    <a:pt x="21" y="37"/>
                  </a:cubicBezTo>
                  <a:cubicBezTo>
                    <a:pt x="24" y="36"/>
                    <a:pt x="26" y="37"/>
                    <a:pt x="28" y="36"/>
                  </a:cubicBezTo>
                  <a:cubicBezTo>
                    <a:pt x="30" y="35"/>
                    <a:pt x="32" y="36"/>
                    <a:pt x="32" y="34"/>
                  </a:cubicBezTo>
                  <a:cubicBezTo>
                    <a:pt x="33" y="33"/>
                    <a:pt x="32" y="31"/>
                    <a:pt x="33" y="30"/>
                  </a:cubicBezTo>
                  <a:cubicBezTo>
                    <a:pt x="33" y="29"/>
                    <a:pt x="34" y="29"/>
                    <a:pt x="34" y="28"/>
                  </a:cubicBezTo>
                  <a:cubicBezTo>
                    <a:pt x="35" y="28"/>
                    <a:pt x="35" y="27"/>
                    <a:pt x="34" y="26"/>
                  </a:cubicBezTo>
                  <a:cubicBezTo>
                    <a:pt x="32" y="24"/>
                    <a:pt x="33" y="21"/>
                    <a:pt x="33" y="19"/>
                  </a:cubicBezTo>
                  <a:cubicBezTo>
                    <a:pt x="32" y="18"/>
                    <a:pt x="31" y="18"/>
                    <a:pt x="31" y="17"/>
                  </a:cubicBezTo>
                  <a:cubicBezTo>
                    <a:pt x="30" y="16"/>
                    <a:pt x="30" y="15"/>
                    <a:pt x="31" y="1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4" name="Freeform 159"/>
            <p:cNvSpPr>
              <a:spLocks/>
            </p:cNvSpPr>
            <p:nvPr/>
          </p:nvSpPr>
          <p:spPr bwMode="auto">
            <a:xfrm>
              <a:off x="6804786" y="4695411"/>
              <a:ext cx="79019" cy="107571"/>
            </a:xfrm>
            <a:custGeom>
              <a:avLst/>
              <a:gdLst>
                <a:gd name="T0" fmla="*/ 10256285 w 58"/>
                <a:gd name="T1" fmla="*/ 34141573 h 99"/>
                <a:gd name="T2" fmla="*/ 8419089 w 58"/>
                <a:gd name="T3" fmla="*/ 41744245 h 99"/>
                <a:gd name="T4" fmla="*/ 11099298 w 58"/>
                <a:gd name="T5" fmla="*/ 43839712 h 99"/>
                <a:gd name="T6" fmla="*/ 15809772 w 58"/>
                <a:gd name="T7" fmla="*/ 42630816 h 99"/>
                <a:gd name="T8" fmla="*/ 18668366 w 58"/>
                <a:gd name="T9" fmla="*/ 41744245 h 99"/>
                <a:gd name="T10" fmla="*/ 20728595 w 58"/>
                <a:gd name="T11" fmla="*/ 51443168 h 99"/>
                <a:gd name="T12" fmla="*/ 17826553 w 58"/>
                <a:gd name="T13" fmla="*/ 58931733 h 99"/>
                <a:gd name="T14" fmla="*/ 11099298 w 58"/>
                <a:gd name="T15" fmla="*/ 60658170 h 99"/>
                <a:gd name="T16" fmla="*/ 9629314 w 58"/>
                <a:gd name="T17" fmla="*/ 64773203 h 99"/>
                <a:gd name="T18" fmla="*/ 13126765 w 58"/>
                <a:gd name="T19" fmla="*/ 64773203 h 99"/>
                <a:gd name="T20" fmla="*/ 9629314 w 58"/>
                <a:gd name="T21" fmla="*/ 72217975 h 99"/>
                <a:gd name="T22" fmla="*/ 6693188 w 58"/>
                <a:gd name="T23" fmla="*/ 75952897 h 99"/>
                <a:gd name="T24" fmla="*/ 11099298 w 58"/>
                <a:gd name="T25" fmla="*/ 76620312 h 99"/>
                <a:gd name="T26" fmla="*/ 22745102 w 58"/>
                <a:gd name="T27" fmla="*/ 77997007 h 99"/>
                <a:gd name="T28" fmla="*/ 15171456 w 58"/>
                <a:gd name="T29" fmla="*/ 81584722 h 99"/>
                <a:gd name="T30" fmla="*/ 9629314 w 58"/>
                <a:gd name="T31" fmla="*/ 84223750 h 99"/>
                <a:gd name="T32" fmla="*/ 842205 w 58"/>
                <a:gd name="T33" fmla="*/ 93075320 h 99"/>
                <a:gd name="T34" fmla="*/ 4698972 w 58"/>
                <a:gd name="T35" fmla="*/ 93921842 h 99"/>
                <a:gd name="T36" fmla="*/ 8419089 w 58"/>
                <a:gd name="T37" fmla="*/ 91196210 h 99"/>
                <a:gd name="T38" fmla="*/ 17167291 w 58"/>
                <a:gd name="T39" fmla="*/ 91196210 h 99"/>
                <a:gd name="T40" fmla="*/ 30293989 w 58"/>
                <a:gd name="T41" fmla="*/ 87180526 h 99"/>
                <a:gd name="T42" fmla="*/ 39397061 w 58"/>
                <a:gd name="T43" fmla="*/ 86319179 h 99"/>
                <a:gd name="T44" fmla="*/ 48962370 w 58"/>
                <a:gd name="T45" fmla="*/ 84223750 h 99"/>
                <a:gd name="T46" fmla="*/ 50800890 w 58"/>
                <a:gd name="T47" fmla="*/ 77997007 h 99"/>
                <a:gd name="T48" fmla="*/ 53725471 w 58"/>
                <a:gd name="T49" fmla="*/ 72217975 h 99"/>
                <a:gd name="T50" fmla="*/ 53725471 w 58"/>
                <a:gd name="T51" fmla="*/ 65404162 h 99"/>
                <a:gd name="T52" fmla="*/ 48962370 w 58"/>
                <a:gd name="T53" fmla="*/ 63396546 h 99"/>
                <a:gd name="T54" fmla="*/ 46092287 w 58"/>
                <a:gd name="T55" fmla="*/ 63396546 h 99"/>
                <a:gd name="T56" fmla="*/ 44095942 w 58"/>
                <a:gd name="T57" fmla="*/ 58931733 h 99"/>
                <a:gd name="T58" fmla="*/ 41388483 w 58"/>
                <a:gd name="T59" fmla="*/ 50082168 h 99"/>
                <a:gd name="T60" fmla="*/ 33839926 w 58"/>
                <a:gd name="T61" fmla="*/ 42630816 h 99"/>
                <a:gd name="T62" fmla="*/ 33001657 w 58"/>
                <a:gd name="T63" fmla="*/ 38216537 h 99"/>
                <a:gd name="T64" fmla="*/ 24226044 w 58"/>
                <a:gd name="T65" fmla="*/ 28518484 h 99"/>
                <a:gd name="T66" fmla="*/ 28297664 w 58"/>
                <a:gd name="T67" fmla="*/ 20044018 h 99"/>
                <a:gd name="T68" fmla="*/ 28297664 w 58"/>
                <a:gd name="T69" fmla="*/ 15293852 h 99"/>
                <a:gd name="T70" fmla="*/ 30293989 w 58"/>
                <a:gd name="T71" fmla="*/ 14073923 h 99"/>
                <a:gd name="T72" fmla="*/ 28924670 w 58"/>
                <a:gd name="T73" fmla="*/ 11216146 h 99"/>
                <a:gd name="T74" fmla="*/ 20728595 w 58"/>
                <a:gd name="T75" fmla="*/ 11216146 h 99"/>
                <a:gd name="T76" fmla="*/ 13971507 w 58"/>
                <a:gd name="T77" fmla="*/ 9698940 h 99"/>
                <a:gd name="T78" fmla="*/ 17167291 w 58"/>
                <a:gd name="T79" fmla="*/ 6840539 h 99"/>
                <a:gd name="T80" fmla="*/ 20728595 w 58"/>
                <a:gd name="T81" fmla="*/ 849380 h 99"/>
                <a:gd name="T82" fmla="*/ 13971507 w 58"/>
                <a:gd name="T83" fmla="*/ 2007625 h 99"/>
                <a:gd name="T84" fmla="*/ 7547009 w 58"/>
                <a:gd name="T85" fmla="*/ 4745295 h 99"/>
                <a:gd name="T86" fmla="*/ 5557316 w 58"/>
                <a:gd name="T87" fmla="*/ 8480160 h 99"/>
                <a:gd name="T88" fmla="*/ 2833612 w 58"/>
                <a:gd name="T89" fmla="*/ 13226484 h 99"/>
                <a:gd name="T90" fmla="*/ 1989346 w 58"/>
                <a:gd name="T91" fmla="*/ 20044018 h 99"/>
                <a:gd name="T92" fmla="*/ 0 w 58"/>
                <a:gd name="T93" fmla="*/ 21764423 h 99"/>
                <a:gd name="T94" fmla="*/ 1989346 w 58"/>
                <a:gd name="T95" fmla="*/ 23659170 h 99"/>
                <a:gd name="T96" fmla="*/ 4698972 w 58"/>
                <a:gd name="T97" fmla="*/ 28518484 h 99"/>
                <a:gd name="T98" fmla="*/ 7547009 w 58"/>
                <a:gd name="T99" fmla="*/ 28518484 h 99"/>
                <a:gd name="T100" fmla="*/ 9629314 w 58"/>
                <a:gd name="T101" fmla="*/ 33265628 h 9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8"/>
                <a:gd name="T154" fmla="*/ 0 h 99"/>
                <a:gd name="T155" fmla="*/ 58 w 58"/>
                <a:gd name="T156" fmla="*/ 99 h 9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8" h="99">
                  <a:moveTo>
                    <a:pt x="10" y="35"/>
                  </a:moveTo>
                  <a:cubicBezTo>
                    <a:pt x="10" y="36"/>
                    <a:pt x="11" y="36"/>
                    <a:pt x="11" y="36"/>
                  </a:cubicBezTo>
                  <a:cubicBezTo>
                    <a:pt x="11" y="37"/>
                    <a:pt x="11" y="38"/>
                    <a:pt x="11" y="39"/>
                  </a:cubicBezTo>
                  <a:cubicBezTo>
                    <a:pt x="10" y="40"/>
                    <a:pt x="8" y="42"/>
                    <a:pt x="9" y="44"/>
                  </a:cubicBezTo>
                  <a:cubicBezTo>
                    <a:pt x="9" y="45"/>
                    <a:pt x="10" y="45"/>
                    <a:pt x="10" y="45"/>
                  </a:cubicBezTo>
                  <a:cubicBezTo>
                    <a:pt x="11" y="46"/>
                    <a:pt x="12" y="46"/>
                    <a:pt x="12" y="46"/>
                  </a:cubicBezTo>
                  <a:cubicBezTo>
                    <a:pt x="13" y="46"/>
                    <a:pt x="13" y="45"/>
                    <a:pt x="13" y="45"/>
                  </a:cubicBezTo>
                  <a:cubicBezTo>
                    <a:pt x="14" y="44"/>
                    <a:pt x="16" y="45"/>
                    <a:pt x="17" y="45"/>
                  </a:cubicBezTo>
                  <a:cubicBezTo>
                    <a:pt x="17" y="44"/>
                    <a:pt x="17" y="44"/>
                    <a:pt x="18" y="44"/>
                  </a:cubicBezTo>
                  <a:cubicBezTo>
                    <a:pt x="18" y="44"/>
                    <a:pt x="19" y="44"/>
                    <a:pt x="20" y="44"/>
                  </a:cubicBezTo>
                  <a:cubicBezTo>
                    <a:pt x="21" y="45"/>
                    <a:pt x="19" y="47"/>
                    <a:pt x="19" y="48"/>
                  </a:cubicBezTo>
                  <a:cubicBezTo>
                    <a:pt x="18" y="50"/>
                    <a:pt x="21" y="52"/>
                    <a:pt x="22" y="54"/>
                  </a:cubicBezTo>
                  <a:cubicBezTo>
                    <a:pt x="23" y="55"/>
                    <a:pt x="22" y="56"/>
                    <a:pt x="21" y="57"/>
                  </a:cubicBezTo>
                  <a:cubicBezTo>
                    <a:pt x="21" y="59"/>
                    <a:pt x="22" y="62"/>
                    <a:pt x="19" y="62"/>
                  </a:cubicBezTo>
                  <a:cubicBezTo>
                    <a:pt x="18" y="62"/>
                    <a:pt x="16" y="61"/>
                    <a:pt x="15" y="62"/>
                  </a:cubicBezTo>
                  <a:cubicBezTo>
                    <a:pt x="14" y="63"/>
                    <a:pt x="13" y="64"/>
                    <a:pt x="12" y="64"/>
                  </a:cubicBezTo>
                  <a:cubicBezTo>
                    <a:pt x="12" y="65"/>
                    <a:pt x="11" y="66"/>
                    <a:pt x="10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11" y="68"/>
                    <a:pt x="11" y="68"/>
                    <a:pt x="12" y="68"/>
                  </a:cubicBezTo>
                  <a:cubicBezTo>
                    <a:pt x="12" y="68"/>
                    <a:pt x="13" y="67"/>
                    <a:pt x="14" y="68"/>
                  </a:cubicBezTo>
                  <a:cubicBezTo>
                    <a:pt x="14" y="69"/>
                    <a:pt x="14" y="71"/>
                    <a:pt x="13" y="73"/>
                  </a:cubicBezTo>
                  <a:cubicBezTo>
                    <a:pt x="13" y="74"/>
                    <a:pt x="12" y="76"/>
                    <a:pt x="10" y="76"/>
                  </a:cubicBezTo>
                  <a:cubicBezTo>
                    <a:pt x="9" y="76"/>
                    <a:pt x="7" y="77"/>
                    <a:pt x="7" y="78"/>
                  </a:cubicBezTo>
                  <a:cubicBezTo>
                    <a:pt x="6" y="78"/>
                    <a:pt x="6" y="79"/>
                    <a:pt x="7" y="80"/>
                  </a:cubicBezTo>
                  <a:cubicBezTo>
                    <a:pt x="8" y="80"/>
                    <a:pt x="9" y="80"/>
                    <a:pt x="9" y="81"/>
                  </a:cubicBezTo>
                  <a:cubicBezTo>
                    <a:pt x="9" y="81"/>
                    <a:pt x="11" y="82"/>
                    <a:pt x="12" y="81"/>
                  </a:cubicBezTo>
                  <a:cubicBezTo>
                    <a:pt x="13" y="80"/>
                    <a:pt x="15" y="81"/>
                    <a:pt x="16" y="82"/>
                  </a:cubicBezTo>
                  <a:cubicBezTo>
                    <a:pt x="19" y="83"/>
                    <a:pt x="21" y="82"/>
                    <a:pt x="24" y="82"/>
                  </a:cubicBezTo>
                  <a:cubicBezTo>
                    <a:pt x="24" y="84"/>
                    <a:pt x="23" y="85"/>
                    <a:pt x="22" y="86"/>
                  </a:cubicBezTo>
                  <a:cubicBezTo>
                    <a:pt x="20" y="87"/>
                    <a:pt x="18" y="85"/>
                    <a:pt x="16" y="86"/>
                  </a:cubicBezTo>
                  <a:cubicBezTo>
                    <a:pt x="16" y="86"/>
                    <a:pt x="16" y="86"/>
                    <a:pt x="15" y="87"/>
                  </a:cubicBezTo>
                  <a:cubicBezTo>
                    <a:pt x="14" y="87"/>
                    <a:pt x="11" y="87"/>
                    <a:pt x="10" y="89"/>
                  </a:cubicBezTo>
                  <a:cubicBezTo>
                    <a:pt x="10" y="90"/>
                    <a:pt x="10" y="91"/>
                    <a:pt x="10" y="91"/>
                  </a:cubicBezTo>
                  <a:cubicBezTo>
                    <a:pt x="8" y="94"/>
                    <a:pt x="4" y="96"/>
                    <a:pt x="1" y="98"/>
                  </a:cubicBezTo>
                  <a:cubicBezTo>
                    <a:pt x="1" y="98"/>
                    <a:pt x="1" y="98"/>
                    <a:pt x="1" y="99"/>
                  </a:cubicBezTo>
                  <a:cubicBezTo>
                    <a:pt x="2" y="99"/>
                    <a:pt x="4" y="98"/>
                    <a:pt x="5" y="99"/>
                  </a:cubicBezTo>
                  <a:cubicBezTo>
                    <a:pt x="5" y="99"/>
                    <a:pt x="7" y="99"/>
                    <a:pt x="7" y="99"/>
                  </a:cubicBezTo>
                  <a:cubicBezTo>
                    <a:pt x="8" y="98"/>
                    <a:pt x="8" y="97"/>
                    <a:pt x="9" y="96"/>
                  </a:cubicBezTo>
                  <a:cubicBezTo>
                    <a:pt x="10" y="96"/>
                    <a:pt x="12" y="96"/>
                    <a:pt x="13" y="96"/>
                  </a:cubicBezTo>
                  <a:cubicBezTo>
                    <a:pt x="15" y="96"/>
                    <a:pt x="16" y="96"/>
                    <a:pt x="18" y="96"/>
                  </a:cubicBezTo>
                  <a:cubicBezTo>
                    <a:pt x="18" y="94"/>
                    <a:pt x="19" y="94"/>
                    <a:pt x="20" y="93"/>
                  </a:cubicBezTo>
                  <a:cubicBezTo>
                    <a:pt x="24" y="92"/>
                    <a:pt x="28" y="93"/>
                    <a:pt x="32" y="92"/>
                  </a:cubicBezTo>
                  <a:cubicBezTo>
                    <a:pt x="33" y="92"/>
                    <a:pt x="34" y="91"/>
                    <a:pt x="34" y="91"/>
                  </a:cubicBezTo>
                  <a:cubicBezTo>
                    <a:pt x="37" y="91"/>
                    <a:pt x="40" y="91"/>
                    <a:pt x="42" y="91"/>
                  </a:cubicBezTo>
                  <a:cubicBezTo>
                    <a:pt x="44" y="91"/>
                    <a:pt x="45" y="90"/>
                    <a:pt x="47" y="89"/>
                  </a:cubicBezTo>
                  <a:cubicBezTo>
                    <a:pt x="48" y="89"/>
                    <a:pt x="50" y="89"/>
                    <a:pt x="52" y="89"/>
                  </a:cubicBezTo>
                  <a:cubicBezTo>
                    <a:pt x="53" y="88"/>
                    <a:pt x="54" y="87"/>
                    <a:pt x="55" y="86"/>
                  </a:cubicBezTo>
                  <a:cubicBezTo>
                    <a:pt x="55" y="85"/>
                    <a:pt x="55" y="83"/>
                    <a:pt x="54" y="82"/>
                  </a:cubicBezTo>
                  <a:cubicBezTo>
                    <a:pt x="54" y="81"/>
                    <a:pt x="54" y="80"/>
                    <a:pt x="55" y="79"/>
                  </a:cubicBezTo>
                  <a:cubicBezTo>
                    <a:pt x="55" y="78"/>
                    <a:pt x="57" y="77"/>
                    <a:pt x="57" y="76"/>
                  </a:cubicBezTo>
                  <a:cubicBezTo>
                    <a:pt x="57" y="74"/>
                    <a:pt x="58" y="73"/>
                    <a:pt x="57" y="71"/>
                  </a:cubicBezTo>
                  <a:cubicBezTo>
                    <a:pt x="57" y="70"/>
                    <a:pt x="57" y="70"/>
                    <a:pt x="57" y="69"/>
                  </a:cubicBezTo>
                  <a:cubicBezTo>
                    <a:pt x="56" y="68"/>
                    <a:pt x="56" y="68"/>
                    <a:pt x="55" y="67"/>
                  </a:cubicBezTo>
                  <a:cubicBezTo>
                    <a:pt x="54" y="67"/>
                    <a:pt x="53" y="67"/>
                    <a:pt x="52" y="67"/>
                  </a:cubicBezTo>
                  <a:cubicBezTo>
                    <a:pt x="52" y="66"/>
                    <a:pt x="51" y="66"/>
                    <a:pt x="50" y="66"/>
                  </a:cubicBezTo>
                  <a:cubicBezTo>
                    <a:pt x="50" y="66"/>
                    <a:pt x="50" y="67"/>
                    <a:pt x="49" y="67"/>
                  </a:cubicBezTo>
                  <a:cubicBezTo>
                    <a:pt x="48" y="67"/>
                    <a:pt x="48" y="67"/>
                    <a:pt x="47" y="67"/>
                  </a:cubicBezTo>
                  <a:cubicBezTo>
                    <a:pt x="47" y="65"/>
                    <a:pt x="47" y="63"/>
                    <a:pt x="47" y="62"/>
                  </a:cubicBezTo>
                  <a:cubicBezTo>
                    <a:pt x="47" y="61"/>
                    <a:pt x="46" y="61"/>
                    <a:pt x="46" y="60"/>
                  </a:cubicBezTo>
                  <a:cubicBezTo>
                    <a:pt x="45" y="58"/>
                    <a:pt x="45" y="55"/>
                    <a:pt x="44" y="53"/>
                  </a:cubicBezTo>
                  <a:cubicBezTo>
                    <a:pt x="44" y="52"/>
                    <a:pt x="44" y="52"/>
                    <a:pt x="43" y="51"/>
                  </a:cubicBezTo>
                  <a:cubicBezTo>
                    <a:pt x="41" y="49"/>
                    <a:pt x="38" y="48"/>
                    <a:pt x="36" y="45"/>
                  </a:cubicBezTo>
                  <a:cubicBezTo>
                    <a:pt x="36" y="44"/>
                    <a:pt x="35" y="43"/>
                    <a:pt x="35" y="42"/>
                  </a:cubicBezTo>
                  <a:cubicBezTo>
                    <a:pt x="34" y="42"/>
                    <a:pt x="35" y="41"/>
                    <a:pt x="35" y="40"/>
                  </a:cubicBezTo>
                  <a:cubicBezTo>
                    <a:pt x="35" y="37"/>
                    <a:pt x="32" y="34"/>
                    <a:pt x="29" y="33"/>
                  </a:cubicBezTo>
                  <a:cubicBezTo>
                    <a:pt x="28" y="32"/>
                    <a:pt x="26" y="32"/>
                    <a:pt x="26" y="30"/>
                  </a:cubicBezTo>
                  <a:cubicBezTo>
                    <a:pt x="25" y="28"/>
                    <a:pt x="26" y="27"/>
                    <a:pt x="27" y="25"/>
                  </a:cubicBezTo>
                  <a:cubicBezTo>
                    <a:pt x="28" y="23"/>
                    <a:pt x="29" y="22"/>
                    <a:pt x="30" y="21"/>
                  </a:cubicBezTo>
                  <a:cubicBezTo>
                    <a:pt x="30" y="20"/>
                    <a:pt x="30" y="20"/>
                    <a:pt x="30" y="19"/>
                  </a:cubicBezTo>
                  <a:cubicBezTo>
                    <a:pt x="31" y="18"/>
                    <a:pt x="30" y="17"/>
                    <a:pt x="30" y="16"/>
                  </a:cubicBezTo>
                  <a:cubicBezTo>
                    <a:pt x="30" y="16"/>
                    <a:pt x="31" y="16"/>
                    <a:pt x="31" y="16"/>
                  </a:cubicBezTo>
                  <a:cubicBezTo>
                    <a:pt x="31" y="15"/>
                    <a:pt x="32" y="15"/>
                    <a:pt x="32" y="15"/>
                  </a:cubicBezTo>
                  <a:cubicBezTo>
                    <a:pt x="32" y="14"/>
                    <a:pt x="32" y="13"/>
                    <a:pt x="32" y="13"/>
                  </a:cubicBezTo>
                  <a:cubicBezTo>
                    <a:pt x="32" y="13"/>
                    <a:pt x="31" y="12"/>
                    <a:pt x="31" y="12"/>
                  </a:cubicBezTo>
                  <a:cubicBezTo>
                    <a:pt x="29" y="11"/>
                    <a:pt x="26" y="12"/>
                    <a:pt x="24" y="12"/>
                  </a:cubicBezTo>
                  <a:cubicBezTo>
                    <a:pt x="23" y="12"/>
                    <a:pt x="23" y="12"/>
                    <a:pt x="22" y="12"/>
                  </a:cubicBezTo>
                  <a:cubicBezTo>
                    <a:pt x="20" y="13"/>
                    <a:pt x="17" y="12"/>
                    <a:pt x="15" y="13"/>
                  </a:cubicBezTo>
                  <a:cubicBezTo>
                    <a:pt x="15" y="12"/>
                    <a:pt x="15" y="11"/>
                    <a:pt x="15" y="10"/>
                  </a:cubicBezTo>
                  <a:cubicBezTo>
                    <a:pt x="15" y="9"/>
                    <a:pt x="15" y="8"/>
                    <a:pt x="16" y="8"/>
                  </a:cubicBezTo>
                  <a:cubicBezTo>
                    <a:pt x="16" y="8"/>
                    <a:pt x="17" y="7"/>
                    <a:pt x="18" y="7"/>
                  </a:cubicBezTo>
                  <a:cubicBezTo>
                    <a:pt x="19" y="6"/>
                    <a:pt x="20" y="5"/>
                    <a:pt x="22" y="3"/>
                  </a:cubicBezTo>
                  <a:cubicBezTo>
                    <a:pt x="22" y="2"/>
                    <a:pt x="22" y="1"/>
                    <a:pt x="22" y="1"/>
                  </a:cubicBezTo>
                  <a:cubicBezTo>
                    <a:pt x="20" y="0"/>
                    <a:pt x="18" y="1"/>
                    <a:pt x="15" y="1"/>
                  </a:cubicBezTo>
                  <a:cubicBezTo>
                    <a:pt x="15" y="1"/>
                    <a:pt x="15" y="2"/>
                    <a:pt x="15" y="2"/>
                  </a:cubicBezTo>
                  <a:cubicBezTo>
                    <a:pt x="13" y="2"/>
                    <a:pt x="11" y="1"/>
                    <a:pt x="9" y="2"/>
                  </a:cubicBezTo>
                  <a:cubicBezTo>
                    <a:pt x="8" y="3"/>
                    <a:pt x="8" y="4"/>
                    <a:pt x="8" y="5"/>
                  </a:cubicBezTo>
                  <a:cubicBezTo>
                    <a:pt x="8" y="6"/>
                    <a:pt x="7" y="5"/>
                    <a:pt x="6" y="6"/>
                  </a:cubicBezTo>
                  <a:cubicBezTo>
                    <a:pt x="5" y="7"/>
                    <a:pt x="6" y="8"/>
                    <a:pt x="6" y="9"/>
                  </a:cubicBezTo>
                  <a:cubicBezTo>
                    <a:pt x="5" y="10"/>
                    <a:pt x="4" y="11"/>
                    <a:pt x="3" y="12"/>
                  </a:cubicBezTo>
                  <a:cubicBezTo>
                    <a:pt x="3" y="13"/>
                    <a:pt x="3" y="14"/>
                    <a:pt x="3" y="14"/>
                  </a:cubicBezTo>
                  <a:cubicBezTo>
                    <a:pt x="4" y="16"/>
                    <a:pt x="4" y="18"/>
                    <a:pt x="3" y="20"/>
                  </a:cubicBezTo>
                  <a:cubicBezTo>
                    <a:pt x="2" y="20"/>
                    <a:pt x="3" y="21"/>
                    <a:pt x="2" y="21"/>
                  </a:cubicBezTo>
                  <a:cubicBezTo>
                    <a:pt x="2" y="21"/>
                    <a:pt x="1" y="22"/>
                    <a:pt x="1" y="22"/>
                  </a:cubicBezTo>
                  <a:cubicBezTo>
                    <a:pt x="0" y="22"/>
                    <a:pt x="0" y="23"/>
                    <a:pt x="0" y="23"/>
                  </a:cubicBezTo>
                  <a:cubicBezTo>
                    <a:pt x="0" y="23"/>
                    <a:pt x="1" y="24"/>
                    <a:pt x="1" y="24"/>
                  </a:cubicBezTo>
                  <a:cubicBezTo>
                    <a:pt x="1" y="24"/>
                    <a:pt x="1" y="24"/>
                    <a:pt x="2" y="25"/>
                  </a:cubicBezTo>
                  <a:cubicBezTo>
                    <a:pt x="3" y="25"/>
                    <a:pt x="4" y="25"/>
                    <a:pt x="4" y="25"/>
                  </a:cubicBezTo>
                  <a:cubicBezTo>
                    <a:pt x="5" y="27"/>
                    <a:pt x="4" y="29"/>
                    <a:pt x="5" y="30"/>
                  </a:cubicBezTo>
                  <a:cubicBezTo>
                    <a:pt x="5" y="31"/>
                    <a:pt x="6" y="31"/>
                    <a:pt x="6" y="31"/>
                  </a:cubicBezTo>
                  <a:cubicBezTo>
                    <a:pt x="7" y="30"/>
                    <a:pt x="7" y="30"/>
                    <a:pt x="8" y="30"/>
                  </a:cubicBezTo>
                  <a:cubicBezTo>
                    <a:pt x="9" y="31"/>
                    <a:pt x="8" y="32"/>
                    <a:pt x="8" y="34"/>
                  </a:cubicBezTo>
                  <a:cubicBezTo>
                    <a:pt x="9" y="34"/>
                    <a:pt x="10" y="35"/>
                    <a:pt x="10" y="35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5" name="Freeform 160"/>
            <p:cNvSpPr>
              <a:spLocks/>
            </p:cNvSpPr>
            <p:nvPr/>
          </p:nvSpPr>
          <p:spPr bwMode="auto">
            <a:xfrm>
              <a:off x="6795360" y="4698431"/>
              <a:ext cx="7974" cy="7856"/>
            </a:xfrm>
            <a:custGeom>
              <a:avLst/>
              <a:gdLst>
                <a:gd name="T0" fmla="*/ 2243220 w 6"/>
                <a:gd name="T1" fmla="*/ 2129866 h 8"/>
                <a:gd name="T2" fmla="*/ 1697572 w 6"/>
                <a:gd name="T3" fmla="*/ 4351847 h 8"/>
                <a:gd name="T4" fmla="*/ 727531 w 6"/>
                <a:gd name="T5" fmla="*/ 4351847 h 8"/>
                <a:gd name="T6" fmla="*/ 0 w 6"/>
                <a:gd name="T7" fmla="*/ 5955246 h 8"/>
                <a:gd name="T8" fmla="*/ 1697572 w 6"/>
                <a:gd name="T9" fmla="*/ 8176458 h 8"/>
                <a:gd name="T10" fmla="*/ 2970751 w 6"/>
                <a:gd name="T11" fmla="*/ 7279645 h 8"/>
                <a:gd name="T12" fmla="*/ 4688532 w 6"/>
                <a:gd name="T13" fmla="*/ 5058432 h 8"/>
                <a:gd name="T14" fmla="*/ 4688532 w 6"/>
                <a:gd name="T15" fmla="*/ 896786 h 8"/>
                <a:gd name="T16" fmla="*/ 3961001 w 6"/>
                <a:gd name="T17" fmla="*/ 2129866 h 8"/>
                <a:gd name="T18" fmla="*/ 2970751 w 6"/>
                <a:gd name="T19" fmla="*/ 2129866 h 8"/>
                <a:gd name="T20" fmla="*/ 2243220 w 6"/>
                <a:gd name="T21" fmla="*/ 2129866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"/>
                <a:gd name="T34" fmla="*/ 0 h 8"/>
                <a:gd name="T35" fmla="*/ 6 w 6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" h="8">
                  <a:moveTo>
                    <a:pt x="3" y="2"/>
                  </a:moveTo>
                  <a:cubicBezTo>
                    <a:pt x="3" y="3"/>
                    <a:pt x="3" y="3"/>
                    <a:pt x="2" y="4"/>
                  </a:cubicBezTo>
                  <a:cubicBezTo>
                    <a:pt x="2" y="4"/>
                    <a:pt x="1" y="4"/>
                    <a:pt x="1" y="4"/>
                  </a:cubicBezTo>
                  <a:cubicBezTo>
                    <a:pt x="0" y="4"/>
                    <a:pt x="0" y="6"/>
                    <a:pt x="0" y="6"/>
                  </a:cubicBezTo>
                  <a:cubicBezTo>
                    <a:pt x="1" y="7"/>
                    <a:pt x="1" y="7"/>
                    <a:pt x="2" y="8"/>
                  </a:cubicBezTo>
                  <a:cubicBezTo>
                    <a:pt x="2" y="8"/>
                    <a:pt x="3" y="8"/>
                    <a:pt x="4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6" y="4"/>
                    <a:pt x="6" y="2"/>
                    <a:pt x="6" y="1"/>
                  </a:cubicBezTo>
                  <a:cubicBezTo>
                    <a:pt x="6" y="0"/>
                    <a:pt x="5" y="1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lnTo>
                    <a:pt x="3" y="2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6" name="Freeform 161"/>
            <p:cNvSpPr>
              <a:spLocks/>
            </p:cNvSpPr>
            <p:nvPr/>
          </p:nvSpPr>
          <p:spPr bwMode="auto">
            <a:xfrm>
              <a:off x="6790285" y="4711728"/>
              <a:ext cx="5075" cy="4834"/>
            </a:xfrm>
            <a:custGeom>
              <a:avLst/>
              <a:gdLst>
                <a:gd name="T0" fmla="*/ 941139 w 4"/>
                <a:gd name="T1" fmla="*/ 0 h 4"/>
                <a:gd name="T2" fmla="*/ 941139 w 4"/>
                <a:gd name="T3" fmla="*/ 6243820 h 4"/>
                <a:gd name="T4" fmla="*/ 1699274 w 4"/>
                <a:gd name="T5" fmla="*/ 6243820 h 4"/>
                <a:gd name="T6" fmla="*/ 1699274 w 4"/>
                <a:gd name="T7" fmla="*/ 2497529 h 4"/>
                <a:gd name="T8" fmla="*/ 1359459 w 4"/>
                <a:gd name="T9" fmla="*/ 0 h 4"/>
                <a:gd name="T10" fmla="*/ 941139 w 4"/>
                <a:gd name="T11" fmla="*/ 0 h 4"/>
                <a:gd name="T12" fmla="*/ 941139 w 4"/>
                <a:gd name="T13" fmla="*/ 0 h 4"/>
                <a:gd name="T14" fmla="*/ 941139 w 4"/>
                <a:gd name="T15" fmla="*/ 0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4"/>
                <a:gd name="T26" fmla="*/ 4 w 4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4">
                  <a:moveTo>
                    <a:pt x="2" y="0"/>
                  </a:moveTo>
                  <a:cubicBezTo>
                    <a:pt x="1" y="1"/>
                    <a:pt x="0" y="3"/>
                    <a:pt x="2" y="3"/>
                  </a:cubicBezTo>
                  <a:cubicBezTo>
                    <a:pt x="2" y="4"/>
                    <a:pt x="3" y="4"/>
                    <a:pt x="4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1"/>
                    <a:pt x="4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7" name="Freeform 162"/>
            <p:cNvSpPr>
              <a:spLocks/>
            </p:cNvSpPr>
            <p:nvPr/>
          </p:nvSpPr>
          <p:spPr bwMode="auto">
            <a:xfrm>
              <a:off x="6799711" y="4708706"/>
              <a:ext cx="6526" cy="5438"/>
            </a:xfrm>
            <a:custGeom>
              <a:avLst/>
              <a:gdLst>
                <a:gd name="T0" fmla="*/ 5085394 w 5"/>
                <a:gd name="T1" fmla="*/ 3577445 h 5"/>
                <a:gd name="T2" fmla="*/ 3577445 w 5"/>
                <a:gd name="T3" fmla="*/ 1064436 h 5"/>
                <a:gd name="T4" fmla="*/ 2554647 w 5"/>
                <a:gd name="T5" fmla="*/ 1064436 h 5"/>
                <a:gd name="T6" fmla="*/ 0 w 5"/>
                <a:gd name="T7" fmla="*/ 2554647 h 5"/>
                <a:gd name="T8" fmla="*/ 0 w 5"/>
                <a:gd name="T9" fmla="*/ 3577445 h 5"/>
                <a:gd name="T10" fmla="*/ 5085394 w 5"/>
                <a:gd name="T11" fmla="*/ 6131150 h 5"/>
                <a:gd name="T12" fmla="*/ 6131150 w 5"/>
                <a:gd name="T13" fmla="*/ 6131150 h 5"/>
                <a:gd name="T14" fmla="*/ 6131150 w 5"/>
                <a:gd name="T15" fmla="*/ 3577445 h 5"/>
                <a:gd name="T16" fmla="*/ 5085394 w 5"/>
                <a:gd name="T17" fmla="*/ 3577445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5"/>
                <a:gd name="T29" fmla="*/ 5 w 5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5">
                  <a:moveTo>
                    <a:pt x="4" y="3"/>
                  </a:moveTo>
                  <a:cubicBezTo>
                    <a:pt x="4" y="2"/>
                    <a:pt x="4" y="1"/>
                    <a:pt x="3" y="1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4" y="5"/>
                    <a:pt x="4" y="5"/>
                    <a:pt x="5" y="5"/>
                  </a:cubicBezTo>
                  <a:cubicBezTo>
                    <a:pt x="5" y="5"/>
                    <a:pt x="5" y="4"/>
                    <a:pt x="5" y="3"/>
                  </a:cubicBezTo>
                  <a:lnTo>
                    <a:pt x="4" y="3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8" name="Freeform 163"/>
            <p:cNvSpPr>
              <a:spLocks/>
            </p:cNvSpPr>
            <p:nvPr/>
          </p:nvSpPr>
          <p:spPr bwMode="auto">
            <a:xfrm>
              <a:off x="6832333" y="4688157"/>
              <a:ext cx="4350" cy="4232"/>
            </a:xfrm>
            <a:custGeom>
              <a:avLst/>
              <a:gdLst>
                <a:gd name="T0" fmla="*/ 941139 w 4"/>
                <a:gd name="T1" fmla="*/ 2497529 h 4"/>
                <a:gd name="T2" fmla="*/ 0 w 4"/>
                <a:gd name="T3" fmla="*/ 6243820 h 4"/>
                <a:gd name="T4" fmla="*/ 1699274 w 4"/>
                <a:gd name="T5" fmla="*/ 6243820 h 4"/>
                <a:gd name="T6" fmla="*/ 1699274 w 4"/>
                <a:gd name="T7" fmla="*/ 2497529 h 4"/>
                <a:gd name="T8" fmla="*/ 941139 w 4"/>
                <a:gd name="T9" fmla="*/ 249752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2" y="1"/>
                  </a:moveTo>
                  <a:cubicBezTo>
                    <a:pt x="0" y="0"/>
                    <a:pt x="0" y="2"/>
                    <a:pt x="0" y="3"/>
                  </a:cubicBezTo>
                  <a:cubicBezTo>
                    <a:pt x="1" y="4"/>
                    <a:pt x="3" y="4"/>
                    <a:pt x="4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1"/>
                    <a:pt x="3" y="1"/>
                    <a:pt x="2" y="1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9" name="Freeform 164"/>
            <p:cNvSpPr>
              <a:spLocks/>
            </p:cNvSpPr>
            <p:nvPr/>
          </p:nvSpPr>
          <p:spPr bwMode="auto">
            <a:xfrm>
              <a:off x="6849732" y="4671841"/>
              <a:ext cx="6524" cy="9065"/>
            </a:xfrm>
            <a:custGeom>
              <a:avLst/>
              <a:gdLst>
                <a:gd name="T0" fmla="*/ 3577445 w 5"/>
                <a:gd name="T1" fmla="*/ 0 h 8"/>
                <a:gd name="T2" fmla="*/ 0 w 5"/>
                <a:gd name="T3" fmla="*/ 4351847 h 8"/>
                <a:gd name="T4" fmla="*/ 3577445 w 5"/>
                <a:gd name="T5" fmla="*/ 8176458 h 8"/>
                <a:gd name="T6" fmla="*/ 5085394 w 5"/>
                <a:gd name="T7" fmla="*/ 8176458 h 8"/>
                <a:gd name="T8" fmla="*/ 5085394 w 5"/>
                <a:gd name="T9" fmla="*/ 4351847 h 8"/>
                <a:gd name="T10" fmla="*/ 5085394 w 5"/>
                <a:gd name="T11" fmla="*/ 0 h 8"/>
                <a:gd name="T12" fmla="*/ 3577445 w 5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8"/>
                <a:gd name="T23" fmla="*/ 5 w 5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8">
                  <a:moveTo>
                    <a:pt x="3" y="0"/>
                  </a:moveTo>
                  <a:cubicBezTo>
                    <a:pt x="1" y="0"/>
                    <a:pt x="0" y="2"/>
                    <a:pt x="0" y="4"/>
                  </a:cubicBezTo>
                  <a:cubicBezTo>
                    <a:pt x="3" y="4"/>
                    <a:pt x="2" y="6"/>
                    <a:pt x="3" y="8"/>
                  </a:cubicBezTo>
                  <a:cubicBezTo>
                    <a:pt x="3" y="8"/>
                    <a:pt x="4" y="8"/>
                    <a:pt x="4" y="8"/>
                  </a:cubicBezTo>
                  <a:cubicBezTo>
                    <a:pt x="4" y="7"/>
                    <a:pt x="4" y="5"/>
                    <a:pt x="4" y="4"/>
                  </a:cubicBezTo>
                  <a:cubicBezTo>
                    <a:pt x="5" y="3"/>
                    <a:pt x="5" y="1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0" name="Freeform 165"/>
            <p:cNvSpPr>
              <a:spLocks/>
            </p:cNvSpPr>
            <p:nvPr/>
          </p:nvSpPr>
          <p:spPr bwMode="auto">
            <a:xfrm>
              <a:off x="6786661" y="4738922"/>
              <a:ext cx="25373" cy="16317"/>
            </a:xfrm>
            <a:custGeom>
              <a:avLst/>
              <a:gdLst>
                <a:gd name="T0" fmla="*/ 11496685 w 19"/>
                <a:gd name="T1" fmla="*/ 18043546 h 15"/>
                <a:gd name="T2" fmla="*/ 13640503 w 19"/>
                <a:gd name="T3" fmla="*/ 17271725 h 15"/>
                <a:gd name="T4" fmla="*/ 15706817 w 19"/>
                <a:gd name="T5" fmla="*/ 14714756 h 15"/>
                <a:gd name="T6" fmla="*/ 18666092 w 19"/>
                <a:gd name="T7" fmla="*/ 12204942 h 15"/>
                <a:gd name="T8" fmla="*/ 18666092 w 19"/>
                <a:gd name="T9" fmla="*/ 11140514 h 15"/>
                <a:gd name="T10" fmla="*/ 16599778 w 19"/>
                <a:gd name="T11" fmla="*/ 8585866 h 15"/>
                <a:gd name="T12" fmla="*/ 12773055 w 19"/>
                <a:gd name="T13" fmla="*/ 2554647 h 15"/>
                <a:gd name="T14" fmla="*/ 11496685 w 19"/>
                <a:gd name="T15" fmla="*/ 1064436 h 15"/>
                <a:gd name="T16" fmla="*/ 8696832 w 19"/>
                <a:gd name="T17" fmla="*/ 0 h 15"/>
                <a:gd name="T18" fmla="*/ 7881242 w 19"/>
                <a:gd name="T19" fmla="*/ 0 h 15"/>
                <a:gd name="T20" fmla="*/ 7008797 w 19"/>
                <a:gd name="T21" fmla="*/ 1064436 h 15"/>
                <a:gd name="T22" fmla="*/ 2959271 w 19"/>
                <a:gd name="T23" fmla="*/ 6131151 h 15"/>
                <a:gd name="T24" fmla="*/ 0 w 19"/>
                <a:gd name="T25" fmla="*/ 8585866 h 15"/>
                <a:gd name="T26" fmla="*/ 0 w 19"/>
                <a:gd name="T27" fmla="*/ 13074693 h 15"/>
                <a:gd name="T28" fmla="*/ 3671997 w 19"/>
                <a:gd name="T29" fmla="*/ 15597639 h 15"/>
                <a:gd name="T30" fmla="*/ 4854159 w 19"/>
                <a:gd name="T31" fmla="*/ 14714756 h 15"/>
                <a:gd name="T32" fmla="*/ 10840510 w 19"/>
                <a:gd name="T33" fmla="*/ 14714756 h 15"/>
                <a:gd name="T34" fmla="*/ 11496685 w 19"/>
                <a:gd name="T35" fmla="*/ 15597639 h 15"/>
                <a:gd name="T36" fmla="*/ 11496685 w 19"/>
                <a:gd name="T37" fmla="*/ 18043546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9"/>
                <a:gd name="T58" fmla="*/ 0 h 15"/>
                <a:gd name="T59" fmla="*/ 19 w 19"/>
                <a:gd name="T60" fmla="*/ 15 h 1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9" h="15">
                  <a:moveTo>
                    <a:pt x="12" y="15"/>
                  </a:moveTo>
                  <a:cubicBezTo>
                    <a:pt x="13" y="14"/>
                    <a:pt x="14" y="15"/>
                    <a:pt x="14" y="14"/>
                  </a:cubicBezTo>
                  <a:cubicBezTo>
                    <a:pt x="15" y="14"/>
                    <a:pt x="16" y="13"/>
                    <a:pt x="16" y="12"/>
                  </a:cubicBezTo>
                  <a:cubicBezTo>
                    <a:pt x="17" y="11"/>
                    <a:pt x="18" y="11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8" y="8"/>
                    <a:pt x="18" y="7"/>
                    <a:pt x="17" y="7"/>
                  </a:cubicBezTo>
                  <a:cubicBezTo>
                    <a:pt x="16" y="5"/>
                    <a:pt x="15" y="4"/>
                    <a:pt x="13" y="2"/>
                  </a:cubicBezTo>
                  <a:cubicBezTo>
                    <a:pt x="13" y="2"/>
                    <a:pt x="13" y="1"/>
                    <a:pt x="12" y="1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2"/>
                    <a:pt x="4" y="3"/>
                    <a:pt x="3" y="5"/>
                  </a:cubicBezTo>
                  <a:cubicBezTo>
                    <a:pt x="2" y="6"/>
                    <a:pt x="1" y="6"/>
                    <a:pt x="0" y="7"/>
                  </a:cubicBezTo>
                  <a:cubicBezTo>
                    <a:pt x="0" y="8"/>
                    <a:pt x="0" y="10"/>
                    <a:pt x="0" y="11"/>
                  </a:cubicBezTo>
                  <a:cubicBezTo>
                    <a:pt x="1" y="12"/>
                    <a:pt x="3" y="14"/>
                    <a:pt x="4" y="13"/>
                  </a:cubicBezTo>
                  <a:cubicBezTo>
                    <a:pt x="4" y="13"/>
                    <a:pt x="5" y="12"/>
                    <a:pt x="5" y="12"/>
                  </a:cubicBezTo>
                  <a:cubicBezTo>
                    <a:pt x="7" y="11"/>
                    <a:pt x="9" y="12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lnTo>
                    <a:pt x="12" y="15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1" name="Freeform 237"/>
            <p:cNvSpPr>
              <a:spLocks/>
            </p:cNvSpPr>
            <p:nvPr/>
          </p:nvSpPr>
          <p:spPr bwMode="auto">
            <a:xfrm>
              <a:off x="7128842" y="4892424"/>
              <a:ext cx="32622" cy="20547"/>
            </a:xfrm>
            <a:custGeom>
              <a:avLst/>
              <a:gdLst>
                <a:gd name="T0" fmla="*/ 0 w 24"/>
                <a:gd name="T1" fmla="*/ 13640503 h 19"/>
                <a:gd name="T2" fmla="*/ 2226282 w 24"/>
                <a:gd name="T3" fmla="*/ 17849252 h 19"/>
                <a:gd name="T4" fmla="*/ 7280415 w 24"/>
                <a:gd name="T5" fmla="*/ 16599778 h 19"/>
                <a:gd name="T6" fmla="*/ 12557623 w 24"/>
                <a:gd name="T7" fmla="*/ 12773055 h 19"/>
                <a:gd name="T8" fmla="*/ 18521930 w 24"/>
                <a:gd name="T9" fmla="*/ 10840510 h 19"/>
                <a:gd name="T10" fmla="*/ 18521930 w 24"/>
                <a:gd name="T11" fmla="*/ 10840510 h 19"/>
                <a:gd name="T12" fmla="*/ 23798965 w 24"/>
                <a:gd name="T13" fmla="*/ 10840510 h 19"/>
                <a:gd name="T14" fmla="*/ 23798965 w 24"/>
                <a:gd name="T15" fmla="*/ 9968069 h 19"/>
                <a:gd name="T16" fmla="*/ 19419101 w 24"/>
                <a:gd name="T17" fmla="*/ 7881242 h 19"/>
                <a:gd name="T18" fmla="*/ 16353661 w 24"/>
                <a:gd name="T19" fmla="*/ 2049534 h 19"/>
                <a:gd name="T20" fmla="*/ 15581415 w 24"/>
                <a:gd name="T21" fmla="*/ 0 h 19"/>
                <a:gd name="T22" fmla="*/ 14143705 w 24"/>
                <a:gd name="T23" fmla="*/ 865359 h 19"/>
                <a:gd name="T24" fmla="*/ 11242634 w 24"/>
                <a:gd name="T25" fmla="*/ 865359 h 19"/>
                <a:gd name="T26" fmla="*/ 10335640 w 24"/>
                <a:gd name="T27" fmla="*/ 0 h 19"/>
                <a:gd name="T28" fmla="*/ 8176465 w 24"/>
                <a:gd name="T29" fmla="*/ 0 h 19"/>
                <a:gd name="T30" fmla="*/ 937382 w 24"/>
                <a:gd name="T31" fmla="*/ 2959271 h 19"/>
                <a:gd name="T32" fmla="*/ 2226282 w 24"/>
                <a:gd name="T33" fmla="*/ 7008797 h 19"/>
                <a:gd name="T34" fmla="*/ 937382 w 24"/>
                <a:gd name="T35" fmla="*/ 12773055 h 19"/>
                <a:gd name="T36" fmla="*/ 937382 w 24"/>
                <a:gd name="T37" fmla="*/ 12773055 h 19"/>
                <a:gd name="T38" fmla="*/ 0 w 24"/>
                <a:gd name="T39" fmla="*/ 13640503 h 1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4"/>
                <a:gd name="T61" fmla="*/ 0 h 19"/>
                <a:gd name="T62" fmla="*/ 24 w 24"/>
                <a:gd name="T63" fmla="*/ 19 h 1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4" h="19">
                  <a:moveTo>
                    <a:pt x="0" y="14"/>
                  </a:moveTo>
                  <a:cubicBezTo>
                    <a:pt x="1" y="16"/>
                    <a:pt x="0" y="17"/>
                    <a:pt x="2" y="18"/>
                  </a:cubicBezTo>
                  <a:cubicBezTo>
                    <a:pt x="4" y="19"/>
                    <a:pt x="6" y="18"/>
                    <a:pt x="7" y="17"/>
                  </a:cubicBezTo>
                  <a:cubicBezTo>
                    <a:pt x="9" y="16"/>
                    <a:pt x="10" y="13"/>
                    <a:pt x="12" y="13"/>
                  </a:cubicBezTo>
                  <a:cubicBezTo>
                    <a:pt x="14" y="12"/>
                    <a:pt x="16" y="13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0" y="11"/>
                    <a:pt x="22" y="12"/>
                    <a:pt x="23" y="11"/>
                  </a:cubicBezTo>
                  <a:cubicBezTo>
                    <a:pt x="23" y="11"/>
                    <a:pt x="24" y="10"/>
                    <a:pt x="23" y="10"/>
                  </a:cubicBezTo>
                  <a:cubicBezTo>
                    <a:pt x="22" y="9"/>
                    <a:pt x="20" y="9"/>
                    <a:pt x="19" y="8"/>
                  </a:cubicBezTo>
                  <a:cubicBezTo>
                    <a:pt x="17" y="6"/>
                    <a:pt x="17" y="4"/>
                    <a:pt x="16" y="2"/>
                  </a:cubicBezTo>
                  <a:cubicBezTo>
                    <a:pt x="16" y="1"/>
                    <a:pt x="16" y="1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1"/>
                    <a:pt x="12" y="2"/>
                    <a:pt x="11" y="1"/>
                  </a:cubicBezTo>
                  <a:cubicBezTo>
                    <a:pt x="11" y="1"/>
                    <a:pt x="10" y="0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6" y="2"/>
                    <a:pt x="4" y="2"/>
                    <a:pt x="1" y="3"/>
                  </a:cubicBezTo>
                  <a:cubicBezTo>
                    <a:pt x="1" y="5"/>
                    <a:pt x="2" y="6"/>
                    <a:pt x="2" y="7"/>
                  </a:cubicBezTo>
                  <a:cubicBezTo>
                    <a:pt x="2" y="9"/>
                    <a:pt x="1" y="11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2" name="Freeform 239"/>
            <p:cNvSpPr>
              <a:spLocks/>
            </p:cNvSpPr>
            <p:nvPr/>
          </p:nvSpPr>
          <p:spPr bwMode="auto">
            <a:xfrm>
              <a:off x="7130292" y="4922035"/>
              <a:ext cx="5075" cy="3022"/>
            </a:xfrm>
            <a:custGeom>
              <a:avLst/>
              <a:gdLst>
                <a:gd name="T0" fmla="*/ 1699274 w 4"/>
                <a:gd name="T1" fmla="*/ 1697572 h 3"/>
                <a:gd name="T2" fmla="*/ 1359459 w 4"/>
                <a:gd name="T3" fmla="*/ 0 h 3"/>
                <a:gd name="T4" fmla="*/ 418284 w 4"/>
                <a:gd name="T5" fmla="*/ 0 h 3"/>
                <a:gd name="T6" fmla="*/ 0 w 4"/>
                <a:gd name="T7" fmla="*/ 2243220 h 3"/>
                <a:gd name="T8" fmla="*/ 1359459 w 4"/>
                <a:gd name="T9" fmla="*/ 2243220 h 3"/>
                <a:gd name="T10" fmla="*/ 1699274 w 4"/>
                <a:gd name="T11" fmla="*/ 2243220 h 3"/>
                <a:gd name="T12" fmla="*/ 1699274 w 4"/>
                <a:gd name="T13" fmla="*/ 1697572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3"/>
                <a:gd name="T23" fmla="*/ 4 w 4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3">
                  <a:moveTo>
                    <a:pt x="4" y="2"/>
                  </a:moveTo>
                  <a:cubicBezTo>
                    <a:pt x="4" y="2"/>
                    <a:pt x="3" y="1"/>
                    <a:pt x="3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3"/>
                    <a:pt x="2" y="3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4" y="3"/>
                    <a:pt x="4" y="3"/>
                    <a:pt x="4" y="2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3" name="Freeform 436"/>
            <p:cNvSpPr>
              <a:spLocks/>
            </p:cNvSpPr>
            <p:nvPr/>
          </p:nvSpPr>
          <p:spPr bwMode="auto">
            <a:xfrm>
              <a:off x="6992548" y="4790894"/>
              <a:ext cx="63072" cy="28404"/>
            </a:xfrm>
            <a:custGeom>
              <a:avLst/>
              <a:gdLst>
                <a:gd name="T0" fmla="*/ 45532 w 91"/>
                <a:gd name="T1" fmla="*/ 60795 h 54"/>
                <a:gd name="T2" fmla="*/ 77404 w 91"/>
                <a:gd name="T3" fmla="*/ 66322 h 54"/>
                <a:gd name="T4" fmla="*/ 100170 w 91"/>
                <a:gd name="T5" fmla="*/ 66322 h 54"/>
                <a:gd name="T6" fmla="*/ 115347 w 91"/>
                <a:gd name="T7" fmla="*/ 64940 h 54"/>
                <a:gd name="T8" fmla="*/ 138113 w 91"/>
                <a:gd name="T9" fmla="*/ 49741 h 54"/>
                <a:gd name="T10" fmla="*/ 122936 w 91"/>
                <a:gd name="T11" fmla="*/ 37306 h 54"/>
                <a:gd name="T12" fmla="*/ 100170 w 91"/>
                <a:gd name="T13" fmla="*/ 20726 h 54"/>
                <a:gd name="T14" fmla="*/ 78922 w 91"/>
                <a:gd name="T15" fmla="*/ 24871 h 54"/>
                <a:gd name="T16" fmla="*/ 72851 w 91"/>
                <a:gd name="T17" fmla="*/ 12435 h 54"/>
                <a:gd name="T18" fmla="*/ 45532 w 91"/>
                <a:gd name="T19" fmla="*/ 0 h 54"/>
                <a:gd name="T20" fmla="*/ 19730 w 91"/>
                <a:gd name="T21" fmla="*/ 15199 h 54"/>
                <a:gd name="T22" fmla="*/ 0 w 91"/>
                <a:gd name="T23" fmla="*/ 31779 h 54"/>
                <a:gd name="T24" fmla="*/ 10624 w 91"/>
                <a:gd name="T25" fmla="*/ 60795 h 54"/>
                <a:gd name="T26" fmla="*/ 36425 w 91"/>
                <a:gd name="T27" fmla="*/ 74612 h 54"/>
                <a:gd name="T28" fmla="*/ 45532 w 91"/>
                <a:gd name="T29" fmla="*/ 60795 h 5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1"/>
                <a:gd name="T46" fmla="*/ 0 h 54"/>
                <a:gd name="T47" fmla="*/ 91 w 91"/>
                <a:gd name="T48" fmla="*/ 54 h 5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1" h="54">
                  <a:moveTo>
                    <a:pt x="30" y="44"/>
                  </a:moveTo>
                  <a:lnTo>
                    <a:pt x="51" y="48"/>
                  </a:lnTo>
                  <a:lnTo>
                    <a:pt x="66" y="48"/>
                  </a:lnTo>
                  <a:lnTo>
                    <a:pt x="76" y="47"/>
                  </a:lnTo>
                  <a:lnTo>
                    <a:pt x="91" y="36"/>
                  </a:lnTo>
                  <a:lnTo>
                    <a:pt x="81" y="27"/>
                  </a:lnTo>
                  <a:lnTo>
                    <a:pt x="66" y="15"/>
                  </a:lnTo>
                  <a:lnTo>
                    <a:pt x="52" y="18"/>
                  </a:lnTo>
                  <a:lnTo>
                    <a:pt x="48" y="9"/>
                  </a:lnTo>
                  <a:lnTo>
                    <a:pt x="30" y="0"/>
                  </a:lnTo>
                  <a:lnTo>
                    <a:pt x="13" y="11"/>
                  </a:lnTo>
                  <a:lnTo>
                    <a:pt x="0" y="23"/>
                  </a:lnTo>
                  <a:lnTo>
                    <a:pt x="7" y="44"/>
                  </a:lnTo>
                  <a:lnTo>
                    <a:pt x="24" y="54"/>
                  </a:lnTo>
                  <a:lnTo>
                    <a:pt x="30" y="44"/>
                  </a:lnTo>
                  <a:close/>
                </a:path>
              </a:pathLst>
            </a:cu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94" name="Connecteur droit 993"/>
            <p:cNvCxnSpPr/>
            <p:nvPr/>
          </p:nvCxnSpPr>
          <p:spPr>
            <a:xfrm flipV="1">
              <a:off x="6894696" y="4820431"/>
              <a:ext cx="5506" cy="17032"/>
            </a:xfrm>
            <a:prstGeom prst="line">
              <a:avLst/>
            </a:prstGeom>
            <a:grpFill/>
            <a:ln w="6350" cap="flat" cmpd="sng" algn="ctr">
              <a:solidFill>
                <a:sysClr val="window" lastClr="FFFFFF"/>
              </a:solidFill>
              <a:prstDash val="solid"/>
              <a:headEnd/>
              <a:tailEnd/>
            </a:ln>
            <a:effectLst/>
          </p:spPr>
        </p:cxnSp>
      </p:grpSp>
      <p:sp>
        <p:nvSpPr>
          <p:cNvPr id="995" name="ZoneTexte 994"/>
          <p:cNvSpPr txBox="1"/>
          <p:nvPr/>
        </p:nvSpPr>
        <p:spPr>
          <a:xfrm>
            <a:off x="5529064" y="4797152"/>
            <a:ext cx="15463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50 000 </a:t>
            </a:r>
            <a:r>
              <a: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n Inde</a:t>
            </a: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96" name="Ellipse 995"/>
          <p:cNvSpPr/>
          <p:nvPr/>
        </p:nvSpPr>
        <p:spPr>
          <a:xfrm>
            <a:off x="4489634" y="5118075"/>
            <a:ext cx="106180" cy="106180"/>
          </a:xfrm>
          <a:prstGeom prst="ellipse">
            <a:avLst/>
          </a:prstGeom>
          <a:gradFill rotWithShape="1">
            <a:gsLst>
              <a:gs pos="0">
                <a:srgbClr val="FFBC1D">
                  <a:shade val="51000"/>
                  <a:satMod val="130000"/>
                </a:srgbClr>
              </a:gs>
              <a:gs pos="80000">
                <a:srgbClr val="FFBC1D">
                  <a:shade val="93000"/>
                  <a:satMod val="130000"/>
                </a:srgbClr>
              </a:gs>
              <a:gs pos="100000">
                <a:srgbClr val="FFBC1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7" name="Ellipse 996"/>
          <p:cNvSpPr/>
          <p:nvPr/>
        </p:nvSpPr>
        <p:spPr>
          <a:xfrm>
            <a:off x="5751985" y="4549182"/>
            <a:ext cx="305458" cy="285654"/>
          </a:xfrm>
          <a:prstGeom prst="ellipse">
            <a:avLst/>
          </a:prstGeom>
          <a:gradFill rotWithShape="1">
            <a:gsLst>
              <a:gs pos="0">
                <a:srgbClr val="FFBC1D">
                  <a:shade val="51000"/>
                  <a:satMod val="130000"/>
                </a:srgbClr>
              </a:gs>
              <a:gs pos="80000">
                <a:srgbClr val="FFBC1D">
                  <a:shade val="93000"/>
                  <a:satMod val="130000"/>
                </a:srgbClr>
              </a:gs>
              <a:gs pos="100000">
                <a:srgbClr val="FFBC1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8" name="Ellipse 997"/>
          <p:cNvSpPr/>
          <p:nvPr/>
        </p:nvSpPr>
        <p:spPr>
          <a:xfrm>
            <a:off x="4838477" y="4555780"/>
            <a:ext cx="195674" cy="191068"/>
          </a:xfrm>
          <a:prstGeom prst="ellipse">
            <a:avLst/>
          </a:prstGeom>
          <a:gradFill rotWithShape="1">
            <a:gsLst>
              <a:gs pos="0">
                <a:srgbClr val="FFBC1D">
                  <a:shade val="51000"/>
                  <a:satMod val="130000"/>
                </a:srgbClr>
              </a:gs>
              <a:gs pos="80000">
                <a:srgbClr val="FFBC1D">
                  <a:shade val="93000"/>
                  <a:satMod val="130000"/>
                </a:srgbClr>
              </a:gs>
              <a:gs pos="100000">
                <a:srgbClr val="FFBC1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9" name="Ellipse 998"/>
          <p:cNvSpPr/>
          <p:nvPr/>
        </p:nvSpPr>
        <p:spPr>
          <a:xfrm>
            <a:off x="5222127" y="4378576"/>
            <a:ext cx="104058" cy="101610"/>
          </a:xfrm>
          <a:prstGeom prst="ellipse">
            <a:avLst/>
          </a:prstGeom>
          <a:gradFill rotWithShape="1">
            <a:gsLst>
              <a:gs pos="0">
                <a:srgbClr val="FFBC1D">
                  <a:shade val="51000"/>
                  <a:satMod val="130000"/>
                </a:srgbClr>
              </a:gs>
              <a:gs pos="80000">
                <a:srgbClr val="FFBC1D">
                  <a:shade val="93000"/>
                  <a:satMod val="130000"/>
                </a:srgbClr>
              </a:gs>
              <a:gs pos="100000">
                <a:srgbClr val="FFBC1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00" name="Groupe 526"/>
          <p:cNvGrpSpPr/>
          <p:nvPr/>
        </p:nvGrpSpPr>
        <p:grpSpPr>
          <a:xfrm>
            <a:off x="5745088" y="1700808"/>
            <a:ext cx="4176464" cy="1656184"/>
            <a:chOff x="8409384" y="2204864"/>
            <a:chExt cx="4523726" cy="1643625"/>
          </a:xfrm>
        </p:grpSpPr>
        <p:sp>
          <p:nvSpPr>
            <p:cNvPr id="1001" name="Arrondir un rectangle à un seul coin 1000"/>
            <p:cNvSpPr/>
            <p:nvPr/>
          </p:nvSpPr>
          <p:spPr>
            <a:xfrm>
              <a:off x="9459958" y="2204864"/>
              <a:ext cx="741312" cy="1577216"/>
            </a:xfrm>
            <a:prstGeom prst="round1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762C7C"/>
              </a:solidFill>
              <a:prstDash val="solid"/>
            </a:ln>
            <a:effectLst/>
          </p:spPr>
          <p:txBody>
            <a:bodyPr wrap="square" lIns="0" tIns="144000" rIns="0"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smtClean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 Black" pitchFamily="34" charset="0"/>
                  <a:ea typeface="+mn-ea"/>
                  <a:cs typeface="+mn-cs"/>
                </a:rPr>
                <a:t>A&amp;D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0" u="none" strike="noStrike" kern="0" cap="none" spc="0" normalizeH="0" baseline="0" noProof="0" smtClean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ero. &amp; Defense</a:t>
              </a:r>
            </a:p>
          </p:txBody>
        </p:sp>
        <p:sp>
          <p:nvSpPr>
            <p:cNvPr id="1002" name="Arrondir un rectangle à un seul coin 1001"/>
            <p:cNvSpPr/>
            <p:nvPr/>
          </p:nvSpPr>
          <p:spPr>
            <a:xfrm>
              <a:off x="10281592" y="2214147"/>
              <a:ext cx="741312" cy="1577019"/>
            </a:xfrm>
            <a:prstGeom prst="round1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762C7C"/>
              </a:solidFill>
              <a:prstDash val="solid"/>
            </a:ln>
            <a:effectLst/>
          </p:spPr>
          <p:txBody>
            <a:bodyPr wrap="square" lIns="0" tIns="144000" rIns="0"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 Black" pitchFamily="34" charset="0"/>
                  <a:ea typeface="+mn-ea"/>
                  <a:cs typeface="+mn-cs"/>
                </a:rPr>
                <a:t>I&amp;D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ustry</a:t>
              </a:r>
              <a:r>
                <a:rPr kumimoji="0" lang="fr-F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</a:t>
              </a:r>
              <a:r>
                <a:rPr kumimoji="0" lang="fr-FR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trib</a:t>
              </a:r>
              <a:r>
                <a:rPr kumimoji="0" lang="fr-F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 &amp; </a:t>
              </a:r>
              <a:r>
                <a:rPr kumimoji="0" lang="fr-FR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ergy</a:t>
              </a:r>
              <a:endPara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3" name="Arrondir un rectangle à un seul coin 1002"/>
            <p:cNvSpPr/>
            <p:nvPr/>
          </p:nvSpPr>
          <p:spPr>
            <a:xfrm>
              <a:off x="11145688" y="2219689"/>
              <a:ext cx="741312" cy="1571247"/>
            </a:xfrm>
            <a:prstGeom prst="round1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762C7C"/>
              </a:solidFill>
              <a:prstDash val="solid"/>
            </a:ln>
            <a:effectLst/>
          </p:spPr>
          <p:txBody>
            <a:bodyPr wrap="none" lIns="0" tIns="144000" rIns="0"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 Black" pitchFamily="34" charset="0"/>
                  <a:ea typeface="+mn-ea"/>
                  <a:cs typeface="+mn-cs"/>
                </a:rPr>
                <a:t>Service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ublic  &amp;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vés</a:t>
              </a:r>
            </a:p>
          </p:txBody>
        </p:sp>
        <p:sp>
          <p:nvSpPr>
            <p:cNvPr id="1004" name="Arrondir un rectangle à un seul coin 1003"/>
            <p:cNvSpPr/>
            <p:nvPr/>
          </p:nvSpPr>
          <p:spPr>
            <a:xfrm>
              <a:off x="12009784" y="2219691"/>
              <a:ext cx="741312" cy="1571246"/>
            </a:xfrm>
            <a:prstGeom prst="round1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762C7C"/>
              </a:solidFill>
              <a:prstDash val="solid"/>
            </a:ln>
            <a:effectLst/>
          </p:spPr>
          <p:txBody>
            <a:bodyPr wrap="square" lIns="0" tIns="144000" rIns="0"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smtClean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 Black" pitchFamily="34" charset="0"/>
                  <a:ea typeface="+mn-ea"/>
                  <a:cs typeface="+mn-cs"/>
                </a:rPr>
                <a:t>T&amp;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0" u="none" strike="noStrike" kern="0" cap="none" spc="0" normalizeH="0" baseline="0" noProof="0" smtClean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lco. &amp; media</a:t>
              </a:r>
            </a:p>
          </p:txBody>
        </p:sp>
        <p:sp>
          <p:nvSpPr>
            <p:cNvPr id="1005" name="Rectangle 1004"/>
            <p:cNvSpPr/>
            <p:nvPr/>
          </p:nvSpPr>
          <p:spPr>
            <a:xfrm>
              <a:off x="8612630" y="3068960"/>
              <a:ext cx="4261250" cy="635372"/>
            </a:xfrm>
            <a:prstGeom prst="rect">
              <a:avLst/>
            </a:prstGeom>
            <a:solidFill>
              <a:srgbClr val="0098C7"/>
            </a:solidFill>
            <a:ln w="25400" cap="flat" cmpd="sng" algn="ctr">
              <a:noFill/>
              <a:prstDash val="solid"/>
            </a:ln>
            <a:effectLst/>
          </p:spPr>
          <p:txBody>
            <a:bodyPr wrap="none" lIns="108000" tIns="144000" rIns="108000"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6" name="ZoneTexte 1005"/>
            <p:cNvSpPr txBox="1">
              <a:spLocks/>
            </p:cNvSpPr>
            <p:nvPr/>
          </p:nvSpPr>
          <p:spPr>
            <a:xfrm>
              <a:off x="8661831" y="3140968"/>
              <a:ext cx="724953" cy="505683"/>
            </a:xfrm>
            <a:prstGeom prst="rect">
              <a:avLst/>
            </a:prstGeom>
            <a:solidFill>
              <a:srgbClr val="0098C7">
                <a:lumMod val="25000"/>
              </a:srgbClr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Black" pitchFamily="34" charset="0"/>
                </a:rPr>
                <a:t>AD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Black" pitchFamily="34" charset="0"/>
                </a:rPr>
                <a:t>Center</a:t>
              </a:r>
            </a:p>
          </p:txBody>
        </p:sp>
        <p:sp>
          <p:nvSpPr>
            <p:cNvPr id="1007" name="ZoneTexte 1006"/>
            <p:cNvSpPr txBox="1"/>
            <p:nvPr/>
          </p:nvSpPr>
          <p:spPr>
            <a:xfrm>
              <a:off x="9205185" y="3140968"/>
              <a:ext cx="3727925" cy="458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rPr>
                <a:t>Manage </a:t>
              </a:r>
              <a:r>
                <a:rPr kumimoji="0" lang="fr-FR" sz="12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rPr>
                <a:t>Leverage</a:t>
              </a:r>
              <a:r>
                <a:rPr kumimoji="0" lang="fr-F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rPr>
                <a:t> ADM </a:t>
              </a:r>
              <a:r>
                <a:rPr kumimoji="0" lang="fr-FR" sz="12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rPr>
                <a:t>Assets</a:t>
              </a:r>
              <a:r>
                <a:rPr lang="fr-FR" sz="1200" b="1" kern="0" dirty="0" smtClean="0">
                  <a:solidFill>
                    <a:sysClr val="window" lastClr="FFFFFF"/>
                  </a:solidFill>
                </a:rPr>
                <a:t/>
              </a:r>
              <a:br>
                <a:rPr lang="fr-FR" sz="1200" b="1" kern="0" dirty="0" smtClean="0">
                  <a:solidFill>
                    <a:sysClr val="window" lastClr="FFFFFF"/>
                  </a:solidFill>
                </a:rPr>
              </a:br>
              <a:r>
                <a:rPr kumimoji="0" lang="fr-FR" sz="12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rPr>
                <a:t>Transform</a:t>
              </a:r>
              <a:r>
                <a:rPr kumimoji="0" lang="fr-F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rPr>
                <a:t> </a:t>
              </a:r>
              <a:r>
                <a:rPr kumimoji="0" lang="fr-FR" sz="12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rPr>
                <a:t>Innovate</a:t>
              </a:r>
              <a:endPara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endParaRPr>
            </a:p>
          </p:txBody>
        </p:sp>
        <p:sp>
          <p:nvSpPr>
            <p:cNvPr id="1008" name="Ellipse 1007"/>
            <p:cNvSpPr/>
            <p:nvPr/>
          </p:nvSpPr>
          <p:spPr>
            <a:xfrm>
              <a:off x="8409384" y="3488449"/>
              <a:ext cx="416882" cy="36004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&amp;L</a:t>
              </a: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09" name="Arrondir un rectangle à un seul coin 1008"/>
          <p:cNvSpPr/>
          <p:nvPr/>
        </p:nvSpPr>
        <p:spPr>
          <a:xfrm>
            <a:off x="209038" y="1556792"/>
            <a:ext cx="5435932" cy="1800200"/>
          </a:xfrm>
          <a:prstGeom prst="round1Rect">
            <a:avLst/>
          </a:prstGeom>
          <a:solidFill>
            <a:sysClr val="window" lastClr="FFFFFF"/>
          </a:solidFill>
          <a:ln w="25400" cap="flat" cmpd="sng" algn="ctr">
            <a:solidFill>
              <a:srgbClr val="762C7C"/>
            </a:solidFill>
            <a:prstDash val="solid"/>
          </a:ln>
          <a:effectLst/>
        </p:spPr>
        <p:txBody>
          <a:bodyPr wrap="none" lIns="0" tIns="144000" rIns="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dirty="0" smtClean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Services ADM</a:t>
            </a:r>
          </a:p>
        </p:txBody>
      </p:sp>
      <p:sp>
        <p:nvSpPr>
          <p:cNvPr id="1010" name="Rectangle 1009"/>
          <p:cNvSpPr/>
          <p:nvPr/>
        </p:nvSpPr>
        <p:spPr>
          <a:xfrm>
            <a:off x="200472" y="1772816"/>
            <a:ext cx="2736304" cy="1538883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177800" marR="0" lvl="0" indent="-177800" defTabSz="9143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98C7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aintenance</a:t>
            </a:r>
          </a:p>
          <a:p>
            <a:pPr marL="177800" marR="0" lvl="0" indent="-177800" defTabSz="9143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98C7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upport</a:t>
            </a:r>
          </a:p>
          <a:p>
            <a:pPr marL="177800" marR="0" lvl="0" indent="-177800" defTabSz="9143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98C7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égration fonctionnelle et technique</a:t>
            </a:r>
          </a:p>
          <a:p>
            <a:pPr marL="177800" marR="0" lvl="0" indent="-177800" defTabSz="9143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98C7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fr-FR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actories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de développement et de </a:t>
            </a:r>
            <a:r>
              <a:rPr kumimoji="0" lang="fr-FR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esting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11" name="Rectangle 1010"/>
          <p:cNvSpPr/>
          <p:nvPr/>
        </p:nvSpPr>
        <p:spPr>
          <a:xfrm>
            <a:off x="2854941" y="1844824"/>
            <a:ext cx="2764963" cy="7899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defTabSz="9143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98C7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ojets de refonte, d’évolution ou de déploiement</a:t>
            </a:r>
          </a:p>
          <a:p>
            <a:pPr marL="177800" marR="0" lvl="0" indent="-177800" defTabSz="9143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98C7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ransformation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12" name="Rectangle 1011"/>
          <p:cNvSpPr/>
          <p:nvPr/>
        </p:nvSpPr>
        <p:spPr>
          <a:xfrm>
            <a:off x="2854941" y="2636912"/>
            <a:ext cx="279002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3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09090"/>
              </a:buClr>
              <a:buSzTx/>
              <a:buFontTx/>
              <a:buNone/>
              <a:tabLst/>
              <a:defRPr/>
            </a:pPr>
            <a:r>
              <a: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es </a:t>
            </a:r>
            <a:r>
              <a:rPr kumimoji="0" lang="fr-FR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atrimoines applicatifs </a:t>
            </a:r>
            <a:br>
              <a:rPr kumimoji="0" lang="fr-FR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e nos clients</a:t>
            </a:r>
            <a:endParaRPr kumimoji="0" lang="fr-FR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13" name="Rectangle 1012"/>
          <p:cNvSpPr/>
          <p:nvPr/>
        </p:nvSpPr>
        <p:spPr>
          <a:xfrm>
            <a:off x="6321152" y="5484713"/>
            <a:ext cx="3584848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Le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fr-FR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Réseau Européen</a:t>
            </a:r>
            <a:br>
              <a:rPr kumimoji="0" lang="fr-FR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</a:b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des centres ADM : NL, </a:t>
            </a:r>
            <a:r>
              <a:rPr kumimoji="0" lang="fr-FR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Ger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., It., Spain</a:t>
            </a:r>
          </a:p>
        </p:txBody>
      </p:sp>
      <p:sp>
        <p:nvSpPr>
          <p:cNvPr id="1014" name="Rectangle 1013"/>
          <p:cNvSpPr/>
          <p:nvPr/>
        </p:nvSpPr>
        <p:spPr>
          <a:xfrm>
            <a:off x="2720752" y="5611306"/>
            <a:ext cx="424847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2 centres offshore principaux</a:t>
            </a:r>
            <a:br>
              <a:rPr kumimoji="0" lang="fr-FR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</a:br>
            <a:r>
              <a: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pour la France en Inde et au Maroc...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cxnSp>
        <p:nvCxnSpPr>
          <p:cNvPr id="1015" name="Connecteur droit 1014"/>
          <p:cNvCxnSpPr>
            <a:endCxn id="997" idx="2"/>
          </p:cNvCxnSpPr>
          <p:nvPr/>
        </p:nvCxnSpPr>
        <p:spPr>
          <a:xfrm flipV="1">
            <a:off x="1878451" y="4692009"/>
            <a:ext cx="3873534" cy="556155"/>
          </a:xfrm>
          <a:prstGeom prst="line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016" name="ZoneTexte 1015"/>
          <p:cNvSpPr txBox="1"/>
          <p:nvPr/>
        </p:nvSpPr>
        <p:spPr>
          <a:xfrm>
            <a:off x="3826893" y="4729265"/>
            <a:ext cx="17456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800 </a:t>
            </a:r>
            <a:r>
              <a: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u Maroc</a:t>
            </a: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017" name="Groupe 538"/>
          <p:cNvGrpSpPr/>
          <p:nvPr/>
        </p:nvGrpSpPr>
        <p:grpSpPr>
          <a:xfrm>
            <a:off x="7905328" y="4653136"/>
            <a:ext cx="1003986" cy="884026"/>
            <a:chOff x="7905328" y="4365104"/>
            <a:chExt cx="1003986" cy="884026"/>
          </a:xfrm>
        </p:grpSpPr>
        <p:sp>
          <p:nvSpPr>
            <p:cNvPr id="1018" name="Freeform 57"/>
            <p:cNvSpPr>
              <a:spLocks/>
            </p:cNvSpPr>
            <p:nvPr/>
          </p:nvSpPr>
          <p:spPr bwMode="auto">
            <a:xfrm>
              <a:off x="8826264" y="4527513"/>
              <a:ext cx="1845" cy="18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BC3AD"/>
            </a:solidFill>
            <a:ln w="12700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19" name="Freeform 58"/>
            <p:cNvSpPr>
              <a:spLocks/>
            </p:cNvSpPr>
            <p:nvPr/>
          </p:nvSpPr>
          <p:spPr bwMode="auto">
            <a:xfrm>
              <a:off x="8826264" y="4527513"/>
              <a:ext cx="1845" cy="18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7BC3AD"/>
            </a:solidFill>
            <a:ln w="12700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20" name="Freeform 59"/>
            <p:cNvSpPr>
              <a:spLocks/>
            </p:cNvSpPr>
            <p:nvPr/>
          </p:nvSpPr>
          <p:spPr bwMode="auto">
            <a:xfrm>
              <a:off x="8791198" y="4453691"/>
              <a:ext cx="68287" cy="68286"/>
            </a:xfrm>
            <a:custGeom>
              <a:avLst/>
              <a:gdLst/>
              <a:ahLst/>
              <a:cxnLst>
                <a:cxn ang="0">
                  <a:pos x="16" y="24"/>
                </a:cxn>
                <a:cxn ang="0">
                  <a:pos x="24" y="10"/>
                </a:cxn>
                <a:cxn ang="0">
                  <a:pos x="10" y="1"/>
                </a:cxn>
                <a:cxn ang="0">
                  <a:pos x="2" y="15"/>
                </a:cxn>
                <a:cxn ang="0">
                  <a:pos x="16" y="24"/>
                </a:cxn>
              </a:cxnLst>
              <a:rect l="0" t="0" r="r" b="b"/>
              <a:pathLst>
                <a:path w="26" h="26">
                  <a:moveTo>
                    <a:pt x="16" y="24"/>
                  </a:moveTo>
                  <a:cubicBezTo>
                    <a:pt x="22" y="23"/>
                    <a:pt x="26" y="16"/>
                    <a:pt x="24" y="10"/>
                  </a:cubicBezTo>
                  <a:cubicBezTo>
                    <a:pt x="23" y="4"/>
                    <a:pt x="17" y="0"/>
                    <a:pt x="10" y="1"/>
                  </a:cubicBezTo>
                  <a:cubicBezTo>
                    <a:pt x="4" y="3"/>
                    <a:pt x="0" y="9"/>
                    <a:pt x="2" y="15"/>
                  </a:cubicBezTo>
                  <a:cubicBezTo>
                    <a:pt x="3" y="22"/>
                    <a:pt x="9" y="26"/>
                    <a:pt x="16" y="24"/>
                  </a:cubicBezTo>
                  <a:close/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21" name="Freeform 60"/>
            <p:cNvSpPr>
              <a:spLocks/>
            </p:cNvSpPr>
            <p:nvPr/>
          </p:nvSpPr>
          <p:spPr bwMode="auto">
            <a:xfrm>
              <a:off x="8807809" y="4527513"/>
              <a:ext cx="88587" cy="131035"/>
            </a:xfrm>
            <a:custGeom>
              <a:avLst/>
              <a:gdLst/>
              <a:ahLst/>
              <a:cxnLst>
                <a:cxn ang="0">
                  <a:pos x="24" y="31"/>
                </a:cxn>
                <a:cxn ang="0">
                  <a:pos x="24" y="48"/>
                </a:cxn>
                <a:cxn ang="0">
                  <a:pos x="27" y="50"/>
                </a:cxn>
                <a:cxn ang="0">
                  <a:pos x="33" y="47"/>
                </a:cxn>
                <a:cxn ang="0">
                  <a:pos x="33" y="30"/>
                </a:cxn>
                <a:cxn ang="0">
                  <a:pos x="27" y="5"/>
                </a:cxn>
                <a:cxn ang="0">
                  <a:pos x="17" y="1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0" y="15"/>
                </a:cxn>
                <a:cxn ang="0">
                  <a:pos x="8" y="6"/>
                </a:cxn>
                <a:cxn ang="0">
                  <a:pos x="10" y="3"/>
                </a:cxn>
                <a:cxn ang="0">
                  <a:pos x="8" y="1"/>
                </a:cxn>
                <a:cxn ang="0">
                  <a:pos x="6" y="1"/>
                </a:cxn>
                <a:cxn ang="0">
                  <a:pos x="4" y="3"/>
                </a:cxn>
                <a:cxn ang="0">
                  <a:pos x="6" y="6"/>
                </a:cxn>
                <a:cxn ang="0">
                  <a:pos x="4" y="1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4" h="50">
                  <a:moveTo>
                    <a:pt x="24" y="31"/>
                  </a:moveTo>
                  <a:cubicBezTo>
                    <a:pt x="25" y="38"/>
                    <a:pt x="24" y="48"/>
                    <a:pt x="24" y="48"/>
                  </a:cubicBezTo>
                  <a:cubicBezTo>
                    <a:pt x="24" y="50"/>
                    <a:pt x="24" y="50"/>
                    <a:pt x="27" y="50"/>
                  </a:cubicBezTo>
                  <a:cubicBezTo>
                    <a:pt x="31" y="50"/>
                    <a:pt x="32" y="50"/>
                    <a:pt x="33" y="47"/>
                  </a:cubicBezTo>
                  <a:cubicBezTo>
                    <a:pt x="33" y="47"/>
                    <a:pt x="34" y="36"/>
                    <a:pt x="33" y="30"/>
                  </a:cubicBezTo>
                  <a:cubicBezTo>
                    <a:pt x="32" y="12"/>
                    <a:pt x="28" y="6"/>
                    <a:pt x="27" y="5"/>
                  </a:cubicBezTo>
                  <a:cubicBezTo>
                    <a:pt x="24" y="3"/>
                    <a:pt x="20" y="2"/>
                    <a:pt x="17" y="1"/>
                  </a:cubicBezTo>
                  <a:cubicBezTo>
                    <a:pt x="16" y="0"/>
                    <a:pt x="15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2"/>
                    <a:pt x="13" y="8"/>
                    <a:pt x="10" y="15"/>
                  </a:cubicBezTo>
                  <a:cubicBezTo>
                    <a:pt x="9" y="10"/>
                    <a:pt x="9" y="6"/>
                    <a:pt x="8" y="6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6"/>
                    <a:pt x="5" y="10"/>
                    <a:pt x="4" y="15"/>
                  </a:cubicBezTo>
                  <a:cubicBezTo>
                    <a:pt x="1" y="8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22" name="Freeform 61"/>
            <p:cNvSpPr>
              <a:spLocks/>
            </p:cNvSpPr>
            <p:nvPr/>
          </p:nvSpPr>
          <p:spPr bwMode="auto">
            <a:xfrm>
              <a:off x="8785662" y="4577345"/>
              <a:ext cx="77513" cy="206703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29" y="26"/>
                </a:cxn>
                <a:cxn ang="0">
                  <a:pos x="29" y="29"/>
                </a:cxn>
                <a:cxn ang="0">
                  <a:pos x="29" y="75"/>
                </a:cxn>
                <a:cxn ang="0">
                  <a:pos x="23" y="79"/>
                </a:cxn>
                <a:cxn ang="0">
                  <a:pos x="23" y="79"/>
                </a:cxn>
                <a:cxn ang="0">
                  <a:pos x="23" y="79"/>
                </a:cxn>
                <a:cxn ang="0">
                  <a:pos x="16" y="75"/>
                </a:cxn>
                <a:cxn ang="0">
                  <a:pos x="16" y="34"/>
                </a:cxn>
                <a:cxn ang="0">
                  <a:pos x="13" y="34"/>
                </a:cxn>
                <a:cxn ang="0">
                  <a:pos x="13" y="75"/>
                </a:cxn>
                <a:cxn ang="0">
                  <a:pos x="7" y="79"/>
                </a:cxn>
                <a:cxn ang="0">
                  <a:pos x="7" y="79"/>
                </a:cxn>
                <a:cxn ang="0">
                  <a:pos x="7" y="79"/>
                </a:cxn>
                <a:cxn ang="0">
                  <a:pos x="1" y="75"/>
                </a:cxn>
                <a:cxn ang="0">
                  <a:pos x="1" y="29"/>
                </a:cxn>
                <a:cxn ang="0">
                  <a:pos x="0" y="26"/>
                </a:cxn>
                <a:cxn ang="0">
                  <a:pos x="0" y="1"/>
                </a:cxn>
              </a:cxnLst>
              <a:rect l="0" t="0" r="r" b="b"/>
              <a:pathLst>
                <a:path w="29" h="79">
                  <a:moveTo>
                    <a:pt x="29" y="0"/>
                  </a:moveTo>
                  <a:cubicBezTo>
                    <a:pt x="29" y="26"/>
                    <a:pt x="29" y="26"/>
                    <a:pt x="29" y="26"/>
                  </a:cubicBezTo>
                  <a:cubicBezTo>
                    <a:pt x="29" y="27"/>
                    <a:pt x="29" y="28"/>
                    <a:pt x="29" y="29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9"/>
                    <a:pt x="26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19" y="79"/>
                    <a:pt x="16" y="79"/>
                    <a:pt x="16" y="75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3" y="79"/>
                    <a:pt x="10" y="79"/>
                    <a:pt x="7" y="79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3" y="79"/>
                    <a:pt x="1" y="79"/>
                    <a:pt x="1" y="75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1"/>
                    <a:pt x="0" y="1"/>
                    <a:pt x="0" y="1"/>
                  </a:cubicBezTo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23" name="Freeform 62"/>
            <p:cNvSpPr>
              <a:spLocks/>
            </p:cNvSpPr>
            <p:nvPr/>
          </p:nvSpPr>
          <p:spPr bwMode="auto">
            <a:xfrm>
              <a:off x="8756133" y="4527513"/>
              <a:ext cx="51676" cy="131035"/>
            </a:xfrm>
            <a:custGeom>
              <a:avLst/>
              <a:gdLst/>
              <a:ahLst/>
              <a:cxnLst>
                <a:cxn ang="0">
                  <a:pos x="10" y="31"/>
                </a:cxn>
                <a:cxn ang="0">
                  <a:pos x="10" y="47"/>
                </a:cxn>
                <a:cxn ang="0">
                  <a:pos x="7" y="50"/>
                </a:cxn>
                <a:cxn ang="0">
                  <a:pos x="1" y="47"/>
                </a:cxn>
                <a:cxn ang="0">
                  <a:pos x="1" y="30"/>
                </a:cxn>
                <a:cxn ang="0">
                  <a:pos x="7" y="5"/>
                </a:cxn>
                <a:cxn ang="0">
                  <a:pos x="17" y="1"/>
                </a:cxn>
                <a:cxn ang="0">
                  <a:pos x="20" y="0"/>
                </a:cxn>
                <a:cxn ang="0">
                  <a:pos x="20" y="0"/>
                </a:cxn>
              </a:cxnLst>
              <a:rect l="0" t="0" r="r" b="b"/>
              <a:pathLst>
                <a:path w="20" h="50">
                  <a:moveTo>
                    <a:pt x="10" y="31"/>
                  </a:moveTo>
                  <a:cubicBezTo>
                    <a:pt x="9" y="38"/>
                    <a:pt x="10" y="47"/>
                    <a:pt x="10" y="47"/>
                  </a:cubicBezTo>
                  <a:cubicBezTo>
                    <a:pt x="10" y="50"/>
                    <a:pt x="10" y="50"/>
                    <a:pt x="7" y="50"/>
                  </a:cubicBezTo>
                  <a:cubicBezTo>
                    <a:pt x="3" y="50"/>
                    <a:pt x="2" y="50"/>
                    <a:pt x="1" y="47"/>
                  </a:cubicBezTo>
                  <a:cubicBezTo>
                    <a:pt x="1" y="47"/>
                    <a:pt x="0" y="36"/>
                    <a:pt x="1" y="30"/>
                  </a:cubicBezTo>
                  <a:cubicBezTo>
                    <a:pt x="2" y="12"/>
                    <a:pt x="6" y="6"/>
                    <a:pt x="7" y="5"/>
                  </a:cubicBezTo>
                  <a:cubicBezTo>
                    <a:pt x="10" y="3"/>
                    <a:pt x="14" y="2"/>
                    <a:pt x="17" y="1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24" name="Freeform 63"/>
            <p:cNvSpPr>
              <a:spLocks/>
            </p:cNvSpPr>
            <p:nvPr/>
          </p:nvSpPr>
          <p:spPr bwMode="auto">
            <a:xfrm>
              <a:off x="8119414" y="4700997"/>
              <a:ext cx="1846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BC3AD"/>
            </a:solidFill>
            <a:ln w="12700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25" name="Freeform 64"/>
            <p:cNvSpPr>
              <a:spLocks/>
            </p:cNvSpPr>
            <p:nvPr/>
          </p:nvSpPr>
          <p:spPr bwMode="auto">
            <a:xfrm>
              <a:off x="8119414" y="4700997"/>
              <a:ext cx="1846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7BC3AD"/>
            </a:solidFill>
            <a:ln w="12700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26" name="Freeform 65"/>
            <p:cNvSpPr>
              <a:spLocks/>
            </p:cNvSpPr>
            <p:nvPr/>
          </p:nvSpPr>
          <p:spPr bwMode="auto">
            <a:xfrm>
              <a:off x="8067737" y="4584727"/>
              <a:ext cx="105198" cy="107043"/>
            </a:xfrm>
            <a:custGeom>
              <a:avLst/>
              <a:gdLst/>
              <a:ahLst/>
              <a:cxnLst>
                <a:cxn ang="0">
                  <a:pos x="24" y="38"/>
                </a:cxn>
                <a:cxn ang="0">
                  <a:pos x="38" y="16"/>
                </a:cxn>
                <a:cxn ang="0">
                  <a:pos x="16" y="2"/>
                </a:cxn>
                <a:cxn ang="0">
                  <a:pos x="2" y="24"/>
                </a:cxn>
                <a:cxn ang="0">
                  <a:pos x="24" y="38"/>
                </a:cxn>
              </a:cxnLst>
              <a:rect l="0" t="0" r="r" b="b"/>
              <a:pathLst>
                <a:path w="40" h="41">
                  <a:moveTo>
                    <a:pt x="24" y="38"/>
                  </a:moveTo>
                  <a:cubicBezTo>
                    <a:pt x="34" y="36"/>
                    <a:pt x="40" y="26"/>
                    <a:pt x="38" y="16"/>
                  </a:cubicBezTo>
                  <a:cubicBezTo>
                    <a:pt x="35" y="6"/>
                    <a:pt x="26" y="0"/>
                    <a:pt x="16" y="2"/>
                  </a:cubicBezTo>
                  <a:cubicBezTo>
                    <a:pt x="6" y="4"/>
                    <a:pt x="0" y="14"/>
                    <a:pt x="2" y="24"/>
                  </a:cubicBezTo>
                  <a:cubicBezTo>
                    <a:pt x="4" y="34"/>
                    <a:pt x="14" y="41"/>
                    <a:pt x="24" y="38"/>
                  </a:cubicBezTo>
                  <a:close/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27" name="Freeform 66"/>
            <p:cNvSpPr>
              <a:spLocks/>
            </p:cNvSpPr>
            <p:nvPr/>
          </p:nvSpPr>
          <p:spPr bwMode="auto">
            <a:xfrm>
              <a:off x="8088039" y="4700997"/>
              <a:ext cx="142107" cy="208550"/>
            </a:xfrm>
            <a:custGeom>
              <a:avLst/>
              <a:gdLst/>
              <a:ahLst/>
              <a:cxnLst>
                <a:cxn ang="0">
                  <a:pos x="39" y="49"/>
                </a:cxn>
                <a:cxn ang="0">
                  <a:pos x="38" y="76"/>
                </a:cxn>
                <a:cxn ang="0">
                  <a:pos x="44" y="79"/>
                </a:cxn>
                <a:cxn ang="0">
                  <a:pos x="52" y="75"/>
                </a:cxn>
                <a:cxn ang="0">
                  <a:pos x="54" y="48"/>
                </a:cxn>
                <a:cxn ang="0">
                  <a:pos x="43" y="8"/>
                </a:cxn>
                <a:cxn ang="0">
                  <a:pos x="28" y="2"/>
                </a:cxn>
                <a:cxn ang="0">
                  <a:pos x="23" y="0"/>
                </a:cxn>
                <a:cxn ang="0">
                  <a:pos x="23" y="0"/>
                </a:cxn>
                <a:cxn ang="0">
                  <a:pos x="23" y="0"/>
                </a:cxn>
                <a:cxn ang="0">
                  <a:pos x="16" y="24"/>
                </a:cxn>
                <a:cxn ang="0">
                  <a:pos x="14" y="10"/>
                </a:cxn>
                <a:cxn ang="0">
                  <a:pos x="16" y="5"/>
                </a:cxn>
                <a:cxn ang="0">
                  <a:pos x="13" y="2"/>
                </a:cxn>
                <a:cxn ang="0">
                  <a:pos x="11" y="2"/>
                </a:cxn>
                <a:cxn ang="0">
                  <a:pos x="8" y="5"/>
                </a:cxn>
                <a:cxn ang="0">
                  <a:pos x="10" y="10"/>
                </a:cxn>
                <a:cxn ang="0">
                  <a:pos x="7" y="2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4" h="80">
                  <a:moveTo>
                    <a:pt x="39" y="49"/>
                  </a:moveTo>
                  <a:cubicBezTo>
                    <a:pt x="40" y="61"/>
                    <a:pt x="38" y="76"/>
                    <a:pt x="38" y="76"/>
                  </a:cubicBezTo>
                  <a:cubicBezTo>
                    <a:pt x="38" y="80"/>
                    <a:pt x="39" y="80"/>
                    <a:pt x="44" y="79"/>
                  </a:cubicBezTo>
                  <a:cubicBezTo>
                    <a:pt x="49" y="79"/>
                    <a:pt x="51" y="80"/>
                    <a:pt x="52" y="75"/>
                  </a:cubicBezTo>
                  <a:cubicBezTo>
                    <a:pt x="52" y="75"/>
                    <a:pt x="54" y="57"/>
                    <a:pt x="54" y="48"/>
                  </a:cubicBezTo>
                  <a:cubicBezTo>
                    <a:pt x="51" y="19"/>
                    <a:pt x="45" y="10"/>
                    <a:pt x="43" y="8"/>
                  </a:cubicBezTo>
                  <a:cubicBezTo>
                    <a:pt x="39" y="6"/>
                    <a:pt x="32" y="3"/>
                    <a:pt x="28" y="2"/>
                  </a:cubicBezTo>
                  <a:cubicBezTo>
                    <a:pt x="26" y="1"/>
                    <a:pt x="25" y="1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4"/>
                    <a:pt x="22" y="13"/>
                    <a:pt x="16" y="24"/>
                  </a:cubicBezTo>
                  <a:cubicBezTo>
                    <a:pt x="16" y="17"/>
                    <a:pt x="14" y="10"/>
                    <a:pt x="14" y="1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9" y="10"/>
                    <a:pt x="8" y="17"/>
                    <a:pt x="7" y="24"/>
                  </a:cubicBezTo>
                  <a:cubicBezTo>
                    <a:pt x="2" y="13"/>
                    <a:pt x="1" y="4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28" name="Freeform 67"/>
            <p:cNvSpPr>
              <a:spLocks/>
            </p:cNvSpPr>
            <p:nvPr/>
          </p:nvSpPr>
          <p:spPr bwMode="auto">
            <a:xfrm>
              <a:off x="8058511" y="4780357"/>
              <a:ext cx="119961" cy="326664"/>
            </a:xfrm>
            <a:custGeom>
              <a:avLst/>
              <a:gdLst/>
              <a:ahLst/>
              <a:cxnLst>
                <a:cxn ang="0">
                  <a:pos x="45" y="0"/>
                </a:cxn>
                <a:cxn ang="0">
                  <a:pos x="45" y="40"/>
                </a:cxn>
                <a:cxn ang="0">
                  <a:pos x="45" y="45"/>
                </a:cxn>
                <a:cxn ang="0">
                  <a:pos x="45" y="119"/>
                </a:cxn>
                <a:cxn ang="0">
                  <a:pos x="35" y="125"/>
                </a:cxn>
                <a:cxn ang="0">
                  <a:pos x="35" y="125"/>
                </a:cxn>
                <a:cxn ang="0">
                  <a:pos x="35" y="125"/>
                </a:cxn>
                <a:cxn ang="0">
                  <a:pos x="25" y="119"/>
                </a:cxn>
                <a:cxn ang="0">
                  <a:pos x="25" y="53"/>
                </a:cxn>
                <a:cxn ang="0">
                  <a:pos x="20" y="53"/>
                </a:cxn>
                <a:cxn ang="0">
                  <a:pos x="20" y="119"/>
                </a:cxn>
                <a:cxn ang="0">
                  <a:pos x="10" y="125"/>
                </a:cxn>
                <a:cxn ang="0">
                  <a:pos x="10" y="125"/>
                </a:cxn>
                <a:cxn ang="0">
                  <a:pos x="10" y="125"/>
                </a:cxn>
                <a:cxn ang="0">
                  <a:pos x="0" y="119"/>
                </a:cxn>
                <a:cxn ang="0">
                  <a:pos x="0" y="45"/>
                </a:cxn>
                <a:cxn ang="0">
                  <a:pos x="0" y="40"/>
                </a:cxn>
                <a:cxn ang="0">
                  <a:pos x="0" y="1"/>
                </a:cxn>
              </a:cxnLst>
              <a:rect l="0" t="0" r="r" b="b"/>
              <a:pathLst>
                <a:path w="45" h="125">
                  <a:moveTo>
                    <a:pt x="45" y="0"/>
                  </a:moveTo>
                  <a:cubicBezTo>
                    <a:pt x="45" y="40"/>
                    <a:pt x="45" y="40"/>
                    <a:pt x="45" y="40"/>
                  </a:cubicBezTo>
                  <a:cubicBezTo>
                    <a:pt x="45" y="42"/>
                    <a:pt x="45" y="44"/>
                    <a:pt x="45" y="45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45" y="125"/>
                    <a:pt x="41" y="125"/>
                    <a:pt x="35" y="125"/>
                  </a:cubicBezTo>
                  <a:cubicBezTo>
                    <a:pt x="35" y="125"/>
                    <a:pt x="35" y="125"/>
                    <a:pt x="35" y="125"/>
                  </a:cubicBezTo>
                  <a:cubicBezTo>
                    <a:pt x="35" y="125"/>
                    <a:pt x="35" y="125"/>
                    <a:pt x="35" y="125"/>
                  </a:cubicBezTo>
                  <a:cubicBezTo>
                    <a:pt x="30" y="125"/>
                    <a:pt x="25" y="125"/>
                    <a:pt x="25" y="119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0" y="53"/>
                    <a:pt x="20" y="53"/>
                    <a:pt x="20" y="53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20" y="125"/>
                    <a:pt x="15" y="125"/>
                    <a:pt x="10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5" y="125"/>
                    <a:pt x="0" y="125"/>
                    <a:pt x="0" y="119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4"/>
                    <a:pt x="0" y="42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29" name="Freeform 68"/>
            <p:cNvSpPr>
              <a:spLocks/>
            </p:cNvSpPr>
            <p:nvPr/>
          </p:nvSpPr>
          <p:spPr bwMode="auto">
            <a:xfrm>
              <a:off x="8006834" y="4700997"/>
              <a:ext cx="81205" cy="208550"/>
            </a:xfrm>
            <a:custGeom>
              <a:avLst/>
              <a:gdLst/>
              <a:ahLst/>
              <a:cxnLst>
                <a:cxn ang="0">
                  <a:pos x="15" y="49"/>
                </a:cxn>
                <a:cxn ang="0">
                  <a:pos x="16" y="76"/>
                </a:cxn>
                <a:cxn ang="0">
                  <a:pos x="11" y="79"/>
                </a:cxn>
                <a:cxn ang="0">
                  <a:pos x="2" y="75"/>
                </a:cxn>
                <a:cxn ang="0">
                  <a:pos x="1" y="48"/>
                </a:cxn>
                <a:cxn ang="0">
                  <a:pos x="12" y="8"/>
                </a:cxn>
                <a:cxn ang="0">
                  <a:pos x="27" y="2"/>
                </a:cxn>
                <a:cxn ang="0">
                  <a:pos x="31" y="0"/>
                </a:cxn>
                <a:cxn ang="0">
                  <a:pos x="31" y="0"/>
                </a:cxn>
              </a:cxnLst>
              <a:rect l="0" t="0" r="r" b="b"/>
              <a:pathLst>
                <a:path w="31" h="80">
                  <a:moveTo>
                    <a:pt x="15" y="49"/>
                  </a:moveTo>
                  <a:cubicBezTo>
                    <a:pt x="15" y="61"/>
                    <a:pt x="16" y="76"/>
                    <a:pt x="16" y="76"/>
                  </a:cubicBezTo>
                  <a:cubicBezTo>
                    <a:pt x="16" y="80"/>
                    <a:pt x="16" y="79"/>
                    <a:pt x="11" y="79"/>
                  </a:cubicBezTo>
                  <a:cubicBezTo>
                    <a:pt x="5" y="79"/>
                    <a:pt x="3" y="80"/>
                    <a:pt x="2" y="75"/>
                  </a:cubicBezTo>
                  <a:cubicBezTo>
                    <a:pt x="2" y="75"/>
                    <a:pt x="0" y="57"/>
                    <a:pt x="1" y="48"/>
                  </a:cubicBezTo>
                  <a:cubicBezTo>
                    <a:pt x="3" y="19"/>
                    <a:pt x="10" y="10"/>
                    <a:pt x="12" y="8"/>
                  </a:cubicBezTo>
                  <a:cubicBezTo>
                    <a:pt x="16" y="6"/>
                    <a:pt x="22" y="3"/>
                    <a:pt x="27" y="2"/>
                  </a:cubicBezTo>
                  <a:cubicBezTo>
                    <a:pt x="28" y="1"/>
                    <a:pt x="30" y="1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30" name="Freeform 69"/>
            <p:cNvSpPr>
              <a:spLocks/>
            </p:cNvSpPr>
            <p:nvPr/>
          </p:nvSpPr>
          <p:spPr bwMode="auto">
            <a:xfrm>
              <a:off x="8632479" y="4470302"/>
              <a:ext cx="1846" cy="184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BC3AD"/>
            </a:solidFill>
            <a:ln w="12700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31" name="Freeform 70"/>
            <p:cNvSpPr>
              <a:spLocks/>
            </p:cNvSpPr>
            <p:nvPr/>
          </p:nvSpPr>
          <p:spPr bwMode="auto">
            <a:xfrm>
              <a:off x="8632479" y="4470302"/>
              <a:ext cx="1846" cy="184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7BC3AD"/>
            </a:solidFill>
            <a:ln w="12700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32" name="Freeform 71"/>
            <p:cNvSpPr>
              <a:spLocks/>
            </p:cNvSpPr>
            <p:nvPr/>
          </p:nvSpPr>
          <p:spPr bwMode="auto">
            <a:xfrm>
              <a:off x="8611549" y="4425958"/>
              <a:ext cx="42063" cy="40938"/>
            </a:xfrm>
            <a:custGeom>
              <a:avLst/>
              <a:gdLst>
                <a:gd name="T0" fmla="*/ 10 w 16"/>
                <a:gd name="T1" fmla="*/ 15 h 16"/>
                <a:gd name="T2" fmla="*/ 15 w 16"/>
                <a:gd name="T3" fmla="*/ 6 h 16"/>
                <a:gd name="T4" fmla="*/ 6 w 16"/>
                <a:gd name="T5" fmla="*/ 1 h 16"/>
                <a:gd name="T6" fmla="*/ 1 w 16"/>
                <a:gd name="T7" fmla="*/ 9 h 16"/>
                <a:gd name="T8" fmla="*/ 10 w 16"/>
                <a:gd name="T9" fmla="*/ 15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" h="16">
                  <a:moveTo>
                    <a:pt x="10" y="15"/>
                  </a:moveTo>
                  <a:cubicBezTo>
                    <a:pt x="14" y="14"/>
                    <a:pt x="16" y="10"/>
                    <a:pt x="15" y="6"/>
                  </a:cubicBezTo>
                  <a:cubicBezTo>
                    <a:pt x="14" y="2"/>
                    <a:pt x="10" y="0"/>
                    <a:pt x="6" y="1"/>
                  </a:cubicBezTo>
                  <a:cubicBezTo>
                    <a:pt x="3" y="2"/>
                    <a:pt x="0" y="6"/>
                    <a:pt x="1" y="9"/>
                  </a:cubicBezTo>
                  <a:cubicBezTo>
                    <a:pt x="2" y="13"/>
                    <a:pt x="6" y="16"/>
                    <a:pt x="10" y="15"/>
                  </a:cubicBezTo>
                  <a:close/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3" name="Freeform 72"/>
            <p:cNvSpPr>
              <a:spLocks/>
            </p:cNvSpPr>
            <p:nvPr/>
          </p:nvSpPr>
          <p:spPr bwMode="auto">
            <a:xfrm>
              <a:off x="8621512" y="4470213"/>
              <a:ext cx="55347" cy="82981"/>
            </a:xfrm>
            <a:custGeom>
              <a:avLst/>
              <a:gdLst>
                <a:gd name="T0" fmla="*/ 15 w 21"/>
                <a:gd name="T1" fmla="*/ 20 h 32"/>
                <a:gd name="T2" fmla="*/ 15 w 21"/>
                <a:gd name="T3" fmla="*/ 30 h 32"/>
                <a:gd name="T4" fmla="*/ 17 w 21"/>
                <a:gd name="T5" fmla="*/ 32 h 32"/>
                <a:gd name="T6" fmla="*/ 20 w 21"/>
                <a:gd name="T7" fmla="*/ 30 h 32"/>
                <a:gd name="T8" fmla="*/ 21 w 21"/>
                <a:gd name="T9" fmla="*/ 19 h 32"/>
                <a:gd name="T10" fmla="*/ 16 w 21"/>
                <a:gd name="T11" fmla="*/ 3 h 32"/>
                <a:gd name="T12" fmla="*/ 10 w 21"/>
                <a:gd name="T13" fmla="*/ 1 h 32"/>
                <a:gd name="T14" fmla="*/ 9 w 21"/>
                <a:gd name="T15" fmla="*/ 0 h 32"/>
                <a:gd name="T16" fmla="*/ 9 w 21"/>
                <a:gd name="T17" fmla="*/ 0 h 32"/>
                <a:gd name="T18" fmla="*/ 9 w 21"/>
                <a:gd name="T19" fmla="*/ 0 h 32"/>
                <a:gd name="T20" fmla="*/ 6 w 21"/>
                <a:gd name="T21" fmla="*/ 10 h 32"/>
                <a:gd name="T22" fmla="*/ 5 w 21"/>
                <a:gd name="T23" fmla="*/ 4 h 32"/>
                <a:gd name="T24" fmla="*/ 6 w 21"/>
                <a:gd name="T25" fmla="*/ 2 h 32"/>
                <a:gd name="T26" fmla="*/ 5 w 21"/>
                <a:gd name="T27" fmla="*/ 1 h 32"/>
                <a:gd name="T28" fmla="*/ 4 w 21"/>
                <a:gd name="T29" fmla="*/ 1 h 32"/>
                <a:gd name="T30" fmla="*/ 2 w 21"/>
                <a:gd name="T31" fmla="*/ 2 h 32"/>
                <a:gd name="T32" fmla="*/ 3 w 21"/>
                <a:gd name="T33" fmla="*/ 4 h 32"/>
                <a:gd name="T34" fmla="*/ 2 w 21"/>
                <a:gd name="T35" fmla="*/ 10 h 32"/>
                <a:gd name="T36" fmla="*/ 0 w 21"/>
                <a:gd name="T37" fmla="*/ 0 h 32"/>
                <a:gd name="T38" fmla="*/ 0 w 21"/>
                <a:gd name="T39" fmla="*/ 0 h 32"/>
                <a:gd name="T40" fmla="*/ 0 w 21"/>
                <a:gd name="T41" fmla="*/ 0 h 3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1" h="32">
                  <a:moveTo>
                    <a:pt x="15" y="20"/>
                  </a:moveTo>
                  <a:cubicBezTo>
                    <a:pt x="15" y="24"/>
                    <a:pt x="15" y="30"/>
                    <a:pt x="15" y="30"/>
                  </a:cubicBezTo>
                  <a:cubicBezTo>
                    <a:pt x="15" y="32"/>
                    <a:pt x="15" y="32"/>
                    <a:pt x="17" y="32"/>
                  </a:cubicBezTo>
                  <a:cubicBezTo>
                    <a:pt x="19" y="31"/>
                    <a:pt x="20" y="32"/>
                    <a:pt x="20" y="30"/>
                  </a:cubicBezTo>
                  <a:cubicBezTo>
                    <a:pt x="20" y="30"/>
                    <a:pt x="21" y="23"/>
                    <a:pt x="21" y="19"/>
                  </a:cubicBezTo>
                  <a:cubicBezTo>
                    <a:pt x="20" y="8"/>
                    <a:pt x="17" y="4"/>
                    <a:pt x="16" y="3"/>
                  </a:cubicBezTo>
                  <a:cubicBezTo>
                    <a:pt x="15" y="2"/>
                    <a:pt x="12" y="2"/>
                    <a:pt x="10" y="1"/>
                  </a:cubicBezTo>
                  <a:cubicBezTo>
                    <a:pt x="10" y="1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2"/>
                    <a:pt x="8" y="5"/>
                    <a:pt x="6" y="10"/>
                  </a:cubicBezTo>
                  <a:cubicBezTo>
                    <a:pt x="6" y="7"/>
                    <a:pt x="5" y="4"/>
                    <a:pt x="5" y="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7"/>
                    <a:pt x="2" y="10"/>
                  </a:cubicBezTo>
                  <a:cubicBezTo>
                    <a:pt x="0" y="5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4" name="Freeform 73"/>
            <p:cNvSpPr>
              <a:spLocks/>
            </p:cNvSpPr>
            <p:nvPr/>
          </p:nvSpPr>
          <p:spPr bwMode="auto">
            <a:xfrm>
              <a:off x="8609336" y="4503406"/>
              <a:ext cx="46491" cy="128345"/>
            </a:xfrm>
            <a:custGeom>
              <a:avLst/>
              <a:gdLst>
                <a:gd name="T0" fmla="*/ 18 w 18"/>
                <a:gd name="T1" fmla="*/ 0 h 49"/>
                <a:gd name="T2" fmla="*/ 18 w 18"/>
                <a:gd name="T3" fmla="*/ 15 h 49"/>
                <a:gd name="T4" fmla="*/ 18 w 18"/>
                <a:gd name="T5" fmla="*/ 17 h 49"/>
                <a:gd name="T6" fmla="*/ 18 w 18"/>
                <a:gd name="T7" fmla="*/ 47 h 49"/>
                <a:gd name="T8" fmla="*/ 14 w 18"/>
                <a:gd name="T9" fmla="*/ 49 h 49"/>
                <a:gd name="T10" fmla="*/ 14 w 18"/>
                <a:gd name="T11" fmla="*/ 49 h 49"/>
                <a:gd name="T12" fmla="*/ 14 w 18"/>
                <a:gd name="T13" fmla="*/ 49 h 49"/>
                <a:gd name="T14" fmla="*/ 10 w 18"/>
                <a:gd name="T15" fmla="*/ 47 h 49"/>
                <a:gd name="T16" fmla="*/ 10 w 18"/>
                <a:gd name="T17" fmla="*/ 20 h 49"/>
                <a:gd name="T18" fmla="*/ 8 w 18"/>
                <a:gd name="T19" fmla="*/ 20 h 49"/>
                <a:gd name="T20" fmla="*/ 8 w 18"/>
                <a:gd name="T21" fmla="*/ 47 h 49"/>
                <a:gd name="T22" fmla="*/ 4 w 18"/>
                <a:gd name="T23" fmla="*/ 49 h 49"/>
                <a:gd name="T24" fmla="*/ 4 w 18"/>
                <a:gd name="T25" fmla="*/ 49 h 49"/>
                <a:gd name="T26" fmla="*/ 4 w 18"/>
                <a:gd name="T27" fmla="*/ 49 h 49"/>
                <a:gd name="T28" fmla="*/ 0 w 18"/>
                <a:gd name="T29" fmla="*/ 47 h 49"/>
                <a:gd name="T30" fmla="*/ 0 w 18"/>
                <a:gd name="T31" fmla="*/ 17 h 49"/>
                <a:gd name="T32" fmla="*/ 0 w 18"/>
                <a:gd name="T33" fmla="*/ 15 h 49"/>
                <a:gd name="T34" fmla="*/ 0 w 18"/>
                <a:gd name="T35" fmla="*/ 0 h 4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8" h="49">
                  <a:moveTo>
                    <a:pt x="18" y="0"/>
                  </a:moveTo>
                  <a:cubicBezTo>
                    <a:pt x="18" y="15"/>
                    <a:pt x="18" y="15"/>
                    <a:pt x="18" y="15"/>
                  </a:cubicBezTo>
                  <a:cubicBezTo>
                    <a:pt x="18" y="16"/>
                    <a:pt x="18" y="17"/>
                    <a:pt x="18" y="1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49"/>
                    <a:pt x="16" y="49"/>
                    <a:pt x="14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2" y="49"/>
                    <a:pt x="10" y="49"/>
                    <a:pt x="10" y="47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9"/>
                    <a:pt x="6" y="49"/>
                    <a:pt x="4" y="49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2" y="49"/>
                    <a:pt x="0" y="49"/>
                    <a:pt x="0" y="4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5" name="Freeform 74"/>
            <p:cNvSpPr>
              <a:spLocks/>
            </p:cNvSpPr>
            <p:nvPr/>
          </p:nvSpPr>
          <p:spPr bwMode="auto">
            <a:xfrm>
              <a:off x="8588304" y="4470213"/>
              <a:ext cx="33208" cy="82981"/>
            </a:xfrm>
            <a:custGeom>
              <a:avLst/>
              <a:gdLst>
                <a:gd name="T0" fmla="*/ 6 w 13"/>
                <a:gd name="T1" fmla="*/ 20 h 32"/>
                <a:gd name="T2" fmla="*/ 7 w 13"/>
                <a:gd name="T3" fmla="*/ 30 h 32"/>
                <a:gd name="T4" fmla="*/ 4 w 13"/>
                <a:gd name="T5" fmla="*/ 31 h 32"/>
                <a:gd name="T6" fmla="*/ 1 w 13"/>
                <a:gd name="T7" fmla="*/ 30 h 32"/>
                <a:gd name="T8" fmla="*/ 1 w 13"/>
                <a:gd name="T9" fmla="*/ 19 h 32"/>
                <a:gd name="T10" fmla="*/ 5 w 13"/>
                <a:gd name="T11" fmla="*/ 3 h 32"/>
                <a:gd name="T12" fmla="*/ 11 w 13"/>
                <a:gd name="T13" fmla="*/ 1 h 32"/>
                <a:gd name="T14" fmla="*/ 13 w 13"/>
                <a:gd name="T15" fmla="*/ 0 h 32"/>
                <a:gd name="T16" fmla="*/ 13 w 13"/>
                <a:gd name="T17" fmla="*/ 0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32">
                  <a:moveTo>
                    <a:pt x="6" y="20"/>
                  </a:moveTo>
                  <a:cubicBezTo>
                    <a:pt x="6" y="24"/>
                    <a:pt x="7" y="30"/>
                    <a:pt x="7" y="30"/>
                  </a:cubicBezTo>
                  <a:cubicBezTo>
                    <a:pt x="7" y="32"/>
                    <a:pt x="6" y="32"/>
                    <a:pt x="4" y="31"/>
                  </a:cubicBezTo>
                  <a:cubicBezTo>
                    <a:pt x="2" y="31"/>
                    <a:pt x="2" y="32"/>
                    <a:pt x="1" y="30"/>
                  </a:cubicBezTo>
                  <a:cubicBezTo>
                    <a:pt x="1" y="30"/>
                    <a:pt x="0" y="23"/>
                    <a:pt x="1" y="19"/>
                  </a:cubicBezTo>
                  <a:cubicBezTo>
                    <a:pt x="2" y="8"/>
                    <a:pt x="4" y="4"/>
                    <a:pt x="5" y="3"/>
                  </a:cubicBezTo>
                  <a:cubicBezTo>
                    <a:pt x="6" y="2"/>
                    <a:pt x="9" y="2"/>
                    <a:pt x="11" y="1"/>
                  </a:cubicBezTo>
                  <a:cubicBezTo>
                    <a:pt x="11" y="1"/>
                    <a:pt x="12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6" name="Freeform 75"/>
            <p:cNvSpPr>
              <a:spLocks/>
            </p:cNvSpPr>
            <p:nvPr/>
          </p:nvSpPr>
          <p:spPr bwMode="auto">
            <a:xfrm>
              <a:off x="7939643" y="4760095"/>
              <a:ext cx="63095" cy="55321"/>
            </a:xfrm>
            <a:custGeom>
              <a:avLst/>
              <a:gdLst>
                <a:gd name="T0" fmla="*/ 23 w 24"/>
                <a:gd name="T1" fmla="*/ 14 h 21"/>
                <a:gd name="T2" fmla="*/ 15 w 24"/>
                <a:gd name="T3" fmla="*/ 10 h 21"/>
                <a:gd name="T4" fmla="*/ 16 w 24"/>
                <a:gd name="T5" fmla="*/ 8 h 21"/>
                <a:gd name="T6" fmla="*/ 16 w 24"/>
                <a:gd name="T7" fmla="*/ 7 h 21"/>
                <a:gd name="T8" fmla="*/ 14 w 24"/>
                <a:gd name="T9" fmla="*/ 1 h 21"/>
                <a:gd name="T10" fmla="*/ 13 w 24"/>
                <a:gd name="T11" fmla="*/ 1 h 21"/>
                <a:gd name="T12" fmla="*/ 1 w 24"/>
                <a:gd name="T13" fmla="*/ 14 h 21"/>
                <a:gd name="T14" fmla="*/ 22 w 24"/>
                <a:gd name="T15" fmla="*/ 21 h 21"/>
                <a:gd name="T16" fmla="*/ 23 w 24"/>
                <a:gd name="T17" fmla="*/ 19 h 21"/>
                <a:gd name="T18" fmla="*/ 24 w 24"/>
                <a:gd name="T19" fmla="*/ 15 h 21"/>
                <a:gd name="T20" fmla="*/ 23 w 24"/>
                <a:gd name="T21" fmla="*/ 14 h 2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4" h="21">
                  <a:moveTo>
                    <a:pt x="23" y="14"/>
                  </a:moveTo>
                  <a:cubicBezTo>
                    <a:pt x="18" y="13"/>
                    <a:pt x="15" y="12"/>
                    <a:pt x="15" y="10"/>
                  </a:cubicBezTo>
                  <a:cubicBezTo>
                    <a:pt x="15" y="10"/>
                    <a:pt x="15" y="9"/>
                    <a:pt x="16" y="8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5"/>
                    <a:pt x="14" y="3"/>
                    <a:pt x="14" y="1"/>
                  </a:cubicBezTo>
                  <a:cubicBezTo>
                    <a:pt x="14" y="1"/>
                    <a:pt x="14" y="0"/>
                    <a:pt x="13" y="1"/>
                  </a:cubicBezTo>
                  <a:cubicBezTo>
                    <a:pt x="4" y="6"/>
                    <a:pt x="0" y="11"/>
                    <a:pt x="1" y="14"/>
                  </a:cubicBezTo>
                  <a:cubicBezTo>
                    <a:pt x="2" y="19"/>
                    <a:pt x="10" y="21"/>
                    <a:pt x="22" y="21"/>
                  </a:cubicBezTo>
                  <a:cubicBezTo>
                    <a:pt x="23" y="21"/>
                    <a:pt x="23" y="19"/>
                    <a:pt x="23" y="19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4"/>
                    <a:pt x="23" y="14"/>
                  </a:cubicBezTo>
                  <a:close/>
                </a:path>
              </a:pathLst>
            </a:custGeom>
            <a:solidFill>
              <a:srgbClr val="FFBC1D"/>
            </a:solidFill>
            <a:ln>
              <a:solidFill>
                <a:sysClr val="window" lastClr="FFFFFF"/>
              </a:solidFill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7" name="Freeform 76"/>
            <p:cNvSpPr>
              <a:spLocks noEditPoints="1"/>
            </p:cNvSpPr>
            <p:nvPr/>
          </p:nvSpPr>
          <p:spPr bwMode="auto">
            <a:xfrm>
              <a:off x="7905328" y="4606303"/>
              <a:ext cx="1003986" cy="642827"/>
            </a:xfrm>
            <a:custGeom>
              <a:avLst/>
              <a:gdLst>
                <a:gd name="T0" fmla="*/ 372 w 384"/>
                <a:gd name="T1" fmla="*/ 49 h 246"/>
                <a:gd name="T2" fmla="*/ 370 w 384"/>
                <a:gd name="T3" fmla="*/ 54 h 246"/>
                <a:gd name="T4" fmla="*/ 376 w 384"/>
                <a:gd name="T5" fmla="*/ 60 h 246"/>
                <a:gd name="T6" fmla="*/ 331 w 384"/>
                <a:gd name="T7" fmla="*/ 67 h 246"/>
                <a:gd name="T8" fmla="*/ 334 w 384"/>
                <a:gd name="T9" fmla="*/ 60 h 246"/>
                <a:gd name="T10" fmla="*/ 334 w 384"/>
                <a:gd name="T11" fmla="*/ 46 h 246"/>
                <a:gd name="T12" fmla="*/ 299 w 384"/>
                <a:gd name="T13" fmla="*/ 15 h 246"/>
                <a:gd name="T14" fmla="*/ 304 w 384"/>
                <a:gd name="T15" fmla="*/ 6 h 246"/>
                <a:gd name="T16" fmla="*/ 291 w 384"/>
                <a:gd name="T17" fmla="*/ 1 h 246"/>
                <a:gd name="T18" fmla="*/ 291 w 384"/>
                <a:gd name="T19" fmla="*/ 3 h 246"/>
                <a:gd name="T20" fmla="*/ 278 w 384"/>
                <a:gd name="T21" fmla="*/ 14 h 246"/>
                <a:gd name="T22" fmla="*/ 264 w 384"/>
                <a:gd name="T23" fmla="*/ 7 h 246"/>
                <a:gd name="T24" fmla="*/ 264 w 384"/>
                <a:gd name="T25" fmla="*/ 3 h 246"/>
                <a:gd name="T26" fmla="*/ 250 w 384"/>
                <a:gd name="T27" fmla="*/ 11 h 246"/>
                <a:gd name="T28" fmla="*/ 123 w 384"/>
                <a:gd name="T29" fmla="*/ 43 h 246"/>
                <a:gd name="T30" fmla="*/ 122 w 384"/>
                <a:gd name="T31" fmla="*/ 44 h 246"/>
                <a:gd name="T32" fmla="*/ 123 w 384"/>
                <a:gd name="T33" fmla="*/ 49 h 246"/>
                <a:gd name="T34" fmla="*/ 251 w 384"/>
                <a:gd name="T35" fmla="*/ 18 h 246"/>
                <a:gd name="T36" fmla="*/ 259 w 384"/>
                <a:gd name="T37" fmla="*/ 19 h 246"/>
                <a:gd name="T38" fmla="*/ 224 w 384"/>
                <a:gd name="T39" fmla="*/ 53 h 246"/>
                <a:gd name="T40" fmla="*/ 124 w 384"/>
                <a:gd name="T41" fmla="*/ 53 h 246"/>
                <a:gd name="T42" fmla="*/ 123 w 384"/>
                <a:gd name="T43" fmla="*/ 61 h 246"/>
                <a:gd name="T44" fmla="*/ 208 w 384"/>
                <a:gd name="T45" fmla="*/ 64 h 246"/>
                <a:gd name="T46" fmla="*/ 129 w 384"/>
                <a:gd name="T47" fmla="*/ 140 h 246"/>
                <a:gd name="T48" fmla="*/ 112 w 384"/>
                <a:gd name="T49" fmla="*/ 146 h 246"/>
                <a:gd name="T50" fmla="*/ 110 w 384"/>
                <a:gd name="T51" fmla="*/ 157 h 246"/>
                <a:gd name="T52" fmla="*/ 141 w 384"/>
                <a:gd name="T53" fmla="*/ 162 h 246"/>
                <a:gd name="T54" fmla="*/ 30 w 384"/>
                <a:gd name="T55" fmla="*/ 218 h 246"/>
                <a:gd name="T56" fmla="*/ 54 w 384"/>
                <a:gd name="T57" fmla="*/ 182 h 246"/>
                <a:gd name="T58" fmla="*/ 51 w 384"/>
                <a:gd name="T59" fmla="*/ 172 h 246"/>
                <a:gd name="T60" fmla="*/ 99 w 384"/>
                <a:gd name="T61" fmla="*/ 222 h 246"/>
                <a:gd name="T62" fmla="*/ 168 w 384"/>
                <a:gd name="T63" fmla="*/ 156 h 246"/>
                <a:gd name="T64" fmla="*/ 332 w 384"/>
                <a:gd name="T65" fmla="*/ 79 h 246"/>
                <a:gd name="T66" fmla="*/ 383 w 384"/>
                <a:gd name="T67" fmla="*/ 60 h 246"/>
                <a:gd name="T68" fmla="*/ 160 w 384"/>
                <a:gd name="T69" fmla="*/ 147 h 246"/>
                <a:gd name="T70" fmla="*/ 149 w 384"/>
                <a:gd name="T71" fmla="*/ 145 h 246"/>
                <a:gd name="T72" fmla="*/ 222 w 384"/>
                <a:gd name="T73" fmla="*/ 69 h 246"/>
                <a:gd name="T74" fmla="*/ 320 w 384"/>
                <a:gd name="T75" fmla="*/ 66 h 246"/>
                <a:gd name="T76" fmla="*/ 322 w 384"/>
                <a:gd name="T77" fmla="*/ 70 h 246"/>
                <a:gd name="T78" fmla="*/ 329 w 384"/>
                <a:gd name="T79" fmla="*/ 55 h 246"/>
                <a:gd name="T80" fmla="*/ 322 w 384"/>
                <a:gd name="T81" fmla="*/ 59 h 246"/>
                <a:gd name="T82" fmla="*/ 242 w 384"/>
                <a:gd name="T83" fmla="*/ 51 h 246"/>
                <a:gd name="T84" fmla="*/ 275 w 384"/>
                <a:gd name="T85" fmla="*/ 20 h 246"/>
                <a:gd name="T86" fmla="*/ 286 w 384"/>
                <a:gd name="T87" fmla="*/ 18 h 246"/>
                <a:gd name="T88" fmla="*/ 329 w 384"/>
                <a:gd name="T89" fmla="*/ 52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384" h="246">
                  <a:moveTo>
                    <a:pt x="383" y="60"/>
                  </a:moveTo>
                  <a:cubicBezTo>
                    <a:pt x="382" y="55"/>
                    <a:pt x="378" y="52"/>
                    <a:pt x="372" y="49"/>
                  </a:cubicBezTo>
                  <a:cubicBezTo>
                    <a:pt x="370" y="48"/>
                    <a:pt x="370" y="51"/>
                    <a:pt x="370" y="51"/>
                  </a:cubicBezTo>
                  <a:cubicBezTo>
                    <a:pt x="370" y="54"/>
                    <a:pt x="370" y="54"/>
                    <a:pt x="370" y="54"/>
                  </a:cubicBezTo>
                  <a:cubicBezTo>
                    <a:pt x="370" y="54"/>
                    <a:pt x="370" y="55"/>
                    <a:pt x="371" y="55"/>
                  </a:cubicBezTo>
                  <a:cubicBezTo>
                    <a:pt x="374" y="56"/>
                    <a:pt x="376" y="58"/>
                    <a:pt x="376" y="60"/>
                  </a:cubicBezTo>
                  <a:cubicBezTo>
                    <a:pt x="377" y="64"/>
                    <a:pt x="366" y="72"/>
                    <a:pt x="355" y="73"/>
                  </a:cubicBezTo>
                  <a:cubicBezTo>
                    <a:pt x="342" y="75"/>
                    <a:pt x="332" y="73"/>
                    <a:pt x="331" y="67"/>
                  </a:cubicBezTo>
                  <a:cubicBezTo>
                    <a:pt x="331" y="66"/>
                    <a:pt x="331" y="64"/>
                    <a:pt x="333" y="62"/>
                  </a:cubicBezTo>
                  <a:cubicBezTo>
                    <a:pt x="334" y="61"/>
                    <a:pt x="334" y="60"/>
                    <a:pt x="334" y="60"/>
                  </a:cubicBezTo>
                  <a:cubicBezTo>
                    <a:pt x="334" y="59"/>
                    <a:pt x="334" y="58"/>
                    <a:pt x="334" y="57"/>
                  </a:cubicBezTo>
                  <a:cubicBezTo>
                    <a:pt x="334" y="46"/>
                    <a:pt x="334" y="46"/>
                    <a:pt x="334" y="46"/>
                  </a:cubicBezTo>
                  <a:cubicBezTo>
                    <a:pt x="334" y="46"/>
                    <a:pt x="334" y="44"/>
                    <a:pt x="331" y="41"/>
                  </a:cubicBezTo>
                  <a:cubicBezTo>
                    <a:pt x="299" y="15"/>
                    <a:pt x="299" y="15"/>
                    <a:pt x="299" y="15"/>
                  </a:cubicBezTo>
                  <a:cubicBezTo>
                    <a:pt x="299" y="15"/>
                    <a:pt x="297" y="14"/>
                    <a:pt x="299" y="13"/>
                  </a:cubicBezTo>
                  <a:cubicBezTo>
                    <a:pt x="302" y="11"/>
                    <a:pt x="304" y="9"/>
                    <a:pt x="304" y="6"/>
                  </a:cubicBezTo>
                  <a:cubicBezTo>
                    <a:pt x="304" y="3"/>
                    <a:pt x="299" y="1"/>
                    <a:pt x="292" y="0"/>
                  </a:cubicBezTo>
                  <a:cubicBezTo>
                    <a:pt x="291" y="0"/>
                    <a:pt x="291" y="1"/>
                    <a:pt x="291" y="1"/>
                  </a:cubicBezTo>
                  <a:cubicBezTo>
                    <a:pt x="291" y="1"/>
                    <a:pt x="291" y="2"/>
                    <a:pt x="291" y="2"/>
                  </a:cubicBezTo>
                  <a:cubicBezTo>
                    <a:pt x="291" y="3"/>
                    <a:pt x="291" y="3"/>
                    <a:pt x="291" y="3"/>
                  </a:cubicBezTo>
                  <a:cubicBezTo>
                    <a:pt x="295" y="4"/>
                    <a:pt x="297" y="5"/>
                    <a:pt x="297" y="6"/>
                  </a:cubicBezTo>
                  <a:cubicBezTo>
                    <a:pt x="298" y="9"/>
                    <a:pt x="289" y="13"/>
                    <a:pt x="278" y="14"/>
                  </a:cubicBezTo>
                  <a:cubicBezTo>
                    <a:pt x="268" y="16"/>
                    <a:pt x="258" y="15"/>
                    <a:pt x="258" y="12"/>
                  </a:cubicBezTo>
                  <a:cubicBezTo>
                    <a:pt x="258" y="10"/>
                    <a:pt x="260" y="8"/>
                    <a:pt x="264" y="7"/>
                  </a:cubicBezTo>
                  <a:cubicBezTo>
                    <a:pt x="265" y="7"/>
                    <a:pt x="265" y="6"/>
                    <a:pt x="265" y="6"/>
                  </a:cubicBezTo>
                  <a:cubicBezTo>
                    <a:pt x="265" y="5"/>
                    <a:pt x="264" y="4"/>
                    <a:pt x="264" y="3"/>
                  </a:cubicBezTo>
                  <a:cubicBezTo>
                    <a:pt x="264" y="2"/>
                    <a:pt x="264" y="3"/>
                    <a:pt x="263" y="3"/>
                  </a:cubicBezTo>
                  <a:cubicBezTo>
                    <a:pt x="256" y="5"/>
                    <a:pt x="251" y="8"/>
                    <a:pt x="250" y="11"/>
                  </a:cubicBezTo>
                  <a:cubicBezTo>
                    <a:pt x="249" y="13"/>
                    <a:pt x="248" y="14"/>
                    <a:pt x="248" y="14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3" y="43"/>
                    <a:pt x="123" y="43"/>
                    <a:pt x="122" y="43"/>
                  </a:cubicBezTo>
                  <a:cubicBezTo>
                    <a:pt x="122" y="43"/>
                    <a:pt x="122" y="44"/>
                    <a:pt x="122" y="44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22" y="49"/>
                    <a:pt x="122" y="50"/>
                    <a:pt x="123" y="49"/>
                  </a:cubicBezTo>
                  <a:cubicBezTo>
                    <a:pt x="123" y="49"/>
                    <a:pt x="124" y="49"/>
                    <a:pt x="124" y="49"/>
                  </a:cubicBezTo>
                  <a:cubicBezTo>
                    <a:pt x="251" y="18"/>
                    <a:pt x="251" y="18"/>
                    <a:pt x="251" y="18"/>
                  </a:cubicBezTo>
                  <a:cubicBezTo>
                    <a:pt x="251" y="18"/>
                    <a:pt x="253" y="17"/>
                    <a:pt x="254" y="18"/>
                  </a:cubicBezTo>
                  <a:cubicBezTo>
                    <a:pt x="256" y="18"/>
                    <a:pt x="257" y="19"/>
                    <a:pt x="259" y="19"/>
                  </a:cubicBezTo>
                  <a:cubicBezTo>
                    <a:pt x="260" y="19"/>
                    <a:pt x="259" y="21"/>
                    <a:pt x="259" y="21"/>
                  </a:cubicBezTo>
                  <a:cubicBezTo>
                    <a:pt x="224" y="53"/>
                    <a:pt x="224" y="53"/>
                    <a:pt x="224" y="53"/>
                  </a:cubicBezTo>
                  <a:cubicBezTo>
                    <a:pt x="224" y="53"/>
                    <a:pt x="221" y="56"/>
                    <a:pt x="217" y="56"/>
                  </a:cubicBezTo>
                  <a:cubicBezTo>
                    <a:pt x="124" y="53"/>
                    <a:pt x="124" y="53"/>
                    <a:pt x="124" y="53"/>
                  </a:cubicBezTo>
                  <a:cubicBezTo>
                    <a:pt x="124" y="53"/>
                    <a:pt x="123" y="53"/>
                    <a:pt x="123" y="55"/>
                  </a:cubicBezTo>
                  <a:cubicBezTo>
                    <a:pt x="123" y="57"/>
                    <a:pt x="123" y="59"/>
                    <a:pt x="123" y="61"/>
                  </a:cubicBezTo>
                  <a:cubicBezTo>
                    <a:pt x="124" y="63"/>
                    <a:pt x="125" y="63"/>
                    <a:pt x="125" y="63"/>
                  </a:cubicBezTo>
                  <a:cubicBezTo>
                    <a:pt x="208" y="64"/>
                    <a:pt x="208" y="64"/>
                    <a:pt x="208" y="64"/>
                  </a:cubicBezTo>
                  <a:cubicBezTo>
                    <a:pt x="212" y="64"/>
                    <a:pt x="209" y="67"/>
                    <a:pt x="209" y="67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129" y="140"/>
                    <a:pt x="125" y="143"/>
                    <a:pt x="120" y="144"/>
                  </a:cubicBezTo>
                  <a:cubicBezTo>
                    <a:pt x="117" y="145"/>
                    <a:pt x="114" y="145"/>
                    <a:pt x="112" y="146"/>
                  </a:cubicBezTo>
                  <a:cubicBezTo>
                    <a:pt x="110" y="146"/>
                    <a:pt x="110" y="149"/>
                    <a:pt x="110" y="149"/>
                  </a:cubicBezTo>
                  <a:cubicBezTo>
                    <a:pt x="110" y="157"/>
                    <a:pt x="110" y="157"/>
                    <a:pt x="110" y="157"/>
                  </a:cubicBezTo>
                  <a:cubicBezTo>
                    <a:pt x="110" y="157"/>
                    <a:pt x="109" y="160"/>
                    <a:pt x="113" y="160"/>
                  </a:cubicBezTo>
                  <a:cubicBezTo>
                    <a:pt x="127" y="156"/>
                    <a:pt x="138" y="157"/>
                    <a:pt x="141" y="162"/>
                  </a:cubicBezTo>
                  <a:cubicBezTo>
                    <a:pt x="146" y="172"/>
                    <a:pt x="125" y="192"/>
                    <a:pt x="94" y="207"/>
                  </a:cubicBezTo>
                  <a:cubicBezTo>
                    <a:pt x="63" y="222"/>
                    <a:pt x="34" y="227"/>
                    <a:pt x="30" y="218"/>
                  </a:cubicBezTo>
                  <a:cubicBezTo>
                    <a:pt x="26" y="211"/>
                    <a:pt x="36" y="199"/>
                    <a:pt x="52" y="188"/>
                  </a:cubicBezTo>
                  <a:cubicBezTo>
                    <a:pt x="53" y="187"/>
                    <a:pt x="54" y="186"/>
                    <a:pt x="54" y="182"/>
                  </a:cubicBezTo>
                  <a:cubicBezTo>
                    <a:pt x="54" y="179"/>
                    <a:pt x="54" y="175"/>
                    <a:pt x="54" y="173"/>
                  </a:cubicBezTo>
                  <a:cubicBezTo>
                    <a:pt x="54" y="171"/>
                    <a:pt x="52" y="171"/>
                    <a:pt x="51" y="172"/>
                  </a:cubicBezTo>
                  <a:cubicBezTo>
                    <a:pt x="19" y="192"/>
                    <a:pt x="0" y="216"/>
                    <a:pt x="7" y="230"/>
                  </a:cubicBezTo>
                  <a:cubicBezTo>
                    <a:pt x="15" y="246"/>
                    <a:pt x="57" y="243"/>
                    <a:pt x="99" y="222"/>
                  </a:cubicBezTo>
                  <a:cubicBezTo>
                    <a:pt x="134" y="205"/>
                    <a:pt x="158" y="182"/>
                    <a:pt x="162" y="164"/>
                  </a:cubicBezTo>
                  <a:cubicBezTo>
                    <a:pt x="164" y="158"/>
                    <a:pt x="168" y="156"/>
                    <a:pt x="168" y="156"/>
                  </a:cubicBezTo>
                  <a:cubicBezTo>
                    <a:pt x="326" y="79"/>
                    <a:pt x="326" y="79"/>
                    <a:pt x="326" y="79"/>
                  </a:cubicBezTo>
                  <a:cubicBezTo>
                    <a:pt x="326" y="79"/>
                    <a:pt x="329" y="78"/>
                    <a:pt x="332" y="79"/>
                  </a:cubicBezTo>
                  <a:cubicBezTo>
                    <a:pt x="338" y="82"/>
                    <a:pt x="346" y="83"/>
                    <a:pt x="354" y="81"/>
                  </a:cubicBezTo>
                  <a:cubicBezTo>
                    <a:pt x="371" y="79"/>
                    <a:pt x="384" y="70"/>
                    <a:pt x="383" y="60"/>
                  </a:cubicBezTo>
                  <a:close/>
                  <a:moveTo>
                    <a:pt x="321" y="72"/>
                  </a:moveTo>
                  <a:cubicBezTo>
                    <a:pt x="160" y="147"/>
                    <a:pt x="160" y="147"/>
                    <a:pt x="160" y="147"/>
                  </a:cubicBezTo>
                  <a:cubicBezTo>
                    <a:pt x="160" y="147"/>
                    <a:pt x="157" y="148"/>
                    <a:pt x="155" y="147"/>
                  </a:cubicBezTo>
                  <a:cubicBezTo>
                    <a:pt x="153" y="146"/>
                    <a:pt x="151" y="145"/>
                    <a:pt x="149" y="145"/>
                  </a:cubicBezTo>
                  <a:cubicBezTo>
                    <a:pt x="146" y="144"/>
                    <a:pt x="149" y="141"/>
                    <a:pt x="149" y="141"/>
                  </a:cubicBezTo>
                  <a:cubicBezTo>
                    <a:pt x="222" y="69"/>
                    <a:pt x="222" y="69"/>
                    <a:pt x="222" y="69"/>
                  </a:cubicBezTo>
                  <a:cubicBezTo>
                    <a:pt x="228" y="64"/>
                    <a:pt x="237" y="65"/>
                    <a:pt x="237" y="65"/>
                  </a:cubicBezTo>
                  <a:cubicBezTo>
                    <a:pt x="320" y="66"/>
                    <a:pt x="320" y="66"/>
                    <a:pt x="320" y="66"/>
                  </a:cubicBezTo>
                  <a:cubicBezTo>
                    <a:pt x="320" y="66"/>
                    <a:pt x="321" y="66"/>
                    <a:pt x="322" y="68"/>
                  </a:cubicBezTo>
                  <a:cubicBezTo>
                    <a:pt x="322" y="69"/>
                    <a:pt x="322" y="69"/>
                    <a:pt x="322" y="70"/>
                  </a:cubicBezTo>
                  <a:cubicBezTo>
                    <a:pt x="323" y="72"/>
                    <a:pt x="321" y="72"/>
                    <a:pt x="321" y="72"/>
                  </a:cubicBezTo>
                  <a:close/>
                  <a:moveTo>
                    <a:pt x="329" y="55"/>
                  </a:moveTo>
                  <a:cubicBezTo>
                    <a:pt x="328" y="56"/>
                    <a:pt x="327" y="57"/>
                    <a:pt x="326" y="57"/>
                  </a:cubicBezTo>
                  <a:cubicBezTo>
                    <a:pt x="324" y="59"/>
                    <a:pt x="322" y="59"/>
                    <a:pt x="322" y="59"/>
                  </a:cubicBezTo>
                  <a:cubicBezTo>
                    <a:pt x="244" y="57"/>
                    <a:pt x="244" y="57"/>
                    <a:pt x="244" y="57"/>
                  </a:cubicBezTo>
                  <a:cubicBezTo>
                    <a:pt x="235" y="57"/>
                    <a:pt x="242" y="51"/>
                    <a:pt x="242" y="51"/>
                  </a:cubicBezTo>
                  <a:cubicBezTo>
                    <a:pt x="272" y="21"/>
                    <a:pt x="272" y="21"/>
                    <a:pt x="272" y="21"/>
                  </a:cubicBezTo>
                  <a:cubicBezTo>
                    <a:pt x="272" y="21"/>
                    <a:pt x="273" y="20"/>
                    <a:pt x="275" y="20"/>
                  </a:cubicBezTo>
                  <a:cubicBezTo>
                    <a:pt x="276" y="20"/>
                    <a:pt x="277" y="20"/>
                    <a:pt x="278" y="20"/>
                  </a:cubicBezTo>
                  <a:cubicBezTo>
                    <a:pt x="281" y="19"/>
                    <a:pt x="283" y="19"/>
                    <a:pt x="286" y="18"/>
                  </a:cubicBezTo>
                  <a:cubicBezTo>
                    <a:pt x="287" y="18"/>
                    <a:pt x="289" y="19"/>
                    <a:pt x="289" y="19"/>
                  </a:cubicBezTo>
                  <a:cubicBezTo>
                    <a:pt x="329" y="52"/>
                    <a:pt x="329" y="52"/>
                    <a:pt x="329" y="52"/>
                  </a:cubicBezTo>
                  <a:cubicBezTo>
                    <a:pt x="329" y="52"/>
                    <a:pt x="330" y="54"/>
                    <a:pt x="329" y="55"/>
                  </a:cubicBezTo>
                  <a:close/>
                </a:path>
              </a:pathLst>
            </a:custGeom>
            <a:solidFill>
              <a:srgbClr val="FFBC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8" name="Freeform 77"/>
            <p:cNvSpPr>
              <a:spLocks/>
            </p:cNvSpPr>
            <p:nvPr/>
          </p:nvSpPr>
          <p:spPr bwMode="auto">
            <a:xfrm>
              <a:off x="8041899" y="44573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BC3AD"/>
            </a:solidFill>
            <a:ln w="12700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39" name="Freeform 78"/>
            <p:cNvSpPr>
              <a:spLocks/>
            </p:cNvSpPr>
            <p:nvPr/>
          </p:nvSpPr>
          <p:spPr bwMode="auto">
            <a:xfrm>
              <a:off x="8041899" y="445738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7BC3AD"/>
            </a:solidFill>
            <a:ln w="12700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40" name="Freeform 79"/>
            <p:cNvSpPr>
              <a:spLocks/>
            </p:cNvSpPr>
            <p:nvPr/>
          </p:nvSpPr>
          <p:spPr bwMode="auto">
            <a:xfrm>
              <a:off x="7999453" y="4365104"/>
              <a:ext cx="84896" cy="84896"/>
            </a:xfrm>
            <a:custGeom>
              <a:avLst/>
              <a:gdLst/>
              <a:ahLst/>
              <a:cxnLst>
                <a:cxn ang="0">
                  <a:pos x="19" y="30"/>
                </a:cxn>
                <a:cxn ang="0">
                  <a:pos x="30" y="13"/>
                </a:cxn>
                <a:cxn ang="0">
                  <a:pos x="12" y="2"/>
                </a:cxn>
                <a:cxn ang="0">
                  <a:pos x="2" y="19"/>
                </a:cxn>
                <a:cxn ang="0">
                  <a:pos x="19" y="30"/>
                </a:cxn>
              </a:cxnLst>
              <a:rect l="0" t="0" r="r" b="b"/>
              <a:pathLst>
                <a:path w="32" h="32">
                  <a:moveTo>
                    <a:pt x="19" y="30"/>
                  </a:moveTo>
                  <a:cubicBezTo>
                    <a:pt x="27" y="28"/>
                    <a:pt x="32" y="21"/>
                    <a:pt x="30" y="13"/>
                  </a:cubicBezTo>
                  <a:cubicBezTo>
                    <a:pt x="28" y="5"/>
                    <a:pt x="20" y="0"/>
                    <a:pt x="12" y="2"/>
                  </a:cubicBezTo>
                  <a:cubicBezTo>
                    <a:pt x="5" y="4"/>
                    <a:pt x="0" y="11"/>
                    <a:pt x="2" y="19"/>
                  </a:cubicBezTo>
                  <a:cubicBezTo>
                    <a:pt x="3" y="27"/>
                    <a:pt x="11" y="32"/>
                    <a:pt x="19" y="30"/>
                  </a:cubicBezTo>
                  <a:close/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41" name="Freeform 80"/>
            <p:cNvSpPr>
              <a:spLocks/>
            </p:cNvSpPr>
            <p:nvPr/>
          </p:nvSpPr>
          <p:spPr bwMode="auto">
            <a:xfrm>
              <a:off x="8017908" y="4457383"/>
              <a:ext cx="110734" cy="121807"/>
            </a:xfrm>
            <a:custGeom>
              <a:avLst/>
              <a:gdLst/>
              <a:ahLst/>
              <a:cxnLst>
                <a:cxn ang="0">
                  <a:pos x="42" y="47"/>
                </a:cxn>
                <a:cxn ang="0">
                  <a:pos x="42" y="38"/>
                </a:cxn>
                <a:cxn ang="0">
                  <a:pos x="33" y="6"/>
                </a:cxn>
                <a:cxn ang="0">
                  <a:pos x="21" y="1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2" y="19"/>
                </a:cxn>
                <a:cxn ang="0">
                  <a:pos x="11" y="7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8" y="2"/>
                </a:cxn>
                <a:cxn ang="0">
                  <a:pos x="5" y="4"/>
                </a:cxn>
                <a:cxn ang="0">
                  <a:pos x="7" y="7"/>
                </a:cxn>
                <a:cxn ang="0">
                  <a:pos x="5" y="19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2" h="47">
                  <a:moveTo>
                    <a:pt x="42" y="47"/>
                  </a:moveTo>
                  <a:cubicBezTo>
                    <a:pt x="42" y="44"/>
                    <a:pt x="42" y="41"/>
                    <a:pt x="42" y="38"/>
                  </a:cubicBezTo>
                  <a:cubicBezTo>
                    <a:pt x="40" y="15"/>
                    <a:pt x="35" y="8"/>
                    <a:pt x="33" y="6"/>
                  </a:cubicBezTo>
                  <a:cubicBezTo>
                    <a:pt x="30" y="4"/>
                    <a:pt x="25" y="3"/>
                    <a:pt x="21" y="1"/>
                  </a:cubicBezTo>
                  <a:cubicBezTo>
                    <a:pt x="20" y="1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3"/>
                    <a:pt x="17" y="10"/>
                    <a:pt x="12" y="19"/>
                  </a:cubicBezTo>
                  <a:cubicBezTo>
                    <a:pt x="12" y="13"/>
                    <a:pt x="11" y="8"/>
                    <a:pt x="11" y="7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6" y="13"/>
                    <a:pt x="5" y="19"/>
                  </a:cubicBezTo>
                  <a:cubicBezTo>
                    <a:pt x="1" y="10"/>
                    <a:pt x="0" y="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42" name="Freeform 81"/>
            <p:cNvSpPr>
              <a:spLocks/>
            </p:cNvSpPr>
            <p:nvPr/>
          </p:nvSpPr>
          <p:spPr bwMode="auto">
            <a:xfrm>
              <a:off x="8099113" y="4558888"/>
              <a:ext cx="1845" cy="239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9"/>
                </a:cxn>
              </a:cxnLst>
              <a:rect l="0" t="0" r="r" b="b"/>
              <a:pathLst>
                <a:path h="9">
                  <a:moveTo>
                    <a:pt x="0" y="0"/>
                  </a:moveTo>
                  <a:cubicBezTo>
                    <a:pt x="0" y="3"/>
                    <a:pt x="0" y="6"/>
                    <a:pt x="0" y="9"/>
                  </a:cubicBezTo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43" name="Freeform 82"/>
            <p:cNvSpPr>
              <a:spLocks/>
            </p:cNvSpPr>
            <p:nvPr/>
          </p:nvSpPr>
          <p:spPr bwMode="auto">
            <a:xfrm>
              <a:off x="7993915" y="4523823"/>
              <a:ext cx="9229" cy="254688"/>
            </a:xfrm>
            <a:custGeom>
              <a:avLst/>
              <a:gdLst/>
              <a:ahLst/>
              <a:cxnLst>
                <a:cxn ang="0">
                  <a:pos x="3" y="97"/>
                </a:cxn>
                <a:cxn ang="0">
                  <a:pos x="0" y="93"/>
                </a:cxn>
                <a:cxn ang="0">
                  <a:pos x="0" y="34"/>
                </a:cxn>
                <a:cxn ang="0">
                  <a:pos x="0" y="30"/>
                </a:cxn>
                <a:cxn ang="0">
                  <a:pos x="0" y="0"/>
                </a:cxn>
              </a:cxnLst>
              <a:rect l="0" t="0" r="r" b="b"/>
              <a:pathLst>
                <a:path w="3" h="97">
                  <a:moveTo>
                    <a:pt x="3" y="97"/>
                  </a:moveTo>
                  <a:cubicBezTo>
                    <a:pt x="1" y="97"/>
                    <a:pt x="0" y="96"/>
                    <a:pt x="0" y="93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3"/>
                    <a:pt x="0" y="32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44" name="Freeform 83"/>
            <p:cNvSpPr>
              <a:spLocks/>
            </p:cNvSpPr>
            <p:nvPr/>
          </p:nvSpPr>
          <p:spPr bwMode="auto">
            <a:xfrm>
              <a:off x="8036364" y="4630866"/>
              <a:ext cx="11073" cy="79360"/>
            </a:xfrm>
            <a:custGeom>
              <a:avLst/>
              <a:gdLst/>
              <a:ahLst/>
              <a:cxnLst>
                <a:cxn ang="0">
                  <a:pos x="10" y="66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0" y="71"/>
                </a:cxn>
              </a:cxnLst>
              <a:rect l="0" t="0" r="r" b="b"/>
              <a:pathLst>
                <a:path w="10" h="71">
                  <a:moveTo>
                    <a:pt x="10" y="66"/>
                  </a:moveTo>
                  <a:lnTo>
                    <a:pt x="10" y="0"/>
                  </a:lnTo>
                  <a:lnTo>
                    <a:pt x="0" y="0"/>
                  </a:lnTo>
                  <a:lnTo>
                    <a:pt x="0" y="71"/>
                  </a:lnTo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45" name="Line 84"/>
            <p:cNvSpPr>
              <a:spLocks noChangeShapeType="1"/>
            </p:cNvSpPr>
            <p:nvPr/>
          </p:nvSpPr>
          <p:spPr bwMode="auto">
            <a:xfrm>
              <a:off x="8086193" y="4684388"/>
              <a:ext cx="0" cy="5536"/>
            </a:xfrm>
            <a:prstGeom prst="line">
              <a:avLst/>
            </a:pr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46" name="Line 85"/>
            <p:cNvSpPr>
              <a:spLocks noChangeShapeType="1"/>
            </p:cNvSpPr>
            <p:nvPr/>
          </p:nvSpPr>
          <p:spPr bwMode="auto">
            <a:xfrm>
              <a:off x="8088039" y="4521977"/>
              <a:ext cx="1845" cy="64594"/>
            </a:xfrm>
            <a:prstGeom prst="line">
              <a:avLst/>
            </a:pr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47" name="Freeform 86"/>
            <p:cNvSpPr>
              <a:spLocks/>
            </p:cNvSpPr>
            <p:nvPr/>
          </p:nvSpPr>
          <p:spPr bwMode="auto">
            <a:xfrm>
              <a:off x="7953313" y="4457383"/>
              <a:ext cx="64595" cy="164256"/>
            </a:xfrm>
            <a:custGeom>
              <a:avLst/>
              <a:gdLst/>
              <a:ahLst/>
              <a:cxnLst>
                <a:cxn ang="0">
                  <a:pos x="12" y="39"/>
                </a:cxn>
                <a:cxn ang="0">
                  <a:pos x="13" y="60"/>
                </a:cxn>
                <a:cxn ang="0">
                  <a:pos x="8" y="63"/>
                </a:cxn>
                <a:cxn ang="0">
                  <a:pos x="2" y="59"/>
                </a:cxn>
                <a:cxn ang="0">
                  <a:pos x="1" y="38"/>
                </a:cxn>
                <a:cxn ang="0">
                  <a:pos x="9" y="6"/>
                </a:cxn>
                <a:cxn ang="0">
                  <a:pos x="21" y="1"/>
                </a:cxn>
                <a:cxn ang="0">
                  <a:pos x="25" y="0"/>
                </a:cxn>
                <a:cxn ang="0">
                  <a:pos x="25" y="0"/>
                </a:cxn>
              </a:cxnLst>
              <a:rect l="0" t="0" r="r" b="b"/>
              <a:pathLst>
                <a:path w="25" h="63">
                  <a:moveTo>
                    <a:pt x="12" y="39"/>
                  </a:moveTo>
                  <a:cubicBezTo>
                    <a:pt x="12" y="48"/>
                    <a:pt x="13" y="60"/>
                    <a:pt x="13" y="60"/>
                  </a:cubicBezTo>
                  <a:cubicBezTo>
                    <a:pt x="13" y="63"/>
                    <a:pt x="12" y="63"/>
                    <a:pt x="8" y="63"/>
                  </a:cubicBezTo>
                  <a:cubicBezTo>
                    <a:pt x="4" y="63"/>
                    <a:pt x="2" y="63"/>
                    <a:pt x="2" y="59"/>
                  </a:cubicBezTo>
                  <a:cubicBezTo>
                    <a:pt x="2" y="59"/>
                    <a:pt x="0" y="45"/>
                    <a:pt x="1" y="38"/>
                  </a:cubicBezTo>
                  <a:cubicBezTo>
                    <a:pt x="2" y="15"/>
                    <a:pt x="8" y="8"/>
                    <a:pt x="9" y="6"/>
                  </a:cubicBezTo>
                  <a:cubicBezTo>
                    <a:pt x="12" y="4"/>
                    <a:pt x="17" y="3"/>
                    <a:pt x="21" y="1"/>
                  </a:cubicBezTo>
                  <a:cubicBezTo>
                    <a:pt x="22" y="1"/>
                    <a:pt x="23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</a:path>
              </a:pathLst>
            </a:custGeom>
            <a:noFill/>
            <a:ln w="12700" cap="rnd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cxnSp>
        <p:nvCxnSpPr>
          <p:cNvPr id="1048" name="Connecteur droit 1047"/>
          <p:cNvCxnSpPr>
            <a:endCxn id="998" idx="2"/>
          </p:cNvCxnSpPr>
          <p:nvPr/>
        </p:nvCxnSpPr>
        <p:spPr>
          <a:xfrm flipV="1">
            <a:off x="1878451" y="4651314"/>
            <a:ext cx="2960026" cy="592712"/>
          </a:xfrm>
          <a:prstGeom prst="line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049" name="Connecteur droit 1048"/>
          <p:cNvCxnSpPr>
            <a:endCxn id="996" idx="2"/>
          </p:cNvCxnSpPr>
          <p:nvPr/>
        </p:nvCxnSpPr>
        <p:spPr>
          <a:xfrm flipV="1">
            <a:off x="1899138" y="5171165"/>
            <a:ext cx="2590496" cy="68725"/>
          </a:xfrm>
          <a:prstGeom prst="line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1050" name="Connecteur droit 1049"/>
          <p:cNvCxnSpPr>
            <a:endCxn id="999" idx="2"/>
          </p:cNvCxnSpPr>
          <p:nvPr/>
        </p:nvCxnSpPr>
        <p:spPr>
          <a:xfrm flipV="1">
            <a:off x="1878451" y="4429381"/>
            <a:ext cx="3343676" cy="818783"/>
          </a:xfrm>
          <a:prstGeom prst="line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051" name="Ellipse 1050"/>
          <p:cNvSpPr/>
          <p:nvPr/>
        </p:nvSpPr>
        <p:spPr>
          <a:xfrm>
            <a:off x="6219654" y="4558685"/>
            <a:ext cx="104058" cy="101610"/>
          </a:xfrm>
          <a:prstGeom prst="ellipse">
            <a:avLst/>
          </a:prstGeom>
          <a:gradFill rotWithShape="1">
            <a:gsLst>
              <a:gs pos="0">
                <a:srgbClr val="FFBC1D">
                  <a:shade val="51000"/>
                  <a:satMod val="130000"/>
                </a:srgbClr>
              </a:gs>
              <a:gs pos="80000">
                <a:srgbClr val="FFBC1D">
                  <a:shade val="93000"/>
                  <a:satMod val="130000"/>
                </a:srgbClr>
              </a:gs>
              <a:gs pos="100000">
                <a:srgbClr val="FFBC1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>
              <a:ln>
                <a:noFill/>
              </a:ln>
              <a:solidFill>
                <a:srgbClr val="26314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2" name="ZoneTexte 1051"/>
          <p:cNvSpPr txBox="1"/>
          <p:nvPr/>
        </p:nvSpPr>
        <p:spPr>
          <a:xfrm>
            <a:off x="2072680" y="5517232"/>
            <a:ext cx="11840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Grenoble/Lyon</a:t>
            </a:r>
            <a:endParaRPr kumimoji="0" lang="fr-FR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53" name="ZoneTexte 1052"/>
          <p:cNvSpPr txBox="1"/>
          <p:nvPr/>
        </p:nvSpPr>
        <p:spPr>
          <a:xfrm>
            <a:off x="2144688" y="4509120"/>
            <a:ext cx="9348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trasbourg</a:t>
            </a:r>
            <a:endParaRPr kumimoji="0" lang="fr-FR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054" name="Groupe 539"/>
          <p:cNvGrpSpPr/>
          <p:nvPr/>
        </p:nvGrpSpPr>
        <p:grpSpPr>
          <a:xfrm>
            <a:off x="1568564" y="5087643"/>
            <a:ext cx="602166" cy="272596"/>
            <a:chOff x="1480506" y="4664521"/>
            <a:chExt cx="648072" cy="285323"/>
          </a:xfrm>
        </p:grpSpPr>
        <p:sp>
          <p:nvSpPr>
            <p:cNvPr id="1055" name="Rectangle à coins arrondis 1054"/>
            <p:cNvSpPr/>
            <p:nvPr/>
          </p:nvSpPr>
          <p:spPr>
            <a:xfrm>
              <a:off x="1480506" y="4664521"/>
              <a:ext cx="648072" cy="285323"/>
            </a:xfrm>
            <a:prstGeom prst="round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smtClean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056" name="Picture 3" descr="C:\Users\jfenyo\AppData\Local\Microsoft\Windows\Temporary Internet Files\Content.Outlook\5VEB9492\pictogramme adm (2)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496312" y="4705695"/>
              <a:ext cx="616460" cy="202974"/>
            </a:xfrm>
            <a:prstGeom prst="rect">
              <a:avLst/>
            </a:prstGeom>
            <a:noFill/>
          </p:spPr>
        </p:pic>
      </p:grpSp>
      <p:grpSp>
        <p:nvGrpSpPr>
          <p:cNvPr id="1057" name="Group 106"/>
          <p:cNvGrpSpPr/>
          <p:nvPr/>
        </p:nvGrpSpPr>
        <p:grpSpPr>
          <a:xfrm>
            <a:off x="9069105" y="228600"/>
            <a:ext cx="567608" cy="531352"/>
            <a:chOff x="5095875" y="4929188"/>
            <a:chExt cx="566738" cy="577850"/>
          </a:xfrm>
        </p:grpSpPr>
        <p:sp>
          <p:nvSpPr>
            <p:cNvPr id="1058" name="Freeform 120"/>
            <p:cNvSpPr>
              <a:spLocks/>
            </p:cNvSpPr>
            <p:nvPr/>
          </p:nvSpPr>
          <p:spPr bwMode="auto">
            <a:xfrm>
              <a:off x="5095875" y="5330826"/>
              <a:ext cx="158750" cy="157163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0" y="43"/>
                </a:cxn>
                <a:cxn ang="0">
                  <a:pos x="3" y="34"/>
                </a:cxn>
                <a:cxn ang="0">
                  <a:pos x="6" y="27"/>
                </a:cxn>
                <a:cxn ang="0">
                  <a:pos x="11" y="19"/>
                </a:cxn>
                <a:cxn ang="0">
                  <a:pos x="18" y="13"/>
                </a:cxn>
                <a:cxn ang="0">
                  <a:pos x="24" y="7"/>
                </a:cxn>
                <a:cxn ang="0">
                  <a:pos x="32" y="3"/>
                </a:cxn>
                <a:cxn ang="0">
                  <a:pos x="41" y="1"/>
                </a:cxn>
                <a:cxn ang="0">
                  <a:pos x="50" y="0"/>
                </a:cxn>
                <a:cxn ang="0">
                  <a:pos x="50" y="0"/>
                </a:cxn>
                <a:cxn ang="0">
                  <a:pos x="60" y="1"/>
                </a:cxn>
                <a:cxn ang="0">
                  <a:pos x="69" y="4"/>
                </a:cxn>
                <a:cxn ang="0">
                  <a:pos x="77" y="9"/>
                </a:cxn>
                <a:cxn ang="0">
                  <a:pos x="85" y="15"/>
                </a:cxn>
                <a:cxn ang="0">
                  <a:pos x="91" y="22"/>
                </a:cxn>
                <a:cxn ang="0">
                  <a:pos x="95" y="31"/>
                </a:cxn>
                <a:cxn ang="0">
                  <a:pos x="99" y="41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99" y="60"/>
                </a:cxn>
                <a:cxn ang="0">
                  <a:pos x="95" y="69"/>
                </a:cxn>
                <a:cxn ang="0">
                  <a:pos x="91" y="78"/>
                </a:cxn>
                <a:cxn ang="0">
                  <a:pos x="85" y="85"/>
                </a:cxn>
                <a:cxn ang="0">
                  <a:pos x="77" y="91"/>
                </a:cxn>
                <a:cxn ang="0">
                  <a:pos x="69" y="96"/>
                </a:cxn>
                <a:cxn ang="0">
                  <a:pos x="60" y="98"/>
                </a:cxn>
                <a:cxn ang="0">
                  <a:pos x="50" y="99"/>
                </a:cxn>
                <a:cxn ang="0">
                  <a:pos x="50" y="99"/>
                </a:cxn>
                <a:cxn ang="0">
                  <a:pos x="40" y="99"/>
                </a:cxn>
                <a:cxn ang="0">
                  <a:pos x="31" y="96"/>
                </a:cxn>
                <a:cxn ang="0">
                  <a:pos x="23" y="92"/>
                </a:cxn>
                <a:cxn ang="0">
                  <a:pos x="16" y="86"/>
                </a:cxn>
                <a:cxn ang="0">
                  <a:pos x="10" y="80"/>
                </a:cxn>
                <a:cxn ang="0">
                  <a:pos x="6" y="73"/>
                </a:cxn>
                <a:cxn ang="0">
                  <a:pos x="2" y="64"/>
                </a:cxn>
                <a:cxn ang="0">
                  <a:pos x="0" y="54"/>
                </a:cxn>
              </a:cxnLst>
              <a:rect l="0" t="0" r="r" b="b"/>
              <a:pathLst>
                <a:path w="100" h="99">
                  <a:moveTo>
                    <a:pt x="0" y="43"/>
                  </a:moveTo>
                  <a:lnTo>
                    <a:pt x="0" y="43"/>
                  </a:lnTo>
                  <a:lnTo>
                    <a:pt x="3" y="34"/>
                  </a:lnTo>
                  <a:lnTo>
                    <a:pt x="6" y="27"/>
                  </a:lnTo>
                  <a:lnTo>
                    <a:pt x="11" y="19"/>
                  </a:lnTo>
                  <a:lnTo>
                    <a:pt x="18" y="13"/>
                  </a:lnTo>
                  <a:lnTo>
                    <a:pt x="24" y="7"/>
                  </a:lnTo>
                  <a:lnTo>
                    <a:pt x="32" y="3"/>
                  </a:lnTo>
                  <a:lnTo>
                    <a:pt x="41" y="1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60" y="1"/>
                  </a:lnTo>
                  <a:lnTo>
                    <a:pt x="69" y="4"/>
                  </a:lnTo>
                  <a:lnTo>
                    <a:pt x="77" y="9"/>
                  </a:lnTo>
                  <a:lnTo>
                    <a:pt x="85" y="15"/>
                  </a:lnTo>
                  <a:lnTo>
                    <a:pt x="91" y="22"/>
                  </a:lnTo>
                  <a:lnTo>
                    <a:pt x="95" y="31"/>
                  </a:lnTo>
                  <a:lnTo>
                    <a:pt x="99" y="41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99" y="60"/>
                  </a:lnTo>
                  <a:lnTo>
                    <a:pt x="95" y="69"/>
                  </a:lnTo>
                  <a:lnTo>
                    <a:pt x="91" y="78"/>
                  </a:lnTo>
                  <a:lnTo>
                    <a:pt x="85" y="85"/>
                  </a:lnTo>
                  <a:lnTo>
                    <a:pt x="77" y="91"/>
                  </a:lnTo>
                  <a:lnTo>
                    <a:pt x="69" y="96"/>
                  </a:lnTo>
                  <a:lnTo>
                    <a:pt x="60" y="98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0" y="99"/>
                  </a:lnTo>
                  <a:lnTo>
                    <a:pt x="31" y="96"/>
                  </a:lnTo>
                  <a:lnTo>
                    <a:pt x="23" y="92"/>
                  </a:lnTo>
                  <a:lnTo>
                    <a:pt x="16" y="86"/>
                  </a:lnTo>
                  <a:lnTo>
                    <a:pt x="10" y="80"/>
                  </a:lnTo>
                  <a:lnTo>
                    <a:pt x="6" y="73"/>
                  </a:lnTo>
                  <a:lnTo>
                    <a:pt x="2" y="64"/>
                  </a:lnTo>
                  <a:lnTo>
                    <a:pt x="0" y="54"/>
                  </a:lnTo>
                </a:path>
              </a:pathLst>
            </a:custGeom>
            <a:noFill/>
            <a:ln w="6350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9" name="Freeform 121"/>
            <p:cNvSpPr>
              <a:spLocks/>
            </p:cNvSpPr>
            <p:nvPr/>
          </p:nvSpPr>
          <p:spPr bwMode="auto">
            <a:xfrm>
              <a:off x="5221288" y="5283201"/>
              <a:ext cx="204788" cy="204788"/>
            </a:xfrm>
            <a:custGeom>
              <a:avLst/>
              <a:gdLst/>
              <a:ahLst/>
              <a:cxnLst>
                <a:cxn ang="0">
                  <a:pos x="129" y="65"/>
                </a:cxn>
                <a:cxn ang="0">
                  <a:pos x="129" y="65"/>
                </a:cxn>
                <a:cxn ang="0">
                  <a:pos x="129" y="72"/>
                </a:cxn>
                <a:cxn ang="0">
                  <a:pos x="128" y="78"/>
                </a:cxn>
                <a:cxn ang="0">
                  <a:pos x="124" y="90"/>
                </a:cxn>
                <a:cxn ang="0">
                  <a:pos x="119" y="102"/>
                </a:cxn>
                <a:cxn ang="0">
                  <a:pos x="110" y="111"/>
                </a:cxn>
                <a:cxn ang="0">
                  <a:pos x="101" y="119"/>
                </a:cxn>
                <a:cxn ang="0">
                  <a:pos x="90" y="125"/>
                </a:cxn>
                <a:cxn ang="0">
                  <a:pos x="78" y="128"/>
                </a:cxn>
                <a:cxn ang="0">
                  <a:pos x="72" y="129"/>
                </a:cxn>
                <a:cxn ang="0">
                  <a:pos x="64" y="129"/>
                </a:cxn>
                <a:cxn ang="0">
                  <a:pos x="64" y="129"/>
                </a:cxn>
                <a:cxn ang="0">
                  <a:pos x="58" y="129"/>
                </a:cxn>
                <a:cxn ang="0">
                  <a:pos x="52" y="128"/>
                </a:cxn>
                <a:cxn ang="0">
                  <a:pos x="40" y="125"/>
                </a:cxn>
                <a:cxn ang="0">
                  <a:pos x="29" y="119"/>
                </a:cxn>
                <a:cxn ang="0">
                  <a:pos x="20" y="111"/>
                </a:cxn>
                <a:cxn ang="0">
                  <a:pos x="11" y="102"/>
                </a:cxn>
                <a:cxn ang="0">
                  <a:pos x="6" y="90"/>
                </a:cxn>
                <a:cxn ang="0">
                  <a:pos x="1" y="78"/>
                </a:cxn>
                <a:cxn ang="0">
                  <a:pos x="0" y="72"/>
                </a:cxn>
                <a:cxn ang="0">
                  <a:pos x="0" y="65"/>
                </a:cxn>
                <a:cxn ang="0">
                  <a:pos x="0" y="65"/>
                </a:cxn>
                <a:cxn ang="0">
                  <a:pos x="0" y="59"/>
                </a:cxn>
                <a:cxn ang="0">
                  <a:pos x="1" y="52"/>
                </a:cxn>
                <a:cxn ang="0">
                  <a:pos x="6" y="40"/>
                </a:cxn>
                <a:cxn ang="0">
                  <a:pos x="11" y="29"/>
                </a:cxn>
                <a:cxn ang="0">
                  <a:pos x="20" y="19"/>
                </a:cxn>
                <a:cxn ang="0">
                  <a:pos x="29" y="12"/>
                </a:cxn>
                <a:cxn ang="0">
                  <a:pos x="40" y="5"/>
                </a:cxn>
                <a:cxn ang="0">
                  <a:pos x="52" y="1"/>
                </a:cxn>
                <a:cxn ang="0">
                  <a:pos x="58" y="1"/>
                </a:cxn>
                <a:cxn ang="0">
                  <a:pos x="64" y="0"/>
                </a:cxn>
                <a:cxn ang="0">
                  <a:pos x="64" y="0"/>
                </a:cxn>
                <a:cxn ang="0">
                  <a:pos x="72" y="1"/>
                </a:cxn>
                <a:cxn ang="0">
                  <a:pos x="78" y="1"/>
                </a:cxn>
                <a:cxn ang="0">
                  <a:pos x="90" y="5"/>
                </a:cxn>
                <a:cxn ang="0">
                  <a:pos x="101" y="12"/>
                </a:cxn>
                <a:cxn ang="0">
                  <a:pos x="110" y="19"/>
                </a:cxn>
                <a:cxn ang="0">
                  <a:pos x="119" y="29"/>
                </a:cxn>
                <a:cxn ang="0">
                  <a:pos x="124" y="40"/>
                </a:cxn>
                <a:cxn ang="0">
                  <a:pos x="128" y="52"/>
                </a:cxn>
                <a:cxn ang="0">
                  <a:pos x="129" y="59"/>
                </a:cxn>
                <a:cxn ang="0">
                  <a:pos x="129" y="65"/>
                </a:cxn>
                <a:cxn ang="0">
                  <a:pos x="129" y="65"/>
                </a:cxn>
              </a:cxnLst>
              <a:rect l="0" t="0" r="r" b="b"/>
              <a:pathLst>
                <a:path w="129" h="129">
                  <a:moveTo>
                    <a:pt x="129" y="65"/>
                  </a:moveTo>
                  <a:lnTo>
                    <a:pt x="129" y="65"/>
                  </a:lnTo>
                  <a:lnTo>
                    <a:pt x="129" y="72"/>
                  </a:lnTo>
                  <a:lnTo>
                    <a:pt x="128" y="78"/>
                  </a:lnTo>
                  <a:lnTo>
                    <a:pt x="124" y="90"/>
                  </a:lnTo>
                  <a:lnTo>
                    <a:pt x="119" y="102"/>
                  </a:lnTo>
                  <a:lnTo>
                    <a:pt x="110" y="111"/>
                  </a:lnTo>
                  <a:lnTo>
                    <a:pt x="101" y="119"/>
                  </a:lnTo>
                  <a:lnTo>
                    <a:pt x="90" y="125"/>
                  </a:lnTo>
                  <a:lnTo>
                    <a:pt x="78" y="128"/>
                  </a:lnTo>
                  <a:lnTo>
                    <a:pt x="72" y="129"/>
                  </a:lnTo>
                  <a:lnTo>
                    <a:pt x="64" y="129"/>
                  </a:lnTo>
                  <a:lnTo>
                    <a:pt x="64" y="129"/>
                  </a:lnTo>
                  <a:lnTo>
                    <a:pt x="58" y="129"/>
                  </a:lnTo>
                  <a:lnTo>
                    <a:pt x="52" y="128"/>
                  </a:lnTo>
                  <a:lnTo>
                    <a:pt x="40" y="125"/>
                  </a:lnTo>
                  <a:lnTo>
                    <a:pt x="29" y="119"/>
                  </a:lnTo>
                  <a:lnTo>
                    <a:pt x="20" y="111"/>
                  </a:lnTo>
                  <a:lnTo>
                    <a:pt x="11" y="102"/>
                  </a:lnTo>
                  <a:lnTo>
                    <a:pt x="6" y="90"/>
                  </a:lnTo>
                  <a:lnTo>
                    <a:pt x="1" y="78"/>
                  </a:lnTo>
                  <a:lnTo>
                    <a:pt x="0" y="72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59"/>
                  </a:lnTo>
                  <a:lnTo>
                    <a:pt x="1" y="52"/>
                  </a:lnTo>
                  <a:lnTo>
                    <a:pt x="6" y="40"/>
                  </a:lnTo>
                  <a:lnTo>
                    <a:pt x="11" y="29"/>
                  </a:lnTo>
                  <a:lnTo>
                    <a:pt x="20" y="19"/>
                  </a:lnTo>
                  <a:lnTo>
                    <a:pt x="29" y="12"/>
                  </a:lnTo>
                  <a:lnTo>
                    <a:pt x="40" y="5"/>
                  </a:lnTo>
                  <a:lnTo>
                    <a:pt x="52" y="1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72" y="1"/>
                  </a:lnTo>
                  <a:lnTo>
                    <a:pt x="78" y="1"/>
                  </a:lnTo>
                  <a:lnTo>
                    <a:pt x="90" y="5"/>
                  </a:lnTo>
                  <a:lnTo>
                    <a:pt x="101" y="12"/>
                  </a:lnTo>
                  <a:lnTo>
                    <a:pt x="110" y="19"/>
                  </a:lnTo>
                  <a:lnTo>
                    <a:pt x="119" y="29"/>
                  </a:lnTo>
                  <a:lnTo>
                    <a:pt x="124" y="40"/>
                  </a:lnTo>
                  <a:lnTo>
                    <a:pt x="128" y="52"/>
                  </a:lnTo>
                  <a:lnTo>
                    <a:pt x="129" y="59"/>
                  </a:lnTo>
                  <a:lnTo>
                    <a:pt x="129" y="65"/>
                  </a:lnTo>
                  <a:lnTo>
                    <a:pt x="129" y="65"/>
                  </a:lnTo>
                  <a:close/>
                </a:path>
              </a:pathLst>
            </a:custGeom>
            <a:noFill/>
            <a:ln w="6350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0" name="Freeform 122"/>
            <p:cNvSpPr>
              <a:spLocks/>
            </p:cNvSpPr>
            <p:nvPr/>
          </p:nvSpPr>
          <p:spPr bwMode="auto">
            <a:xfrm>
              <a:off x="5381625" y="5208588"/>
              <a:ext cx="280988" cy="280988"/>
            </a:xfrm>
            <a:custGeom>
              <a:avLst/>
              <a:gdLst/>
              <a:ahLst/>
              <a:cxnLst>
                <a:cxn ang="0">
                  <a:pos x="138" y="162"/>
                </a:cxn>
                <a:cxn ang="0">
                  <a:pos x="115" y="174"/>
                </a:cxn>
                <a:cxn ang="0">
                  <a:pos x="88" y="177"/>
                </a:cxn>
                <a:cxn ang="0">
                  <a:pos x="79" y="177"/>
                </a:cxn>
                <a:cxn ang="0">
                  <a:pos x="62" y="174"/>
                </a:cxn>
                <a:cxn ang="0">
                  <a:pos x="46" y="167"/>
                </a:cxn>
                <a:cxn ang="0">
                  <a:pos x="32" y="158"/>
                </a:cxn>
                <a:cxn ang="0">
                  <a:pos x="20" y="145"/>
                </a:cxn>
                <a:cxn ang="0">
                  <a:pos x="10" y="131"/>
                </a:cxn>
                <a:cxn ang="0">
                  <a:pos x="3" y="115"/>
                </a:cxn>
                <a:cxn ang="0">
                  <a:pos x="0" y="98"/>
                </a:cxn>
                <a:cxn ang="0">
                  <a:pos x="0" y="89"/>
                </a:cxn>
                <a:cxn ang="0">
                  <a:pos x="1" y="72"/>
                </a:cxn>
                <a:cxn ang="0">
                  <a:pos x="6" y="55"/>
                </a:cxn>
                <a:cxn ang="0">
                  <a:pos x="15" y="40"/>
                </a:cxn>
                <a:cxn ang="0">
                  <a:pos x="25" y="27"/>
                </a:cxn>
                <a:cxn ang="0">
                  <a:pos x="38" y="15"/>
                </a:cxn>
                <a:cxn ang="0">
                  <a:pos x="53" y="8"/>
                </a:cxn>
                <a:cxn ang="0">
                  <a:pos x="70" y="2"/>
                </a:cxn>
                <a:cxn ang="0">
                  <a:pos x="88" y="0"/>
                </a:cxn>
                <a:cxn ang="0">
                  <a:pos x="97" y="1"/>
                </a:cxn>
                <a:cxn ang="0">
                  <a:pos x="114" y="4"/>
                </a:cxn>
                <a:cxn ang="0">
                  <a:pos x="130" y="11"/>
                </a:cxn>
                <a:cxn ang="0">
                  <a:pos x="145" y="20"/>
                </a:cxn>
                <a:cxn ang="0">
                  <a:pos x="156" y="33"/>
                </a:cxn>
                <a:cxn ang="0">
                  <a:pos x="166" y="47"/>
                </a:cxn>
                <a:cxn ang="0">
                  <a:pos x="172" y="63"/>
                </a:cxn>
                <a:cxn ang="0">
                  <a:pos x="176" y="80"/>
                </a:cxn>
                <a:cxn ang="0">
                  <a:pos x="177" y="89"/>
                </a:cxn>
                <a:cxn ang="0">
                  <a:pos x="175" y="109"/>
                </a:cxn>
                <a:cxn ang="0">
                  <a:pos x="168" y="127"/>
                </a:cxn>
                <a:cxn ang="0">
                  <a:pos x="159" y="143"/>
                </a:cxn>
                <a:cxn ang="0">
                  <a:pos x="146" y="156"/>
                </a:cxn>
              </a:cxnLst>
              <a:rect l="0" t="0" r="r" b="b"/>
              <a:pathLst>
                <a:path w="177" h="177">
                  <a:moveTo>
                    <a:pt x="138" y="162"/>
                  </a:moveTo>
                  <a:lnTo>
                    <a:pt x="138" y="162"/>
                  </a:lnTo>
                  <a:lnTo>
                    <a:pt x="127" y="169"/>
                  </a:lnTo>
                  <a:lnTo>
                    <a:pt x="115" y="174"/>
                  </a:lnTo>
                  <a:lnTo>
                    <a:pt x="102" y="176"/>
                  </a:lnTo>
                  <a:lnTo>
                    <a:pt x="88" y="177"/>
                  </a:lnTo>
                  <a:lnTo>
                    <a:pt x="88" y="177"/>
                  </a:lnTo>
                  <a:lnTo>
                    <a:pt x="79" y="177"/>
                  </a:lnTo>
                  <a:lnTo>
                    <a:pt x="70" y="176"/>
                  </a:lnTo>
                  <a:lnTo>
                    <a:pt x="62" y="174"/>
                  </a:lnTo>
                  <a:lnTo>
                    <a:pt x="53" y="171"/>
                  </a:lnTo>
                  <a:lnTo>
                    <a:pt x="46" y="167"/>
                  </a:lnTo>
                  <a:lnTo>
                    <a:pt x="38" y="162"/>
                  </a:lnTo>
                  <a:lnTo>
                    <a:pt x="32" y="158"/>
                  </a:lnTo>
                  <a:lnTo>
                    <a:pt x="25" y="152"/>
                  </a:lnTo>
                  <a:lnTo>
                    <a:pt x="20" y="145"/>
                  </a:lnTo>
                  <a:lnTo>
                    <a:pt x="15" y="139"/>
                  </a:lnTo>
                  <a:lnTo>
                    <a:pt x="10" y="131"/>
                  </a:lnTo>
                  <a:lnTo>
                    <a:pt x="6" y="124"/>
                  </a:lnTo>
                  <a:lnTo>
                    <a:pt x="3" y="115"/>
                  </a:lnTo>
                  <a:lnTo>
                    <a:pt x="1" y="107"/>
                  </a:lnTo>
                  <a:lnTo>
                    <a:pt x="0" y="98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0"/>
                  </a:lnTo>
                  <a:lnTo>
                    <a:pt x="1" y="72"/>
                  </a:lnTo>
                  <a:lnTo>
                    <a:pt x="3" y="63"/>
                  </a:lnTo>
                  <a:lnTo>
                    <a:pt x="6" y="55"/>
                  </a:lnTo>
                  <a:lnTo>
                    <a:pt x="10" y="47"/>
                  </a:lnTo>
                  <a:lnTo>
                    <a:pt x="15" y="40"/>
                  </a:lnTo>
                  <a:lnTo>
                    <a:pt x="20" y="33"/>
                  </a:lnTo>
                  <a:lnTo>
                    <a:pt x="25" y="27"/>
                  </a:lnTo>
                  <a:lnTo>
                    <a:pt x="32" y="20"/>
                  </a:lnTo>
                  <a:lnTo>
                    <a:pt x="38" y="15"/>
                  </a:lnTo>
                  <a:lnTo>
                    <a:pt x="46" y="11"/>
                  </a:lnTo>
                  <a:lnTo>
                    <a:pt x="53" y="8"/>
                  </a:lnTo>
                  <a:lnTo>
                    <a:pt x="62" y="4"/>
                  </a:lnTo>
                  <a:lnTo>
                    <a:pt x="70" y="2"/>
                  </a:lnTo>
                  <a:lnTo>
                    <a:pt x="79" y="1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7" y="1"/>
                  </a:lnTo>
                  <a:lnTo>
                    <a:pt x="105" y="2"/>
                  </a:lnTo>
                  <a:lnTo>
                    <a:pt x="114" y="4"/>
                  </a:lnTo>
                  <a:lnTo>
                    <a:pt x="122" y="8"/>
                  </a:lnTo>
                  <a:lnTo>
                    <a:pt x="130" y="11"/>
                  </a:lnTo>
                  <a:lnTo>
                    <a:pt x="137" y="15"/>
                  </a:lnTo>
                  <a:lnTo>
                    <a:pt x="145" y="20"/>
                  </a:lnTo>
                  <a:lnTo>
                    <a:pt x="150" y="27"/>
                  </a:lnTo>
                  <a:lnTo>
                    <a:pt x="156" y="33"/>
                  </a:lnTo>
                  <a:lnTo>
                    <a:pt x="162" y="40"/>
                  </a:lnTo>
                  <a:lnTo>
                    <a:pt x="166" y="47"/>
                  </a:lnTo>
                  <a:lnTo>
                    <a:pt x="169" y="55"/>
                  </a:lnTo>
                  <a:lnTo>
                    <a:pt x="172" y="63"/>
                  </a:lnTo>
                  <a:lnTo>
                    <a:pt x="175" y="72"/>
                  </a:lnTo>
                  <a:lnTo>
                    <a:pt x="176" y="80"/>
                  </a:lnTo>
                  <a:lnTo>
                    <a:pt x="177" y="89"/>
                  </a:lnTo>
                  <a:lnTo>
                    <a:pt x="177" y="89"/>
                  </a:lnTo>
                  <a:lnTo>
                    <a:pt x="176" y="99"/>
                  </a:lnTo>
                  <a:lnTo>
                    <a:pt x="175" y="109"/>
                  </a:lnTo>
                  <a:lnTo>
                    <a:pt x="171" y="118"/>
                  </a:lnTo>
                  <a:lnTo>
                    <a:pt x="168" y="127"/>
                  </a:lnTo>
                  <a:lnTo>
                    <a:pt x="164" y="135"/>
                  </a:lnTo>
                  <a:lnTo>
                    <a:pt x="159" y="143"/>
                  </a:lnTo>
                  <a:lnTo>
                    <a:pt x="152" y="150"/>
                  </a:lnTo>
                  <a:lnTo>
                    <a:pt x="146" y="156"/>
                  </a:lnTo>
                </a:path>
              </a:pathLst>
            </a:custGeom>
            <a:noFill/>
            <a:ln w="6350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1" name="Freeform 123"/>
            <p:cNvSpPr>
              <a:spLocks/>
            </p:cNvSpPr>
            <p:nvPr/>
          </p:nvSpPr>
          <p:spPr bwMode="auto">
            <a:xfrm>
              <a:off x="5151438" y="5472113"/>
              <a:ext cx="30163" cy="34925"/>
            </a:xfrm>
            <a:custGeom>
              <a:avLst/>
              <a:gdLst/>
              <a:ahLst/>
              <a:cxnLst>
                <a:cxn ang="0">
                  <a:pos x="19" y="11"/>
                </a:cxn>
                <a:cxn ang="0">
                  <a:pos x="19" y="22"/>
                </a:cxn>
                <a:cxn ang="0">
                  <a:pos x="9" y="16"/>
                </a:cxn>
                <a:cxn ang="0">
                  <a:pos x="0" y="10"/>
                </a:cxn>
                <a:cxn ang="0">
                  <a:pos x="9" y="5"/>
                </a:cxn>
                <a:cxn ang="0">
                  <a:pos x="19" y="0"/>
                </a:cxn>
                <a:cxn ang="0">
                  <a:pos x="19" y="11"/>
                </a:cxn>
              </a:cxnLst>
              <a:rect l="0" t="0" r="r" b="b"/>
              <a:pathLst>
                <a:path w="19" h="22">
                  <a:moveTo>
                    <a:pt x="19" y="11"/>
                  </a:moveTo>
                  <a:lnTo>
                    <a:pt x="19" y="22"/>
                  </a:lnTo>
                  <a:lnTo>
                    <a:pt x="9" y="16"/>
                  </a:lnTo>
                  <a:lnTo>
                    <a:pt x="0" y="10"/>
                  </a:lnTo>
                  <a:lnTo>
                    <a:pt x="9" y="5"/>
                  </a:lnTo>
                  <a:lnTo>
                    <a:pt x="19" y="0"/>
                  </a:lnTo>
                  <a:lnTo>
                    <a:pt x="19" y="11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2" name="Freeform 124"/>
            <p:cNvSpPr>
              <a:spLocks/>
            </p:cNvSpPr>
            <p:nvPr/>
          </p:nvSpPr>
          <p:spPr bwMode="auto">
            <a:xfrm>
              <a:off x="5111750" y="5330826"/>
              <a:ext cx="38100" cy="34925"/>
            </a:xfrm>
            <a:custGeom>
              <a:avLst/>
              <a:gdLst/>
              <a:ahLst/>
              <a:cxnLst>
                <a:cxn ang="0">
                  <a:pos x="8" y="13"/>
                </a:cxn>
                <a:cxn ang="0">
                  <a:pos x="0" y="3"/>
                </a:cxn>
                <a:cxn ang="0">
                  <a:pos x="12" y="2"/>
                </a:cxn>
                <a:cxn ang="0">
                  <a:pos x="24" y="0"/>
                </a:cxn>
                <a:cxn ang="0">
                  <a:pos x="19" y="11"/>
                </a:cxn>
                <a:cxn ang="0">
                  <a:pos x="14" y="22"/>
                </a:cxn>
                <a:cxn ang="0">
                  <a:pos x="8" y="13"/>
                </a:cxn>
              </a:cxnLst>
              <a:rect l="0" t="0" r="r" b="b"/>
              <a:pathLst>
                <a:path w="24" h="22">
                  <a:moveTo>
                    <a:pt x="8" y="13"/>
                  </a:moveTo>
                  <a:lnTo>
                    <a:pt x="0" y="3"/>
                  </a:lnTo>
                  <a:lnTo>
                    <a:pt x="12" y="2"/>
                  </a:lnTo>
                  <a:lnTo>
                    <a:pt x="24" y="0"/>
                  </a:lnTo>
                  <a:lnTo>
                    <a:pt x="19" y="11"/>
                  </a:lnTo>
                  <a:lnTo>
                    <a:pt x="14" y="22"/>
                  </a:lnTo>
                  <a:lnTo>
                    <a:pt x="8" y="13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3" name="Freeform 125"/>
            <p:cNvSpPr>
              <a:spLocks/>
            </p:cNvSpPr>
            <p:nvPr/>
          </p:nvSpPr>
          <p:spPr bwMode="auto">
            <a:xfrm>
              <a:off x="5322888" y="5470526"/>
              <a:ext cx="31750" cy="30163"/>
            </a:xfrm>
            <a:custGeom>
              <a:avLst/>
              <a:gdLst/>
              <a:ahLst/>
              <a:cxnLst>
                <a:cxn ang="0">
                  <a:pos x="17" y="9"/>
                </a:cxn>
                <a:cxn ang="0">
                  <a:pos x="20" y="19"/>
                </a:cxn>
                <a:cxn ang="0">
                  <a:pos x="10" y="16"/>
                </a:cxn>
                <a:cxn ang="0">
                  <a:pos x="0" y="12"/>
                </a:cxn>
                <a:cxn ang="0">
                  <a:pos x="8" y="6"/>
                </a:cxn>
                <a:cxn ang="0">
                  <a:pos x="15" y="0"/>
                </a:cxn>
                <a:cxn ang="0">
                  <a:pos x="17" y="9"/>
                </a:cxn>
              </a:cxnLst>
              <a:rect l="0" t="0" r="r" b="b"/>
              <a:pathLst>
                <a:path w="20" h="19">
                  <a:moveTo>
                    <a:pt x="17" y="9"/>
                  </a:moveTo>
                  <a:lnTo>
                    <a:pt x="20" y="19"/>
                  </a:lnTo>
                  <a:lnTo>
                    <a:pt x="10" y="16"/>
                  </a:lnTo>
                  <a:lnTo>
                    <a:pt x="0" y="12"/>
                  </a:lnTo>
                  <a:lnTo>
                    <a:pt x="8" y="6"/>
                  </a:lnTo>
                  <a:lnTo>
                    <a:pt x="15" y="0"/>
                  </a:lnTo>
                  <a:lnTo>
                    <a:pt x="17" y="9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4" name="Freeform 126"/>
            <p:cNvSpPr>
              <a:spLocks/>
            </p:cNvSpPr>
            <p:nvPr/>
          </p:nvSpPr>
          <p:spPr bwMode="auto">
            <a:xfrm>
              <a:off x="5322888" y="5272088"/>
              <a:ext cx="30163" cy="31750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0" y="20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9" y="4"/>
                </a:cxn>
                <a:cxn ang="0">
                  <a:pos x="19" y="9"/>
                </a:cxn>
                <a:cxn ang="0">
                  <a:pos x="9" y="15"/>
                </a:cxn>
              </a:cxnLst>
              <a:rect l="0" t="0" r="r" b="b"/>
              <a:pathLst>
                <a:path w="19" h="20">
                  <a:moveTo>
                    <a:pt x="9" y="15"/>
                  </a:moveTo>
                  <a:lnTo>
                    <a:pt x="0" y="20"/>
                  </a:lnTo>
                  <a:lnTo>
                    <a:pt x="0" y="9"/>
                  </a:lnTo>
                  <a:lnTo>
                    <a:pt x="0" y="0"/>
                  </a:lnTo>
                  <a:lnTo>
                    <a:pt x="9" y="4"/>
                  </a:lnTo>
                  <a:lnTo>
                    <a:pt x="19" y="9"/>
                  </a:lnTo>
                  <a:lnTo>
                    <a:pt x="9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5" name="Freeform 127"/>
            <p:cNvSpPr>
              <a:spLocks/>
            </p:cNvSpPr>
            <p:nvPr/>
          </p:nvSpPr>
          <p:spPr bwMode="auto">
            <a:xfrm>
              <a:off x="5499100" y="5194301"/>
              <a:ext cx="28575" cy="31750"/>
            </a:xfrm>
            <a:custGeom>
              <a:avLst/>
              <a:gdLst/>
              <a:ahLst/>
              <a:cxnLst>
                <a:cxn ang="0">
                  <a:pos x="1" y="9"/>
                </a:cxn>
                <a:cxn ang="0">
                  <a:pos x="0" y="0"/>
                </a:cxn>
                <a:cxn ang="0">
                  <a:pos x="10" y="4"/>
                </a:cxn>
                <a:cxn ang="0">
                  <a:pos x="18" y="9"/>
                </a:cxn>
                <a:cxn ang="0">
                  <a:pos x="10" y="15"/>
                </a:cxn>
                <a:cxn ang="0">
                  <a:pos x="1" y="20"/>
                </a:cxn>
                <a:cxn ang="0">
                  <a:pos x="1" y="9"/>
                </a:cxn>
              </a:cxnLst>
              <a:rect l="0" t="0" r="r" b="b"/>
              <a:pathLst>
                <a:path w="18" h="20">
                  <a:moveTo>
                    <a:pt x="1" y="9"/>
                  </a:moveTo>
                  <a:lnTo>
                    <a:pt x="0" y="0"/>
                  </a:lnTo>
                  <a:lnTo>
                    <a:pt x="10" y="4"/>
                  </a:lnTo>
                  <a:lnTo>
                    <a:pt x="18" y="9"/>
                  </a:lnTo>
                  <a:lnTo>
                    <a:pt x="10" y="15"/>
                  </a:lnTo>
                  <a:lnTo>
                    <a:pt x="1" y="20"/>
                  </a:lnTo>
                  <a:lnTo>
                    <a:pt x="1" y="9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6" name="Freeform 128"/>
            <p:cNvSpPr>
              <a:spLocks/>
            </p:cNvSpPr>
            <p:nvPr/>
          </p:nvSpPr>
          <p:spPr bwMode="auto">
            <a:xfrm>
              <a:off x="5568950" y="5461001"/>
              <a:ext cx="34925" cy="31750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0" y="3"/>
                </a:cxn>
                <a:cxn ang="0">
                  <a:pos x="12" y="2"/>
                </a:cxn>
                <a:cxn ang="0">
                  <a:pos x="22" y="0"/>
                </a:cxn>
                <a:cxn ang="0">
                  <a:pos x="21" y="3"/>
                </a:cxn>
                <a:cxn ang="0">
                  <a:pos x="18" y="11"/>
                </a:cxn>
                <a:cxn ang="0">
                  <a:pos x="15" y="20"/>
                </a:cxn>
                <a:cxn ang="0">
                  <a:pos x="8" y="12"/>
                </a:cxn>
              </a:cxnLst>
              <a:rect l="0" t="0" r="r" b="b"/>
              <a:pathLst>
                <a:path w="22" h="20">
                  <a:moveTo>
                    <a:pt x="8" y="12"/>
                  </a:moveTo>
                  <a:lnTo>
                    <a:pt x="0" y="3"/>
                  </a:lnTo>
                  <a:lnTo>
                    <a:pt x="12" y="2"/>
                  </a:lnTo>
                  <a:lnTo>
                    <a:pt x="22" y="0"/>
                  </a:lnTo>
                  <a:lnTo>
                    <a:pt x="21" y="3"/>
                  </a:lnTo>
                  <a:lnTo>
                    <a:pt x="18" y="11"/>
                  </a:lnTo>
                  <a:lnTo>
                    <a:pt x="15" y="20"/>
                  </a:lnTo>
                  <a:lnTo>
                    <a:pt x="8" y="12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7" name="Freeform 129"/>
            <p:cNvSpPr>
              <a:spLocks/>
            </p:cNvSpPr>
            <p:nvPr/>
          </p:nvSpPr>
          <p:spPr bwMode="auto">
            <a:xfrm>
              <a:off x="5248275" y="4929188"/>
              <a:ext cx="74613" cy="73025"/>
            </a:xfrm>
            <a:custGeom>
              <a:avLst/>
              <a:gdLst/>
              <a:ahLst/>
              <a:cxnLst>
                <a:cxn ang="0">
                  <a:pos x="18" y="1"/>
                </a:cxn>
                <a:cxn ang="0">
                  <a:pos x="18" y="1"/>
                </a:cxn>
                <a:cxn ang="0">
                  <a:pos x="22" y="0"/>
                </a:cxn>
                <a:cxn ang="0">
                  <a:pos x="27" y="0"/>
                </a:cxn>
                <a:cxn ang="0">
                  <a:pos x="31" y="1"/>
                </a:cxn>
                <a:cxn ang="0">
                  <a:pos x="36" y="3"/>
                </a:cxn>
                <a:cxn ang="0">
                  <a:pos x="39" y="5"/>
                </a:cxn>
                <a:cxn ang="0">
                  <a:pos x="42" y="9"/>
                </a:cxn>
                <a:cxn ang="0">
                  <a:pos x="44" y="13"/>
                </a:cxn>
                <a:cxn ang="0">
                  <a:pos x="46" y="17"/>
                </a:cxn>
                <a:cxn ang="0">
                  <a:pos x="46" y="17"/>
                </a:cxn>
                <a:cxn ang="0">
                  <a:pos x="47" y="21"/>
                </a:cxn>
                <a:cxn ang="0">
                  <a:pos x="47" y="26"/>
                </a:cxn>
                <a:cxn ang="0">
                  <a:pos x="46" y="30"/>
                </a:cxn>
                <a:cxn ang="0">
                  <a:pos x="44" y="34"/>
                </a:cxn>
                <a:cxn ang="0">
                  <a:pos x="42" y="39"/>
                </a:cxn>
                <a:cxn ang="0">
                  <a:pos x="39" y="42"/>
                </a:cxn>
                <a:cxn ang="0">
                  <a:pos x="35" y="44"/>
                </a:cxn>
                <a:cxn ang="0">
                  <a:pos x="30" y="46"/>
                </a:cxn>
                <a:cxn ang="0">
                  <a:pos x="30" y="46"/>
                </a:cxn>
                <a:cxn ang="0">
                  <a:pos x="25" y="46"/>
                </a:cxn>
                <a:cxn ang="0">
                  <a:pos x="21" y="46"/>
                </a:cxn>
                <a:cxn ang="0">
                  <a:pos x="16" y="45"/>
                </a:cxn>
                <a:cxn ang="0">
                  <a:pos x="12" y="44"/>
                </a:cxn>
                <a:cxn ang="0">
                  <a:pos x="9" y="41"/>
                </a:cxn>
                <a:cxn ang="0">
                  <a:pos x="6" y="37"/>
                </a:cxn>
                <a:cxn ang="0">
                  <a:pos x="4" y="34"/>
                </a:cxn>
                <a:cxn ang="0">
                  <a:pos x="2" y="30"/>
                </a:cxn>
                <a:cxn ang="0">
                  <a:pos x="2" y="30"/>
                </a:cxn>
                <a:cxn ang="0">
                  <a:pos x="0" y="25"/>
                </a:cxn>
                <a:cxn ang="0">
                  <a:pos x="0" y="20"/>
                </a:cxn>
                <a:cxn ang="0">
                  <a:pos x="2" y="16"/>
                </a:cxn>
                <a:cxn ang="0">
                  <a:pos x="4" y="12"/>
                </a:cxn>
                <a:cxn ang="0">
                  <a:pos x="6" y="9"/>
                </a:cxn>
                <a:cxn ang="0">
                  <a:pos x="9" y="5"/>
                </a:cxn>
                <a:cxn ang="0">
                  <a:pos x="13" y="2"/>
                </a:cxn>
                <a:cxn ang="0">
                  <a:pos x="18" y="1"/>
                </a:cxn>
                <a:cxn ang="0">
                  <a:pos x="18" y="1"/>
                </a:cxn>
              </a:cxnLst>
              <a:rect l="0" t="0" r="r" b="b"/>
              <a:pathLst>
                <a:path w="47" h="46">
                  <a:moveTo>
                    <a:pt x="18" y="1"/>
                  </a:moveTo>
                  <a:lnTo>
                    <a:pt x="18" y="1"/>
                  </a:lnTo>
                  <a:lnTo>
                    <a:pt x="22" y="0"/>
                  </a:lnTo>
                  <a:lnTo>
                    <a:pt x="27" y="0"/>
                  </a:lnTo>
                  <a:lnTo>
                    <a:pt x="31" y="1"/>
                  </a:lnTo>
                  <a:lnTo>
                    <a:pt x="36" y="3"/>
                  </a:lnTo>
                  <a:lnTo>
                    <a:pt x="39" y="5"/>
                  </a:lnTo>
                  <a:lnTo>
                    <a:pt x="42" y="9"/>
                  </a:lnTo>
                  <a:lnTo>
                    <a:pt x="44" y="13"/>
                  </a:lnTo>
                  <a:lnTo>
                    <a:pt x="46" y="17"/>
                  </a:lnTo>
                  <a:lnTo>
                    <a:pt x="46" y="17"/>
                  </a:lnTo>
                  <a:lnTo>
                    <a:pt x="47" y="21"/>
                  </a:lnTo>
                  <a:lnTo>
                    <a:pt x="47" y="26"/>
                  </a:lnTo>
                  <a:lnTo>
                    <a:pt x="46" y="30"/>
                  </a:lnTo>
                  <a:lnTo>
                    <a:pt x="44" y="34"/>
                  </a:lnTo>
                  <a:lnTo>
                    <a:pt x="42" y="39"/>
                  </a:lnTo>
                  <a:lnTo>
                    <a:pt x="39" y="42"/>
                  </a:lnTo>
                  <a:lnTo>
                    <a:pt x="35" y="44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25" y="46"/>
                  </a:lnTo>
                  <a:lnTo>
                    <a:pt x="21" y="46"/>
                  </a:lnTo>
                  <a:lnTo>
                    <a:pt x="16" y="45"/>
                  </a:lnTo>
                  <a:lnTo>
                    <a:pt x="12" y="44"/>
                  </a:lnTo>
                  <a:lnTo>
                    <a:pt x="9" y="41"/>
                  </a:lnTo>
                  <a:lnTo>
                    <a:pt x="6" y="37"/>
                  </a:lnTo>
                  <a:lnTo>
                    <a:pt x="4" y="34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0" y="25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4" y="12"/>
                  </a:lnTo>
                  <a:lnTo>
                    <a:pt x="6" y="9"/>
                  </a:lnTo>
                  <a:lnTo>
                    <a:pt x="9" y="5"/>
                  </a:lnTo>
                  <a:lnTo>
                    <a:pt x="13" y="2"/>
                  </a:lnTo>
                  <a:lnTo>
                    <a:pt x="18" y="1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6350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8" name="Freeform 130"/>
            <p:cNvSpPr>
              <a:spLocks/>
            </p:cNvSpPr>
            <p:nvPr/>
          </p:nvSpPr>
          <p:spPr bwMode="auto">
            <a:xfrm>
              <a:off x="5145088" y="4995863"/>
              <a:ext cx="76200" cy="96838"/>
            </a:xfrm>
            <a:custGeom>
              <a:avLst/>
              <a:gdLst/>
              <a:ahLst/>
              <a:cxnLst>
                <a:cxn ang="0">
                  <a:pos x="37" y="35"/>
                </a:cxn>
                <a:cxn ang="0">
                  <a:pos x="20" y="56"/>
                </a:cxn>
                <a:cxn ang="0">
                  <a:pos x="20" y="56"/>
                </a:cxn>
                <a:cxn ang="0">
                  <a:pos x="16" y="58"/>
                </a:cxn>
                <a:cxn ang="0">
                  <a:pos x="12" y="61"/>
                </a:cxn>
                <a:cxn ang="0">
                  <a:pos x="8" y="61"/>
                </a:cxn>
                <a:cxn ang="0">
                  <a:pos x="5" y="58"/>
                </a:cxn>
                <a:cxn ang="0">
                  <a:pos x="5" y="58"/>
                </a:cxn>
                <a:cxn ang="0">
                  <a:pos x="1" y="56"/>
                </a:cxn>
                <a:cxn ang="0">
                  <a:pos x="0" y="52"/>
                </a:cxn>
                <a:cxn ang="0">
                  <a:pos x="0" y="48"/>
                </a:cxn>
                <a:cxn ang="0">
                  <a:pos x="1" y="45"/>
                </a:cxn>
                <a:cxn ang="0">
                  <a:pos x="16" y="22"/>
                </a:cxn>
                <a:cxn ang="0">
                  <a:pos x="16" y="22"/>
                </a:cxn>
                <a:cxn ang="0">
                  <a:pos x="20" y="17"/>
                </a:cxn>
                <a:cxn ang="0">
                  <a:pos x="23" y="14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47" y="1"/>
                </a:cxn>
              </a:cxnLst>
              <a:rect l="0" t="0" r="r" b="b"/>
              <a:pathLst>
                <a:path w="48" h="61">
                  <a:moveTo>
                    <a:pt x="37" y="35"/>
                  </a:moveTo>
                  <a:lnTo>
                    <a:pt x="20" y="56"/>
                  </a:lnTo>
                  <a:lnTo>
                    <a:pt x="20" y="56"/>
                  </a:lnTo>
                  <a:lnTo>
                    <a:pt x="16" y="58"/>
                  </a:lnTo>
                  <a:lnTo>
                    <a:pt x="12" y="61"/>
                  </a:lnTo>
                  <a:lnTo>
                    <a:pt x="8" y="61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1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1" y="45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17"/>
                  </a:lnTo>
                  <a:lnTo>
                    <a:pt x="23" y="1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7" y="1"/>
                  </a:lnTo>
                </a:path>
              </a:pathLst>
            </a:custGeom>
            <a:noFill/>
            <a:ln w="6350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9" name="Freeform 131"/>
            <p:cNvSpPr>
              <a:spLocks/>
            </p:cNvSpPr>
            <p:nvPr/>
          </p:nvSpPr>
          <p:spPr bwMode="auto">
            <a:xfrm>
              <a:off x="5183188" y="5008563"/>
              <a:ext cx="30163" cy="173038"/>
            </a:xfrm>
            <a:custGeom>
              <a:avLst/>
              <a:gdLst/>
              <a:ahLst/>
              <a:cxnLst>
                <a:cxn ang="0">
                  <a:pos x="0" y="106"/>
                </a:cxn>
                <a:cxn ang="0">
                  <a:pos x="14" y="109"/>
                </a:cxn>
                <a:cxn ang="0">
                  <a:pos x="19" y="84"/>
                </a:cxn>
                <a:cxn ang="0">
                  <a:pos x="19" y="84"/>
                </a:cxn>
                <a:cxn ang="0">
                  <a:pos x="17" y="76"/>
                </a:cxn>
                <a:cxn ang="0">
                  <a:pos x="17" y="76"/>
                </a:cxn>
                <a:cxn ang="0">
                  <a:pos x="14" y="58"/>
                </a:cxn>
                <a:cxn ang="0">
                  <a:pos x="13" y="40"/>
                </a:cxn>
                <a:cxn ang="0">
                  <a:pos x="13" y="40"/>
                </a:cxn>
                <a:cxn ang="0">
                  <a:pos x="13" y="34"/>
                </a:cxn>
                <a:cxn ang="0">
                  <a:pos x="13" y="34"/>
                </a:cxn>
                <a:cxn ang="0">
                  <a:pos x="13" y="22"/>
                </a:cxn>
                <a:cxn ang="0">
                  <a:pos x="13" y="11"/>
                </a:cxn>
                <a:cxn ang="0">
                  <a:pos x="15" y="0"/>
                </a:cxn>
              </a:cxnLst>
              <a:rect l="0" t="0" r="r" b="b"/>
              <a:pathLst>
                <a:path w="19" h="109">
                  <a:moveTo>
                    <a:pt x="0" y="106"/>
                  </a:moveTo>
                  <a:lnTo>
                    <a:pt x="14" y="109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4" y="58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22"/>
                  </a:lnTo>
                  <a:lnTo>
                    <a:pt x="13" y="11"/>
                  </a:lnTo>
                  <a:lnTo>
                    <a:pt x="15" y="0"/>
                  </a:lnTo>
                </a:path>
              </a:pathLst>
            </a:custGeom>
            <a:noFill/>
            <a:ln w="6350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0" name="Freeform 132"/>
            <p:cNvSpPr>
              <a:spLocks/>
            </p:cNvSpPr>
            <p:nvPr/>
          </p:nvSpPr>
          <p:spPr bwMode="auto">
            <a:xfrm>
              <a:off x="5110163" y="5087938"/>
              <a:ext cx="282575" cy="176213"/>
            </a:xfrm>
            <a:custGeom>
              <a:avLst/>
              <a:gdLst/>
              <a:ahLst/>
              <a:cxnLst>
                <a:cxn ang="0">
                  <a:pos x="100" y="0"/>
                </a:cxn>
                <a:cxn ang="0">
                  <a:pos x="100" y="0"/>
                </a:cxn>
                <a:cxn ang="0">
                  <a:pos x="103" y="20"/>
                </a:cxn>
                <a:cxn ang="0">
                  <a:pos x="103" y="20"/>
                </a:cxn>
                <a:cxn ang="0">
                  <a:pos x="103" y="22"/>
                </a:cxn>
                <a:cxn ang="0">
                  <a:pos x="137" y="42"/>
                </a:cxn>
                <a:cxn ang="0">
                  <a:pos x="137" y="42"/>
                </a:cxn>
                <a:cxn ang="0">
                  <a:pos x="140" y="45"/>
                </a:cxn>
                <a:cxn ang="0">
                  <a:pos x="140" y="45"/>
                </a:cxn>
                <a:cxn ang="0">
                  <a:pos x="175" y="85"/>
                </a:cxn>
                <a:cxn ang="0">
                  <a:pos x="175" y="85"/>
                </a:cxn>
                <a:cxn ang="0">
                  <a:pos x="177" y="87"/>
                </a:cxn>
                <a:cxn ang="0">
                  <a:pos x="178" y="90"/>
                </a:cxn>
                <a:cxn ang="0">
                  <a:pos x="178" y="96"/>
                </a:cxn>
                <a:cxn ang="0">
                  <a:pos x="177" y="102"/>
                </a:cxn>
                <a:cxn ang="0">
                  <a:pos x="175" y="105"/>
                </a:cxn>
                <a:cxn ang="0">
                  <a:pos x="173" y="107"/>
                </a:cxn>
                <a:cxn ang="0">
                  <a:pos x="173" y="107"/>
                </a:cxn>
                <a:cxn ang="0">
                  <a:pos x="171" y="109"/>
                </a:cxn>
                <a:cxn ang="0">
                  <a:pos x="167" y="110"/>
                </a:cxn>
                <a:cxn ang="0">
                  <a:pos x="162" y="111"/>
                </a:cxn>
                <a:cxn ang="0">
                  <a:pos x="156" y="109"/>
                </a:cxn>
                <a:cxn ang="0">
                  <a:pos x="154" y="108"/>
                </a:cxn>
                <a:cxn ang="0">
                  <a:pos x="151" y="106"/>
                </a:cxn>
                <a:cxn ang="0">
                  <a:pos x="118" y="68"/>
                </a:cxn>
                <a:cxn ang="0">
                  <a:pos x="93" y="53"/>
                </a:cxn>
                <a:cxn ang="0">
                  <a:pos x="87" y="80"/>
                </a:cxn>
                <a:cxn ang="0">
                  <a:pos x="87" y="80"/>
                </a:cxn>
                <a:cxn ang="0">
                  <a:pos x="87" y="84"/>
                </a:cxn>
                <a:cxn ang="0">
                  <a:pos x="85" y="86"/>
                </a:cxn>
                <a:cxn ang="0">
                  <a:pos x="81" y="90"/>
                </a:cxn>
                <a:cxn ang="0">
                  <a:pos x="76" y="93"/>
                </a:cxn>
                <a:cxn ang="0">
                  <a:pos x="73" y="93"/>
                </a:cxn>
                <a:cxn ang="0">
                  <a:pos x="69" y="93"/>
                </a:cxn>
                <a:cxn ang="0">
                  <a:pos x="69" y="93"/>
                </a:cxn>
                <a:cxn ang="0">
                  <a:pos x="69" y="93"/>
                </a:cxn>
                <a:cxn ang="0">
                  <a:pos x="13" y="82"/>
                </a:cxn>
                <a:cxn ang="0">
                  <a:pos x="13" y="82"/>
                </a:cxn>
                <a:cxn ang="0">
                  <a:pos x="10" y="80"/>
                </a:cxn>
                <a:cxn ang="0">
                  <a:pos x="6" y="79"/>
                </a:cxn>
                <a:cxn ang="0">
                  <a:pos x="2" y="75"/>
                </a:cxn>
                <a:cxn ang="0">
                  <a:pos x="0" y="70"/>
                </a:cxn>
                <a:cxn ang="0">
                  <a:pos x="0" y="67"/>
                </a:cxn>
                <a:cxn ang="0">
                  <a:pos x="0" y="63"/>
                </a:cxn>
                <a:cxn ang="0">
                  <a:pos x="0" y="63"/>
                </a:cxn>
                <a:cxn ang="0">
                  <a:pos x="1" y="60"/>
                </a:cxn>
                <a:cxn ang="0">
                  <a:pos x="2" y="57"/>
                </a:cxn>
                <a:cxn ang="0">
                  <a:pos x="6" y="53"/>
                </a:cxn>
                <a:cxn ang="0">
                  <a:pos x="12" y="51"/>
                </a:cxn>
                <a:cxn ang="0">
                  <a:pos x="15" y="51"/>
                </a:cxn>
                <a:cxn ang="0">
                  <a:pos x="18" y="51"/>
                </a:cxn>
                <a:cxn ang="0">
                  <a:pos x="28" y="53"/>
                </a:cxn>
              </a:cxnLst>
              <a:rect l="0" t="0" r="r" b="b"/>
              <a:pathLst>
                <a:path w="178" h="111">
                  <a:moveTo>
                    <a:pt x="100" y="0"/>
                  </a:moveTo>
                  <a:lnTo>
                    <a:pt x="100" y="0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3" y="2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0" y="45"/>
                  </a:lnTo>
                  <a:lnTo>
                    <a:pt x="140" y="45"/>
                  </a:lnTo>
                  <a:lnTo>
                    <a:pt x="175" y="85"/>
                  </a:lnTo>
                  <a:lnTo>
                    <a:pt x="175" y="85"/>
                  </a:lnTo>
                  <a:lnTo>
                    <a:pt x="177" y="87"/>
                  </a:lnTo>
                  <a:lnTo>
                    <a:pt x="178" y="90"/>
                  </a:lnTo>
                  <a:lnTo>
                    <a:pt x="178" y="96"/>
                  </a:lnTo>
                  <a:lnTo>
                    <a:pt x="177" y="102"/>
                  </a:lnTo>
                  <a:lnTo>
                    <a:pt x="175" y="105"/>
                  </a:lnTo>
                  <a:lnTo>
                    <a:pt x="173" y="107"/>
                  </a:lnTo>
                  <a:lnTo>
                    <a:pt x="173" y="107"/>
                  </a:lnTo>
                  <a:lnTo>
                    <a:pt x="171" y="109"/>
                  </a:lnTo>
                  <a:lnTo>
                    <a:pt x="167" y="110"/>
                  </a:lnTo>
                  <a:lnTo>
                    <a:pt x="162" y="111"/>
                  </a:lnTo>
                  <a:lnTo>
                    <a:pt x="156" y="109"/>
                  </a:lnTo>
                  <a:lnTo>
                    <a:pt x="154" y="108"/>
                  </a:lnTo>
                  <a:lnTo>
                    <a:pt x="151" y="106"/>
                  </a:lnTo>
                  <a:lnTo>
                    <a:pt x="118" y="68"/>
                  </a:lnTo>
                  <a:lnTo>
                    <a:pt x="93" y="53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7" y="84"/>
                  </a:lnTo>
                  <a:lnTo>
                    <a:pt x="85" y="86"/>
                  </a:lnTo>
                  <a:lnTo>
                    <a:pt x="81" y="90"/>
                  </a:lnTo>
                  <a:lnTo>
                    <a:pt x="76" y="93"/>
                  </a:lnTo>
                  <a:lnTo>
                    <a:pt x="73" y="93"/>
                  </a:lnTo>
                  <a:lnTo>
                    <a:pt x="69" y="93"/>
                  </a:lnTo>
                  <a:lnTo>
                    <a:pt x="69" y="93"/>
                  </a:lnTo>
                  <a:lnTo>
                    <a:pt x="69" y="93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0" y="80"/>
                  </a:lnTo>
                  <a:lnTo>
                    <a:pt x="6" y="79"/>
                  </a:lnTo>
                  <a:lnTo>
                    <a:pt x="2" y="75"/>
                  </a:lnTo>
                  <a:lnTo>
                    <a:pt x="0" y="70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1" y="60"/>
                  </a:lnTo>
                  <a:lnTo>
                    <a:pt x="2" y="57"/>
                  </a:lnTo>
                  <a:lnTo>
                    <a:pt x="6" y="53"/>
                  </a:lnTo>
                  <a:lnTo>
                    <a:pt x="12" y="51"/>
                  </a:lnTo>
                  <a:lnTo>
                    <a:pt x="15" y="51"/>
                  </a:lnTo>
                  <a:lnTo>
                    <a:pt x="18" y="51"/>
                  </a:lnTo>
                  <a:lnTo>
                    <a:pt x="28" y="53"/>
                  </a:lnTo>
                </a:path>
              </a:pathLst>
            </a:custGeom>
            <a:noFill/>
            <a:ln w="6350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1" name="Freeform 133"/>
            <p:cNvSpPr>
              <a:spLocks/>
            </p:cNvSpPr>
            <p:nvPr/>
          </p:nvSpPr>
          <p:spPr bwMode="auto">
            <a:xfrm>
              <a:off x="5207000" y="4991101"/>
              <a:ext cx="63500" cy="55563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4"/>
                </a:cxn>
                <a:cxn ang="0">
                  <a:pos x="1" y="11"/>
                </a:cxn>
                <a:cxn ang="0">
                  <a:pos x="3" y="8"/>
                </a:cxn>
                <a:cxn ang="0">
                  <a:pos x="8" y="4"/>
                </a:cxn>
                <a:cxn ang="0">
                  <a:pos x="15" y="1"/>
                </a:cxn>
                <a:cxn ang="0">
                  <a:pos x="18" y="0"/>
                </a:cxn>
                <a:cxn ang="0">
                  <a:pos x="22" y="1"/>
                </a:cxn>
                <a:cxn ang="0">
                  <a:pos x="22" y="1"/>
                </a:cxn>
                <a:cxn ang="0">
                  <a:pos x="26" y="2"/>
                </a:cxn>
                <a:cxn ang="0">
                  <a:pos x="30" y="3"/>
                </a:cxn>
                <a:cxn ang="0">
                  <a:pos x="33" y="5"/>
                </a:cxn>
                <a:cxn ang="0">
                  <a:pos x="36" y="8"/>
                </a:cxn>
                <a:cxn ang="0">
                  <a:pos x="38" y="11"/>
                </a:cxn>
                <a:cxn ang="0">
                  <a:pos x="39" y="16"/>
                </a:cxn>
                <a:cxn ang="0">
                  <a:pos x="40" y="19"/>
                </a:cxn>
                <a:cxn ang="0">
                  <a:pos x="40" y="23"/>
                </a:cxn>
                <a:cxn ang="0">
                  <a:pos x="40" y="23"/>
                </a:cxn>
                <a:cxn ang="0">
                  <a:pos x="39" y="35"/>
                </a:cxn>
              </a:cxnLst>
              <a:rect l="0" t="0" r="r" b="b"/>
              <a:pathLst>
                <a:path w="40" h="35">
                  <a:moveTo>
                    <a:pt x="0" y="14"/>
                  </a:moveTo>
                  <a:lnTo>
                    <a:pt x="0" y="14"/>
                  </a:lnTo>
                  <a:lnTo>
                    <a:pt x="1" y="11"/>
                  </a:lnTo>
                  <a:lnTo>
                    <a:pt x="3" y="8"/>
                  </a:lnTo>
                  <a:lnTo>
                    <a:pt x="8" y="4"/>
                  </a:lnTo>
                  <a:lnTo>
                    <a:pt x="15" y="1"/>
                  </a:lnTo>
                  <a:lnTo>
                    <a:pt x="18" y="0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6" y="2"/>
                  </a:lnTo>
                  <a:lnTo>
                    <a:pt x="30" y="3"/>
                  </a:lnTo>
                  <a:lnTo>
                    <a:pt x="33" y="5"/>
                  </a:lnTo>
                  <a:lnTo>
                    <a:pt x="36" y="8"/>
                  </a:lnTo>
                  <a:lnTo>
                    <a:pt x="38" y="11"/>
                  </a:lnTo>
                  <a:lnTo>
                    <a:pt x="39" y="16"/>
                  </a:lnTo>
                  <a:lnTo>
                    <a:pt x="40" y="19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39" y="35"/>
                  </a:lnTo>
                </a:path>
              </a:pathLst>
            </a:custGeom>
            <a:noFill/>
            <a:ln w="6350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2" name="Freeform 134"/>
            <p:cNvSpPr>
              <a:spLocks/>
            </p:cNvSpPr>
            <p:nvPr/>
          </p:nvSpPr>
          <p:spPr bwMode="auto">
            <a:xfrm>
              <a:off x="5210175" y="4997451"/>
              <a:ext cx="117475" cy="106363"/>
            </a:xfrm>
            <a:custGeom>
              <a:avLst/>
              <a:gdLst/>
              <a:ahLst/>
              <a:cxnLst>
                <a:cxn ang="0">
                  <a:pos x="1" y="16"/>
                </a:cxn>
                <a:cxn ang="0">
                  <a:pos x="1" y="16"/>
                </a:cxn>
                <a:cxn ang="0">
                  <a:pos x="0" y="13"/>
                </a:cxn>
                <a:cxn ang="0">
                  <a:pos x="0" y="8"/>
                </a:cxn>
                <a:cxn ang="0">
                  <a:pos x="1" y="4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8" y="0"/>
                </a:cxn>
                <a:cxn ang="0">
                  <a:pos x="13" y="0"/>
                </a:cxn>
                <a:cxn ang="0">
                  <a:pos x="16" y="2"/>
                </a:cxn>
                <a:cxn ang="0">
                  <a:pos x="19" y="5"/>
                </a:cxn>
                <a:cxn ang="0">
                  <a:pos x="37" y="34"/>
                </a:cxn>
                <a:cxn ang="0">
                  <a:pos x="67" y="47"/>
                </a:cxn>
                <a:cxn ang="0">
                  <a:pos x="67" y="47"/>
                </a:cxn>
                <a:cxn ang="0">
                  <a:pos x="70" y="49"/>
                </a:cxn>
                <a:cxn ang="0">
                  <a:pos x="72" y="52"/>
                </a:cxn>
                <a:cxn ang="0">
                  <a:pos x="74" y="56"/>
                </a:cxn>
                <a:cxn ang="0">
                  <a:pos x="72" y="61"/>
                </a:cxn>
                <a:cxn ang="0">
                  <a:pos x="72" y="61"/>
                </a:cxn>
                <a:cxn ang="0">
                  <a:pos x="70" y="64"/>
                </a:cxn>
                <a:cxn ang="0">
                  <a:pos x="66" y="66"/>
                </a:cxn>
                <a:cxn ang="0">
                  <a:pos x="63" y="67"/>
                </a:cxn>
                <a:cxn ang="0">
                  <a:pos x="59" y="66"/>
                </a:cxn>
                <a:cxn ang="0">
                  <a:pos x="27" y="52"/>
                </a:cxn>
                <a:cxn ang="0">
                  <a:pos x="27" y="52"/>
                </a:cxn>
                <a:cxn ang="0">
                  <a:pos x="23" y="51"/>
                </a:cxn>
                <a:cxn ang="0">
                  <a:pos x="21" y="48"/>
                </a:cxn>
                <a:cxn ang="0">
                  <a:pos x="1" y="16"/>
                </a:cxn>
              </a:cxnLst>
              <a:rect l="0" t="0" r="r" b="b"/>
              <a:pathLst>
                <a:path w="74" h="67">
                  <a:moveTo>
                    <a:pt x="1" y="16"/>
                  </a:moveTo>
                  <a:lnTo>
                    <a:pt x="1" y="16"/>
                  </a:lnTo>
                  <a:lnTo>
                    <a:pt x="0" y="13"/>
                  </a:lnTo>
                  <a:lnTo>
                    <a:pt x="0" y="8"/>
                  </a:lnTo>
                  <a:lnTo>
                    <a:pt x="1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19" y="5"/>
                  </a:lnTo>
                  <a:lnTo>
                    <a:pt x="37" y="34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70" y="49"/>
                  </a:lnTo>
                  <a:lnTo>
                    <a:pt x="72" y="52"/>
                  </a:lnTo>
                  <a:lnTo>
                    <a:pt x="74" y="56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0" y="64"/>
                  </a:lnTo>
                  <a:lnTo>
                    <a:pt x="66" y="66"/>
                  </a:lnTo>
                  <a:lnTo>
                    <a:pt x="63" y="67"/>
                  </a:lnTo>
                  <a:lnTo>
                    <a:pt x="59" y="66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3" y="51"/>
                  </a:lnTo>
                  <a:lnTo>
                    <a:pt x="21" y="48"/>
                  </a:lnTo>
                  <a:lnTo>
                    <a:pt x="1" y="16"/>
                  </a:lnTo>
                  <a:close/>
                </a:path>
              </a:pathLst>
            </a:custGeom>
            <a:noFill/>
            <a:ln w="6350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Des </a:t>
            </a:r>
            <a:r>
              <a:rPr lang="fr-FR" b="1" dirty="0" smtClean="0"/>
              <a:t>compétences</a:t>
            </a:r>
            <a:r>
              <a:rPr lang="fr-FR" dirty="0" smtClean="0"/>
              <a:t> couvrant les principales technologies</a:t>
            </a:r>
            <a:br>
              <a:rPr lang="fr-FR" dirty="0" smtClean="0"/>
            </a:br>
            <a:r>
              <a:rPr lang="fr-FR" dirty="0" smtClean="0"/>
              <a:t>du marché</a:t>
            </a:r>
            <a:r>
              <a:rPr lang="fr-FR" dirty="0" smtClean="0">
                <a:sym typeface="Webdings"/>
              </a:rPr>
              <a:t>N</a:t>
            </a:r>
            <a:r>
              <a:rPr lang="fr-FR" dirty="0" smtClean="0"/>
              <a:t>ouvelles technologies, ERP, BI, …</a:t>
            </a:r>
            <a:endParaRPr lang="fr-FR" dirty="0"/>
          </a:p>
        </p:txBody>
      </p:sp>
      <p:sp>
        <p:nvSpPr>
          <p:cNvPr id="3" name="Freeform 11"/>
          <p:cNvSpPr>
            <a:spLocks/>
          </p:cNvSpPr>
          <p:nvPr>
            <p:custDataLst>
              <p:tags r:id="rId1"/>
            </p:custDataLst>
          </p:nvPr>
        </p:nvSpPr>
        <p:spPr bwMode="auto">
          <a:xfrm rot="5400000">
            <a:off x="4631127" y="-1318436"/>
            <a:ext cx="2111370" cy="749144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5705 h 10000"/>
              <a:gd name="connsiteX3" fmla="*/ 9705 w 10000"/>
              <a:gd name="connsiteY3" fmla="*/ 8750 h 10000"/>
              <a:gd name="connsiteX4" fmla="*/ 814 w 10000"/>
              <a:gd name="connsiteY4" fmla="*/ 8750 h 10000"/>
              <a:gd name="connsiteX5" fmla="*/ 519 w 10000"/>
              <a:gd name="connsiteY5" fmla="*/ 10000 h 10000"/>
              <a:gd name="connsiteX6" fmla="*/ 228 w 10000"/>
              <a:gd name="connsiteY6" fmla="*/ 8750 h 10000"/>
              <a:gd name="connsiteX7" fmla="*/ 0 w 10000"/>
              <a:gd name="connsiteY7" fmla="*/ 8750 h 10000"/>
              <a:gd name="connsiteX8" fmla="*/ 92 w 10000"/>
              <a:gd name="connsiteY8" fmla="*/ 65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5705 h 10000"/>
              <a:gd name="connsiteX3" fmla="*/ 9705 w 10000"/>
              <a:gd name="connsiteY3" fmla="*/ 8750 h 10000"/>
              <a:gd name="connsiteX4" fmla="*/ 814 w 10000"/>
              <a:gd name="connsiteY4" fmla="*/ 8750 h 10000"/>
              <a:gd name="connsiteX5" fmla="*/ 519 w 10000"/>
              <a:gd name="connsiteY5" fmla="*/ 10000 h 10000"/>
              <a:gd name="connsiteX6" fmla="*/ 228 w 10000"/>
              <a:gd name="connsiteY6" fmla="*/ 8750 h 10000"/>
              <a:gd name="connsiteX7" fmla="*/ 0 w 10000"/>
              <a:gd name="connsiteY7" fmla="*/ 8750 h 10000"/>
              <a:gd name="connsiteX0" fmla="*/ 10000 w 10000"/>
              <a:gd name="connsiteY0" fmla="*/ 0 h 10000"/>
              <a:gd name="connsiteX1" fmla="*/ 10000 w 10000"/>
              <a:gd name="connsiteY1" fmla="*/ 5705 h 10000"/>
              <a:gd name="connsiteX2" fmla="*/ 9705 w 10000"/>
              <a:gd name="connsiteY2" fmla="*/ 8750 h 10000"/>
              <a:gd name="connsiteX3" fmla="*/ 814 w 10000"/>
              <a:gd name="connsiteY3" fmla="*/ 8750 h 10000"/>
              <a:gd name="connsiteX4" fmla="*/ 519 w 10000"/>
              <a:gd name="connsiteY4" fmla="*/ 10000 h 10000"/>
              <a:gd name="connsiteX5" fmla="*/ 228 w 10000"/>
              <a:gd name="connsiteY5" fmla="*/ 8750 h 10000"/>
              <a:gd name="connsiteX6" fmla="*/ 0 w 10000"/>
              <a:gd name="connsiteY6" fmla="*/ 8750 h 10000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10000 w 10000"/>
              <a:gd name="connsiteY2" fmla="*/ 22421 h 26716"/>
              <a:gd name="connsiteX3" fmla="*/ 9705 w 10000"/>
              <a:gd name="connsiteY3" fmla="*/ 25466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10000 w 10000"/>
              <a:gd name="connsiteY2" fmla="*/ 22421 h 26716"/>
              <a:gd name="connsiteX3" fmla="*/ 4062 w 10000"/>
              <a:gd name="connsiteY3" fmla="*/ 25384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10000 w 10000"/>
              <a:gd name="connsiteY2" fmla="*/ 22421 h 26716"/>
              <a:gd name="connsiteX3" fmla="*/ 3373 w 10000"/>
              <a:gd name="connsiteY3" fmla="*/ 25384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4123 w 10000"/>
              <a:gd name="connsiteY2" fmla="*/ 23350 h 26716"/>
              <a:gd name="connsiteX3" fmla="*/ 3373 w 10000"/>
              <a:gd name="connsiteY3" fmla="*/ 25384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10000 w 10000"/>
              <a:gd name="connsiteY0" fmla="*/ 16716 h 26716"/>
              <a:gd name="connsiteX1" fmla="*/ 9924 w 10000"/>
              <a:gd name="connsiteY1" fmla="*/ 16671 h 26716"/>
              <a:gd name="connsiteX2" fmla="*/ 4223 w 10000"/>
              <a:gd name="connsiteY2" fmla="*/ 0 h 26716"/>
              <a:gd name="connsiteX3" fmla="*/ 4123 w 10000"/>
              <a:gd name="connsiteY3" fmla="*/ 23350 h 26716"/>
              <a:gd name="connsiteX4" fmla="*/ 3373 w 10000"/>
              <a:gd name="connsiteY4" fmla="*/ 25384 h 26716"/>
              <a:gd name="connsiteX5" fmla="*/ 814 w 10000"/>
              <a:gd name="connsiteY5" fmla="*/ 25466 h 26716"/>
              <a:gd name="connsiteX6" fmla="*/ 519 w 10000"/>
              <a:gd name="connsiteY6" fmla="*/ 26716 h 26716"/>
              <a:gd name="connsiteX7" fmla="*/ 228 w 10000"/>
              <a:gd name="connsiteY7" fmla="*/ 25466 h 26716"/>
              <a:gd name="connsiteX8" fmla="*/ 0 w 10000"/>
              <a:gd name="connsiteY8" fmla="*/ 25466 h 26716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4123 w 10000"/>
              <a:gd name="connsiteY2" fmla="*/ 23350 h 26716"/>
              <a:gd name="connsiteX3" fmla="*/ 3373 w 10000"/>
              <a:gd name="connsiteY3" fmla="*/ 25384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4223 w 4224"/>
              <a:gd name="connsiteY0" fmla="*/ 0 h 26716"/>
              <a:gd name="connsiteX1" fmla="*/ 4123 w 4224"/>
              <a:gd name="connsiteY1" fmla="*/ 23350 h 26716"/>
              <a:gd name="connsiteX2" fmla="*/ 3373 w 4224"/>
              <a:gd name="connsiteY2" fmla="*/ 25384 h 26716"/>
              <a:gd name="connsiteX3" fmla="*/ 814 w 4224"/>
              <a:gd name="connsiteY3" fmla="*/ 25466 h 26716"/>
              <a:gd name="connsiteX4" fmla="*/ 519 w 4224"/>
              <a:gd name="connsiteY4" fmla="*/ 26716 h 26716"/>
              <a:gd name="connsiteX5" fmla="*/ 228 w 4224"/>
              <a:gd name="connsiteY5" fmla="*/ 25466 h 26716"/>
              <a:gd name="connsiteX6" fmla="*/ 0 w 4224"/>
              <a:gd name="connsiteY6" fmla="*/ 25466 h 26716"/>
              <a:gd name="connsiteX0" fmla="*/ 9998 w 10000"/>
              <a:gd name="connsiteY0" fmla="*/ 0 h 10000"/>
              <a:gd name="connsiteX1" fmla="*/ 9761 w 10000"/>
              <a:gd name="connsiteY1" fmla="*/ 8740 h 10000"/>
              <a:gd name="connsiteX2" fmla="*/ 7985 w 10000"/>
              <a:gd name="connsiteY2" fmla="*/ 9501 h 10000"/>
              <a:gd name="connsiteX3" fmla="*/ 1927 w 10000"/>
              <a:gd name="connsiteY3" fmla="*/ 9532 h 10000"/>
              <a:gd name="connsiteX4" fmla="*/ 1229 w 10000"/>
              <a:gd name="connsiteY4" fmla="*/ 10000 h 10000"/>
              <a:gd name="connsiteX5" fmla="*/ 540 w 10000"/>
              <a:gd name="connsiteY5" fmla="*/ 9532 h 10000"/>
              <a:gd name="connsiteX6" fmla="*/ 0 w 10000"/>
              <a:gd name="connsiteY6" fmla="*/ 9532 h 10000"/>
              <a:gd name="connsiteX0" fmla="*/ 9998 w 10000"/>
              <a:gd name="connsiteY0" fmla="*/ 0 h 10000"/>
              <a:gd name="connsiteX1" fmla="*/ 9761 w 10000"/>
              <a:gd name="connsiteY1" fmla="*/ 8740 h 10000"/>
              <a:gd name="connsiteX2" fmla="*/ 7985 w 10000"/>
              <a:gd name="connsiteY2" fmla="*/ 9501 h 10000"/>
              <a:gd name="connsiteX3" fmla="*/ 1927 w 10000"/>
              <a:gd name="connsiteY3" fmla="*/ 9532 h 10000"/>
              <a:gd name="connsiteX4" fmla="*/ 1229 w 10000"/>
              <a:gd name="connsiteY4" fmla="*/ 10000 h 10000"/>
              <a:gd name="connsiteX5" fmla="*/ 540 w 10000"/>
              <a:gd name="connsiteY5" fmla="*/ 9532 h 10000"/>
              <a:gd name="connsiteX6" fmla="*/ 0 w 10000"/>
              <a:gd name="connsiteY6" fmla="*/ 9532 h 10000"/>
              <a:gd name="connsiteX0" fmla="*/ 9998 w 10042"/>
              <a:gd name="connsiteY0" fmla="*/ 0 h 10000"/>
              <a:gd name="connsiteX1" fmla="*/ 10042 w 10042"/>
              <a:gd name="connsiteY1" fmla="*/ 8740 h 10000"/>
              <a:gd name="connsiteX2" fmla="*/ 7985 w 10042"/>
              <a:gd name="connsiteY2" fmla="*/ 9501 h 10000"/>
              <a:gd name="connsiteX3" fmla="*/ 1927 w 10042"/>
              <a:gd name="connsiteY3" fmla="*/ 9532 h 10000"/>
              <a:gd name="connsiteX4" fmla="*/ 1229 w 10042"/>
              <a:gd name="connsiteY4" fmla="*/ 10000 h 10000"/>
              <a:gd name="connsiteX5" fmla="*/ 540 w 10042"/>
              <a:gd name="connsiteY5" fmla="*/ 9532 h 10000"/>
              <a:gd name="connsiteX6" fmla="*/ 0 w 10042"/>
              <a:gd name="connsiteY6" fmla="*/ 9532 h 10000"/>
              <a:gd name="connsiteX0" fmla="*/ 9998 w 10042"/>
              <a:gd name="connsiteY0" fmla="*/ 0 h 10000"/>
              <a:gd name="connsiteX1" fmla="*/ 10042 w 10042"/>
              <a:gd name="connsiteY1" fmla="*/ 8723 h 10000"/>
              <a:gd name="connsiteX2" fmla="*/ 7985 w 10042"/>
              <a:gd name="connsiteY2" fmla="*/ 9501 h 10000"/>
              <a:gd name="connsiteX3" fmla="*/ 1927 w 10042"/>
              <a:gd name="connsiteY3" fmla="*/ 9532 h 10000"/>
              <a:gd name="connsiteX4" fmla="*/ 1229 w 10042"/>
              <a:gd name="connsiteY4" fmla="*/ 10000 h 10000"/>
              <a:gd name="connsiteX5" fmla="*/ 540 w 10042"/>
              <a:gd name="connsiteY5" fmla="*/ 9532 h 10000"/>
              <a:gd name="connsiteX6" fmla="*/ 0 w 10042"/>
              <a:gd name="connsiteY6" fmla="*/ 9532 h 10000"/>
              <a:gd name="connsiteX0" fmla="*/ 9998 w 10042"/>
              <a:gd name="connsiteY0" fmla="*/ 0 h 10250"/>
              <a:gd name="connsiteX1" fmla="*/ 10042 w 10042"/>
              <a:gd name="connsiteY1" fmla="*/ 8723 h 10250"/>
              <a:gd name="connsiteX2" fmla="*/ 9006 w 10042"/>
              <a:gd name="connsiteY2" fmla="*/ 9164 h 10250"/>
              <a:gd name="connsiteX3" fmla="*/ 7985 w 10042"/>
              <a:gd name="connsiteY3" fmla="*/ 9501 h 10250"/>
              <a:gd name="connsiteX4" fmla="*/ 1927 w 10042"/>
              <a:gd name="connsiteY4" fmla="*/ 9532 h 10250"/>
              <a:gd name="connsiteX5" fmla="*/ 1229 w 10042"/>
              <a:gd name="connsiteY5" fmla="*/ 10000 h 10250"/>
              <a:gd name="connsiteX6" fmla="*/ 540 w 10042"/>
              <a:gd name="connsiteY6" fmla="*/ 9532 h 10250"/>
              <a:gd name="connsiteX7" fmla="*/ 0 w 10042"/>
              <a:gd name="connsiteY7" fmla="*/ 9532 h 10250"/>
              <a:gd name="connsiteX0" fmla="*/ 9998 w 10042"/>
              <a:gd name="connsiteY0" fmla="*/ 0 h 10000"/>
              <a:gd name="connsiteX1" fmla="*/ 10042 w 10042"/>
              <a:gd name="connsiteY1" fmla="*/ 7777 h 10000"/>
              <a:gd name="connsiteX2" fmla="*/ 9006 w 10042"/>
              <a:gd name="connsiteY2" fmla="*/ 9164 h 10000"/>
              <a:gd name="connsiteX3" fmla="*/ 7985 w 10042"/>
              <a:gd name="connsiteY3" fmla="*/ 9501 h 10000"/>
              <a:gd name="connsiteX4" fmla="*/ 1927 w 10042"/>
              <a:gd name="connsiteY4" fmla="*/ 9532 h 10000"/>
              <a:gd name="connsiteX5" fmla="*/ 1229 w 10042"/>
              <a:gd name="connsiteY5" fmla="*/ 10000 h 10000"/>
              <a:gd name="connsiteX6" fmla="*/ 540 w 10042"/>
              <a:gd name="connsiteY6" fmla="*/ 9532 h 10000"/>
              <a:gd name="connsiteX7" fmla="*/ 0 w 10042"/>
              <a:gd name="connsiteY7" fmla="*/ 9532 h 10000"/>
              <a:gd name="connsiteX0" fmla="*/ 9998 w 10042"/>
              <a:gd name="connsiteY0" fmla="*/ 0 h 10000"/>
              <a:gd name="connsiteX1" fmla="*/ 10042 w 10042"/>
              <a:gd name="connsiteY1" fmla="*/ 7777 h 10000"/>
              <a:gd name="connsiteX2" fmla="*/ 9537 w 10042"/>
              <a:gd name="connsiteY2" fmla="*/ 9130 h 10000"/>
              <a:gd name="connsiteX3" fmla="*/ 7985 w 10042"/>
              <a:gd name="connsiteY3" fmla="*/ 9501 h 10000"/>
              <a:gd name="connsiteX4" fmla="*/ 1927 w 10042"/>
              <a:gd name="connsiteY4" fmla="*/ 9532 h 10000"/>
              <a:gd name="connsiteX5" fmla="*/ 1229 w 10042"/>
              <a:gd name="connsiteY5" fmla="*/ 10000 h 10000"/>
              <a:gd name="connsiteX6" fmla="*/ 540 w 10042"/>
              <a:gd name="connsiteY6" fmla="*/ 9532 h 10000"/>
              <a:gd name="connsiteX7" fmla="*/ 0 w 10042"/>
              <a:gd name="connsiteY7" fmla="*/ 9532 h 10000"/>
              <a:gd name="connsiteX0" fmla="*/ 9998 w 10042"/>
              <a:gd name="connsiteY0" fmla="*/ 0 h 10000"/>
              <a:gd name="connsiteX1" fmla="*/ 10042 w 10042"/>
              <a:gd name="connsiteY1" fmla="*/ 7777 h 10000"/>
              <a:gd name="connsiteX2" fmla="*/ 9537 w 10042"/>
              <a:gd name="connsiteY2" fmla="*/ 9130 h 10000"/>
              <a:gd name="connsiteX3" fmla="*/ 7985 w 10042"/>
              <a:gd name="connsiteY3" fmla="*/ 9501 h 10000"/>
              <a:gd name="connsiteX4" fmla="*/ 1927 w 10042"/>
              <a:gd name="connsiteY4" fmla="*/ 9532 h 10000"/>
              <a:gd name="connsiteX5" fmla="*/ 1229 w 10042"/>
              <a:gd name="connsiteY5" fmla="*/ 10000 h 10000"/>
              <a:gd name="connsiteX6" fmla="*/ 540 w 10042"/>
              <a:gd name="connsiteY6" fmla="*/ 9532 h 10000"/>
              <a:gd name="connsiteX7" fmla="*/ 0 w 10042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537 w 10059"/>
              <a:gd name="connsiteY2" fmla="*/ 9130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689 w 10059"/>
              <a:gd name="connsiteY2" fmla="*/ 9231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704 w 10059"/>
              <a:gd name="connsiteY2" fmla="*/ 9299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704 w 10059"/>
              <a:gd name="connsiteY2" fmla="*/ 9299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704 w 10059"/>
              <a:gd name="connsiteY2" fmla="*/ 9299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710 w 10059"/>
              <a:gd name="connsiteY2" fmla="*/ 9331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93"/>
              <a:gd name="connsiteY0" fmla="*/ 0 h 10000"/>
              <a:gd name="connsiteX1" fmla="*/ 10042 w 10093"/>
              <a:gd name="connsiteY1" fmla="*/ 7777 h 10000"/>
              <a:gd name="connsiteX2" fmla="*/ 9750 w 10093"/>
              <a:gd name="connsiteY2" fmla="*/ 9331 h 10000"/>
              <a:gd name="connsiteX3" fmla="*/ 7985 w 10093"/>
              <a:gd name="connsiteY3" fmla="*/ 9501 h 10000"/>
              <a:gd name="connsiteX4" fmla="*/ 1927 w 10093"/>
              <a:gd name="connsiteY4" fmla="*/ 9532 h 10000"/>
              <a:gd name="connsiteX5" fmla="*/ 1229 w 10093"/>
              <a:gd name="connsiteY5" fmla="*/ 10000 h 10000"/>
              <a:gd name="connsiteX6" fmla="*/ 540 w 10093"/>
              <a:gd name="connsiteY6" fmla="*/ 9532 h 10000"/>
              <a:gd name="connsiteX7" fmla="*/ 0 w 10093"/>
              <a:gd name="connsiteY7" fmla="*/ 9532 h 10000"/>
              <a:gd name="connsiteX0" fmla="*/ 9998 w 10068"/>
              <a:gd name="connsiteY0" fmla="*/ 0 h 10000"/>
              <a:gd name="connsiteX1" fmla="*/ 10042 w 10068"/>
              <a:gd name="connsiteY1" fmla="*/ 7777 h 10000"/>
              <a:gd name="connsiteX2" fmla="*/ 9750 w 10068"/>
              <a:gd name="connsiteY2" fmla="*/ 9331 h 10000"/>
              <a:gd name="connsiteX3" fmla="*/ 7985 w 10068"/>
              <a:gd name="connsiteY3" fmla="*/ 9501 h 10000"/>
              <a:gd name="connsiteX4" fmla="*/ 1927 w 10068"/>
              <a:gd name="connsiteY4" fmla="*/ 9532 h 10000"/>
              <a:gd name="connsiteX5" fmla="*/ 1229 w 10068"/>
              <a:gd name="connsiteY5" fmla="*/ 10000 h 10000"/>
              <a:gd name="connsiteX6" fmla="*/ 540 w 10068"/>
              <a:gd name="connsiteY6" fmla="*/ 9532 h 10000"/>
              <a:gd name="connsiteX7" fmla="*/ 0 w 10068"/>
              <a:gd name="connsiteY7" fmla="*/ 9532 h 10000"/>
              <a:gd name="connsiteX0" fmla="*/ 10042 w 10068"/>
              <a:gd name="connsiteY0" fmla="*/ 0 h 6834"/>
              <a:gd name="connsiteX1" fmla="*/ 10042 w 10068"/>
              <a:gd name="connsiteY1" fmla="*/ 4611 h 6834"/>
              <a:gd name="connsiteX2" fmla="*/ 9750 w 10068"/>
              <a:gd name="connsiteY2" fmla="*/ 6165 h 6834"/>
              <a:gd name="connsiteX3" fmla="*/ 7985 w 10068"/>
              <a:gd name="connsiteY3" fmla="*/ 6335 h 6834"/>
              <a:gd name="connsiteX4" fmla="*/ 1927 w 10068"/>
              <a:gd name="connsiteY4" fmla="*/ 6366 h 6834"/>
              <a:gd name="connsiteX5" fmla="*/ 1229 w 10068"/>
              <a:gd name="connsiteY5" fmla="*/ 6834 h 6834"/>
              <a:gd name="connsiteX6" fmla="*/ 540 w 10068"/>
              <a:gd name="connsiteY6" fmla="*/ 6366 h 6834"/>
              <a:gd name="connsiteX7" fmla="*/ 0 w 10068"/>
              <a:gd name="connsiteY7" fmla="*/ 6366 h 6834"/>
              <a:gd name="connsiteX0" fmla="*/ 11660 w 11686"/>
              <a:gd name="connsiteY0" fmla="*/ 0 h 10000"/>
              <a:gd name="connsiteX1" fmla="*/ 11660 w 11686"/>
              <a:gd name="connsiteY1" fmla="*/ 6747 h 10000"/>
              <a:gd name="connsiteX2" fmla="*/ 11370 w 11686"/>
              <a:gd name="connsiteY2" fmla="*/ 9021 h 10000"/>
              <a:gd name="connsiteX3" fmla="*/ 9617 w 11686"/>
              <a:gd name="connsiteY3" fmla="*/ 9270 h 10000"/>
              <a:gd name="connsiteX4" fmla="*/ 3600 w 11686"/>
              <a:gd name="connsiteY4" fmla="*/ 9315 h 10000"/>
              <a:gd name="connsiteX5" fmla="*/ 2907 w 11686"/>
              <a:gd name="connsiteY5" fmla="*/ 10000 h 10000"/>
              <a:gd name="connsiteX6" fmla="*/ 2222 w 11686"/>
              <a:gd name="connsiteY6" fmla="*/ 9315 h 10000"/>
              <a:gd name="connsiteX7" fmla="*/ 0 w 11686"/>
              <a:gd name="connsiteY7" fmla="*/ 9328 h 10000"/>
              <a:gd name="connsiteX0" fmla="*/ 11737 w 11739"/>
              <a:gd name="connsiteY0" fmla="*/ 0 h 14667"/>
              <a:gd name="connsiteX1" fmla="*/ 11660 w 11739"/>
              <a:gd name="connsiteY1" fmla="*/ 11414 h 14667"/>
              <a:gd name="connsiteX2" fmla="*/ 11370 w 11739"/>
              <a:gd name="connsiteY2" fmla="*/ 13688 h 14667"/>
              <a:gd name="connsiteX3" fmla="*/ 9617 w 11739"/>
              <a:gd name="connsiteY3" fmla="*/ 13937 h 14667"/>
              <a:gd name="connsiteX4" fmla="*/ 3600 w 11739"/>
              <a:gd name="connsiteY4" fmla="*/ 13982 h 14667"/>
              <a:gd name="connsiteX5" fmla="*/ 2907 w 11739"/>
              <a:gd name="connsiteY5" fmla="*/ 14667 h 14667"/>
              <a:gd name="connsiteX6" fmla="*/ 2222 w 11739"/>
              <a:gd name="connsiteY6" fmla="*/ 13982 h 14667"/>
              <a:gd name="connsiteX7" fmla="*/ 0 w 11739"/>
              <a:gd name="connsiteY7" fmla="*/ 13995 h 14667"/>
              <a:gd name="connsiteX0" fmla="*/ 11737 w 11739"/>
              <a:gd name="connsiteY0" fmla="*/ 0 h 15854"/>
              <a:gd name="connsiteX1" fmla="*/ 11660 w 11739"/>
              <a:gd name="connsiteY1" fmla="*/ 12601 h 15854"/>
              <a:gd name="connsiteX2" fmla="*/ 11370 w 11739"/>
              <a:gd name="connsiteY2" fmla="*/ 14875 h 15854"/>
              <a:gd name="connsiteX3" fmla="*/ 9617 w 11739"/>
              <a:gd name="connsiteY3" fmla="*/ 15124 h 15854"/>
              <a:gd name="connsiteX4" fmla="*/ 3600 w 11739"/>
              <a:gd name="connsiteY4" fmla="*/ 15169 h 15854"/>
              <a:gd name="connsiteX5" fmla="*/ 2907 w 11739"/>
              <a:gd name="connsiteY5" fmla="*/ 15854 h 15854"/>
              <a:gd name="connsiteX6" fmla="*/ 2222 w 11739"/>
              <a:gd name="connsiteY6" fmla="*/ 15169 h 15854"/>
              <a:gd name="connsiteX7" fmla="*/ 0 w 11739"/>
              <a:gd name="connsiteY7" fmla="*/ 15182 h 15854"/>
              <a:gd name="connsiteX0" fmla="*/ 11716 w 11718"/>
              <a:gd name="connsiteY0" fmla="*/ 0 h 16965"/>
              <a:gd name="connsiteX1" fmla="*/ 11660 w 11718"/>
              <a:gd name="connsiteY1" fmla="*/ 13712 h 16965"/>
              <a:gd name="connsiteX2" fmla="*/ 11370 w 11718"/>
              <a:gd name="connsiteY2" fmla="*/ 15986 h 16965"/>
              <a:gd name="connsiteX3" fmla="*/ 9617 w 11718"/>
              <a:gd name="connsiteY3" fmla="*/ 16235 h 16965"/>
              <a:gd name="connsiteX4" fmla="*/ 3600 w 11718"/>
              <a:gd name="connsiteY4" fmla="*/ 16280 h 16965"/>
              <a:gd name="connsiteX5" fmla="*/ 2907 w 11718"/>
              <a:gd name="connsiteY5" fmla="*/ 16965 h 16965"/>
              <a:gd name="connsiteX6" fmla="*/ 2222 w 11718"/>
              <a:gd name="connsiteY6" fmla="*/ 16280 h 16965"/>
              <a:gd name="connsiteX7" fmla="*/ 0 w 11718"/>
              <a:gd name="connsiteY7" fmla="*/ 16293 h 16965"/>
              <a:gd name="connsiteX0" fmla="*/ 11716 w 11733"/>
              <a:gd name="connsiteY0" fmla="*/ 0 h 16965"/>
              <a:gd name="connsiteX1" fmla="*/ 11716 w 11733"/>
              <a:gd name="connsiteY1" fmla="*/ 13747 h 16965"/>
              <a:gd name="connsiteX2" fmla="*/ 11370 w 11733"/>
              <a:gd name="connsiteY2" fmla="*/ 15986 h 16965"/>
              <a:gd name="connsiteX3" fmla="*/ 9617 w 11733"/>
              <a:gd name="connsiteY3" fmla="*/ 16235 h 16965"/>
              <a:gd name="connsiteX4" fmla="*/ 3600 w 11733"/>
              <a:gd name="connsiteY4" fmla="*/ 16280 h 16965"/>
              <a:gd name="connsiteX5" fmla="*/ 2907 w 11733"/>
              <a:gd name="connsiteY5" fmla="*/ 16965 h 16965"/>
              <a:gd name="connsiteX6" fmla="*/ 2222 w 11733"/>
              <a:gd name="connsiteY6" fmla="*/ 16280 h 16965"/>
              <a:gd name="connsiteX7" fmla="*/ 0 w 11733"/>
              <a:gd name="connsiteY7" fmla="*/ 16293 h 16965"/>
              <a:gd name="connsiteX0" fmla="*/ 11716 w 11733"/>
              <a:gd name="connsiteY0" fmla="*/ 0 h 16965"/>
              <a:gd name="connsiteX1" fmla="*/ 11716 w 11733"/>
              <a:gd name="connsiteY1" fmla="*/ 13747 h 16965"/>
              <a:gd name="connsiteX2" fmla="*/ 11370 w 11733"/>
              <a:gd name="connsiteY2" fmla="*/ 15986 h 16965"/>
              <a:gd name="connsiteX3" fmla="*/ 9617 w 11733"/>
              <a:gd name="connsiteY3" fmla="*/ 16235 h 16965"/>
              <a:gd name="connsiteX4" fmla="*/ 3600 w 11733"/>
              <a:gd name="connsiteY4" fmla="*/ 16280 h 16965"/>
              <a:gd name="connsiteX5" fmla="*/ 2907 w 11733"/>
              <a:gd name="connsiteY5" fmla="*/ 16965 h 16965"/>
              <a:gd name="connsiteX6" fmla="*/ 2222 w 11733"/>
              <a:gd name="connsiteY6" fmla="*/ 16280 h 16965"/>
              <a:gd name="connsiteX7" fmla="*/ 0 w 11733"/>
              <a:gd name="connsiteY7" fmla="*/ 16293 h 16965"/>
              <a:gd name="connsiteX0" fmla="*/ 12315 w 12332"/>
              <a:gd name="connsiteY0" fmla="*/ 0 h 16965"/>
              <a:gd name="connsiteX1" fmla="*/ 12315 w 12332"/>
              <a:gd name="connsiteY1" fmla="*/ 13747 h 16965"/>
              <a:gd name="connsiteX2" fmla="*/ 11969 w 12332"/>
              <a:gd name="connsiteY2" fmla="*/ 15986 h 16965"/>
              <a:gd name="connsiteX3" fmla="*/ 10216 w 12332"/>
              <a:gd name="connsiteY3" fmla="*/ 16235 h 16965"/>
              <a:gd name="connsiteX4" fmla="*/ 4199 w 12332"/>
              <a:gd name="connsiteY4" fmla="*/ 16280 h 16965"/>
              <a:gd name="connsiteX5" fmla="*/ 3506 w 12332"/>
              <a:gd name="connsiteY5" fmla="*/ 16965 h 16965"/>
              <a:gd name="connsiteX6" fmla="*/ 2821 w 12332"/>
              <a:gd name="connsiteY6" fmla="*/ 16280 h 16965"/>
              <a:gd name="connsiteX7" fmla="*/ 0 w 12332"/>
              <a:gd name="connsiteY7" fmla="*/ 16364 h 16965"/>
              <a:gd name="connsiteX0" fmla="*/ 12206 w 12321"/>
              <a:gd name="connsiteY0" fmla="*/ 0 h 30207"/>
              <a:gd name="connsiteX1" fmla="*/ 12315 w 12321"/>
              <a:gd name="connsiteY1" fmla="*/ 26989 h 30207"/>
              <a:gd name="connsiteX2" fmla="*/ 11969 w 12321"/>
              <a:gd name="connsiteY2" fmla="*/ 29228 h 30207"/>
              <a:gd name="connsiteX3" fmla="*/ 10216 w 12321"/>
              <a:gd name="connsiteY3" fmla="*/ 29477 h 30207"/>
              <a:gd name="connsiteX4" fmla="*/ 4199 w 12321"/>
              <a:gd name="connsiteY4" fmla="*/ 29522 h 30207"/>
              <a:gd name="connsiteX5" fmla="*/ 3506 w 12321"/>
              <a:gd name="connsiteY5" fmla="*/ 30207 h 30207"/>
              <a:gd name="connsiteX6" fmla="*/ 2821 w 12321"/>
              <a:gd name="connsiteY6" fmla="*/ 29522 h 30207"/>
              <a:gd name="connsiteX7" fmla="*/ 0 w 12321"/>
              <a:gd name="connsiteY7" fmla="*/ 29606 h 30207"/>
              <a:gd name="connsiteX0" fmla="*/ 12206 w 12206"/>
              <a:gd name="connsiteY0" fmla="*/ 0 h 30207"/>
              <a:gd name="connsiteX1" fmla="*/ 11969 w 12206"/>
              <a:gd name="connsiteY1" fmla="*/ 29228 h 30207"/>
              <a:gd name="connsiteX2" fmla="*/ 10216 w 12206"/>
              <a:gd name="connsiteY2" fmla="*/ 29477 h 30207"/>
              <a:gd name="connsiteX3" fmla="*/ 4199 w 12206"/>
              <a:gd name="connsiteY3" fmla="*/ 29522 h 30207"/>
              <a:gd name="connsiteX4" fmla="*/ 3506 w 12206"/>
              <a:gd name="connsiteY4" fmla="*/ 30207 h 30207"/>
              <a:gd name="connsiteX5" fmla="*/ 2821 w 12206"/>
              <a:gd name="connsiteY5" fmla="*/ 29522 h 30207"/>
              <a:gd name="connsiteX6" fmla="*/ 0 w 12206"/>
              <a:gd name="connsiteY6" fmla="*/ 29606 h 30207"/>
              <a:gd name="connsiteX0" fmla="*/ 12206 w 12371"/>
              <a:gd name="connsiteY0" fmla="*/ 0 h 30207"/>
              <a:gd name="connsiteX1" fmla="*/ 12242 w 12371"/>
              <a:gd name="connsiteY1" fmla="*/ 29321 h 30207"/>
              <a:gd name="connsiteX2" fmla="*/ 10216 w 12371"/>
              <a:gd name="connsiteY2" fmla="*/ 29477 h 30207"/>
              <a:gd name="connsiteX3" fmla="*/ 4199 w 12371"/>
              <a:gd name="connsiteY3" fmla="*/ 29522 h 30207"/>
              <a:gd name="connsiteX4" fmla="*/ 3506 w 12371"/>
              <a:gd name="connsiteY4" fmla="*/ 30207 h 30207"/>
              <a:gd name="connsiteX5" fmla="*/ 2821 w 12371"/>
              <a:gd name="connsiteY5" fmla="*/ 29522 h 30207"/>
              <a:gd name="connsiteX6" fmla="*/ 0 w 12371"/>
              <a:gd name="connsiteY6" fmla="*/ 29606 h 30207"/>
              <a:gd name="connsiteX0" fmla="*/ 12206 w 12350"/>
              <a:gd name="connsiteY0" fmla="*/ 0 h 30207"/>
              <a:gd name="connsiteX1" fmla="*/ 12215 w 12350"/>
              <a:gd name="connsiteY1" fmla="*/ 29191 h 30207"/>
              <a:gd name="connsiteX2" fmla="*/ 10216 w 12350"/>
              <a:gd name="connsiteY2" fmla="*/ 29477 h 30207"/>
              <a:gd name="connsiteX3" fmla="*/ 4199 w 12350"/>
              <a:gd name="connsiteY3" fmla="*/ 29522 h 30207"/>
              <a:gd name="connsiteX4" fmla="*/ 3506 w 12350"/>
              <a:gd name="connsiteY4" fmla="*/ 30207 h 30207"/>
              <a:gd name="connsiteX5" fmla="*/ 2821 w 12350"/>
              <a:gd name="connsiteY5" fmla="*/ 29522 h 30207"/>
              <a:gd name="connsiteX6" fmla="*/ 0 w 12350"/>
              <a:gd name="connsiteY6" fmla="*/ 29606 h 30207"/>
              <a:gd name="connsiteX0" fmla="*/ 12206 w 12350"/>
              <a:gd name="connsiteY0" fmla="*/ 0 h 30207"/>
              <a:gd name="connsiteX1" fmla="*/ 12215 w 12350"/>
              <a:gd name="connsiteY1" fmla="*/ 29265 h 30207"/>
              <a:gd name="connsiteX2" fmla="*/ 10216 w 12350"/>
              <a:gd name="connsiteY2" fmla="*/ 29477 h 30207"/>
              <a:gd name="connsiteX3" fmla="*/ 4199 w 12350"/>
              <a:gd name="connsiteY3" fmla="*/ 29522 h 30207"/>
              <a:gd name="connsiteX4" fmla="*/ 3506 w 12350"/>
              <a:gd name="connsiteY4" fmla="*/ 30207 h 30207"/>
              <a:gd name="connsiteX5" fmla="*/ 2821 w 12350"/>
              <a:gd name="connsiteY5" fmla="*/ 29522 h 30207"/>
              <a:gd name="connsiteX6" fmla="*/ 0 w 12350"/>
              <a:gd name="connsiteY6" fmla="*/ 29606 h 30207"/>
              <a:gd name="connsiteX0" fmla="*/ 12206 w 12350"/>
              <a:gd name="connsiteY0" fmla="*/ 0 h 29984"/>
              <a:gd name="connsiteX1" fmla="*/ 12215 w 12350"/>
              <a:gd name="connsiteY1" fmla="*/ 29265 h 29984"/>
              <a:gd name="connsiteX2" fmla="*/ 10216 w 12350"/>
              <a:gd name="connsiteY2" fmla="*/ 29477 h 29984"/>
              <a:gd name="connsiteX3" fmla="*/ 4199 w 12350"/>
              <a:gd name="connsiteY3" fmla="*/ 29522 h 29984"/>
              <a:gd name="connsiteX4" fmla="*/ 3588 w 12350"/>
              <a:gd name="connsiteY4" fmla="*/ 29984 h 29984"/>
              <a:gd name="connsiteX5" fmla="*/ 2821 w 12350"/>
              <a:gd name="connsiteY5" fmla="*/ 29522 h 29984"/>
              <a:gd name="connsiteX6" fmla="*/ 0 w 12350"/>
              <a:gd name="connsiteY6" fmla="*/ 29606 h 29984"/>
              <a:gd name="connsiteX0" fmla="*/ 12206 w 12350"/>
              <a:gd name="connsiteY0" fmla="*/ 0 h 29984"/>
              <a:gd name="connsiteX1" fmla="*/ 12215 w 12350"/>
              <a:gd name="connsiteY1" fmla="*/ 29166 h 29984"/>
              <a:gd name="connsiteX2" fmla="*/ 10216 w 12350"/>
              <a:gd name="connsiteY2" fmla="*/ 29477 h 29984"/>
              <a:gd name="connsiteX3" fmla="*/ 4199 w 12350"/>
              <a:gd name="connsiteY3" fmla="*/ 29522 h 29984"/>
              <a:gd name="connsiteX4" fmla="*/ 3588 w 12350"/>
              <a:gd name="connsiteY4" fmla="*/ 29984 h 29984"/>
              <a:gd name="connsiteX5" fmla="*/ 2821 w 12350"/>
              <a:gd name="connsiteY5" fmla="*/ 29522 h 29984"/>
              <a:gd name="connsiteX6" fmla="*/ 0 w 12350"/>
              <a:gd name="connsiteY6" fmla="*/ 29606 h 29984"/>
              <a:gd name="connsiteX0" fmla="*/ 12206 w 12350"/>
              <a:gd name="connsiteY0" fmla="*/ 0 h 29984"/>
              <a:gd name="connsiteX1" fmla="*/ 12215 w 12350"/>
              <a:gd name="connsiteY1" fmla="*/ 29092 h 29984"/>
              <a:gd name="connsiteX2" fmla="*/ 10216 w 12350"/>
              <a:gd name="connsiteY2" fmla="*/ 29477 h 29984"/>
              <a:gd name="connsiteX3" fmla="*/ 4199 w 12350"/>
              <a:gd name="connsiteY3" fmla="*/ 29522 h 29984"/>
              <a:gd name="connsiteX4" fmla="*/ 3588 w 12350"/>
              <a:gd name="connsiteY4" fmla="*/ 29984 h 29984"/>
              <a:gd name="connsiteX5" fmla="*/ 2821 w 12350"/>
              <a:gd name="connsiteY5" fmla="*/ 29522 h 29984"/>
              <a:gd name="connsiteX6" fmla="*/ 0 w 12350"/>
              <a:gd name="connsiteY6" fmla="*/ 29606 h 29984"/>
              <a:gd name="connsiteX0" fmla="*/ 12206 w 12421"/>
              <a:gd name="connsiteY0" fmla="*/ 0 h 29984"/>
              <a:gd name="connsiteX1" fmla="*/ 12215 w 12421"/>
              <a:gd name="connsiteY1" fmla="*/ 29092 h 29984"/>
              <a:gd name="connsiteX2" fmla="*/ 10216 w 12421"/>
              <a:gd name="connsiteY2" fmla="*/ 29477 h 29984"/>
              <a:gd name="connsiteX3" fmla="*/ 4199 w 12421"/>
              <a:gd name="connsiteY3" fmla="*/ 29522 h 29984"/>
              <a:gd name="connsiteX4" fmla="*/ 3588 w 12421"/>
              <a:gd name="connsiteY4" fmla="*/ 29984 h 29984"/>
              <a:gd name="connsiteX5" fmla="*/ 2821 w 12421"/>
              <a:gd name="connsiteY5" fmla="*/ 29522 h 29984"/>
              <a:gd name="connsiteX6" fmla="*/ 0 w 12421"/>
              <a:gd name="connsiteY6" fmla="*/ 29606 h 29984"/>
              <a:gd name="connsiteX0" fmla="*/ 12206 w 12520"/>
              <a:gd name="connsiteY0" fmla="*/ 0 h 29984"/>
              <a:gd name="connsiteX1" fmla="*/ 12340 w 12520"/>
              <a:gd name="connsiteY1" fmla="*/ 29080 h 29984"/>
              <a:gd name="connsiteX2" fmla="*/ 10216 w 12520"/>
              <a:gd name="connsiteY2" fmla="*/ 29477 h 29984"/>
              <a:gd name="connsiteX3" fmla="*/ 4199 w 12520"/>
              <a:gd name="connsiteY3" fmla="*/ 29522 h 29984"/>
              <a:gd name="connsiteX4" fmla="*/ 3588 w 12520"/>
              <a:gd name="connsiteY4" fmla="*/ 29984 h 29984"/>
              <a:gd name="connsiteX5" fmla="*/ 2821 w 12520"/>
              <a:gd name="connsiteY5" fmla="*/ 29522 h 29984"/>
              <a:gd name="connsiteX6" fmla="*/ 0 w 12520"/>
              <a:gd name="connsiteY6" fmla="*/ 29606 h 29984"/>
              <a:gd name="connsiteX0" fmla="*/ 12206 w 12394"/>
              <a:gd name="connsiteY0" fmla="*/ 0 h 29984"/>
              <a:gd name="connsiteX1" fmla="*/ 12179 w 12394"/>
              <a:gd name="connsiteY1" fmla="*/ 29068 h 29984"/>
              <a:gd name="connsiteX2" fmla="*/ 10216 w 12394"/>
              <a:gd name="connsiteY2" fmla="*/ 29477 h 29984"/>
              <a:gd name="connsiteX3" fmla="*/ 4199 w 12394"/>
              <a:gd name="connsiteY3" fmla="*/ 29522 h 29984"/>
              <a:gd name="connsiteX4" fmla="*/ 3588 w 12394"/>
              <a:gd name="connsiteY4" fmla="*/ 29984 h 29984"/>
              <a:gd name="connsiteX5" fmla="*/ 2821 w 12394"/>
              <a:gd name="connsiteY5" fmla="*/ 29522 h 29984"/>
              <a:gd name="connsiteX6" fmla="*/ 0 w 12394"/>
              <a:gd name="connsiteY6" fmla="*/ 29606 h 29984"/>
              <a:gd name="connsiteX0" fmla="*/ 12206 w 12394"/>
              <a:gd name="connsiteY0" fmla="*/ 0 h 29984"/>
              <a:gd name="connsiteX1" fmla="*/ 12179 w 12394"/>
              <a:gd name="connsiteY1" fmla="*/ 29068 h 29984"/>
              <a:gd name="connsiteX2" fmla="*/ 10216 w 12394"/>
              <a:gd name="connsiteY2" fmla="*/ 29477 h 29984"/>
              <a:gd name="connsiteX3" fmla="*/ 4199 w 12394"/>
              <a:gd name="connsiteY3" fmla="*/ 29522 h 29984"/>
              <a:gd name="connsiteX4" fmla="*/ 3588 w 12394"/>
              <a:gd name="connsiteY4" fmla="*/ 29984 h 29984"/>
              <a:gd name="connsiteX5" fmla="*/ 2821 w 12394"/>
              <a:gd name="connsiteY5" fmla="*/ 29522 h 29984"/>
              <a:gd name="connsiteX6" fmla="*/ 0 w 12394"/>
              <a:gd name="connsiteY6" fmla="*/ 29606 h 29984"/>
              <a:gd name="connsiteX0" fmla="*/ 12206 w 12394"/>
              <a:gd name="connsiteY0" fmla="*/ 0 h 29984"/>
              <a:gd name="connsiteX1" fmla="*/ 12179 w 12394"/>
              <a:gd name="connsiteY1" fmla="*/ 29068 h 29984"/>
              <a:gd name="connsiteX2" fmla="*/ 10216 w 12394"/>
              <a:gd name="connsiteY2" fmla="*/ 29477 h 29984"/>
              <a:gd name="connsiteX3" fmla="*/ 4199 w 12394"/>
              <a:gd name="connsiteY3" fmla="*/ 29522 h 29984"/>
              <a:gd name="connsiteX4" fmla="*/ 3588 w 12394"/>
              <a:gd name="connsiteY4" fmla="*/ 29984 h 29984"/>
              <a:gd name="connsiteX5" fmla="*/ 2821 w 12394"/>
              <a:gd name="connsiteY5" fmla="*/ 29522 h 29984"/>
              <a:gd name="connsiteX6" fmla="*/ 0 w 12394"/>
              <a:gd name="connsiteY6" fmla="*/ 29606 h 29984"/>
              <a:gd name="connsiteX0" fmla="*/ 12206 w 12394"/>
              <a:gd name="connsiteY0" fmla="*/ 0 h 29984"/>
              <a:gd name="connsiteX1" fmla="*/ 12179 w 12394"/>
              <a:gd name="connsiteY1" fmla="*/ 29068 h 29984"/>
              <a:gd name="connsiteX2" fmla="*/ 10216 w 12394"/>
              <a:gd name="connsiteY2" fmla="*/ 29477 h 29984"/>
              <a:gd name="connsiteX3" fmla="*/ 4199 w 12394"/>
              <a:gd name="connsiteY3" fmla="*/ 29522 h 29984"/>
              <a:gd name="connsiteX4" fmla="*/ 3588 w 12394"/>
              <a:gd name="connsiteY4" fmla="*/ 29984 h 29984"/>
              <a:gd name="connsiteX5" fmla="*/ 2821 w 12394"/>
              <a:gd name="connsiteY5" fmla="*/ 29522 h 29984"/>
              <a:gd name="connsiteX6" fmla="*/ 0 w 12394"/>
              <a:gd name="connsiteY6" fmla="*/ 29606 h 29984"/>
              <a:gd name="connsiteX0" fmla="*/ 12206 w 12394"/>
              <a:gd name="connsiteY0" fmla="*/ 0 h 29984"/>
              <a:gd name="connsiteX1" fmla="*/ 12179 w 12394"/>
              <a:gd name="connsiteY1" fmla="*/ 29068 h 29984"/>
              <a:gd name="connsiteX2" fmla="*/ 10216 w 12394"/>
              <a:gd name="connsiteY2" fmla="*/ 29477 h 29984"/>
              <a:gd name="connsiteX3" fmla="*/ 4199 w 12394"/>
              <a:gd name="connsiteY3" fmla="*/ 29522 h 29984"/>
              <a:gd name="connsiteX4" fmla="*/ 3588 w 12394"/>
              <a:gd name="connsiteY4" fmla="*/ 29984 h 29984"/>
              <a:gd name="connsiteX5" fmla="*/ 2821 w 12394"/>
              <a:gd name="connsiteY5" fmla="*/ 29522 h 29984"/>
              <a:gd name="connsiteX6" fmla="*/ 0 w 12394"/>
              <a:gd name="connsiteY6" fmla="*/ 29606 h 29984"/>
              <a:gd name="connsiteX0" fmla="*/ 12206 w 12322"/>
              <a:gd name="connsiteY0" fmla="*/ 0 h 29984"/>
              <a:gd name="connsiteX1" fmla="*/ 12179 w 12322"/>
              <a:gd name="connsiteY1" fmla="*/ 29068 h 29984"/>
              <a:gd name="connsiteX2" fmla="*/ 10216 w 12322"/>
              <a:gd name="connsiteY2" fmla="*/ 29477 h 29984"/>
              <a:gd name="connsiteX3" fmla="*/ 4199 w 12322"/>
              <a:gd name="connsiteY3" fmla="*/ 29522 h 29984"/>
              <a:gd name="connsiteX4" fmla="*/ 3588 w 12322"/>
              <a:gd name="connsiteY4" fmla="*/ 29984 h 29984"/>
              <a:gd name="connsiteX5" fmla="*/ 2821 w 12322"/>
              <a:gd name="connsiteY5" fmla="*/ 29522 h 29984"/>
              <a:gd name="connsiteX6" fmla="*/ 0 w 12322"/>
              <a:gd name="connsiteY6" fmla="*/ 29606 h 29984"/>
              <a:gd name="connsiteX0" fmla="*/ 12206 w 12350"/>
              <a:gd name="connsiteY0" fmla="*/ 0 h 29984"/>
              <a:gd name="connsiteX1" fmla="*/ 12215 w 12350"/>
              <a:gd name="connsiteY1" fmla="*/ 28932 h 29984"/>
              <a:gd name="connsiteX2" fmla="*/ 10216 w 12350"/>
              <a:gd name="connsiteY2" fmla="*/ 29477 h 29984"/>
              <a:gd name="connsiteX3" fmla="*/ 4199 w 12350"/>
              <a:gd name="connsiteY3" fmla="*/ 29522 h 29984"/>
              <a:gd name="connsiteX4" fmla="*/ 3588 w 12350"/>
              <a:gd name="connsiteY4" fmla="*/ 29984 h 29984"/>
              <a:gd name="connsiteX5" fmla="*/ 2821 w 12350"/>
              <a:gd name="connsiteY5" fmla="*/ 29522 h 29984"/>
              <a:gd name="connsiteX6" fmla="*/ 0 w 12350"/>
              <a:gd name="connsiteY6" fmla="*/ 29606 h 29984"/>
              <a:gd name="connsiteX0" fmla="*/ 12206 w 12412"/>
              <a:gd name="connsiteY0" fmla="*/ 0 h 29984"/>
              <a:gd name="connsiteX1" fmla="*/ 12292 w 12412"/>
              <a:gd name="connsiteY1" fmla="*/ 28796 h 29984"/>
              <a:gd name="connsiteX2" fmla="*/ 10216 w 12412"/>
              <a:gd name="connsiteY2" fmla="*/ 29477 h 29984"/>
              <a:gd name="connsiteX3" fmla="*/ 4199 w 12412"/>
              <a:gd name="connsiteY3" fmla="*/ 29522 h 29984"/>
              <a:gd name="connsiteX4" fmla="*/ 3588 w 12412"/>
              <a:gd name="connsiteY4" fmla="*/ 29984 h 29984"/>
              <a:gd name="connsiteX5" fmla="*/ 2821 w 12412"/>
              <a:gd name="connsiteY5" fmla="*/ 29522 h 29984"/>
              <a:gd name="connsiteX6" fmla="*/ 0 w 12412"/>
              <a:gd name="connsiteY6" fmla="*/ 29606 h 29984"/>
              <a:gd name="connsiteX0" fmla="*/ 12361 w 12567"/>
              <a:gd name="connsiteY0" fmla="*/ 0 h 29984"/>
              <a:gd name="connsiteX1" fmla="*/ 12447 w 12567"/>
              <a:gd name="connsiteY1" fmla="*/ 28796 h 29984"/>
              <a:gd name="connsiteX2" fmla="*/ 10371 w 12567"/>
              <a:gd name="connsiteY2" fmla="*/ 29477 h 29984"/>
              <a:gd name="connsiteX3" fmla="*/ 4354 w 12567"/>
              <a:gd name="connsiteY3" fmla="*/ 29522 h 29984"/>
              <a:gd name="connsiteX4" fmla="*/ 3743 w 12567"/>
              <a:gd name="connsiteY4" fmla="*/ 29984 h 29984"/>
              <a:gd name="connsiteX5" fmla="*/ 2976 w 12567"/>
              <a:gd name="connsiteY5" fmla="*/ 29522 h 29984"/>
              <a:gd name="connsiteX6" fmla="*/ 0 w 12567"/>
              <a:gd name="connsiteY6" fmla="*/ 29458 h 29984"/>
              <a:gd name="connsiteX0" fmla="*/ 12438 w 12644"/>
              <a:gd name="connsiteY0" fmla="*/ 0 h 29984"/>
              <a:gd name="connsiteX1" fmla="*/ 12524 w 12644"/>
              <a:gd name="connsiteY1" fmla="*/ 28796 h 29984"/>
              <a:gd name="connsiteX2" fmla="*/ 10448 w 12644"/>
              <a:gd name="connsiteY2" fmla="*/ 29477 h 29984"/>
              <a:gd name="connsiteX3" fmla="*/ 4431 w 12644"/>
              <a:gd name="connsiteY3" fmla="*/ 29522 h 29984"/>
              <a:gd name="connsiteX4" fmla="*/ 3820 w 12644"/>
              <a:gd name="connsiteY4" fmla="*/ 29984 h 29984"/>
              <a:gd name="connsiteX5" fmla="*/ 3053 w 12644"/>
              <a:gd name="connsiteY5" fmla="*/ 29522 h 29984"/>
              <a:gd name="connsiteX6" fmla="*/ 0 w 12644"/>
              <a:gd name="connsiteY6" fmla="*/ 29532 h 29984"/>
              <a:gd name="connsiteX0" fmla="*/ 12438 w 12644"/>
              <a:gd name="connsiteY0" fmla="*/ 0 h 29984"/>
              <a:gd name="connsiteX1" fmla="*/ 12524 w 12644"/>
              <a:gd name="connsiteY1" fmla="*/ 28796 h 29984"/>
              <a:gd name="connsiteX2" fmla="*/ 10448 w 12644"/>
              <a:gd name="connsiteY2" fmla="*/ 29477 h 29984"/>
              <a:gd name="connsiteX3" fmla="*/ 4431 w 12644"/>
              <a:gd name="connsiteY3" fmla="*/ 29522 h 29984"/>
              <a:gd name="connsiteX4" fmla="*/ 3820 w 12644"/>
              <a:gd name="connsiteY4" fmla="*/ 29984 h 29984"/>
              <a:gd name="connsiteX5" fmla="*/ 3053 w 12644"/>
              <a:gd name="connsiteY5" fmla="*/ 29522 h 29984"/>
              <a:gd name="connsiteX6" fmla="*/ 0 w 12644"/>
              <a:gd name="connsiteY6" fmla="*/ 29532 h 29984"/>
              <a:gd name="connsiteX0" fmla="*/ 12438 w 12589"/>
              <a:gd name="connsiteY0" fmla="*/ 0 h 29984"/>
              <a:gd name="connsiteX1" fmla="*/ 12524 w 12589"/>
              <a:gd name="connsiteY1" fmla="*/ 28796 h 29984"/>
              <a:gd name="connsiteX2" fmla="*/ 10448 w 12589"/>
              <a:gd name="connsiteY2" fmla="*/ 29477 h 29984"/>
              <a:gd name="connsiteX3" fmla="*/ 4431 w 12589"/>
              <a:gd name="connsiteY3" fmla="*/ 29522 h 29984"/>
              <a:gd name="connsiteX4" fmla="*/ 3820 w 12589"/>
              <a:gd name="connsiteY4" fmla="*/ 29984 h 29984"/>
              <a:gd name="connsiteX5" fmla="*/ 3053 w 12589"/>
              <a:gd name="connsiteY5" fmla="*/ 29522 h 29984"/>
              <a:gd name="connsiteX6" fmla="*/ 0 w 12589"/>
              <a:gd name="connsiteY6" fmla="*/ 29532 h 29984"/>
              <a:gd name="connsiteX0" fmla="*/ 12438 w 12589"/>
              <a:gd name="connsiteY0" fmla="*/ 0 h 29984"/>
              <a:gd name="connsiteX1" fmla="*/ 12524 w 12589"/>
              <a:gd name="connsiteY1" fmla="*/ 28900 h 29984"/>
              <a:gd name="connsiteX2" fmla="*/ 10448 w 12589"/>
              <a:gd name="connsiteY2" fmla="*/ 29477 h 29984"/>
              <a:gd name="connsiteX3" fmla="*/ 4431 w 12589"/>
              <a:gd name="connsiteY3" fmla="*/ 29522 h 29984"/>
              <a:gd name="connsiteX4" fmla="*/ 3820 w 12589"/>
              <a:gd name="connsiteY4" fmla="*/ 29984 h 29984"/>
              <a:gd name="connsiteX5" fmla="*/ 3053 w 12589"/>
              <a:gd name="connsiteY5" fmla="*/ 29522 h 29984"/>
              <a:gd name="connsiteX6" fmla="*/ 0 w 12589"/>
              <a:gd name="connsiteY6" fmla="*/ 29532 h 29984"/>
              <a:gd name="connsiteX0" fmla="*/ 12786 w 12786"/>
              <a:gd name="connsiteY0" fmla="*/ 0 h 29947"/>
              <a:gd name="connsiteX1" fmla="*/ 12524 w 12786"/>
              <a:gd name="connsiteY1" fmla="*/ 28863 h 29947"/>
              <a:gd name="connsiteX2" fmla="*/ 10448 w 12786"/>
              <a:gd name="connsiteY2" fmla="*/ 29440 h 29947"/>
              <a:gd name="connsiteX3" fmla="*/ 4431 w 12786"/>
              <a:gd name="connsiteY3" fmla="*/ 29485 h 29947"/>
              <a:gd name="connsiteX4" fmla="*/ 3820 w 12786"/>
              <a:gd name="connsiteY4" fmla="*/ 29947 h 29947"/>
              <a:gd name="connsiteX5" fmla="*/ 3053 w 12786"/>
              <a:gd name="connsiteY5" fmla="*/ 29485 h 29947"/>
              <a:gd name="connsiteX6" fmla="*/ 0 w 12786"/>
              <a:gd name="connsiteY6" fmla="*/ 29495 h 29947"/>
              <a:gd name="connsiteX0" fmla="*/ 12554 w 12610"/>
              <a:gd name="connsiteY0" fmla="*/ 0 h 29836"/>
              <a:gd name="connsiteX1" fmla="*/ 12524 w 12610"/>
              <a:gd name="connsiteY1" fmla="*/ 28752 h 29836"/>
              <a:gd name="connsiteX2" fmla="*/ 10448 w 12610"/>
              <a:gd name="connsiteY2" fmla="*/ 29329 h 29836"/>
              <a:gd name="connsiteX3" fmla="*/ 4431 w 12610"/>
              <a:gd name="connsiteY3" fmla="*/ 29374 h 29836"/>
              <a:gd name="connsiteX4" fmla="*/ 3820 w 12610"/>
              <a:gd name="connsiteY4" fmla="*/ 29836 h 29836"/>
              <a:gd name="connsiteX5" fmla="*/ 3053 w 12610"/>
              <a:gd name="connsiteY5" fmla="*/ 29374 h 29836"/>
              <a:gd name="connsiteX6" fmla="*/ 0 w 12610"/>
              <a:gd name="connsiteY6" fmla="*/ 29384 h 29836"/>
              <a:gd name="connsiteX0" fmla="*/ 12524 w 12524"/>
              <a:gd name="connsiteY0" fmla="*/ 0 h 1084"/>
              <a:gd name="connsiteX1" fmla="*/ 10448 w 12524"/>
              <a:gd name="connsiteY1" fmla="*/ 577 h 1084"/>
              <a:gd name="connsiteX2" fmla="*/ 4431 w 12524"/>
              <a:gd name="connsiteY2" fmla="*/ 622 h 1084"/>
              <a:gd name="connsiteX3" fmla="*/ 3820 w 12524"/>
              <a:gd name="connsiteY3" fmla="*/ 1084 h 1084"/>
              <a:gd name="connsiteX4" fmla="*/ 3053 w 12524"/>
              <a:gd name="connsiteY4" fmla="*/ 622 h 1084"/>
              <a:gd name="connsiteX5" fmla="*/ 0 w 12524"/>
              <a:gd name="connsiteY5" fmla="*/ 632 h 1084"/>
              <a:gd name="connsiteX0" fmla="*/ 10104 w 10104"/>
              <a:gd name="connsiteY0" fmla="*/ 0 h 18836"/>
              <a:gd name="connsiteX1" fmla="*/ 8342 w 10104"/>
              <a:gd name="connsiteY1" fmla="*/ 14159 h 18836"/>
              <a:gd name="connsiteX2" fmla="*/ 3538 w 10104"/>
              <a:gd name="connsiteY2" fmla="*/ 14574 h 18836"/>
              <a:gd name="connsiteX3" fmla="*/ 3050 w 10104"/>
              <a:gd name="connsiteY3" fmla="*/ 18836 h 18836"/>
              <a:gd name="connsiteX4" fmla="*/ 2438 w 10104"/>
              <a:gd name="connsiteY4" fmla="*/ 14574 h 18836"/>
              <a:gd name="connsiteX5" fmla="*/ 0 w 10104"/>
              <a:gd name="connsiteY5" fmla="*/ 14666 h 18836"/>
              <a:gd name="connsiteX0" fmla="*/ 10104 w 10107"/>
              <a:gd name="connsiteY0" fmla="*/ 0 h 18836"/>
              <a:gd name="connsiteX1" fmla="*/ 8342 w 10107"/>
              <a:gd name="connsiteY1" fmla="*/ 14159 h 18836"/>
              <a:gd name="connsiteX2" fmla="*/ 3538 w 10107"/>
              <a:gd name="connsiteY2" fmla="*/ 14574 h 18836"/>
              <a:gd name="connsiteX3" fmla="*/ 3050 w 10107"/>
              <a:gd name="connsiteY3" fmla="*/ 18836 h 18836"/>
              <a:gd name="connsiteX4" fmla="*/ 2438 w 10107"/>
              <a:gd name="connsiteY4" fmla="*/ 14574 h 18836"/>
              <a:gd name="connsiteX5" fmla="*/ 0 w 10107"/>
              <a:gd name="connsiteY5" fmla="*/ 14666 h 18836"/>
              <a:gd name="connsiteX0" fmla="*/ 10312 w 10315"/>
              <a:gd name="connsiteY0" fmla="*/ 0 h 78962"/>
              <a:gd name="connsiteX1" fmla="*/ 8342 w 10315"/>
              <a:gd name="connsiteY1" fmla="*/ 74285 h 78962"/>
              <a:gd name="connsiteX2" fmla="*/ 3538 w 10315"/>
              <a:gd name="connsiteY2" fmla="*/ 74700 h 78962"/>
              <a:gd name="connsiteX3" fmla="*/ 3050 w 10315"/>
              <a:gd name="connsiteY3" fmla="*/ 78962 h 78962"/>
              <a:gd name="connsiteX4" fmla="*/ 2438 w 10315"/>
              <a:gd name="connsiteY4" fmla="*/ 74700 h 78962"/>
              <a:gd name="connsiteX5" fmla="*/ 0 w 10315"/>
              <a:gd name="connsiteY5" fmla="*/ 74792 h 78962"/>
              <a:gd name="connsiteX0" fmla="*/ 10312 w 10312"/>
              <a:gd name="connsiteY0" fmla="*/ 0 h 78962"/>
              <a:gd name="connsiteX1" fmla="*/ 10035 w 10312"/>
              <a:gd name="connsiteY1" fmla="*/ 24752 h 78962"/>
              <a:gd name="connsiteX2" fmla="*/ 8342 w 10312"/>
              <a:gd name="connsiteY2" fmla="*/ 74285 h 78962"/>
              <a:gd name="connsiteX3" fmla="*/ 3538 w 10312"/>
              <a:gd name="connsiteY3" fmla="*/ 74700 h 78962"/>
              <a:gd name="connsiteX4" fmla="*/ 3050 w 10312"/>
              <a:gd name="connsiteY4" fmla="*/ 78962 h 78962"/>
              <a:gd name="connsiteX5" fmla="*/ 2438 w 10312"/>
              <a:gd name="connsiteY5" fmla="*/ 74700 h 78962"/>
              <a:gd name="connsiteX6" fmla="*/ 0 w 10312"/>
              <a:gd name="connsiteY6" fmla="*/ 74792 h 78962"/>
              <a:gd name="connsiteX0" fmla="*/ 10312 w 10312"/>
              <a:gd name="connsiteY0" fmla="*/ 0 h 78962"/>
              <a:gd name="connsiteX1" fmla="*/ 10087 w 10312"/>
              <a:gd name="connsiteY1" fmla="*/ 69702 h 78962"/>
              <a:gd name="connsiteX2" fmla="*/ 8342 w 10312"/>
              <a:gd name="connsiteY2" fmla="*/ 74285 h 78962"/>
              <a:gd name="connsiteX3" fmla="*/ 3538 w 10312"/>
              <a:gd name="connsiteY3" fmla="*/ 74700 h 78962"/>
              <a:gd name="connsiteX4" fmla="*/ 3050 w 10312"/>
              <a:gd name="connsiteY4" fmla="*/ 78962 h 78962"/>
              <a:gd name="connsiteX5" fmla="*/ 2438 w 10312"/>
              <a:gd name="connsiteY5" fmla="*/ 74700 h 78962"/>
              <a:gd name="connsiteX6" fmla="*/ 0 w 10312"/>
              <a:gd name="connsiteY6" fmla="*/ 74792 h 78962"/>
              <a:gd name="connsiteX0" fmla="*/ 10312 w 10312"/>
              <a:gd name="connsiteY0" fmla="*/ 0 h 78962"/>
              <a:gd name="connsiteX1" fmla="*/ 10087 w 10312"/>
              <a:gd name="connsiteY1" fmla="*/ 69702 h 78962"/>
              <a:gd name="connsiteX2" fmla="*/ 8342 w 10312"/>
              <a:gd name="connsiteY2" fmla="*/ 74285 h 78962"/>
              <a:gd name="connsiteX3" fmla="*/ 3538 w 10312"/>
              <a:gd name="connsiteY3" fmla="*/ 74700 h 78962"/>
              <a:gd name="connsiteX4" fmla="*/ 3050 w 10312"/>
              <a:gd name="connsiteY4" fmla="*/ 78962 h 78962"/>
              <a:gd name="connsiteX5" fmla="*/ 2438 w 10312"/>
              <a:gd name="connsiteY5" fmla="*/ 74700 h 78962"/>
              <a:gd name="connsiteX6" fmla="*/ 0 w 10312"/>
              <a:gd name="connsiteY6" fmla="*/ 74792 h 78962"/>
              <a:gd name="connsiteX0" fmla="*/ 10312 w 10312"/>
              <a:gd name="connsiteY0" fmla="*/ 0 h 78962"/>
              <a:gd name="connsiteX1" fmla="*/ 10087 w 10312"/>
              <a:gd name="connsiteY1" fmla="*/ 69702 h 78962"/>
              <a:gd name="connsiteX2" fmla="*/ 8342 w 10312"/>
              <a:gd name="connsiteY2" fmla="*/ 74285 h 78962"/>
              <a:gd name="connsiteX3" fmla="*/ 3538 w 10312"/>
              <a:gd name="connsiteY3" fmla="*/ 74700 h 78962"/>
              <a:gd name="connsiteX4" fmla="*/ 3050 w 10312"/>
              <a:gd name="connsiteY4" fmla="*/ 78962 h 78962"/>
              <a:gd name="connsiteX5" fmla="*/ 2438 w 10312"/>
              <a:gd name="connsiteY5" fmla="*/ 74700 h 78962"/>
              <a:gd name="connsiteX6" fmla="*/ 0 w 10312"/>
              <a:gd name="connsiteY6" fmla="*/ 74792 h 78962"/>
              <a:gd name="connsiteX0" fmla="*/ 10312 w 10312"/>
              <a:gd name="connsiteY0" fmla="*/ 0 h 78962"/>
              <a:gd name="connsiteX1" fmla="*/ 10087 w 10312"/>
              <a:gd name="connsiteY1" fmla="*/ 69702 h 78962"/>
              <a:gd name="connsiteX2" fmla="*/ 8342 w 10312"/>
              <a:gd name="connsiteY2" fmla="*/ 74285 h 78962"/>
              <a:gd name="connsiteX3" fmla="*/ 3538 w 10312"/>
              <a:gd name="connsiteY3" fmla="*/ 74700 h 78962"/>
              <a:gd name="connsiteX4" fmla="*/ 3050 w 10312"/>
              <a:gd name="connsiteY4" fmla="*/ 78962 h 78962"/>
              <a:gd name="connsiteX5" fmla="*/ 2438 w 10312"/>
              <a:gd name="connsiteY5" fmla="*/ 74700 h 78962"/>
              <a:gd name="connsiteX6" fmla="*/ 0 w 10312"/>
              <a:gd name="connsiteY6" fmla="*/ 74792 h 78962"/>
              <a:gd name="connsiteX0" fmla="*/ 10312 w 10312"/>
              <a:gd name="connsiteY0" fmla="*/ 0 h 78962"/>
              <a:gd name="connsiteX1" fmla="*/ 10087 w 10312"/>
              <a:gd name="connsiteY1" fmla="*/ 69702 h 78962"/>
              <a:gd name="connsiteX2" fmla="*/ 9069 w 10312"/>
              <a:gd name="connsiteY2" fmla="*/ 74285 h 78962"/>
              <a:gd name="connsiteX3" fmla="*/ 3538 w 10312"/>
              <a:gd name="connsiteY3" fmla="*/ 74700 h 78962"/>
              <a:gd name="connsiteX4" fmla="*/ 3050 w 10312"/>
              <a:gd name="connsiteY4" fmla="*/ 78962 h 78962"/>
              <a:gd name="connsiteX5" fmla="*/ 2438 w 10312"/>
              <a:gd name="connsiteY5" fmla="*/ 74700 h 78962"/>
              <a:gd name="connsiteX6" fmla="*/ 0 w 10312"/>
              <a:gd name="connsiteY6" fmla="*/ 74792 h 78962"/>
              <a:gd name="connsiteX0" fmla="*/ 10312 w 10312"/>
              <a:gd name="connsiteY0" fmla="*/ 0 h 78962"/>
              <a:gd name="connsiteX1" fmla="*/ 10087 w 10312"/>
              <a:gd name="connsiteY1" fmla="*/ 69702 h 78962"/>
              <a:gd name="connsiteX2" fmla="*/ 9069 w 10312"/>
              <a:gd name="connsiteY2" fmla="*/ 74285 h 78962"/>
              <a:gd name="connsiteX3" fmla="*/ 3538 w 10312"/>
              <a:gd name="connsiteY3" fmla="*/ 74700 h 78962"/>
              <a:gd name="connsiteX4" fmla="*/ 3050 w 10312"/>
              <a:gd name="connsiteY4" fmla="*/ 78962 h 78962"/>
              <a:gd name="connsiteX5" fmla="*/ 2438 w 10312"/>
              <a:gd name="connsiteY5" fmla="*/ 74700 h 78962"/>
              <a:gd name="connsiteX6" fmla="*/ 0 w 10312"/>
              <a:gd name="connsiteY6" fmla="*/ 74792 h 78962"/>
              <a:gd name="connsiteX0" fmla="*/ 10312 w 10312"/>
              <a:gd name="connsiteY0" fmla="*/ 0 h 78962"/>
              <a:gd name="connsiteX1" fmla="*/ 10087 w 10312"/>
              <a:gd name="connsiteY1" fmla="*/ 69702 h 78962"/>
              <a:gd name="connsiteX2" fmla="*/ 9069 w 10312"/>
              <a:gd name="connsiteY2" fmla="*/ 74285 h 78962"/>
              <a:gd name="connsiteX3" fmla="*/ 3538 w 10312"/>
              <a:gd name="connsiteY3" fmla="*/ 74700 h 78962"/>
              <a:gd name="connsiteX4" fmla="*/ 3050 w 10312"/>
              <a:gd name="connsiteY4" fmla="*/ 78962 h 78962"/>
              <a:gd name="connsiteX5" fmla="*/ 2438 w 10312"/>
              <a:gd name="connsiteY5" fmla="*/ 74700 h 78962"/>
              <a:gd name="connsiteX6" fmla="*/ 0 w 10312"/>
              <a:gd name="connsiteY6" fmla="*/ 74792 h 78962"/>
              <a:gd name="connsiteX0" fmla="*/ 10182 w 10182"/>
              <a:gd name="connsiteY0" fmla="*/ 0 h 271058"/>
              <a:gd name="connsiteX1" fmla="*/ 10087 w 10182"/>
              <a:gd name="connsiteY1" fmla="*/ 261798 h 271058"/>
              <a:gd name="connsiteX2" fmla="*/ 9069 w 10182"/>
              <a:gd name="connsiteY2" fmla="*/ 266381 h 271058"/>
              <a:gd name="connsiteX3" fmla="*/ 3538 w 10182"/>
              <a:gd name="connsiteY3" fmla="*/ 266796 h 271058"/>
              <a:gd name="connsiteX4" fmla="*/ 3050 w 10182"/>
              <a:gd name="connsiteY4" fmla="*/ 271058 h 271058"/>
              <a:gd name="connsiteX5" fmla="*/ 2438 w 10182"/>
              <a:gd name="connsiteY5" fmla="*/ 266796 h 271058"/>
              <a:gd name="connsiteX6" fmla="*/ 0 w 10182"/>
              <a:gd name="connsiteY6" fmla="*/ 266888 h 271058"/>
              <a:gd name="connsiteX0" fmla="*/ 10182 w 10182"/>
              <a:gd name="connsiteY0" fmla="*/ 0 h 271058"/>
              <a:gd name="connsiteX1" fmla="*/ 10087 w 10182"/>
              <a:gd name="connsiteY1" fmla="*/ 261798 h 271058"/>
              <a:gd name="connsiteX2" fmla="*/ 9069 w 10182"/>
              <a:gd name="connsiteY2" fmla="*/ 266381 h 271058"/>
              <a:gd name="connsiteX3" fmla="*/ 3538 w 10182"/>
              <a:gd name="connsiteY3" fmla="*/ 266796 h 271058"/>
              <a:gd name="connsiteX4" fmla="*/ 3050 w 10182"/>
              <a:gd name="connsiteY4" fmla="*/ 271058 h 271058"/>
              <a:gd name="connsiteX5" fmla="*/ 2438 w 10182"/>
              <a:gd name="connsiteY5" fmla="*/ 266796 h 271058"/>
              <a:gd name="connsiteX6" fmla="*/ 0 w 10182"/>
              <a:gd name="connsiteY6" fmla="*/ 266888 h 271058"/>
              <a:gd name="connsiteX0" fmla="*/ 10182 w 10196"/>
              <a:gd name="connsiteY0" fmla="*/ 0 h 271058"/>
              <a:gd name="connsiteX1" fmla="*/ 10087 w 10196"/>
              <a:gd name="connsiteY1" fmla="*/ 261798 h 271058"/>
              <a:gd name="connsiteX2" fmla="*/ 9069 w 10196"/>
              <a:gd name="connsiteY2" fmla="*/ 266381 h 271058"/>
              <a:gd name="connsiteX3" fmla="*/ 3538 w 10196"/>
              <a:gd name="connsiteY3" fmla="*/ 266796 h 271058"/>
              <a:gd name="connsiteX4" fmla="*/ 3050 w 10196"/>
              <a:gd name="connsiteY4" fmla="*/ 271058 h 271058"/>
              <a:gd name="connsiteX5" fmla="*/ 2438 w 10196"/>
              <a:gd name="connsiteY5" fmla="*/ 266796 h 271058"/>
              <a:gd name="connsiteX6" fmla="*/ 0 w 10196"/>
              <a:gd name="connsiteY6" fmla="*/ 266888 h 271058"/>
              <a:gd name="connsiteX0" fmla="*/ 10182 w 10276"/>
              <a:gd name="connsiteY0" fmla="*/ 0 h 271058"/>
              <a:gd name="connsiteX1" fmla="*/ 10229 w 10276"/>
              <a:gd name="connsiteY1" fmla="*/ 261798 h 271058"/>
              <a:gd name="connsiteX2" fmla="*/ 9069 w 10276"/>
              <a:gd name="connsiteY2" fmla="*/ 266381 h 271058"/>
              <a:gd name="connsiteX3" fmla="*/ 3538 w 10276"/>
              <a:gd name="connsiteY3" fmla="*/ 266796 h 271058"/>
              <a:gd name="connsiteX4" fmla="*/ 3050 w 10276"/>
              <a:gd name="connsiteY4" fmla="*/ 271058 h 271058"/>
              <a:gd name="connsiteX5" fmla="*/ 2438 w 10276"/>
              <a:gd name="connsiteY5" fmla="*/ 266796 h 271058"/>
              <a:gd name="connsiteX6" fmla="*/ 0 w 10276"/>
              <a:gd name="connsiteY6" fmla="*/ 266888 h 271058"/>
              <a:gd name="connsiteX0" fmla="*/ 10182 w 10256"/>
              <a:gd name="connsiteY0" fmla="*/ 0 h 271058"/>
              <a:gd name="connsiteX1" fmla="*/ 10229 w 10256"/>
              <a:gd name="connsiteY1" fmla="*/ 261798 h 271058"/>
              <a:gd name="connsiteX2" fmla="*/ 9069 w 10256"/>
              <a:gd name="connsiteY2" fmla="*/ 266381 h 271058"/>
              <a:gd name="connsiteX3" fmla="*/ 3538 w 10256"/>
              <a:gd name="connsiteY3" fmla="*/ 266796 h 271058"/>
              <a:gd name="connsiteX4" fmla="*/ 3050 w 10256"/>
              <a:gd name="connsiteY4" fmla="*/ 271058 h 271058"/>
              <a:gd name="connsiteX5" fmla="*/ 2438 w 10256"/>
              <a:gd name="connsiteY5" fmla="*/ 266796 h 271058"/>
              <a:gd name="connsiteX6" fmla="*/ 0 w 10256"/>
              <a:gd name="connsiteY6" fmla="*/ 266888 h 271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56" h="271058">
                <a:moveTo>
                  <a:pt x="10182" y="0"/>
                </a:moveTo>
                <a:cubicBezTo>
                  <a:pt x="10209" y="253032"/>
                  <a:pt x="10302" y="112461"/>
                  <a:pt x="10229" y="261798"/>
                </a:cubicBezTo>
                <a:cubicBezTo>
                  <a:pt x="10187" y="267263"/>
                  <a:pt x="9502" y="266316"/>
                  <a:pt x="9069" y="266381"/>
                </a:cubicBezTo>
                <a:lnTo>
                  <a:pt x="3538" y="266796"/>
                </a:lnTo>
                <a:cubicBezTo>
                  <a:pt x="3107" y="266796"/>
                  <a:pt x="3050" y="271058"/>
                  <a:pt x="3050" y="271058"/>
                </a:cubicBezTo>
                <a:cubicBezTo>
                  <a:pt x="3050" y="271058"/>
                  <a:pt x="2870" y="266796"/>
                  <a:pt x="2438" y="266796"/>
                </a:cubicBezTo>
                <a:lnTo>
                  <a:pt x="0" y="266888"/>
                </a:lnTo>
              </a:path>
            </a:pathLst>
          </a:custGeom>
          <a:solidFill>
            <a:schemeClr val="bg1"/>
          </a:solidFill>
          <a:ln w="28575">
            <a:solidFill>
              <a:schemeClr val="accent5"/>
            </a:solidFill>
            <a:round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" name="Groupe 210"/>
          <p:cNvGrpSpPr/>
          <p:nvPr/>
        </p:nvGrpSpPr>
        <p:grpSpPr>
          <a:xfrm>
            <a:off x="7332315" y="1580598"/>
            <a:ext cx="168532" cy="397593"/>
            <a:chOff x="5103944" y="2824502"/>
            <a:chExt cx="160659" cy="430210"/>
          </a:xfrm>
          <a:effectLst/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5103944" y="2824502"/>
              <a:ext cx="157982" cy="255270"/>
            </a:xfrm>
            <a:custGeom>
              <a:avLst/>
              <a:gdLst/>
              <a:ahLst/>
              <a:cxnLst>
                <a:cxn ang="0">
                  <a:pos x="12" y="121"/>
                </a:cxn>
                <a:cxn ang="0">
                  <a:pos x="0" y="84"/>
                </a:cxn>
                <a:cxn ang="0">
                  <a:pos x="27" y="38"/>
                </a:cxn>
                <a:cxn ang="0">
                  <a:pos x="20" y="20"/>
                </a:cxn>
                <a:cxn ang="0">
                  <a:pos x="34" y="0"/>
                </a:cxn>
                <a:cxn ang="0">
                  <a:pos x="50" y="20"/>
                </a:cxn>
                <a:cxn ang="0">
                  <a:pos x="41" y="38"/>
                </a:cxn>
                <a:cxn ang="0">
                  <a:pos x="68" y="84"/>
                </a:cxn>
                <a:cxn ang="0">
                  <a:pos x="75" y="105"/>
                </a:cxn>
                <a:cxn ang="0">
                  <a:pos x="69" y="107"/>
                </a:cxn>
              </a:cxnLst>
              <a:rect l="0" t="0" r="r" b="b"/>
              <a:pathLst>
                <a:path w="75" h="121">
                  <a:moveTo>
                    <a:pt x="12" y="121"/>
                  </a:moveTo>
                  <a:cubicBezTo>
                    <a:pt x="11" y="117"/>
                    <a:pt x="2" y="103"/>
                    <a:pt x="0" y="84"/>
                  </a:cubicBezTo>
                  <a:cubicBezTo>
                    <a:pt x="0" y="58"/>
                    <a:pt x="8" y="39"/>
                    <a:pt x="27" y="38"/>
                  </a:cubicBezTo>
                  <a:cubicBezTo>
                    <a:pt x="25" y="34"/>
                    <a:pt x="20" y="26"/>
                    <a:pt x="20" y="20"/>
                  </a:cubicBezTo>
                  <a:cubicBezTo>
                    <a:pt x="20" y="9"/>
                    <a:pt x="26" y="0"/>
                    <a:pt x="34" y="0"/>
                  </a:cubicBezTo>
                  <a:cubicBezTo>
                    <a:pt x="43" y="0"/>
                    <a:pt x="50" y="9"/>
                    <a:pt x="50" y="20"/>
                  </a:cubicBezTo>
                  <a:cubicBezTo>
                    <a:pt x="50" y="26"/>
                    <a:pt x="45" y="34"/>
                    <a:pt x="41" y="38"/>
                  </a:cubicBezTo>
                  <a:cubicBezTo>
                    <a:pt x="68" y="40"/>
                    <a:pt x="68" y="58"/>
                    <a:pt x="68" y="84"/>
                  </a:cubicBezTo>
                  <a:cubicBezTo>
                    <a:pt x="73" y="94"/>
                    <a:pt x="75" y="102"/>
                    <a:pt x="75" y="105"/>
                  </a:cubicBezTo>
                  <a:cubicBezTo>
                    <a:pt x="72" y="106"/>
                    <a:pt x="73" y="106"/>
                    <a:pt x="69" y="107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5123580" y="2957492"/>
              <a:ext cx="102644" cy="297220"/>
            </a:xfrm>
            <a:custGeom>
              <a:avLst/>
              <a:gdLst/>
              <a:ahLst/>
              <a:cxnLst>
                <a:cxn ang="0">
                  <a:pos x="49" y="1"/>
                </a:cxn>
                <a:cxn ang="0">
                  <a:pos x="47" y="28"/>
                </a:cxn>
                <a:cxn ang="0">
                  <a:pos x="49" y="52"/>
                </a:cxn>
                <a:cxn ang="0">
                  <a:pos x="47" y="52"/>
                </a:cxn>
                <a:cxn ang="0">
                  <a:pos x="44" y="141"/>
                </a:cxn>
                <a:cxn ang="0">
                  <a:pos x="31" y="141"/>
                </a:cxn>
                <a:cxn ang="0">
                  <a:pos x="27" y="63"/>
                </a:cxn>
                <a:cxn ang="0">
                  <a:pos x="21" y="141"/>
                </a:cxn>
                <a:cxn ang="0">
                  <a:pos x="8" y="141"/>
                </a:cxn>
                <a:cxn ang="0">
                  <a:pos x="3" y="50"/>
                </a:cxn>
                <a:cxn ang="0">
                  <a:pos x="1" y="50"/>
                </a:cxn>
                <a:cxn ang="0">
                  <a:pos x="4" y="27"/>
                </a:cxn>
                <a:cxn ang="0">
                  <a:pos x="2" y="0"/>
                </a:cxn>
              </a:cxnLst>
              <a:rect l="0" t="0" r="r" b="b"/>
              <a:pathLst>
                <a:path w="49" h="141">
                  <a:moveTo>
                    <a:pt x="49" y="1"/>
                  </a:moveTo>
                  <a:cubicBezTo>
                    <a:pt x="49" y="6"/>
                    <a:pt x="49" y="20"/>
                    <a:pt x="47" y="28"/>
                  </a:cubicBezTo>
                  <a:cubicBezTo>
                    <a:pt x="49" y="38"/>
                    <a:pt x="49" y="48"/>
                    <a:pt x="49" y="52"/>
                  </a:cubicBezTo>
                  <a:cubicBezTo>
                    <a:pt x="47" y="52"/>
                    <a:pt x="48" y="52"/>
                    <a:pt x="47" y="52"/>
                  </a:cubicBezTo>
                  <a:cubicBezTo>
                    <a:pt x="46" y="68"/>
                    <a:pt x="47" y="126"/>
                    <a:pt x="44" y="141"/>
                  </a:cubicBezTo>
                  <a:cubicBezTo>
                    <a:pt x="31" y="141"/>
                    <a:pt x="31" y="141"/>
                    <a:pt x="31" y="141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50"/>
                    <a:pt x="2" y="50"/>
                    <a:pt x="1" y="50"/>
                  </a:cubicBezTo>
                  <a:cubicBezTo>
                    <a:pt x="1" y="45"/>
                    <a:pt x="0" y="36"/>
                    <a:pt x="4" y="27"/>
                  </a:cubicBezTo>
                  <a:cubicBezTo>
                    <a:pt x="1" y="18"/>
                    <a:pt x="2" y="10"/>
                    <a:pt x="2" y="0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5243182" y="3052995"/>
              <a:ext cx="21421" cy="8568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41"/>
                </a:cxn>
                <a:cxn ang="0">
                  <a:pos x="0" y="41"/>
                </a:cxn>
                <a:cxn ang="0">
                  <a:pos x="0" y="6"/>
                </a:cxn>
                <a:cxn ang="0">
                  <a:pos x="2" y="6"/>
                </a:cxn>
              </a:cxnLst>
              <a:rect l="0" t="0" r="r" b="b"/>
              <a:pathLst>
                <a:path w="10" h="41">
                  <a:moveTo>
                    <a:pt x="6" y="0"/>
                  </a:moveTo>
                  <a:cubicBezTo>
                    <a:pt x="6" y="3"/>
                    <a:pt x="6" y="4"/>
                    <a:pt x="6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8"/>
                    <a:pt x="10" y="29"/>
                    <a:pt x="1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9"/>
                    <a:pt x="0" y="18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5226224" y="3006582"/>
              <a:ext cx="8926" cy="3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6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cubicBezTo>
                    <a:pt x="1" y="6"/>
                    <a:pt x="2" y="10"/>
                    <a:pt x="4" y="16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5173563" y="2913757"/>
              <a:ext cx="38380" cy="15619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67"/>
                </a:cxn>
                <a:cxn ang="0">
                  <a:pos x="8" y="73"/>
                </a:cxn>
                <a:cxn ang="0">
                  <a:pos x="18" y="73"/>
                </a:cxn>
              </a:cxnLst>
              <a:rect l="0" t="0" r="r" b="b"/>
              <a:pathLst>
                <a:path w="18" h="74">
                  <a:moveTo>
                    <a:pt x="9" y="0"/>
                  </a:moveTo>
                  <a:cubicBezTo>
                    <a:pt x="3" y="18"/>
                    <a:pt x="0" y="45"/>
                    <a:pt x="2" y="67"/>
                  </a:cubicBezTo>
                  <a:cubicBezTo>
                    <a:pt x="3" y="72"/>
                    <a:pt x="5" y="72"/>
                    <a:pt x="8" y="73"/>
                  </a:cubicBezTo>
                  <a:cubicBezTo>
                    <a:pt x="12" y="74"/>
                    <a:pt x="14" y="74"/>
                    <a:pt x="18" y="73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5161067" y="2911080"/>
              <a:ext cx="12496" cy="490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3"/>
                </a:cxn>
              </a:cxnLst>
              <a:rect l="0" t="0" r="r" b="b"/>
              <a:pathLst>
                <a:path w="6" h="23">
                  <a:moveTo>
                    <a:pt x="0" y="0"/>
                  </a:moveTo>
                  <a:cubicBezTo>
                    <a:pt x="5" y="9"/>
                    <a:pt x="5" y="15"/>
                    <a:pt x="6" y="23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5137861" y="3050318"/>
              <a:ext cx="38380" cy="2142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7"/>
                </a:cxn>
              </a:cxnLst>
              <a:rect l="0" t="0" r="r" b="b"/>
              <a:pathLst>
                <a:path w="18" h="10">
                  <a:moveTo>
                    <a:pt x="18" y="0"/>
                  </a:moveTo>
                  <a:cubicBezTo>
                    <a:pt x="18" y="10"/>
                    <a:pt x="3" y="8"/>
                    <a:pt x="0" y="7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5171778" y="2907509"/>
              <a:ext cx="12496" cy="2945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4" y="5"/>
                </a:cxn>
                <a:cxn ang="0">
                  <a:pos x="6" y="14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0" y="11"/>
                    <a:pt x="0" y="8"/>
                    <a:pt x="2" y="5"/>
                  </a:cubicBezTo>
                  <a:cubicBezTo>
                    <a:pt x="1" y="3"/>
                    <a:pt x="0" y="3"/>
                    <a:pt x="0" y="0"/>
                  </a:cubicBezTo>
                  <a:cubicBezTo>
                    <a:pt x="2" y="1"/>
                    <a:pt x="4" y="1"/>
                    <a:pt x="6" y="0"/>
                  </a:cubicBezTo>
                  <a:cubicBezTo>
                    <a:pt x="6" y="2"/>
                    <a:pt x="5" y="3"/>
                    <a:pt x="4" y="5"/>
                  </a:cubicBezTo>
                  <a:cubicBezTo>
                    <a:pt x="6" y="7"/>
                    <a:pt x="6" y="11"/>
                    <a:pt x="6" y="14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3" name="Groupe 219"/>
          <p:cNvGrpSpPr/>
          <p:nvPr/>
        </p:nvGrpSpPr>
        <p:grpSpPr>
          <a:xfrm>
            <a:off x="5492292" y="1582245"/>
            <a:ext cx="168532" cy="397593"/>
            <a:chOff x="3356607" y="2826284"/>
            <a:chExt cx="160659" cy="430210"/>
          </a:xfrm>
          <a:effectLst/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3356607" y="2826284"/>
              <a:ext cx="157982" cy="255270"/>
            </a:xfrm>
            <a:custGeom>
              <a:avLst/>
              <a:gdLst/>
              <a:ahLst/>
              <a:cxnLst>
                <a:cxn ang="0">
                  <a:pos x="12" y="121"/>
                </a:cxn>
                <a:cxn ang="0">
                  <a:pos x="0" y="84"/>
                </a:cxn>
                <a:cxn ang="0">
                  <a:pos x="27" y="38"/>
                </a:cxn>
                <a:cxn ang="0">
                  <a:pos x="20" y="20"/>
                </a:cxn>
                <a:cxn ang="0">
                  <a:pos x="34" y="0"/>
                </a:cxn>
                <a:cxn ang="0">
                  <a:pos x="50" y="20"/>
                </a:cxn>
                <a:cxn ang="0">
                  <a:pos x="41" y="38"/>
                </a:cxn>
                <a:cxn ang="0">
                  <a:pos x="68" y="84"/>
                </a:cxn>
                <a:cxn ang="0">
                  <a:pos x="75" y="105"/>
                </a:cxn>
                <a:cxn ang="0">
                  <a:pos x="69" y="107"/>
                </a:cxn>
              </a:cxnLst>
              <a:rect l="0" t="0" r="r" b="b"/>
              <a:pathLst>
                <a:path w="75" h="121">
                  <a:moveTo>
                    <a:pt x="12" y="121"/>
                  </a:moveTo>
                  <a:cubicBezTo>
                    <a:pt x="11" y="117"/>
                    <a:pt x="2" y="103"/>
                    <a:pt x="0" y="84"/>
                  </a:cubicBezTo>
                  <a:cubicBezTo>
                    <a:pt x="0" y="58"/>
                    <a:pt x="8" y="39"/>
                    <a:pt x="27" y="38"/>
                  </a:cubicBezTo>
                  <a:cubicBezTo>
                    <a:pt x="25" y="34"/>
                    <a:pt x="20" y="26"/>
                    <a:pt x="20" y="20"/>
                  </a:cubicBezTo>
                  <a:cubicBezTo>
                    <a:pt x="20" y="9"/>
                    <a:pt x="26" y="0"/>
                    <a:pt x="34" y="0"/>
                  </a:cubicBezTo>
                  <a:cubicBezTo>
                    <a:pt x="43" y="0"/>
                    <a:pt x="50" y="9"/>
                    <a:pt x="50" y="20"/>
                  </a:cubicBezTo>
                  <a:cubicBezTo>
                    <a:pt x="50" y="26"/>
                    <a:pt x="45" y="34"/>
                    <a:pt x="41" y="38"/>
                  </a:cubicBezTo>
                  <a:cubicBezTo>
                    <a:pt x="68" y="40"/>
                    <a:pt x="68" y="58"/>
                    <a:pt x="68" y="84"/>
                  </a:cubicBezTo>
                  <a:cubicBezTo>
                    <a:pt x="73" y="94"/>
                    <a:pt x="75" y="102"/>
                    <a:pt x="75" y="105"/>
                  </a:cubicBezTo>
                  <a:cubicBezTo>
                    <a:pt x="72" y="106"/>
                    <a:pt x="73" y="106"/>
                    <a:pt x="69" y="107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376243" y="2959274"/>
              <a:ext cx="102644" cy="297220"/>
            </a:xfrm>
            <a:custGeom>
              <a:avLst/>
              <a:gdLst/>
              <a:ahLst/>
              <a:cxnLst>
                <a:cxn ang="0">
                  <a:pos x="49" y="1"/>
                </a:cxn>
                <a:cxn ang="0">
                  <a:pos x="47" y="28"/>
                </a:cxn>
                <a:cxn ang="0">
                  <a:pos x="49" y="52"/>
                </a:cxn>
                <a:cxn ang="0">
                  <a:pos x="47" y="52"/>
                </a:cxn>
                <a:cxn ang="0">
                  <a:pos x="44" y="141"/>
                </a:cxn>
                <a:cxn ang="0">
                  <a:pos x="31" y="141"/>
                </a:cxn>
                <a:cxn ang="0">
                  <a:pos x="27" y="63"/>
                </a:cxn>
                <a:cxn ang="0">
                  <a:pos x="21" y="141"/>
                </a:cxn>
                <a:cxn ang="0">
                  <a:pos x="8" y="141"/>
                </a:cxn>
                <a:cxn ang="0">
                  <a:pos x="3" y="50"/>
                </a:cxn>
                <a:cxn ang="0">
                  <a:pos x="1" y="50"/>
                </a:cxn>
                <a:cxn ang="0">
                  <a:pos x="4" y="27"/>
                </a:cxn>
                <a:cxn ang="0">
                  <a:pos x="2" y="0"/>
                </a:cxn>
              </a:cxnLst>
              <a:rect l="0" t="0" r="r" b="b"/>
              <a:pathLst>
                <a:path w="49" h="141">
                  <a:moveTo>
                    <a:pt x="49" y="1"/>
                  </a:moveTo>
                  <a:cubicBezTo>
                    <a:pt x="49" y="6"/>
                    <a:pt x="49" y="20"/>
                    <a:pt x="47" y="28"/>
                  </a:cubicBezTo>
                  <a:cubicBezTo>
                    <a:pt x="49" y="38"/>
                    <a:pt x="49" y="48"/>
                    <a:pt x="49" y="52"/>
                  </a:cubicBezTo>
                  <a:cubicBezTo>
                    <a:pt x="47" y="52"/>
                    <a:pt x="48" y="52"/>
                    <a:pt x="47" y="52"/>
                  </a:cubicBezTo>
                  <a:cubicBezTo>
                    <a:pt x="46" y="68"/>
                    <a:pt x="47" y="126"/>
                    <a:pt x="44" y="141"/>
                  </a:cubicBezTo>
                  <a:cubicBezTo>
                    <a:pt x="31" y="141"/>
                    <a:pt x="31" y="141"/>
                    <a:pt x="31" y="141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50"/>
                    <a:pt x="2" y="50"/>
                    <a:pt x="1" y="50"/>
                  </a:cubicBezTo>
                  <a:cubicBezTo>
                    <a:pt x="1" y="45"/>
                    <a:pt x="0" y="36"/>
                    <a:pt x="4" y="27"/>
                  </a:cubicBezTo>
                  <a:cubicBezTo>
                    <a:pt x="1" y="18"/>
                    <a:pt x="2" y="10"/>
                    <a:pt x="2" y="0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3495845" y="3054777"/>
              <a:ext cx="21421" cy="8568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41"/>
                </a:cxn>
                <a:cxn ang="0">
                  <a:pos x="0" y="41"/>
                </a:cxn>
                <a:cxn ang="0">
                  <a:pos x="0" y="6"/>
                </a:cxn>
                <a:cxn ang="0">
                  <a:pos x="2" y="6"/>
                </a:cxn>
              </a:cxnLst>
              <a:rect l="0" t="0" r="r" b="b"/>
              <a:pathLst>
                <a:path w="10" h="41">
                  <a:moveTo>
                    <a:pt x="6" y="0"/>
                  </a:moveTo>
                  <a:cubicBezTo>
                    <a:pt x="6" y="3"/>
                    <a:pt x="6" y="4"/>
                    <a:pt x="6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8"/>
                    <a:pt x="10" y="29"/>
                    <a:pt x="1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9"/>
                    <a:pt x="0" y="18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478887" y="3008364"/>
              <a:ext cx="8926" cy="3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6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cubicBezTo>
                    <a:pt x="1" y="6"/>
                    <a:pt x="2" y="10"/>
                    <a:pt x="4" y="16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auto">
            <a:xfrm>
              <a:off x="3426226" y="2915539"/>
              <a:ext cx="38380" cy="15619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67"/>
                </a:cxn>
                <a:cxn ang="0">
                  <a:pos x="8" y="73"/>
                </a:cxn>
                <a:cxn ang="0">
                  <a:pos x="18" y="73"/>
                </a:cxn>
              </a:cxnLst>
              <a:rect l="0" t="0" r="r" b="b"/>
              <a:pathLst>
                <a:path w="18" h="74">
                  <a:moveTo>
                    <a:pt x="9" y="0"/>
                  </a:moveTo>
                  <a:cubicBezTo>
                    <a:pt x="3" y="18"/>
                    <a:pt x="0" y="45"/>
                    <a:pt x="2" y="67"/>
                  </a:cubicBezTo>
                  <a:cubicBezTo>
                    <a:pt x="3" y="72"/>
                    <a:pt x="5" y="72"/>
                    <a:pt x="8" y="73"/>
                  </a:cubicBezTo>
                  <a:cubicBezTo>
                    <a:pt x="12" y="74"/>
                    <a:pt x="14" y="74"/>
                    <a:pt x="18" y="73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auto">
            <a:xfrm>
              <a:off x="3413730" y="2912862"/>
              <a:ext cx="12496" cy="490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3"/>
                </a:cxn>
              </a:cxnLst>
              <a:rect l="0" t="0" r="r" b="b"/>
              <a:pathLst>
                <a:path w="6" h="23">
                  <a:moveTo>
                    <a:pt x="0" y="0"/>
                  </a:moveTo>
                  <a:cubicBezTo>
                    <a:pt x="5" y="9"/>
                    <a:pt x="5" y="15"/>
                    <a:pt x="6" y="23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3390524" y="3052100"/>
              <a:ext cx="38380" cy="2142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7"/>
                </a:cxn>
              </a:cxnLst>
              <a:rect l="0" t="0" r="r" b="b"/>
              <a:pathLst>
                <a:path w="18" h="10">
                  <a:moveTo>
                    <a:pt x="18" y="0"/>
                  </a:moveTo>
                  <a:cubicBezTo>
                    <a:pt x="18" y="10"/>
                    <a:pt x="3" y="8"/>
                    <a:pt x="0" y="7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12"/>
            <p:cNvSpPr>
              <a:spLocks/>
            </p:cNvSpPr>
            <p:nvPr/>
          </p:nvSpPr>
          <p:spPr bwMode="auto">
            <a:xfrm>
              <a:off x="3424441" y="2909291"/>
              <a:ext cx="12496" cy="2945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4" y="5"/>
                </a:cxn>
                <a:cxn ang="0">
                  <a:pos x="6" y="14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0" y="11"/>
                    <a:pt x="0" y="8"/>
                    <a:pt x="2" y="5"/>
                  </a:cubicBezTo>
                  <a:cubicBezTo>
                    <a:pt x="1" y="3"/>
                    <a:pt x="0" y="3"/>
                    <a:pt x="0" y="0"/>
                  </a:cubicBezTo>
                  <a:cubicBezTo>
                    <a:pt x="2" y="1"/>
                    <a:pt x="4" y="1"/>
                    <a:pt x="6" y="0"/>
                  </a:cubicBezTo>
                  <a:cubicBezTo>
                    <a:pt x="6" y="2"/>
                    <a:pt x="5" y="3"/>
                    <a:pt x="4" y="5"/>
                  </a:cubicBezTo>
                  <a:cubicBezTo>
                    <a:pt x="6" y="7"/>
                    <a:pt x="6" y="11"/>
                    <a:pt x="6" y="14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2" name="Rectangle 12"/>
          <p:cNvSpPr>
            <a:spLocks noChangeArrowheads="1"/>
          </p:cNvSpPr>
          <p:nvPr/>
        </p:nvSpPr>
        <p:spPr bwMode="auto">
          <a:xfrm>
            <a:off x="2223526" y="1425562"/>
            <a:ext cx="1682952" cy="67318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AP</a:t>
            </a:r>
            <a:br>
              <a:rPr kumimoji="0" lang="en-GB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en-GB" sz="105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ente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050" b="1" kern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14"/>
          <p:cNvSpPr>
            <a:spLocks noChangeArrowheads="1"/>
          </p:cNvSpPr>
          <p:nvPr/>
        </p:nvSpPr>
        <p:spPr bwMode="auto">
          <a:xfrm>
            <a:off x="7651922" y="1425562"/>
            <a:ext cx="1682952" cy="67318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lvl="0" algn="ctr" defTabSz="914400">
              <a:defRPr/>
            </a:pPr>
            <a:r>
              <a:rPr lang="en-GB" sz="1100" b="1" kern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racle eBS </a:t>
            </a:r>
          </a:p>
          <a:p>
            <a:pPr lvl="0" algn="ctr" defTabSz="914400">
              <a:defRPr/>
            </a:pPr>
            <a:r>
              <a:rPr lang="en-GB" sz="1050" kern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ente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4"/>
          <p:cNvSpPr>
            <a:spLocks noChangeArrowheads="1"/>
          </p:cNvSpPr>
          <p:nvPr/>
        </p:nvSpPr>
        <p:spPr bwMode="auto">
          <a:xfrm>
            <a:off x="5842456" y="1425562"/>
            <a:ext cx="1682952" cy="67318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lvl="0" algn="ctr" defTabSz="914400">
              <a:defRPr/>
            </a:pPr>
            <a:r>
              <a:rPr lang="en-GB" sz="1100" b="1" kern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I &amp; Analytics</a:t>
            </a:r>
            <a:br>
              <a:rPr lang="en-GB" sz="1100" b="1" kern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GB" sz="1050" kern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ente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14"/>
          <p:cNvSpPr>
            <a:spLocks noChangeArrowheads="1"/>
          </p:cNvSpPr>
          <p:nvPr/>
        </p:nvSpPr>
        <p:spPr bwMode="auto">
          <a:xfrm>
            <a:off x="4032991" y="1425562"/>
            <a:ext cx="1682952" cy="67318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lvl="0" algn="ctr" defTabSz="914400">
              <a:defRPr/>
            </a:pPr>
            <a:r>
              <a:rPr lang="en-GB" sz="1100" b="1" kern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TIC</a:t>
            </a:r>
          </a:p>
          <a:p>
            <a:pPr lvl="0" algn="ctr" defTabSz="914400">
              <a:defRPr/>
            </a:pPr>
            <a:r>
              <a:rPr lang="en-GB" sz="1050" kern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ente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2421756" y="2255529"/>
            <a:ext cx="1556531" cy="1110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7" name="ZoneTexte 26"/>
          <p:cNvSpPr txBox="1"/>
          <p:nvPr/>
        </p:nvSpPr>
        <p:spPr>
          <a:xfrm>
            <a:off x="2210991" y="2820980"/>
            <a:ext cx="390343" cy="5343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CC6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HANA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BI4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BX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YCLO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4054352" y="3005646"/>
            <a:ext cx="460630" cy="349702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ustomer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&amp; Collab.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xperience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5185902" y="3005646"/>
            <a:ext cx="523146" cy="349702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icrosoft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&amp; J2E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rchitectures</a:t>
            </a:r>
          </a:p>
        </p:txBody>
      </p:sp>
      <p:pic>
        <p:nvPicPr>
          <p:cNvPr id="30" name="Picture 4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998742" y="2206003"/>
            <a:ext cx="1252300" cy="1160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1" name="ZoneTexte 30"/>
          <p:cNvSpPr txBox="1"/>
          <p:nvPr/>
        </p:nvSpPr>
        <p:spPr>
          <a:xfrm>
            <a:off x="7652061" y="3005646"/>
            <a:ext cx="67325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P, AR, GL, FA, PA, PO, IC, IP5, CE, BOM…</a:t>
            </a:r>
          </a:p>
        </p:txBody>
      </p:sp>
      <p:sp>
        <p:nvSpPr>
          <p:cNvPr id="32" name="ZoneTexte 31"/>
          <p:cNvSpPr txBox="1"/>
          <p:nvPr/>
        </p:nvSpPr>
        <p:spPr>
          <a:xfrm>
            <a:off x="5857253" y="3005646"/>
            <a:ext cx="391701" cy="349702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Big Data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nalytics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BIM, ETL</a:t>
            </a:r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002170" y="2248234"/>
            <a:ext cx="1622379" cy="1102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4144087" y="2255529"/>
            <a:ext cx="1539913" cy="107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5" name="Image 34" descr="1395859613_Network.pn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8409251" y="1880450"/>
            <a:ext cx="168295" cy="16829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6" name="Groupe 228"/>
          <p:cNvGrpSpPr/>
          <p:nvPr/>
        </p:nvGrpSpPr>
        <p:grpSpPr>
          <a:xfrm>
            <a:off x="3593393" y="1498620"/>
            <a:ext cx="168532" cy="397593"/>
            <a:chOff x="1645221" y="2838750"/>
            <a:chExt cx="160659" cy="430210"/>
          </a:xfrm>
          <a:effectLst/>
        </p:grpSpPr>
        <p:sp>
          <p:nvSpPr>
            <p:cNvPr id="37" name="Freeform 5"/>
            <p:cNvSpPr>
              <a:spLocks/>
            </p:cNvSpPr>
            <p:nvPr/>
          </p:nvSpPr>
          <p:spPr bwMode="auto">
            <a:xfrm>
              <a:off x="1645221" y="2838750"/>
              <a:ext cx="157982" cy="255270"/>
            </a:xfrm>
            <a:custGeom>
              <a:avLst/>
              <a:gdLst/>
              <a:ahLst/>
              <a:cxnLst>
                <a:cxn ang="0">
                  <a:pos x="12" y="121"/>
                </a:cxn>
                <a:cxn ang="0">
                  <a:pos x="0" y="84"/>
                </a:cxn>
                <a:cxn ang="0">
                  <a:pos x="27" y="38"/>
                </a:cxn>
                <a:cxn ang="0">
                  <a:pos x="20" y="20"/>
                </a:cxn>
                <a:cxn ang="0">
                  <a:pos x="34" y="0"/>
                </a:cxn>
                <a:cxn ang="0">
                  <a:pos x="50" y="20"/>
                </a:cxn>
                <a:cxn ang="0">
                  <a:pos x="41" y="38"/>
                </a:cxn>
                <a:cxn ang="0">
                  <a:pos x="68" y="84"/>
                </a:cxn>
                <a:cxn ang="0">
                  <a:pos x="75" y="105"/>
                </a:cxn>
                <a:cxn ang="0">
                  <a:pos x="69" y="107"/>
                </a:cxn>
              </a:cxnLst>
              <a:rect l="0" t="0" r="r" b="b"/>
              <a:pathLst>
                <a:path w="75" h="121">
                  <a:moveTo>
                    <a:pt x="12" y="121"/>
                  </a:moveTo>
                  <a:cubicBezTo>
                    <a:pt x="11" y="117"/>
                    <a:pt x="2" y="103"/>
                    <a:pt x="0" y="84"/>
                  </a:cubicBezTo>
                  <a:cubicBezTo>
                    <a:pt x="0" y="58"/>
                    <a:pt x="8" y="39"/>
                    <a:pt x="27" y="38"/>
                  </a:cubicBezTo>
                  <a:cubicBezTo>
                    <a:pt x="25" y="34"/>
                    <a:pt x="20" y="26"/>
                    <a:pt x="20" y="20"/>
                  </a:cubicBezTo>
                  <a:cubicBezTo>
                    <a:pt x="20" y="9"/>
                    <a:pt x="26" y="0"/>
                    <a:pt x="34" y="0"/>
                  </a:cubicBezTo>
                  <a:cubicBezTo>
                    <a:pt x="43" y="0"/>
                    <a:pt x="50" y="9"/>
                    <a:pt x="50" y="20"/>
                  </a:cubicBezTo>
                  <a:cubicBezTo>
                    <a:pt x="50" y="26"/>
                    <a:pt x="45" y="34"/>
                    <a:pt x="41" y="38"/>
                  </a:cubicBezTo>
                  <a:cubicBezTo>
                    <a:pt x="68" y="40"/>
                    <a:pt x="68" y="58"/>
                    <a:pt x="68" y="84"/>
                  </a:cubicBezTo>
                  <a:cubicBezTo>
                    <a:pt x="73" y="94"/>
                    <a:pt x="75" y="102"/>
                    <a:pt x="75" y="105"/>
                  </a:cubicBezTo>
                  <a:cubicBezTo>
                    <a:pt x="72" y="106"/>
                    <a:pt x="73" y="106"/>
                    <a:pt x="69" y="107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6"/>
            <p:cNvSpPr>
              <a:spLocks/>
            </p:cNvSpPr>
            <p:nvPr/>
          </p:nvSpPr>
          <p:spPr bwMode="auto">
            <a:xfrm>
              <a:off x="1664857" y="2971740"/>
              <a:ext cx="102644" cy="297220"/>
            </a:xfrm>
            <a:custGeom>
              <a:avLst/>
              <a:gdLst/>
              <a:ahLst/>
              <a:cxnLst>
                <a:cxn ang="0">
                  <a:pos x="49" y="1"/>
                </a:cxn>
                <a:cxn ang="0">
                  <a:pos x="47" y="28"/>
                </a:cxn>
                <a:cxn ang="0">
                  <a:pos x="49" y="52"/>
                </a:cxn>
                <a:cxn ang="0">
                  <a:pos x="47" y="52"/>
                </a:cxn>
                <a:cxn ang="0">
                  <a:pos x="44" y="141"/>
                </a:cxn>
                <a:cxn ang="0">
                  <a:pos x="31" y="141"/>
                </a:cxn>
                <a:cxn ang="0">
                  <a:pos x="27" y="63"/>
                </a:cxn>
                <a:cxn ang="0">
                  <a:pos x="21" y="141"/>
                </a:cxn>
                <a:cxn ang="0">
                  <a:pos x="8" y="141"/>
                </a:cxn>
                <a:cxn ang="0">
                  <a:pos x="3" y="50"/>
                </a:cxn>
                <a:cxn ang="0">
                  <a:pos x="1" y="50"/>
                </a:cxn>
                <a:cxn ang="0">
                  <a:pos x="4" y="27"/>
                </a:cxn>
                <a:cxn ang="0">
                  <a:pos x="2" y="0"/>
                </a:cxn>
              </a:cxnLst>
              <a:rect l="0" t="0" r="r" b="b"/>
              <a:pathLst>
                <a:path w="49" h="141">
                  <a:moveTo>
                    <a:pt x="49" y="1"/>
                  </a:moveTo>
                  <a:cubicBezTo>
                    <a:pt x="49" y="6"/>
                    <a:pt x="49" y="20"/>
                    <a:pt x="47" y="28"/>
                  </a:cubicBezTo>
                  <a:cubicBezTo>
                    <a:pt x="49" y="38"/>
                    <a:pt x="49" y="48"/>
                    <a:pt x="49" y="52"/>
                  </a:cubicBezTo>
                  <a:cubicBezTo>
                    <a:pt x="47" y="52"/>
                    <a:pt x="48" y="52"/>
                    <a:pt x="47" y="52"/>
                  </a:cubicBezTo>
                  <a:cubicBezTo>
                    <a:pt x="46" y="68"/>
                    <a:pt x="47" y="126"/>
                    <a:pt x="44" y="141"/>
                  </a:cubicBezTo>
                  <a:cubicBezTo>
                    <a:pt x="31" y="141"/>
                    <a:pt x="31" y="141"/>
                    <a:pt x="31" y="141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50"/>
                    <a:pt x="2" y="50"/>
                    <a:pt x="1" y="50"/>
                  </a:cubicBezTo>
                  <a:cubicBezTo>
                    <a:pt x="1" y="45"/>
                    <a:pt x="0" y="36"/>
                    <a:pt x="4" y="27"/>
                  </a:cubicBezTo>
                  <a:cubicBezTo>
                    <a:pt x="1" y="18"/>
                    <a:pt x="2" y="10"/>
                    <a:pt x="2" y="0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7"/>
            <p:cNvSpPr>
              <a:spLocks/>
            </p:cNvSpPr>
            <p:nvPr/>
          </p:nvSpPr>
          <p:spPr bwMode="auto">
            <a:xfrm>
              <a:off x="1784459" y="3067243"/>
              <a:ext cx="21421" cy="8568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41"/>
                </a:cxn>
                <a:cxn ang="0">
                  <a:pos x="0" y="41"/>
                </a:cxn>
                <a:cxn ang="0">
                  <a:pos x="0" y="6"/>
                </a:cxn>
                <a:cxn ang="0">
                  <a:pos x="2" y="6"/>
                </a:cxn>
              </a:cxnLst>
              <a:rect l="0" t="0" r="r" b="b"/>
              <a:pathLst>
                <a:path w="10" h="41">
                  <a:moveTo>
                    <a:pt x="6" y="0"/>
                  </a:moveTo>
                  <a:cubicBezTo>
                    <a:pt x="6" y="3"/>
                    <a:pt x="6" y="4"/>
                    <a:pt x="6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8"/>
                    <a:pt x="10" y="29"/>
                    <a:pt x="1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9"/>
                    <a:pt x="0" y="18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"/>
            <p:cNvSpPr>
              <a:spLocks/>
            </p:cNvSpPr>
            <p:nvPr/>
          </p:nvSpPr>
          <p:spPr bwMode="auto">
            <a:xfrm>
              <a:off x="1767501" y="3020830"/>
              <a:ext cx="8926" cy="3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6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cubicBezTo>
                    <a:pt x="1" y="6"/>
                    <a:pt x="2" y="10"/>
                    <a:pt x="4" y="16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9"/>
            <p:cNvSpPr>
              <a:spLocks/>
            </p:cNvSpPr>
            <p:nvPr/>
          </p:nvSpPr>
          <p:spPr bwMode="auto">
            <a:xfrm>
              <a:off x="1714840" y="2928005"/>
              <a:ext cx="38380" cy="15619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67"/>
                </a:cxn>
                <a:cxn ang="0">
                  <a:pos x="8" y="73"/>
                </a:cxn>
                <a:cxn ang="0">
                  <a:pos x="18" y="73"/>
                </a:cxn>
              </a:cxnLst>
              <a:rect l="0" t="0" r="r" b="b"/>
              <a:pathLst>
                <a:path w="18" h="74">
                  <a:moveTo>
                    <a:pt x="9" y="0"/>
                  </a:moveTo>
                  <a:cubicBezTo>
                    <a:pt x="3" y="18"/>
                    <a:pt x="0" y="45"/>
                    <a:pt x="2" y="67"/>
                  </a:cubicBezTo>
                  <a:cubicBezTo>
                    <a:pt x="3" y="72"/>
                    <a:pt x="5" y="72"/>
                    <a:pt x="8" y="73"/>
                  </a:cubicBezTo>
                  <a:cubicBezTo>
                    <a:pt x="12" y="74"/>
                    <a:pt x="14" y="74"/>
                    <a:pt x="18" y="73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0"/>
            <p:cNvSpPr>
              <a:spLocks/>
            </p:cNvSpPr>
            <p:nvPr/>
          </p:nvSpPr>
          <p:spPr bwMode="auto">
            <a:xfrm>
              <a:off x="1702344" y="2925328"/>
              <a:ext cx="12496" cy="490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3"/>
                </a:cxn>
              </a:cxnLst>
              <a:rect l="0" t="0" r="r" b="b"/>
              <a:pathLst>
                <a:path w="6" h="23">
                  <a:moveTo>
                    <a:pt x="0" y="0"/>
                  </a:moveTo>
                  <a:cubicBezTo>
                    <a:pt x="5" y="9"/>
                    <a:pt x="5" y="15"/>
                    <a:pt x="6" y="23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1"/>
            <p:cNvSpPr>
              <a:spLocks/>
            </p:cNvSpPr>
            <p:nvPr/>
          </p:nvSpPr>
          <p:spPr bwMode="auto">
            <a:xfrm>
              <a:off x="1679138" y="3064566"/>
              <a:ext cx="38380" cy="2142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7"/>
                </a:cxn>
              </a:cxnLst>
              <a:rect l="0" t="0" r="r" b="b"/>
              <a:pathLst>
                <a:path w="18" h="10">
                  <a:moveTo>
                    <a:pt x="18" y="0"/>
                  </a:moveTo>
                  <a:cubicBezTo>
                    <a:pt x="18" y="10"/>
                    <a:pt x="3" y="8"/>
                    <a:pt x="0" y="7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2"/>
            <p:cNvSpPr>
              <a:spLocks/>
            </p:cNvSpPr>
            <p:nvPr/>
          </p:nvSpPr>
          <p:spPr bwMode="auto">
            <a:xfrm>
              <a:off x="1713055" y="2921757"/>
              <a:ext cx="12496" cy="2945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4" y="5"/>
                </a:cxn>
                <a:cxn ang="0">
                  <a:pos x="6" y="14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0" y="11"/>
                    <a:pt x="0" y="8"/>
                    <a:pt x="2" y="5"/>
                  </a:cubicBezTo>
                  <a:cubicBezTo>
                    <a:pt x="1" y="3"/>
                    <a:pt x="0" y="3"/>
                    <a:pt x="0" y="0"/>
                  </a:cubicBezTo>
                  <a:cubicBezTo>
                    <a:pt x="2" y="1"/>
                    <a:pt x="4" y="1"/>
                    <a:pt x="6" y="0"/>
                  </a:cubicBezTo>
                  <a:cubicBezTo>
                    <a:pt x="6" y="2"/>
                    <a:pt x="5" y="3"/>
                    <a:pt x="4" y="5"/>
                  </a:cubicBezTo>
                  <a:cubicBezTo>
                    <a:pt x="6" y="7"/>
                    <a:pt x="6" y="11"/>
                    <a:pt x="6" y="14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5" name="Groupe 228"/>
          <p:cNvGrpSpPr/>
          <p:nvPr/>
        </p:nvGrpSpPr>
        <p:grpSpPr>
          <a:xfrm>
            <a:off x="5414882" y="1498620"/>
            <a:ext cx="168532" cy="397593"/>
            <a:chOff x="1645221" y="2838750"/>
            <a:chExt cx="160659" cy="430210"/>
          </a:xfrm>
          <a:effectLst/>
        </p:grpSpPr>
        <p:sp>
          <p:nvSpPr>
            <p:cNvPr id="46" name="Freeform 5"/>
            <p:cNvSpPr>
              <a:spLocks/>
            </p:cNvSpPr>
            <p:nvPr/>
          </p:nvSpPr>
          <p:spPr bwMode="auto">
            <a:xfrm>
              <a:off x="1645221" y="2838750"/>
              <a:ext cx="157982" cy="255270"/>
            </a:xfrm>
            <a:custGeom>
              <a:avLst/>
              <a:gdLst/>
              <a:ahLst/>
              <a:cxnLst>
                <a:cxn ang="0">
                  <a:pos x="12" y="121"/>
                </a:cxn>
                <a:cxn ang="0">
                  <a:pos x="0" y="84"/>
                </a:cxn>
                <a:cxn ang="0">
                  <a:pos x="27" y="38"/>
                </a:cxn>
                <a:cxn ang="0">
                  <a:pos x="20" y="20"/>
                </a:cxn>
                <a:cxn ang="0">
                  <a:pos x="34" y="0"/>
                </a:cxn>
                <a:cxn ang="0">
                  <a:pos x="50" y="20"/>
                </a:cxn>
                <a:cxn ang="0">
                  <a:pos x="41" y="38"/>
                </a:cxn>
                <a:cxn ang="0">
                  <a:pos x="68" y="84"/>
                </a:cxn>
                <a:cxn ang="0">
                  <a:pos x="75" y="105"/>
                </a:cxn>
                <a:cxn ang="0">
                  <a:pos x="69" y="107"/>
                </a:cxn>
              </a:cxnLst>
              <a:rect l="0" t="0" r="r" b="b"/>
              <a:pathLst>
                <a:path w="75" h="121">
                  <a:moveTo>
                    <a:pt x="12" y="121"/>
                  </a:moveTo>
                  <a:cubicBezTo>
                    <a:pt x="11" y="117"/>
                    <a:pt x="2" y="103"/>
                    <a:pt x="0" y="84"/>
                  </a:cubicBezTo>
                  <a:cubicBezTo>
                    <a:pt x="0" y="58"/>
                    <a:pt x="8" y="39"/>
                    <a:pt x="27" y="38"/>
                  </a:cubicBezTo>
                  <a:cubicBezTo>
                    <a:pt x="25" y="34"/>
                    <a:pt x="20" y="26"/>
                    <a:pt x="20" y="20"/>
                  </a:cubicBezTo>
                  <a:cubicBezTo>
                    <a:pt x="20" y="9"/>
                    <a:pt x="26" y="0"/>
                    <a:pt x="34" y="0"/>
                  </a:cubicBezTo>
                  <a:cubicBezTo>
                    <a:pt x="43" y="0"/>
                    <a:pt x="50" y="9"/>
                    <a:pt x="50" y="20"/>
                  </a:cubicBezTo>
                  <a:cubicBezTo>
                    <a:pt x="50" y="26"/>
                    <a:pt x="45" y="34"/>
                    <a:pt x="41" y="38"/>
                  </a:cubicBezTo>
                  <a:cubicBezTo>
                    <a:pt x="68" y="40"/>
                    <a:pt x="68" y="58"/>
                    <a:pt x="68" y="84"/>
                  </a:cubicBezTo>
                  <a:cubicBezTo>
                    <a:pt x="73" y="94"/>
                    <a:pt x="75" y="102"/>
                    <a:pt x="75" y="105"/>
                  </a:cubicBezTo>
                  <a:cubicBezTo>
                    <a:pt x="72" y="106"/>
                    <a:pt x="73" y="106"/>
                    <a:pt x="69" y="107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6"/>
            <p:cNvSpPr>
              <a:spLocks/>
            </p:cNvSpPr>
            <p:nvPr/>
          </p:nvSpPr>
          <p:spPr bwMode="auto">
            <a:xfrm>
              <a:off x="1664857" y="2971740"/>
              <a:ext cx="102644" cy="297220"/>
            </a:xfrm>
            <a:custGeom>
              <a:avLst/>
              <a:gdLst/>
              <a:ahLst/>
              <a:cxnLst>
                <a:cxn ang="0">
                  <a:pos x="49" y="1"/>
                </a:cxn>
                <a:cxn ang="0">
                  <a:pos x="47" y="28"/>
                </a:cxn>
                <a:cxn ang="0">
                  <a:pos x="49" y="52"/>
                </a:cxn>
                <a:cxn ang="0">
                  <a:pos x="47" y="52"/>
                </a:cxn>
                <a:cxn ang="0">
                  <a:pos x="44" y="141"/>
                </a:cxn>
                <a:cxn ang="0">
                  <a:pos x="31" y="141"/>
                </a:cxn>
                <a:cxn ang="0">
                  <a:pos x="27" y="63"/>
                </a:cxn>
                <a:cxn ang="0">
                  <a:pos x="21" y="141"/>
                </a:cxn>
                <a:cxn ang="0">
                  <a:pos x="8" y="141"/>
                </a:cxn>
                <a:cxn ang="0">
                  <a:pos x="3" y="50"/>
                </a:cxn>
                <a:cxn ang="0">
                  <a:pos x="1" y="50"/>
                </a:cxn>
                <a:cxn ang="0">
                  <a:pos x="4" y="27"/>
                </a:cxn>
                <a:cxn ang="0">
                  <a:pos x="2" y="0"/>
                </a:cxn>
              </a:cxnLst>
              <a:rect l="0" t="0" r="r" b="b"/>
              <a:pathLst>
                <a:path w="49" h="141">
                  <a:moveTo>
                    <a:pt x="49" y="1"/>
                  </a:moveTo>
                  <a:cubicBezTo>
                    <a:pt x="49" y="6"/>
                    <a:pt x="49" y="20"/>
                    <a:pt x="47" y="28"/>
                  </a:cubicBezTo>
                  <a:cubicBezTo>
                    <a:pt x="49" y="38"/>
                    <a:pt x="49" y="48"/>
                    <a:pt x="49" y="52"/>
                  </a:cubicBezTo>
                  <a:cubicBezTo>
                    <a:pt x="47" y="52"/>
                    <a:pt x="48" y="52"/>
                    <a:pt x="47" y="52"/>
                  </a:cubicBezTo>
                  <a:cubicBezTo>
                    <a:pt x="46" y="68"/>
                    <a:pt x="47" y="126"/>
                    <a:pt x="44" y="141"/>
                  </a:cubicBezTo>
                  <a:cubicBezTo>
                    <a:pt x="31" y="141"/>
                    <a:pt x="31" y="141"/>
                    <a:pt x="31" y="141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50"/>
                    <a:pt x="2" y="50"/>
                    <a:pt x="1" y="50"/>
                  </a:cubicBezTo>
                  <a:cubicBezTo>
                    <a:pt x="1" y="45"/>
                    <a:pt x="0" y="36"/>
                    <a:pt x="4" y="27"/>
                  </a:cubicBezTo>
                  <a:cubicBezTo>
                    <a:pt x="1" y="18"/>
                    <a:pt x="2" y="10"/>
                    <a:pt x="2" y="0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7"/>
            <p:cNvSpPr>
              <a:spLocks/>
            </p:cNvSpPr>
            <p:nvPr/>
          </p:nvSpPr>
          <p:spPr bwMode="auto">
            <a:xfrm>
              <a:off x="1784459" y="3067243"/>
              <a:ext cx="21421" cy="8568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41"/>
                </a:cxn>
                <a:cxn ang="0">
                  <a:pos x="0" y="41"/>
                </a:cxn>
                <a:cxn ang="0">
                  <a:pos x="0" y="6"/>
                </a:cxn>
                <a:cxn ang="0">
                  <a:pos x="2" y="6"/>
                </a:cxn>
              </a:cxnLst>
              <a:rect l="0" t="0" r="r" b="b"/>
              <a:pathLst>
                <a:path w="10" h="41">
                  <a:moveTo>
                    <a:pt x="6" y="0"/>
                  </a:moveTo>
                  <a:cubicBezTo>
                    <a:pt x="6" y="3"/>
                    <a:pt x="6" y="4"/>
                    <a:pt x="6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8"/>
                    <a:pt x="10" y="29"/>
                    <a:pt x="1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9"/>
                    <a:pt x="0" y="18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8"/>
            <p:cNvSpPr>
              <a:spLocks/>
            </p:cNvSpPr>
            <p:nvPr/>
          </p:nvSpPr>
          <p:spPr bwMode="auto">
            <a:xfrm>
              <a:off x="1767501" y="3020830"/>
              <a:ext cx="8926" cy="3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6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cubicBezTo>
                    <a:pt x="1" y="6"/>
                    <a:pt x="2" y="10"/>
                    <a:pt x="4" y="16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9"/>
            <p:cNvSpPr>
              <a:spLocks/>
            </p:cNvSpPr>
            <p:nvPr/>
          </p:nvSpPr>
          <p:spPr bwMode="auto">
            <a:xfrm>
              <a:off x="1714840" y="2928005"/>
              <a:ext cx="38380" cy="15619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67"/>
                </a:cxn>
                <a:cxn ang="0">
                  <a:pos x="8" y="73"/>
                </a:cxn>
                <a:cxn ang="0">
                  <a:pos x="18" y="73"/>
                </a:cxn>
              </a:cxnLst>
              <a:rect l="0" t="0" r="r" b="b"/>
              <a:pathLst>
                <a:path w="18" h="74">
                  <a:moveTo>
                    <a:pt x="9" y="0"/>
                  </a:moveTo>
                  <a:cubicBezTo>
                    <a:pt x="3" y="18"/>
                    <a:pt x="0" y="45"/>
                    <a:pt x="2" y="67"/>
                  </a:cubicBezTo>
                  <a:cubicBezTo>
                    <a:pt x="3" y="72"/>
                    <a:pt x="5" y="72"/>
                    <a:pt x="8" y="73"/>
                  </a:cubicBezTo>
                  <a:cubicBezTo>
                    <a:pt x="12" y="74"/>
                    <a:pt x="14" y="74"/>
                    <a:pt x="18" y="73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10"/>
            <p:cNvSpPr>
              <a:spLocks/>
            </p:cNvSpPr>
            <p:nvPr/>
          </p:nvSpPr>
          <p:spPr bwMode="auto">
            <a:xfrm>
              <a:off x="1702344" y="2925328"/>
              <a:ext cx="12496" cy="490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3"/>
                </a:cxn>
              </a:cxnLst>
              <a:rect l="0" t="0" r="r" b="b"/>
              <a:pathLst>
                <a:path w="6" h="23">
                  <a:moveTo>
                    <a:pt x="0" y="0"/>
                  </a:moveTo>
                  <a:cubicBezTo>
                    <a:pt x="5" y="9"/>
                    <a:pt x="5" y="15"/>
                    <a:pt x="6" y="23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11"/>
            <p:cNvSpPr>
              <a:spLocks/>
            </p:cNvSpPr>
            <p:nvPr/>
          </p:nvSpPr>
          <p:spPr bwMode="auto">
            <a:xfrm>
              <a:off x="1679138" y="3064566"/>
              <a:ext cx="38380" cy="2142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7"/>
                </a:cxn>
              </a:cxnLst>
              <a:rect l="0" t="0" r="r" b="b"/>
              <a:pathLst>
                <a:path w="18" h="10">
                  <a:moveTo>
                    <a:pt x="18" y="0"/>
                  </a:moveTo>
                  <a:cubicBezTo>
                    <a:pt x="18" y="10"/>
                    <a:pt x="3" y="8"/>
                    <a:pt x="0" y="7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 12"/>
            <p:cNvSpPr>
              <a:spLocks/>
            </p:cNvSpPr>
            <p:nvPr/>
          </p:nvSpPr>
          <p:spPr bwMode="auto">
            <a:xfrm>
              <a:off x="1713055" y="2921757"/>
              <a:ext cx="12496" cy="2945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4" y="5"/>
                </a:cxn>
                <a:cxn ang="0">
                  <a:pos x="6" y="14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0" y="11"/>
                    <a:pt x="0" y="8"/>
                    <a:pt x="2" y="5"/>
                  </a:cubicBezTo>
                  <a:cubicBezTo>
                    <a:pt x="1" y="3"/>
                    <a:pt x="0" y="3"/>
                    <a:pt x="0" y="0"/>
                  </a:cubicBezTo>
                  <a:cubicBezTo>
                    <a:pt x="2" y="1"/>
                    <a:pt x="4" y="1"/>
                    <a:pt x="6" y="0"/>
                  </a:cubicBezTo>
                  <a:cubicBezTo>
                    <a:pt x="6" y="2"/>
                    <a:pt x="5" y="3"/>
                    <a:pt x="4" y="5"/>
                  </a:cubicBezTo>
                  <a:cubicBezTo>
                    <a:pt x="6" y="7"/>
                    <a:pt x="6" y="11"/>
                    <a:pt x="6" y="14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4" name="Groupe 228"/>
          <p:cNvGrpSpPr/>
          <p:nvPr/>
        </p:nvGrpSpPr>
        <p:grpSpPr>
          <a:xfrm>
            <a:off x="7236813" y="1498620"/>
            <a:ext cx="168532" cy="397593"/>
            <a:chOff x="1645221" y="2838750"/>
            <a:chExt cx="160659" cy="430210"/>
          </a:xfrm>
          <a:effectLst/>
        </p:grpSpPr>
        <p:sp>
          <p:nvSpPr>
            <p:cNvPr id="55" name="Freeform 5"/>
            <p:cNvSpPr>
              <a:spLocks/>
            </p:cNvSpPr>
            <p:nvPr/>
          </p:nvSpPr>
          <p:spPr bwMode="auto">
            <a:xfrm>
              <a:off x="1645221" y="2838750"/>
              <a:ext cx="157982" cy="255270"/>
            </a:xfrm>
            <a:custGeom>
              <a:avLst/>
              <a:gdLst/>
              <a:ahLst/>
              <a:cxnLst>
                <a:cxn ang="0">
                  <a:pos x="12" y="121"/>
                </a:cxn>
                <a:cxn ang="0">
                  <a:pos x="0" y="84"/>
                </a:cxn>
                <a:cxn ang="0">
                  <a:pos x="27" y="38"/>
                </a:cxn>
                <a:cxn ang="0">
                  <a:pos x="20" y="20"/>
                </a:cxn>
                <a:cxn ang="0">
                  <a:pos x="34" y="0"/>
                </a:cxn>
                <a:cxn ang="0">
                  <a:pos x="50" y="20"/>
                </a:cxn>
                <a:cxn ang="0">
                  <a:pos x="41" y="38"/>
                </a:cxn>
                <a:cxn ang="0">
                  <a:pos x="68" y="84"/>
                </a:cxn>
                <a:cxn ang="0">
                  <a:pos x="75" y="105"/>
                </a:cxn>
                <a:cxn ang="0">
                  <a:pos x="69" y="107"/>
                </a:cxn>
              </a:cxnLst>
              <a:rect l="0" t="0" r="r" b="b"/>
              <a:pathLst>
                <a:path w="75" h="121">
                  <a:moveTo>
                    <a:pt x="12" y="121"/>
                  </a:moveTo>
                  <a:cubicBezTo>
                    <a:pt x="11" y="117"/>
                    <a:pt x="2" y="103"/>
                    <a:pt x="0" y="84"/>
                  </a:cubicBezTo>
                  <a:cubicBezTo>
                    <a:pt x="0" y="58"/>
                    <a:pt x="8" y="39"/>
                    <a:pt x="27" y="38"/>
                  </a:cubicBezTo>
                  <a:cubicBezTo>
                    <a:pt x="25" y="34"/>
                    <a:pt x="20" y="26"/>
                    <a:pt x="20" y="20"/>
                  </a:cubicBezTo>
                  <a:cubicBezTo>
                    <a:pt x="20" y="9"/>
                    <a:pt x="26" y="0"/>
                    <a:pt x="34" y="0"/>
                  </a:cubicBezTo>
                  <a:cubicBezTo>
                    <a:pt x="43" y="0"/>
                    <a:pt x="50" y="9"/>
                    <a:pt x="50" y="20"/>
                  </a:cubicBezTo>
                  <a:cubicBezTo>
                    <a:pt x="50" y="26"/>
                    <a:pt x="45" y="34"/>
                    <a:pt x="41" y="38"/>
                  </a:cubicBezTo>
                  <a:cubicBezTo>
                    <a:pt x="68" y="40"/>
                    <a:pt x="68" y="58"/>
                    <a:pt x="68" y="84"/>
                  </a:cubicBezTo>
                  <a:cubicBezTo>
                    <a:pt x="73" y="94"/>
                    <a:pt x="75" y="102"/>
                    <a:pt x="75" y="105"/>
                  </a:cubicBezTo>
                  <a:cubicBezTo>
                    <a:pt x="72" y="106"/>
                    <a:pt x="73" y="106"/>
                    <a:pt x="69" y="107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1664857" y="2971740"/>
              <a:ext cx="102644" cy="297220"/>
            </a:xfrm>
            <a:custGeom>
              <a:avLst/>
              <a:gdLst/>
              <a:ahLst/>
              <a:cxnLst>
                <a:cxn ang="0">
                  <a:pos x="49" y="1"/>
                </a:cxn>
                <a:cxn ang="0">
                  <a:pos x="47" y="28"/>
                </a:cxn>
                <a:cxn ang="0">
                  <a:pos x="49" y="52"/>
                </a:cxn>
                <a:cxn ang="0">
                  <a:pos x="47" y="52"/>
                </a:cxn>
                <a:cxn ang="0">
                  <a:pos x="44" y="141"/>
                </a:cxn>
                <a:cxn ang="0">
                  <a:pos x="31" y="141"/>
                </a:cxn>
                <a:cxn ang="0">
                  <a:pos x="27" y="63"/>
                </a:cxn>
                <a:cxn ang="0">
                  <a:pos x="21" y="141"/>
                </a:cxn>
                <a:cxn ang="0">
                  <a:pos x="8" y="141"/>
                </a:cxn>
                <a:cxn ang="0">
                  <a:pos x="3" y="50"/>
                </a:cxn>
                <a:cxn ang="0">
                  <a:pos x="1" y="50"/>
                </a:cxn>
                <a:cxn ang="0">
                  <a:pos x="4" y="27"/>
                </a:cxn>
                <a:cxn ang="0">
                  <a:pos x="2" y="0"/>
                </a:cxn>
              </a:cxnLst>
              <a:rect l="0" t="0" r="r" b="b"/>
              <a:pathLst>
                <a:path w="49" h="141">
                  <a:moveTo>
                    <a:pt x="49" y="1"/>
                  </a:moveTo>
                  <a:cubicBezTo>
                    <a:pt x="49" y="6"/>
                    <a:pt x="49" y="20"/>
                    <a:pt x="47" y="28"/>
                  </a:cubicBezTo>
                  <a:cubicBezTo>
                    <a:pt x="49" y="38"/>
                    <a:pt x="49" y="48"/>
                    <a:pt x="49" y="52"/>
                  </a:cubicBezTo>
                  <a:cubicBezTo>
                    <a:pt x="47" y="52"/>
                    <a:pt x="48" y="52"/>
                    <a:pt x="47" y="52"/>
                  </a:cubicBezTo>
                  <a:cubicBezTo>
                    <a:pt x="46" y="68"/>
                    <a:pt x="47" y="126"/>
                    <a:pt x="44" y="141"/>
                  </a:cubicBezTo>
                  <a:cubicBezTo>
                    <a:pt x="31" y="141"/>
                    <a:pt x="31" y="141"/>
                    <a:pt x="31" y="141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50"/>
                    <a:pt x="2" y="50"/>
                    <a:pt x="1" y="50"/>
                  </a:cubicBezTo>
                  <a:cubicBezTo>
                    <a:pt x="1" y="45"/>
                    <a:pt x="0" y="36"/>
                    <a:pt x="4" y="27"/>
                  </a:cubicBezTo>
                  <a:cubicBezTo>
                    <a:pt x="1" y="18"/>
                    <a:pt x="2" y="10"/>
                    <a:pt x="2" y="0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784459" y="3067243"/>
              <a:ext cx="21421" cy="8568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41"/>
                </a:cxn>
                <a:cxn ang="0">
                  <a:pos x="0" y="41"/>
                </a:cxn>
                <a:cxn ang="0">
                  <a:pos x="0" y="6"/>
                </a:cxn>
                <a:cxn ang="0">
                  <a:pos x="2" y="6"/>
                </a:cxn>
              </a:cxnLst>
              <a:rect l="0" t="0" r="r" b="b"/>
              <a:pathLst>
                <a:path w="10" h="41">
                  <a:moveTo>
                    <a:pt x="6" y="0"/>
                  </a:moveTo>
                  <a:cubicBezTo>
                    <a:pt x="6" y="3"/>
                    <a:pt x="6" y="4"/>
                    <a:pt x="6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8"/>
                    <a:pt x="10" y="29"/>
                    <a:pt x="1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9"/>
                    <a:pt x="0" y="18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eform 8"/>
            <p:cNvSpPr>
              <a:spLocks/>
            </p:cNvSpPr>
            <p:nvPr/>
          </p:nvSpPr>
          <p:spPr bwMode="auto">
            <a:xfrm>
              <a:off x="1767501" y="3020830"/>
              <a:ext cx="8926" cy="3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6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cubicBezTo>
                    <a:pt x="1" y="6"/>
                    <a:pt x="2" y="10"/>
                    <a:pt x="4" y="16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714840" y="2928005"/>
              <a:ext cx="38380" cy="15619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67"/>
                </a:cxn>
                <a:cxn ang="0">
                  <a:pos x="8" y="73"/>
                </a:cxn>
                <a:cxn ang="0">
                  <a:pos x="18" y="73"/>
                </a:cxn>
              </a:cxnLst>
              <a:rect l="0" t="0" r="r" b="b"/>
              <a:pathLst>
                <a:path w="18" h="74">
                  <a:moveTo>
                    <a:pt x="9" y="0"/>
                  </a:moveTo>
                  <a:cubicBezTo>
                    <a:pt x="3" y="18"/>
                    <a:pt x="0" y="45"/>
                    <a:pt x="2" y="67"/>
                  </a:cubicBezTo>
                  <a:cubicBezTo>
                    <a:pt x="3" y="72"/>
                    <a:pt x="5" y="72"/>
                    <a:pt x="8" y="73"/>
                  </a:cubicBezTo>
                  <a:cubicBezTo>
                    <a:pt x="12" y="74"/>
                    <a:pt x="14" y="74"/>
                    <a:pt x="18" y="73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 10"/>
            <p:cNvSpPr>
              <a:spLocks/>
            </p:cNvSpPr>
            <p:nvPr/>
          </p:nvSpPr>
          <p:spPr bwMode="auto">
            <a:xfrm>
              <a:off x="1702344" y="2925328"/>
              <a:ext cx="12496" cy="490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3"/>
                </a:cxn>
              </a:cxnLst>
              <a:rect l="0" t="0" r="r" b="b"/>
              <a:pathLst>
                <a:path w="6" h="23">
                  <a:moveTo>
                    <a:pt x="0" y="0"/>
                  </a:moveTo>
                  <a:cubicBezTo>
                    <a:pt x="5" y="9"/>
                    <a:pt x="5" y="15"/>
                    <a:pt x="6" y="23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 11"/>
            <p:cNvSpPr>
              <a:spLocks/>
            </p:cNvSpPr>
            <p:nvPr/>
          </p:nvSpPr>
          <p:spPr bwMode="auto">
            <a:xfrm>
              <a:off x="1679138" y="3064566"/>
              <a:ext cx="38380" cy="2142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7"/>
                </a:cxn>
              </a:cxnLst>
              <a:rect l="0" t="0" r="r" b="b"/>
              <a:pathLst>
                <a:path w="18" h="10">
                  <a:moveTo>
                    <a:pt x="18" y="0"/>
                  </a:moveTo>
                  <a:cubicBezTo>
                    <a:pt x="18" y="10"/>
                    <a:pt x="3" y="8"/>
                    <a:pt x="0" y="7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713055" y="2921757"/>
              <a:ext cx="12496" cy="2945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4" y="5"/>
                </a:cxn>
                <a:cxn ang="0">
                  <a:pos x="6" y="14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0" y="11"/>
                    <a:pt x="0" y="8"/>
                    <a:pt x="2" y="5"/>
                  </a:cubicBezTo>
                  <a:cubicBezTo>
                    <a:pt x="1" y="3"/>
                    <a:pt x="0" y="3"/>
                    <a:pt x="0" y="0"/>
                  </a:cubicBezTo>
                  <a:cubicBezTo>
                    <a:pt x="2" y="1"/>
                    <a:pt x="4" y="1"/>
                    <a:pt x="6" y="0"/>
                  </a:cubicBezTo>
                  <a:cubicBezTo>
                    <a:pt x="6" y="2"/>
                    <a:pt x="5" y="3"/>
                    <a:pt x="4" y="5"/>
                  </a:cubicBezTo>
                  <a:cubicBezTo>
                    <a:pt x="6" y="7"/>
                    <a:pt x="6" y="11"/>
                    <a:pt x="6" y="14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3" name="Groupe 228"/>
          <p:cNvGrpSpPr/>
          <p:nvPr/>
        </p:nvGrpSpPr>
        <p:grpSpPr>
          <a:xfrm>
            <a:off x="9028160" y="1498620"/>
            <a:ext cx="168532" cy="397593"/>
            <a:chOff x="1645221" y="2838750"/>
            <a:chExt cx="160659" cy="430210"/>
          </a:xfrm>
          <a:effectLst/>
        </p:grpSpPr>
        <p:sp>
          <p:nvSpPr>
            <p:cNvPr id="64" name="Freeform 5"/>
            <p:cNvSpPr>
              <a:spLocks/>
            </p:cNvSpPr>
            <p:nvPr/>
          </p:nvSpPr>
          <p:spPr bwMode="auto">
            <a:xfrm>
              <a:off x="1645221" y="2838750"/>
              <a:ext cx="157982" cy="255270"/>
            </a:xfrm>
            <a:custGeom>
              <a:avLst/>
              <a:gdLst/>
              <a:ahLst/>
              <a:cxnLst>
                <a:cxn ang="0">
                  <a:pos x="12" y="121"/>
                </a:cxn>
                <a:cxn ang="0">
                  <a:pos x="0" y="84"/>
                </a:cxn>
                <a:cxn ang="0">
                  <a:pos x="27" y="38"/>
                </a:cxn>
                <a:cxn ang="0">
                  <a:pos x="20" y="20"/>
                </a:cxn>
                <a:cxn ang="0">
                  <a:pos x="34" y="0"/>
                </a:cxn>
                <a:cxn ang="0">
                  <a:pos x="50" y="20"/>
                </a:cxn>
                <a:cxn ang="0">
                  <a:pos x="41" y="38"/>
                </a:cxn>
                <a:cxn ang="0">
                  <a:pos x="68" y="84"/>
                </a:cxn>
                <a:cxn ang="0">
                  <a:pos x="75" y="105"/>
                </a:cxn>
                <a:cxn ang="0">
                  <a:pos x="69" y="107"/>
                </a:cxn>
              </a:cxnLst>
              <a:rect l="0" t="0" r="r" b="b"/>
              <a:pathLst>
                <a:path w="75" h="121">
                  <a:moveTo>
                    <a:pt x="12" y="121"/>
                  </a:moveTo>
                  <a:cubicBezTo>
                    <a:pt x="11" y="117"/>
                    <a:pt x="2" y="103"/>
                    <a:pt x="0" y="84"/>
                  </a:cubicBezTo>
                  <a:cubicBezTo>
                    <a:pt x="0" y="58"/>
                    <a:pt x="8" y="39"/>
                    <a:pt x="27" y="38"/>
                  </a:cubicBezTo>
                  <a:cubicBezTo>
                    <a:pt x="25" y="34"/>
                    <a:pt x="20" y="26"/>
                    <a:pt x="20" y="20"/>
                  </a:cubicBezTo>
                  <a:cubicBezTo>
                    <a:pt x="20" y="9"/>
                    <a:pt x="26" y="0"/>
                    <a:pt x="34" y="0"/>
                  </a:cubicBezTo>
                  <a:cubicBezTo>
                    <a:pt x="43" y="0"/>
                    <a:pt x="50" y="9"/>
                    <a:pt x="50" y="20"/>
                  </a:cubicBezTo>
                  <a:cubicBezTo>
                    <a:pt x="50" y="26"/>
                    <a:pt x="45" y="34"/>
                    <a:pt x="41" y="38"/>
                  </a:cubicBezTo>
                  <a:cubicBezTo>
                    <a:pt x="68" y="40"/>
                    <a:pt x="68" y="58"/>
                    <a:pt x="68" y="84"/>
                  </a:cubicBezTo>
                  <a:cubicBezTo>
                    <a:pt x="73" y="94"/>
                    <a:pt x="75" y="102"/>
                    <a:pt x="75" y="105"/>
                  </a:cubicBezTo>
                  <a:cubicBezTo>
                    <a:pt x="72" y="106"/>
                    <a:pt x="73" y="106"/>
                    <a:pt x="69" y="107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Freeform 6"/>
            <p:cNvSpPr>
              <a:spLocks/>
            </p:cNvSpPr>
            <p:nvPr/>
          </p:nvSpPr>
          <p:spPr bwMode="auto">
            <a:xfrm>
              <a:off x="1664857" y="2971740"/>
              <a:ext cx="102644" cy="297220"/>
            </a:xfrm>
            <a:custGeom>
              <a:avLst/>
              <a:gdLst/>
              <a:ahLst/>
              <a:cxnLst>
                <a:cxn ang="0">
                  <a:pos x="49" y="1"/>
                </a:cxn>
                <a:cxn ang="0">
                  <a:pos x="47" y="28"/>
                </a:cxn>
                <a:cxn ang="0">
                  <a:pos x="49" y="52"/>
                </a:cxn>
                <a:cxn ang="0">
                  <a:pos x="47" y="52"/>
                </a:cxn>
                <a:cxn ang="0">
                  <a:pos x="44" y="141"/>
                </a:cxn>
                <a:cxn ang="0">
                  <a:pos x="31" y="141"/>
                </a:cxn>
                <a:cxn ang="0">
                  <a:pos x="27" y="63"/>
                </a:cxn>
                <a:cxn ang="0">
                  <a:pos x="21" y="141"/>
                </a:cxn>
                <a:cxn ang="0">
                  <a:pos x="8" y="141"/>
                </a:cxn>
                <a:cxn ang="0">
                  <a:pos x="3" y="50"/>
                </a:cxn>
                <a:cxn ang="0">
                  <a:pos x="1" y="50"/>
                </a:cxn>
                <a:cxn ang="0">
                  <a:pos x="4" y="27"/>
                </a:cxn>
                <a:cxn ang="0">
                  <a:pos x="2" y="0"/>
                </a:cxn>
              </a:cxnLst>
              <a:rect l="0" t="0" r="r" b="b"/>
              <a:pathLst>
                <a:path w="49" h="141">
                  <a:moveTo>
                    <a:pt x="49" y="1"/>
                  </a:moveTo>
                  <a:cubicBezTo>
                    <a:pt x="49" y="6"/>
                    <a:pt x="49" y="20"/>
                    <a:pt x="47" y="28"/>
                  </a:cubicBezTo>
                  <a:cubicBezTo>
                    <a:pt x="49" y="38"/>
                    <a:pt x="49" y="48"/>
                    <a:pt x="49" y="52"/>
                  </a:cubicBezTo>
                  <a:cubicBezTo>
                    <a:pt x="47" y="52"/>
                    <a:pt x="48" y="52"/>
                    <a:pt x="47" y="52"/>
                  </a:cubicBezTo>
                  <a:cubicBezTo>
                    <a:pt x="46" y="68"/>
                    <a:pt x="47" y="126"/>
                    <a:pt x="44" y="141"/>
                  </a:cubicBezTo>
                  <a:cubicBezTo>
                    <a:pt x="31" y="141"/>
                    <a:pt x="31" y="141"/>
                    <a:pt x="31" y="141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50"/>
                    <a:pt x="2" y="50"/>
                    <a:pt x="1" y="50"/>
                  </a:cubicBezTo>
                  <a:cubicBezTo>
                    <a:pt x="1" y="45"/>
                    <a:pt x="0" y="36"/>
                    <a:pt x="4" y="27"/>
                  </a:cubicBezTo>
                  <a:cubicBezTo>
                    <a:pt x="1" y="18"/>
                    <a:pt x="2" y="10"/>
                    <a:pt x="2" y="0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eform 7"/>
            <p:cNvSpPr>
              <a:spLocks/>
            </p:cNvSpPr>
            <p:nvPr/>
          </p:nvSpPr>
          <p:spPr bwMode="auto">
            <a:xfrm>
              <a:off x="1784459" y="3067243"/>
              <a:ext cx="21421" cy="8568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41"/>
                </a:cxn>
                <a:cxn ang="0">
                  <a:pos x="0" y="41"/>
                </a:cxn>
                <a:cxn ang="0">
                  <a:pos x="0" y="6"/>
                </a:cxn>
                <a:cxn ang="0">
                  <a:pos x="2" y="6"/>
                </a:cxn>
              </a:cxnLst>
              <a:rect l="0" t="0" r="r" b="b"/>
              <a:pathLst>
                <a:path w="10" h="41">
                  <a:moveTo>
                    <a:pt x="6" y="0"/>
                  </a:moveTo>
                  <a:cubicBezTo>
                    <a:pt x="6" y="3"/>
                    <a:pt x="6" y="4"/>
                    <a:pt x="6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8"/>
                    <a:pt x="10" y="29"/>
                    <a:pt x="1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9"/>
                    <a:pt x="0" y="18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 8"/>
            <p:cNvSpPr>
              <a:spLocks/>
            </p:cNvSpPr>
            <p:nvPr/>
          </p:nvSpPr>
          <p:spPr bwMode="auto">
            <a:xfrm>
              <a:off x="1767501" y="3020830"/>
              <a:ext cx="8926" cy="3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6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cubicBezTo>
                    <a:pt x="1" y="6"/>
                    <a:pt x="2" y="10"/>
                    <a:pt x="4" y="16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Freeform 9"/>
            <p:cNvSpPr>
              <a:spLocks/>
            </p:cNvSpPr>
            <p:nvPr/>
          </p:nvSpPr>
          <p:spPr bwMode="auto">
            <a:xfrm>
              <a:off x="1714840" y="2928005"/>
              <a:ext cx="38380" cy="15619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67"/>
                </a:cxn>
                <a:cxn ang="0">
                  <a:pos x="8" y="73"/>
                </a:cxn>
                <a:cxn ang="0">
                  <a:pos x="18" y="73"/>
                </a:cxn>
              </a:cxnLst>
              <a:rect l="0" t="0" r="r" b="b"/>
              <a:pathLst>
                <a:path w="18" h="74">
                  <a:moveTo>
                    <a:pt x="9" y="0"/>
                  </a:moveTo>
                  <a:cubicBezTo>
                    <a:pt x="3" y="18"/>
                    <a:pt x="0" y="45"/>
                    <a:pt x="2" y="67"/>
                  </a:cubicBezTo>
                  <a:cubicBezTo>
                    <a:pt x="3" y="72"/>
                    <a:pt x="5" y="72"/>
                    <a:pt x="8" y="73"/>
                  </a:cubicBezTo>
                  <a:cubicBezTo>
                    <a:pt x="12" y="74"/>
                    <a:pt x="14" y="74"/>
                    <a:pt x="18" y="73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Freeform 10"/>
            <p:cNvSpPr>
              <a:spLocks/>
            </p:cNvSpPr>
            <p:nvPr/>
          </p:nvSpPr>
          <p:spPr bwMode="auto">
            <a:xfrm>
              <a:off x="1702344" y="2925328"/>
              <a:ext cx="12496" cy="490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3"/>
                </a:cxn>
              </a:cxnLst>
              <a:rect l="0" t="0" r="r" b="b"/>
              <a:pathLst>
                <a:path w="6" h="23">
                  <a:moveTo>
                    <a:pt x="0" y="0"/>
                  </a:moveTo>
                  <a:cubicBezTo>
                    <a:pt x="5" y="9"/>
                    <a:pt x="5" y="15"/>
                    <a:pt x="6" y="23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Freeform 11"/>
            <p:cNvSpPr>
              <a:spLocks/>
            </p:cNvSpPr>
            <p:nvPr/>
          </p:nvSpPr>
          <p:spPr bwMode="auto">
            <a:xfrm>
              <a:off x="1679138" y="3064566"/>
              <a:ext cx="38380" cy="2142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7"/>
                </a:cxn>
              </a:cxnLst>
              <a:rect l="0" t="0" r="r" b="b"/>
              <a:pathLst>
                <a:path w="18" h="10">
                  <a:moveTo>
                    <a:pt x="18" y="0"/>
                  </a:moveTo>
                  <a:cubicBezTo>
                    <a:pt x="18" y="10"/>
                    <a:pt x="3" y="8"/>
                    <a:pt x="0" y="7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Freeform 12"/>
            <p:cNvSpPr>
              <a:spLocks/>
            </p:cNvSpPr>
            <p:nvPr/>
          </p:nvSpPr>
          <p:spPr bwMode="auto">
            <a:xfrm>
              <a:off x="1713055" y="2921757"/>
              <a:ext cx="12496" cy="2945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4" y="5"/>
                </a:cxn>
                <a:cxn ang="0">
                  <a:pos x="6" y="14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0" y="11"/>
                    <a:pt x="0" y="8"/>
                    <a:pt x="2" y="5"/>
                  </a:cubicBezTo>
                  <a:cubicBezTo>
                    <a:pt x="1" y="3"/>
                    <a:pt x="0" y="3"/>
                    <a:pt x="0" y="0"/>
                  </a:cubicBezTo>
                  <a:cubicBezTo>
                    <a:pt x="2" y="1"/>
                    <a:pt x="4" y="1"/>
                    <a:pt x="6" y="0"/>
                  </a:cubicBezTo>
                  <a:cubicBezTo>
                    <a:pt x="6" y="2"/>
                    <a:pt x="5" y="3"/>
                    <a:pt x="4" y="5"/>
                  </a:cubicBezTo>
                  <a:cubicBezTo>
                    <a:pt x="6" y="7"/>
                    <a:pt x="6" y="11"/>
                    <a:pt x="6" y="14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72" name="Image 71" descr="1395859613_Network.pn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6599785" y="1880450"/>
            <a:ext cx="168295" cy="168295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Image 72" descr="1395859613_Network.pn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4790320" y="1880450"/>
            <a:ext cx="168295" cy="168295"/>
          </a:xfrm>
          <a:prstGeom prst="rect">
            <a:avLst/>
          </a:prstGeom>
          <a:noFill/>
          <a:ln>
            <a:noFill/>
          </a:ln>
        </p:spPr>
      </p:pic>
      <p:pic>
        <p:nvPicPr>
          <p:cNvPr id="74" name="Image 73" descr="1395859613_Network.pn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2980855" y="1880450"/>
            <a:ext cx="168295" cy="168295"/>
          </a:xfrm>
          <a:prstGeom prst="rect">
            <a:avLst/>
          </a:prstGeom>
          <a:noFill/>
          <a:ln>
            <a:noFill/>
          </a:ln>
        </p:spPr>
      </p:pic>
      <p:sp>
        <p:nvSpPr>
          <p:cNvPr id="75" name="Rectangle à coins arrondis 74"/>
          <p:cNvSpPr/>
          <p:nvPr/>
        </p:nvSpPr>
        <p:spPr>
          <a:xfrm>
            <a:off x="2570232" y="1868954"/>
            <a:ext cx="390161" cy="19503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fr-FR" sz="800" b="1" dirty="0">
                <a:solidFill>
                  <a:schemeClr val="tx1"/>
                </a:solidFill>
              </a:rPr>
              <a:t>320+</a:t>
            </a:r>
          </a:p>
        </p:txBody>
      </p:sp>
      <p:sp>
        <p:nvSpPr>
          <p:cNvPr id="76" name="Rectangle à coins arrondis 75"/>
          <p:cNvSpPr/>
          <p:nvPr/>
        </p:nvSpPr>
        <p:spPr>
          <a:xfrm>
            <a:off x="3182250" y="1868954"/>
            <a:ext cx="390161" cy="19503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lvl="0" algn="ctr"/>
            <a:r>
              <a:rPr lang="fr-FR" sz="900" b="1" dirty="0">
                <a:solidFill>
                  <a:schemeClr val="tx1"/>
                </a:solidFill>
              </a:rPr>
              <a:t>1500+</a:t>
            </a:r>
          </a:p>
        </p:txBody>
      </p:sp>
      <p:sp>
        <p:nvSpPr>
          <p:cNvPr id="77" name="Rectangle à coins arrondis 76"/>
          <p:cNvSpPr/>
          <p:nvPr/>
        </p:nvSpPr>
        <p:spPr>
          <a:xfrm>
            <a:off x="4383819" y="1868954"/>
            <a:ext cx="390161" cy="19503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fr-FR" sz="800" b="1" dirty="0">
                <a:solidFill>
                  <a:schemeClr val="tx1"/>
                </a:solidFill>
              </a:rPr>
              <a:t>900+</a:t>
            </a:r>
          </a:p>
        </p:txBody>
      </p:sp>
      <p:sp>
        <p:nvSpPr>
          <p:cNvPr id="78" name="Rectangle à coins arrondis 77"/>
          <p:cNvSpPr/>
          <p:nvPr/>
        </p:nvSpPr>
        <p:spPr>
          <a:xfrm>
            <a:off x="4995837" y="1868954"/>
            <a:ext cx="390161" cy="19503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fr-FR" sz="800" b="1" dirty="0">
                <a:solidFill>
                  <a:schemeClr val="tx1"/>
                </a:solidFill>
              </a:rPr>
              <a:t>3500+</a:t>
            </a:r>
          </a:p>
        </p:txBody>
      </p:sp>
      <p:sp>
        <p:nvSpPr>
          <p:cNvPr id="79" name="Rectangle à coins arrondis 78"/>
          <p:cNvSpPr/>
          <p:nvPr/>
        </p:nvSpPr>
        <p:spPr>
          <a:xfrm>
            <a:off x="6179125" y="1868954"/>
            <a:ext cx="390161" cy="19503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fr-FR" sz="800" b="1" dirty="0">
                <a:solidFill>
                  <a:schemeClr val="tx1"/>
                </a:solidFill>
              </a:rPr>
              <a:t>200+</a:t>
            </a:r>
          </a:p>
        </p:txBody>
      </p:sp>
      <p:sp>
        <p:nvSpPr>
          <p:cNvPr id="80" name="Rectangle à coins arrondis 79"/>
          <p:cNvSpPr/>
          <p:nvPr/>
        </p:nvSpPr>
        <p:spPr>
          <a:xfrm>
            <a:off x="6791143" y="1868954"/>
            <a:ext cx="390161" cy="19503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fr-FR" sz="800" b="1" dirty="0">
                <a:solidFill>
                  <a:schemeClr val="tx1"/>
                </a:solidFill>
              </a:rPr>
              <a:t>800+</a:t>
            </a:r>
          </a:p>
        </p:txBody>
      </p:sp>
      <p:sp>
        <p:nvSpPr>
          <p:cNvPr id="81" name="Rectangle à coins arrondis 80"/>
          <p:cNvSpPr/>
          <p:nvPr/>
        </p:nvSpPr>
        <p:spPr>
          <a:xfrm>
            <a:off x="7992199" y="1868954"/>
            <a:ext cx="390161" cy="19503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fr-FR" sz="800" b="1" dirty="0">
                <a:solidFill>
                  <a:schemeClr val="tx1"/>
                </a:solidFill>
              </a:rPr>
              <a:t>100+</a:t>
            </a:r>
          </a:p>
        </p:txBody>
      </p:sp>
      <p:sp>
        <p:nvSpPr>
          <p:cNvPr id="82" name="Rectangle à coins arrondis 81"/>
          <p:cNvSpPr/>
          <p:nvPr/>
        </p:nvSpPr>
        <p:spPr>
          <a:xfrm>
            <a:off x="8604217" y="1868954"/>
            <a:ext cx="390161" cy="19503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fr-FR" sz="800" b="1" dirty="0">
                <a:solidFill>
                  <a:schemeClr val="tx1"/>
                </a:solidFill>
              </a:rPr>
              <a:t>350+</a:t>
            </a:r>
          </a:p>
        </p:txBody>
      </p:sp>
      <p:cxnSp>
        <p:nvCxnSpPr>
          <p:cNvPr id="83" name="Connecteur droit 82"/>
          <p:cNvCxnSpPr/>
          <p:nvPr/>
        </p:nvCxnSpPr>
        <p:spPr>
          <a:xfrm>
            <a:off x="3969734" y="1468105"/>
            <a:ext cx="0" cy="1946244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eur droit 83"/>
          <p:cNvCxnSpPr/>
          <p:nvPr/>
        </p:nvCxnSpPr>
        <p:spPr>
          <a:xfrm>
            <a:off x="5779200" y="1468105"/>
            <a:ext cx="0" cy="1946244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droit 84"/>
          <p:cNvCxnSpPr/>
          <p:nvPr/>
        </p:nvCxnSpPr>
        <p:spPr>
          <a:xfrm>
            <a:off x="7588665" y="1468105"/>
            <a:ext cx="0" cy="1946244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/>
          <p:cNvSpPr/>
          <p:nvPr/>
        </p:nvSpPr>
        <p:spPr>
          <a:xfrm>
            <a:off x="409528" y="1777105"/>
            <a:ext cx="17425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6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</a:rPr>
              <a:t>Nos compétences principales…</a:t>
            </a:r>
          </a:p>
        </p:txBody>
      </p:sp>
      <p:sp>
        <p:nvSpPr>
          <p:cNvPr id="87" name="Freeform 11"/>
          <p:cNvSpPr>
            <a:spLocks/>
          </p:cNvSpPr>
          <p:nvPr>
            <p:custDataLst>
              <p:tags r:id="rId2"/>
            </p:custDataLst>
          </p:nvPr>
        </p:nvSpPr>
        <p:spPr bwMode="auto">
          <a:xfrm rot="5400000">
            <a:off x="4631127" y="1131799"/>
            <a:ext cx="2111370" cy="749144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5705 h 10000"/>
              <a:gd name="connsiteX3" fmla="*/ 9705 w 10000"/>
              <a:gd name="connsiteY3" fmla="*/ 8750 h 10000"/>
              <a:gd name="connsiteX4" fmla="*/ 814 w 10000"/>
              <a:gd name="connsiteY4" fmla="*/ 8750 h 10000"/>
              <a:gd name="connsiteX5" fmla="*/ 519 w 10000"/>
              <a:gd name="connsiteY5" fmla="*/ 10000 h 10000"/>
              <a:gd name="connsiteX6" fmla="*/ 228 w 10000"/>
              <a:gd name="connsiteY6" fmla="*/ 8750 h 10000"/>
              <a:gd name="connsiteX7" fmla="*/ 0 w 10000"/>
              <a:gd name="connsiteY7" fmla="*/ 8750 h 10000"/>
              <a:gd name="connsiteX8" fmla="*/ 92 w 10000"/>
              <a:gd name="connsiteY8" fmla="*/ 65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5705 h 10000"/>
              <a:gd name="connsiteX3" fmla="*/ 9705 w 10000"/>
              <a:gd name="connsiteY3" fmla="*/ 8750 h 10000"/>
              <a:gd name="connsiteX4" fmla="*/ 814 w 10000"/>
              <a:gd name="connsiteY4" fmla="*/ 8750 h 10000"/>
              <a:gd name="connsiteX5" fmla="*/ 519 w 10000"/>
              <a:gd name="connsiteY5" fmla="*/ 10000 h 10000"/>
              <a:gd name="connsiteX6" fmla="*/ 228 w 10000"/>
              <a:gd name="connsiteY6" fmla="*/ 8750 h 10000"/>
              <a:gd name="connsiteX7" fmla="*/ 0 w 10000"/>
              <a:gd name="connsiteY7" fmla="*/ 8750 h 10000"/>
              <a:gd name="connsiteX0" fmla="*/ 10000 w 10000"/>
              <a:gd name="connsiteY0" fmla="*/ 0 h 10000"/>
              <a:gd name="connsiteX1" fmla="*/ 10000 w 10000"/>
              <a:gd name="connsiteY1" fmla="*/ 5705 h 10000"/>
              <a:gd name="connsiteX2" fmla="*/ 9705 w 10000"/>
              <a:gd name="connsiteY2" fmla="*/ 8750 h 10000"/>
              <a:gd name="connsiteX3" fmla="*/ 814 w 10000"/>
              <a:gd name="connsiteY3" fmla="*/ 8750 h 10000"/>
              <a:gd name="connsiteX4" fmla="*/ 519 w 10000"/>
              <a:gd name="connsiteY4" fmla="*/ 10000 h 10000"/>
              <a:gd name="connsiteX5" fmla="*/ 228 w 10000"/>
              <a:gd name="connsiteY5" fmla="*/ 8750 h 10000"/>
              <a:gd name="connsiteX6" fmla="*/ 0 w 10000"/>
              <a:gd name="connsiteY6" fmla="*/ 8750 h 10000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10000 w 10000"/>
              <a:gd name="connsiteY2" fmla="*/ 22421 h 26716"/>
              <a:gd name="connsiteX3" fmla="*/ 9705 w 10000"/>
              <a:gd name="connsiteY3" fmla="*/ 25466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10000 w 10000"/>
              <a:gd name="connsiteY2" fmla="*/ 22421 h 26716"/>
              <a:gd name="connsiteX3" fmla="*/ 4062 w 10000"/>
              <a:gd name="connsiteY3" fmla="*/ 25384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10000 w 10000"/>
              <a:gd name="connsiteY2" fmla="*/ 22421 h 26716"/>
              <a:gd name="connsiteX3" fmla="*/ 3373 w 10000"/>
              <a:gd name="connsiteY3" fmla="*/ 25384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4123 w 10000"/>
              <a:gd name="connsiteY2" fmla="*/ 23350 h 26716"/>
              <a:gd name="connsiteX3" fmla="*/ 3373 w 10000"/>
              <a:gd name="connsiteY3" fmla="*/ 25384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10000 w 10000"/>
              <a:gd name="connsiteY0" fmla="*/ 16716 h 26716"/>
              <a:gd name="connsiteX1" fmla="*/ 9924 w 10000"/>
              <a:gd name="connsiteY1" fmla="*/ 16671 h 26716"/>
              <a:gd name="connsiteX2" fmla="*/ 4223 w 10000"/>
              <a:gd name="connsiteY2" fmla="*/ 0 h 26716"/>
              <a:gd name="connsiteX3" fmla="*/ 4123 w 10000"/>
              <a:gd name="connsiteY3" fmla="*/ 23350 h 26716"/>
              <a:gd name="connsiteX4" fmla="*/ 3373 w 10000"/>
              <a:gd name="connsiteY4" fmla="*/ 25384 h 26716"/>
              <a:gd name="connsiteX5" fmla="*/ 814 w 10000"/>
              <a:gd name="connsiteY5" fmla="*/ 25466 h 26716"/>
              <a:gd name="connsiteX6" fmla="*/ 519 w 10000"/>
              <a:gd name="connsiteY6" fmla="*/ 26716 h 26716"/>
              <a:gd name="connsiteX7" fmla="*/ 228 w 10000"/>
              <a:gd name="connsiteY7" fmla="*/ 25466 h 26716"/>
              <a:gd name="connsiteX8" fmla="*/ 0 w 10000"/>
              <a:gd name="connsiteY8" fmla="*/ 25466 h 26716"/>
              <a:gd name="connsiteX0" fmla="*/ 10000 w 10000"/>
              <a:gd name="connsiteY0" fmla="*/ 16716 h 26716"/>
              <a:gd name="connsiteX1" fmla="*/ 4223 w 10000"/>
              <a:gd name="connsiteY1" fmla="*/ 0 h 26716"/>
              <a:gd name="connsiteX2" fmla="*/ 4123 w 10000"/>
              <a:gd name="connsiteY2" fmla="*/ 23350 h 26716"/>
              <a:gd name="connsiteX3" fmla="*/ 3373 w 10000"/>
              <a:gd name="connsiteY3" fmla="*/ 25384 h 26716"/>
              <a:gd name="connsiteX4" fmla="*/ 814 w 10000"/>
              <a:gd name="connsiteY4" fmla="*/ 25466 h 26716"/>
              <a:gd name="connsiteX5" fmla="*/ 519 w 10000"/>
              <a:gd name="connsiteY5" fmla="*/ 26716 h 26716"/>
              <a:gd name="connsiteX6" fmla="*/ 228 w 10000"/>
              <a:gd name="connsiteY6" fmla="*/ 25466 h 26716"/>
              <a:gd name="connsiteX7" fmla="*/ 0 w 10000"/>
              <a:gd name="connsiteY7" fmla="*/ 25466 h 26716"/>
              <a:gd name="connsiteX0" fmla="*/ 4223 w 4224"/>
              <a:gd name="connsiteY0" fmla="*/ 0 h 26716"/>
              <a:gd name="connsiteX1" fmla="*/ 4123 w 4224"/>
              <a:gd name="connsiteY1" fmla="*/ 23350 h 26716"/>
              <a:gd name="connsiteX2" fmla="*/ 3373 w 4224"/>
              <a:gd name="connsiteY2" fmla="*/ 25384 h 26716"/>
              <a:gd name="connsiteX3" fmla="*/ 814 w 4224"/>
              <a:gd name="connsiteY3" fmla="*/ 25466 h 26716"/>
              <a:gd name="connsiteX4" fmla="*/ 519 w 4224"/>
              <a:gd name="connsiteY4" fmla="*/ 26716 h 26716"/>
              <a:gd name="connsiteX5" fmla="*/ 228 w 4224"/>
              <a:gd name="connsiteY5" fmla="*/ 25466 h 26716"/>
              <a:gd name="connsiteX6" fmla="*/ 0 w 4224"/>
              <a:gd name="connsiteY6" fmla="*/ 25466 h 26716"/>
              <a:gd name="connsiteX0" fmla="*/ 9998 w 10000"/>
              <a:gd name="connsiteY0" fmla="*/ 0 h 10000"/>
              <a:gd name="connsiteX1" fmla="*/ 9761 w 10000"/>
              <a:gd name="connsiteY1" fmla="*/ 8740 h 10000"/>
              <a:gd name="connsiteX2" fmla="*/ 7985 w 10000"/>
              <a:gd name="connsiteY2" fmla="*/ 9501 h 10000"/>
              <a:gd name="connsiteX3" fmla="*/ 1927 w 10000"/>
              <a:gd name="connsiteY3" fmla="*/ 9532 h 10000"/>
              <a:gd name="connsiteX4" fmla="*/ 1229 w 10000"/>
              <a:gd name="connsiteY4" fmla="*/ 10000 h 10000"/>
              <a:gd name="connsiteX5" fmla="*/ 540 w 10000"/>
              <a:gd name="connsiteY5" fmla="*/ 9532 h 10000"/>
              <a:gd name="connsiteX6" fmla="*/ 0 w 10000"/>
              <a:gd name="connsiteY6" fmla="*/ 9532 h 10000"/>
              <a:gd name="connsiteX0" fmla="*/ 9998 w 10000"/>
              <a:gd name="connsiteY0" fmla="*/ 0 h 10000"/>
              <a:gd name="connsiteX1" fmla="*/ 9761 w 10000"/>
              <a:gd name="connsiteY1" fmla="*/ 8740 h 10000"/>
              <a:gd name="connsiteX2" fmla="*/ 7985 w 10000"/>
              <a:gd name="connsiteY2" fmla="*/ 9501 h 10000"/>
              <a:gd name="connsiteX3" fmla="*/ 1927 w 10000"/>
              <a:gd name="connsiteY3" fmla="*/ 9532 h 10000"/>
              <a:gd name="connsiteX4" fmla="*/ 1229 w 10000"/>
              <a:gd name="connsiteY4" fmla="*/ 10000 h 10000"/>
              <a:gd name="connsiteX5" fmla="*/ 540 w 10000"/>
              <a:gd name="connsiteY5" fmla="*/ 9532 h 10000"/>
              <a:gd name="connsiteX6" fmla="*/ 0 w 10000"/>
              <a:gd name="connsiteY6" fmla="*/ 9532 h 10000"/>
              <a:gd name="connsiteX0" fmla="*/ 9998 w 10042"/>
              <a:gd name="connsiteY0" fmla="*/ 0 h 10000"/>
              <a:gd name="connsiteX1" fmla="*/ 10042 w 10042"/>
              <a:gd name="connsiteY1" fmla="*/ 8740 h 10000"/>
              <a:gd name="connsiteX2" fmla="*/ 7985 w 10042"/>
              <a:gd name="connsiteY2" fmla="*/ 9501 h 10000"/>
              <a:gd name="connsiteX3" fmla="*/ 1927 w 10042"/>
              <a:gd name="connsiteY3" fmla="*/ 9532 h 10000"/>
              <a:gd name="connsiteX4" fmla="*/ 1229 w 10042"/>
              <a:gd name="connsiteY4" fmla="*/ 10000 h 10000"/>
              <a:gd name="connsiteX5" fmla="*/ 540 w 10042"/>
              <a:gd name="connsiteY5" fmla="*/ 9532 h 10000"/>
              <a:gd name="connsiteX6" fmla="*/ 0 w 10042"/>
              <a:gd name="connsiteY6" fmla="*/ 9532 h 10000"/>
              <a:gd name="connsiteX0" fmla="*/ 9998 w 10042"/>
              <a:gd name="connsiteY0" fmla="*/ 0 h 10000"/>
              <a:gd name="connsiteX1" fmla="*/ 10042 w 10042"/>
              <a:gd name="connsiteY1" fmla="*/ 8723 h 10000"/>
              <a:gd name="connsiteX2" fmla="*/ 7985 w 10042"/>
              <a:gd name="connsiteY2" fmla="*/ 9501 h 10000"/>
              <a:gd name="connsiteX3" fmla="*/ 1927 w 10042"/>
              <a:gd name="connsiteY3" fmla="*/ 9532 h 10000"/>
              <a:gd name="connsiteX4" fmla="*/ 1229 w 10042"/>
              <a:gd name="connsiteY4" fmla="*/ 10000 h 10000"/>
              <a:gd name="connsiteX5" fmla="*/ 540 w 10042"/>
              <a:gd name="connsiteY5" fmla="*/ 9532 h 10000"/>
              <a:gd name="connsiteX6" fmla="*/ 0 w 10042"/>
              <a:gd name="connsiteY6" fmla="*/ 9532 h 10000"/>
              <a:gd name="connsiteX0" fmla="*/ 9998 w 10042"/>
              <a:gd name="connsiteY0" fmla="*/ 0 h 10250"/>
              <a:gd name="connsiteX1" fmla="*/ 10042 w 10042"/>
              <a:gd name="connsiteY1" fmla="*/ 8723 h 10250"/>
              <a:gd name="connsiteX2" fmla="*/ 9006 w 10042"/>
              <a:gd name="connsiteY2" fmla="*/ 9164 h 10250"/>
              <a:gd name="connsiteX3" fmla="*/ 7985 w 10042"/>
              <a:gd name="connsiteY3" fmla="*/ 9501 h 10250"/>
              <a:gd name="connsiteX4" fmla="*/ 1927 w 10042"/>
              <a:gd name="connsiteY4" fmla="*/ 9532 h 10250"/>
              <a:gd name="connsiteX5" fmla="*/ 1229 w 10042"/>
              <a:gd name="connsiteY5" fmla="*/ 10000 h 10250"/>
              <a:gd name="connsiteX6" fmla="*/ 540 w 10042"/>
              <a:gd name="connsiteY6" fmla="*/ 9532 h 10250"/>
              <a:gd name="connsiteX7" fmla="*/ 0 w 10042"/>
              <a:gd name="connsiteY7" fmla="*/ 9532 h 10250"/>
              <a:gd name="connsiteX0" fmla="*/ 9998 w 10042"/>
              <a:gd name="connsiteY0" fmla="*/ 0 h 10000"/>
              <a:gd name="connsiteX1" fmla="*/ 10042 w 10042"/>
              <a:gd name="connsiteY1" fmla="*/ 7777 h 10000"/>
              <a:gd name="connsiteX2" fmla="*/ 9006 w 10042"/>
              <a:gd name="connsiteY2" fmla="*/ 9164 h 10000"/>
              <a:gd name="connsiteX3" fmla="*/ 7985 w 10042"/>
              <a:gd name="connsiteY3" fmla="*/ 9501 h 10000"/>
              <a:gd name="connsiteX4" fmla="*/ 1927 w 10042"/>
              <a:gd name="connsiteY4" fmla="*/ 9532 h 10000"/>
              <a:gd name="connsiteX5" fmla="*/ 1229 w 10042"/>
              <a:gd name="connsiteY5" fmla="*/ 10000 h 10000"/>
              <a:gd name="connsiteX6" fmla="*/ 540 w 10042"/>
              <a:gd name="connsiteY6" fmla="*/ 9532 h 10000"/>
              <a:gd name="connsiteX7" fmla="*/ 0 w 10042"/>
              <a:gd name="connsiteY7" fmla="*/ 9532 h 10000"/>
              <a:gd name="connsiteX0" fmla="*/ 9998 w 10042"/>
              <a:gd name="connsiteY0" fmla="*/ 0 h 10000"/>
              <a:gd name="connsiteX1" fmla="*/ 10042 w 10042"/>
              <a:gd name="connsiteY1" fmla="*/ 7777 h 10000"/>
              <a:gd name="connsiteX2" fmla="*/ 9537 w 10042"/>
              <a:gd name="connsiteY2" fmla="*/ 9130 h 10000"/>
              <a:gd name="connsiteX3" fmla="*/ 7985 w 10042"/>
              <a:gd name="connsiteY3" fmla="*/ 9501 h 10000"/>
              <a:gd name="connsiteX4" fmla="*/ 1927 w 10042"/>
              <a:gd name="connsiteY4" fmla="*/ 9532 h 10000"/>
              <a:gd name="connsiteX5" fmla="*/ 1229 w 10042"/>
              <a:gd name="connsiteY5" fmla="*/ 10000 h 10000"/>
              <a:gd name="connsiteX6" fmla="*/ 540 w 10042"/>
              <a:gd name="connsiteY6" fmla="*/ 9532 h 10000"/>
              <a:gd name="connsiteX7" fmla="*/ 0 w 10042"/>
              <a:gd name="connsiteY7" fmla="*/ 9532 h 10000"/>
              <a:gd name="connsiteX0" fmla="*/ 9998 w 10042"/>
              <a:gd name="connsiteY0" fmla="*/ 0 h 10000"/>
              <a:gd name="connsiteX1" fmla="*/ 10042 w 10042"/>
              <a:gd name="connsiteY1" fmla="*/ 7777 h 10000"/>
              <a:gd name="connsiteX2" fmla="*/ 9537 w 10042"/>
              <a:gd name="connsiteY2" fmla="*/ 9130 h 10000"/>
              <a:gd name="connsiteX3" fmla="*/ 7985 w 10042"/>
              <a:gd name="connsiteY3" fmla="*/ 9501 h 10000"/>
              <a:gd name="connsiteX4" fmla="*/ 1927 w 10042"/>
              <a:gd name="connsiteY4" fmla="*/ 9532 h 10000"/>
              <a:gd name="connsiteX5" fmla="*/ 1229 w 10042"/>
              <a:gd name="connsiteY5" fmla="*/ 10000 h 10000"/>
              <a:gd name="connsiteX6" fmla="*/ 540 w 10042"/>
              <a:gd name="connsiteY6" fmla="*/ 9532 h 10000"/>
              <a:gd name="connsiteX7" fmla="*/ 0 w 10042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537 w 10059"/>
              <a:gd name="connsiteY2" fmla="*/ 9130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689 w 10059"/>
              <a:gd name="connsiteY2" fmla="*/ 9231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704 w 10059"/>
              <a:gd name="connsiteY2" fmla="*/ 9299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704 w 10059"/>
              <a:gd name="connsiteY2" fmla="*/ 9299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704 w 10059"/>
              <a:gd name="connsiteY2" fmla="*/ 9299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59"/>
              <a:gd name="connsiteY0" fmla="*/ 0 h 10000"/>
              <a:gd name="connsiteX1" fmla="*/ 10042 w 10059"/>
              <a:gd name="connsiteY1" fmla="*/ 7777 h 10000"/>
              <a:gd name="connsiteX2" fmla="*/ 9710 w 10059"/>
              <a:gd name="connsiteY2" fmla="*/ 9331 h 10000"/>
              <a:gd name="connsiteX3" fmla="*/ 7985 w 10059"/>
              <a:gd name="connsiteY3" fmla="*/ 9501 h 10000"/>
              <a:gd name="connsiteX4" fmla="*/ 1927 w 10059"/>
              <a:gd name="connsiteY4" fmla="*/ 9532 h 10000"/>
              <a:gd name="connsiteX5" fmla="*/ 1229 w 10059"/>
              <a:gd name="connsiteY5" fmla="*/ 10000 h 10000"/>
              <a:gd name="connsiteX6" fmla="*/ 540 w 10059"/>
              <a:gd name="connsiteY6" fmla="*/ 9532 h 10000"/>
              <a:gd name="connsiteX7" fmla="*/ 0 w 10059"/>
              <a:gd name="connsiteY7" fmla="*/ 9532 h 10000"/>
              <a:gd name="connsiteX0" fmla="*/ 9998 w 10093"/>
              <a:gd name="connsiteY0" fmla="*/ 0 h 10000"/>
              <a:gd name="connsiteX1" fmla="*/ 10042 w 10093"/>
              <a:gd name="connsiteY1" fmla="*/ 7777 h 10000"/>
              <a:gd name="connsiteX2" fmla="*/ 9750 w 10093"/>
              <a:gd name="connsiteY2" fmla="*/ 9331 h 10000"/>
              <a:gd name="connsiteX3" fmla="*/ 7985 w 10093"/>
              <a:gd name="connsiteY3" fmla="*/ 9501 h 10000"/>
              <a:gd name="connsiteX4" fmla="*/ 1927 w 10093"/>
              <a:gd name="connsiteY4" fmla="*/ 9532 h 10000"/>
              <a:gd name="connsiteX5" fmla="*/ 1229 w 10093"/>
              <a:gd name="connsiteY5" fmla="*/ 10000 h 10000"/>
              <a:gd name="connsiteX6" fmla="*/ 540 w 10093"/>
              <a:gd name="connsiteY6" fmla="*/ 9532 h 10000"/>
              <a:gd name="connsiteX7" fmla="*/ 0 w 10093"/>
              <a:gd name="connsiteY7" fmla="*/ 9532 h 10000"/>
              <a:gd name="connsiteX0" fmla="*/ 9998 w 10068"/>
              <a:gd name="connsiteY0" fmla="*/ 0 h 10000"/>
              <a:gd name="connsiteX1" fmla="*/ 10042 w 10068"/>
              <a:gd name="connsiteY1" fmla="*/ 7777 h 10000"/>
              <a:gd name="connsiteX2" fmla="*/ 9750 w 10068"/>
              <a:gd name="connsiteY2" fmla="*/ 9331 h 10000"/>
              <a:gd name="connsiteX3" fmla="*/ 7985 w 10068"/>
              <a:gd name="connsiteY3" fmla="*/ 9501 h 10000"/>
              <a:gd name="connsiteX4" fmla="*/ 1927 w 10068"/>
              <a:gd name="connsiteY4" fmla="*/ 9532 h 10000"/>
              <a:gd name="connsiteX5" fmla="*/ 1229 w 10068"/>
              <a:gd name="connsiteY5" fmla="*/ 10000 h 10000"/>
              <a:gd name="connsiteX6" fmla="*/ 540 w 10068"/>
              <a:gd name="connsiteY6" fmla="*/ 9532 h 10000"/>
              <a:gd name="connsiteX7" fmla="*/ 0 w 10068"/>
              <a:gd name="connsiteY7" fmla="*/ 9532 h 10000"/>
              <a:gd name="connsiteX0" fmla="*/ 10042 w 10068"/>
              <a:gd name="connsiteY0" fmla="*/ 0 h 6834"/>
              <a:gd name="connsiteX1" fmla="*/ 10042 w 10068"/>
              <a:gd name="connsiteY1" fmla="*/ 4611 h 6834"/>
              <a:gd name="connsiteX2" fmla="*/ 9750 w 10068"/>
              <a:gd name="connsiteY2" fmla="*/ 6165 h 6834"/>
              <a:gd name="connsiteX3" fmla="*/ 7985 w 10068"/>
              <a:gd name="connsiteY3" fmla="*/ 6335 h 6834"/>
              <a:gd name="connsiteX4" fmla="*/ 1927 w 10068"/>
              <a:gd name="connsiteY4" fmla="*/ 6366 h 6834"/>
              <a:gd name="connsiteX5" fmla="*/ 1229 w 10068"/>
              <a:gd name="connsiteY5" fmla="*/ 6834 h 6834"/>
              <a:gd name="connsiteX6" fmla="*/ 540 w 10068"/>
              <a:gd name="connsiteY6" fmla="*/ 6366 h 6834"/>
              <a:gd name="connsiteX7" fmla="*/ 0 w 10068"/>
              <a:gd name="connsiteY7" fmla="*/ 6366 h 6834"/>
              <a:gd name="connsiteX0" fmla="*/ 11660 w 11686"/>
              <a:gd name="connsiteY0" fmla="*/ 0 h 10000"/>
              <a:gd name="connsiteX1" fmla="*/ 11660 w 11686"/>
              <a:gd name="connsiteY1" fmla="*/ 6747 h 10000"/>
              <a:gd name="connsiteX2" fmla="*/ 11370 w 11686"/>
              <a:gd name="connsiteY2" fmla="*/ 9021 h 10000"/>
              <a:gd name="connsiteX3" fmla="*/ 9617 w 11686"/>
              <a:gd name="connsiteY3" fmla="*/ 9270 h 10000"/>
              <a:gd name="connsiteX4" fmla="*/ 3600 w 11686"/>
              <a:gd name="connsiteY4" fmla="*/ 9315 h 10000"/>
              <a:gd name="connsiteX5" fmla="*/ 2907 w 11686"/>
              <a:gd name="connsiteY5" fmla="*/ 10000 h 10000"/>
              <a:gd name="connsiteX6" fmla="*/ 2222 w 11686"/>
              <a:gd name="connsiteY6" fmla="*/ 9315 h 10000"/>
              <a:gd name="connsiteX7" fmla="*/ 0 w 11686"/>
              <a:gd name="connsiteY7" fmla="*/ 9328 h 10000"/>
              <a:gd name="connsiteX0" fmla="*/ 11737 w 11739"/>
              <a:gd name="connsiteY0" fmla="*/ 0 h 14667"/>
              <a:gd name="connsiteX1" fmla="*/ 11660 w 11739"/>
              <a:gd name="connsiteY1" fmla="*/ 11414 h 14667"/>
              <a:gd name="connsiteX2" fmla="*/ 11370 w 11739"/>
              <a:gd name="connsiteY2" fmla="*/ 13688 h 14667"/>
              <a:gd name="connsiteX3" fmla="*/ 9617 w 11739"/>
              <a:gd name="connsiteY3" fmla="*/ 13937 h 14667"/>
              <a:gd name="connsiteX4" fmla="*/ 3600 w 11739"/>
              <a:gd name="connsiteY4" fmla="*/ 13982 h 14667"/>
              <a:gd name="connsiteX5" fmla="*/ 2907 w 11739"/>
              <a:gd name="connsiteY5" fmla="*/ 14667 h 14667"/>
              <a:gd name="connsiteX6" fmla="*/ 2222 w 11739"/>
              <a:gd name="connsiteY6" fmla="*/ 13982 h 14667"/>
              <a:gd name="connsiteX7" fmla="*/ 0 w 11739"/>
              <a:gd name="connsiteY7" fmla="*/ 13995 h 14667"/>
              <a:gd name="connsiteX0" fmla="*/ 11737 w 11739"/>
              <a:gd name="connsiteY0" fmla="*/ 0 h 15854"/>
              <a:gd name="connsiteX1" fmla="*/ 11660 w 11739"/>
              <a:gd name="connsiteY1" fmla="*/ 12601 h 15854"/>
              <a:gd name="connsiteX2" fmla="*/ 11370 w 11739"/>
              <a:gd name="connsiteY2" fmla="*/ 14875 h 15854"/>
              <a:gd name="connsiteX3" fmla="*/ 9617 w 11739"/>
              <a:gd name="connsiteY3" fmla="*/ 15124 h 15854"/>
              <a:gd name="connsiteX4" fmla="*/ 3600 w 11739"/>
              <a:gd name="connsiteY4" fmla="*/ 15169 h 15854"/>
              <a:gd name="connsiteX5" fmla="*/ 2907 w 11739"/>
              <a:gd name="connsiteY5" fmla="*/ 15854 h 15854"/>
              <a:gd name="connsiteX6" fmla="*/ 2222 w 11739"/>
              <a:gd name="connsiteY6" fmla="*/ 15169 h 15854"/>
              <a:gd name="connsiteX7" fmla="*/ 0 w 11739"/>
              <a:gd name="connsiteY7" fmla="*/ 15182 h 15854"/>
              <a:gd name="connsiteX0" fmla="*/ 11716 w 11718"/>
              <a:gd name="connsiteY0" fmla="*/ 0 h 16965"/>
              <a:gd name="connsiteX1" fmla="*/ 11660 w 11718"/>
              <a:gd name="connsiteY1" fmla="*/ 13712 h 16965"/>
              <a:gd name="connsiteX2" fmla="*/ 11370 w 11718"/>
              <a:gd name="connsiteY2" fmla="*/ 15986 h 16965"/>
              <a:gd name="connsiteX3" fmla="*/ 9617 w 11718"/>
              <a:gd name="connsiteY3" fmla="*/ 16235 h 16965"/>
              <a:gd name="connsiteX4" fmla="*/ 3600 w 11718"/>
              <a:gd name="connsiteY4" fmla="*/ 16280 h 16965"/>
              <a:gd name="connsiteX5" fmla="*/ 2907 w 11718"/>
              <a:gd name="connsiteY5" fmla="*/ 16965 h 16965"/>
              <a:gd name="connsiteX6" fmla="*/ 2222 w 11718"/>
              <a:gd name="connsiteY6" fmla="*/ 16280 h 16965"/>
              <a:gd name="connsiteX7" fmla="*/ 0 w 11718"/>
              <a:gd name="connsiteY7" fmla="*/ 16293 h 16965"/>
              <a:gd name="connsiteX0" fmla="*/ 11716 w 11733"/>
              <a:gd name="connsiteY0" fmla="*/ 0 h 16965"/>
              <a:gd name="connsiteX1" fmla="*/ 11716 w 11733"/>
              <a:gd name="connsiteY1" fmla="*/ 13747 h 16965"/>
              <a:gd name="connsiteX2" fmla="*/ 11370 w 11733"/>
              <a:gd name="connsiteY2" fmla="*/ 15986 h 16965"/>
              <a:gd name="connsiteX3" fmla="*/ 9617 w 11733"/>
              <a:gd name="connsiteY3" fmla="*/ 16235 h 16965"/>
              <a:gd name="connsiteX4" fmla="*/ 3600 w 11733"/>
              <a:gd name="connsiteY4" fmla="*/ 16280 h 16965"/>
              <a:gd name="connsiteX5" fmla="*/ 2907 w 11733"/>
              <a:gd name="connsiteY5" fmla="*/ 16965 h 16965"/>
              <a:gd name="connsiteX6" fmla="*/ 2222 w 11733"/>
              <a:gd name="connsiteY6" fmla="*/ 16280 h 16965"/>
              <a:gd name="connsiteX7" fmla="*/ 0 w 11733"/>
              <a:gd name="connsiteY7" fmla="*/ 16293 h 16965"/>
              <a:gd name="connsiteX0" fmla="*/ 11716 w 11733"/>
              <a:gd name="connsiteY0" fmla="*/ 0 h 16965"/>
              <a:gd name="connsiteX1" fmla="*/ 11716 w 11733"/>
              <a:gd name="connsiteY1" fmla="*/ 13747 h 16965"/>
              <a:gd name="connsiteX2" fmla="*/ 11370 w 11733"/>
              <a:gd name="connsiteY2" fmla="*/ 15986 h 16965"/>
              <a:gd name="connsiteX3" fmla="*/ 9617 w 11733"/>
              <a:gd name="connsiteY3" fmla="*/ 16235 h 16965"/>
              <a:gd name="connsiteX4" fmla="*/ 3600 w 11733"/>
              <a:gd name="connsiteY4" fmla="*/ 16280 h 16965"/>
              <a:gd name="connsiteX5" fmla="*/ 2907 w 11733"/>
              <a:gd name="connsiteY5" fmla="*/ 16965 h 16965"/>
              <a:gd name="connsiteX6" fmla="*/ 2222 w 11733"/>
              <a:gd name="connsiteY6" fmla="*/ 16280 h 16965"/>
              <a:gd name="connsiteX7" fmla="*/ 0 w 11733"/>
              <a:gd name="connsiteY7" fmla="*/ 16293 h 16965"/>
              <a:gd name="connsiteX0" fmla="*/ 12315 w 12332"/>
              <a:gd name="connsiteY0" fmla="*/ 0 h 16965"/>
              <a:gd name="connsiteX1" fmla="*/ 12315 w 12332"/>
              <a:gd name="connsiteY1" fmla="*/ 13747 h 16965"/>
              <a:gd name="connsiteX2" fmla="*/ 11969 w 12332"/>
              <a:gd name="connsiteY2" fmla="*/ 15986 h 16965"/>
              <a:gd name="connsiteX3" fmla="*/ 10216 w 12332"/>
              <a:gd name="connsiteY3" fmla="*/ 16235 h 16965"/>
              <a:gd name="connsiteX4" fmla="*/ 4199 w 12332"/>
              <a:gd name="connsiteY4" fmla="*/ 16280 h 16965"/>
              <a:gd name="connsiteX5" fmla="*/ 3506 w 12332"/>
              <a:gd name="connsiteY5" fmla="*/ 16965 h 16965"/>
              <a:gd name="connsiteX6" fmla="*/ 2821 w 12332"/>
              <a:gd name="connsiteY6" fmla="*/ 16280 h 16965"/>
              <a:gd name="connsiteX7" fmla="*/ 0 w 12332"/>
              <a:gd name="connsiteY7" fmla="*/ 16364 h 16965"/>
              <a:gd name="connsiteX0" fmla="*/ 12206 w 12321"/>
              <a:gd name="connsiteY0" fmla="*/ 0 h 30207"/>
              <a:gd name="connsiteX1" fmla="*/ 12315 w 12321"/>
              <a:gd name="connsiteY1" fmla="*/ 26989 h 30207"/>
              <a:gd name="connsiteX2" fmla="*/ 11969 w 12321"/>
              <a:gd name="connsiteY2" fmla="*/ 29228 h 30207"/>
              <a:gd name="connsiteX3" fmla="*/ 10216 w 12321"/>
              <a:gd name="connsiteY3" fmla="*/ 29477 h 30207"/>
              <a:gd name="connsiteX4" fmla="*/ 4199 w 12321"/>
              <a:gd name="connsiteY4" fmla="*/ 29522 h 30207"/>
              <a:gd name="connsiteX5" fmla="*/ 3506 w 12321"/>
              <a:gd name="connsiteY5" fmla="*/ 30207 h 30207"/>
              <a:gd name="connsiteX6" fmla="*/ 2821 w 12321"/>
              <a:gd name="connsiteY6" fmla="*/ 29522 h 30207"/>
              <a:gd name="connsiteX7" fmla="*/ 0 w 12321"/>
              <a:gd name="connsiteY7" fmla="*/ 29606 h 30207"/>
              <a:gd name="connsiteX0" fmla="*/ 12206 w 12206"/>
              <a:gd name="connsiteY0" fmla="*/ 0 h 30207"/>
              <a:gd name="connsiteX1" fmla="*/ 11969 w 12206"/>
              <a:gd name="connsiteY1" fmla="*/ 29228 h 30207"/>
              <a:gd name="connsiteX2" fmla="*/ 10216 w 12206"/>
              <a:gd name="connsiteY2" fmla="*/ 29477 h 30207"/>
              <a:gd name="connsiteX3" fmla="*/ 4199 w 12206"/>
              <a:gd name="connsiteY3" fmla="*/ 29522 h 30207"/>
              <a:gd name="connsiteX4" fmla="*/ 3506 w 12206"/>
              <a:gd name="connsiteY4" fmla="*/ 30207 h 30207"/>
              <a:gd name="connsiteX5" fmla="*/ 2821 w 12206"/>
              <a:gd name="connsiteY5" fmla="*/ 29522 h 30207"/>
              <a:gd name="connsiteX6" fmla="*/ 0 w 12206"/>
              <a:gd name="connsiteY6" fmla="*/ 29606 h 30207"/>
              <a:gd name="connsiteX0" fmla="*/ 12206 w 12371"/>
              <a:gd name="connsiteY0" fmla="*/ 0 h 30207"/>
              <a:gd name="connsiteX1" fmla="*/ 12242 w 12371"/>
              <a:gd name="connsiteY1" fmla="*/ 29321 h 30207"/>
              <a:gd name="connsiteX2" fmla="*/ 10216 w 12371"/>
              <a:gd name="connsiteY2" fmla="*/ 29477 h 30207"/>
              <a:gd name="connsiteX3" fmla="*/ 4199 w 12371"/>
              <a:gd name="connsiteY3" fmla="*/ 29522 h 30207"/>
              <a:gd name="connsiteX4" fmla="*/ 3506 w 12371"/>
              <a:gd name="connsiteY4" fmla="*/ 30207 h 30207"/>
              <a:gd name="connsiteX5" fmla="*/ 2821 w 12371"/>
              <a:gd name="connsiteY5" fmla="*/ 29522 h 30207"/>
              <a:gd name="connsiteX6" fmla="*/ 0 w 12371"/>
              <a:gd name="connsiteY6" fmla="*/ 29606 h 30207"/>
              <a:gd name="connsiteX0" fmla="*/ 12206 w 12350"/>
              <a:gd name="connsiteY0" fmla="*/ 0 h 30207"/>
              <a:gd name="connsiteX1" fmla="*/ 12215 w 12350"/>
              <a:gd name="connsiteY1" fmla="*/ 29191 h 30207"/>
              <a:gd name="connsiteX2" fmla="*/ 10216 w 12350"/>
              <a:gd name="connsiteY2" fmla="*/ 29477 h 30207"/>
              <a:gd name="connsiteX3" fmla="*/ 4199 w 12350"/>
              <a:gd name="connsiteY3" fmla="*/ 29522 h 30207"/>
              <a:gd name="connsiteX4" fmla="*/ 3506 w 12350"/>
              <a:gd name="connsiteY4" fmla="*/ 30207 h 30207"/>
              <a:gd name="connsiteX5" fmla="*/ 2821 w 12350"/>
              <a:gd name="connsiteY5" fmla="*/ 29522 h 30207"/>
              <a:gd name="connsiteX6" fmla="*/ 0 w 12350"/>
              <a:gd name="connsiteY6" fmla="*/ 29606 h 30207"/>
              <a:gd name="connsiteX0" fmla="*/ 12206 w 12350"/>
              <a:gd name="connsiteY0" fmla="*/ 0 h 30207"/>
              <a:gd name="connsiteX1" fmla="*/ 12215 w 12350"/>
              <a:gd name="connsiteY1" fmla="*/ 29265 h 30207"/>
              <a:gd name="connsiteX2" fmla="*/ 10216 w 12350"/>
              <a:gd name="connsiteY2" fmla="*/ 29477 h 30207"/>
              <a:gd name="connsiteX3" fmla="*/ 4199 w 12350"/>
              <a:gd name="connsiteY3" fmla="*/ 29522 h 30207"/>
              <a:gd name="connsiteX4" fmla="*/ 3506 w 12350"/>
              <a:gd name="connsiteY4" fmla="*/ 30207 h 30207"/>
              <a:gd name="connsiteX5" fmla="*/ 2821 w 12350"/>
              <a:gd name="connsiteY5" fmla="*/ 29522 h 30207"/>
              <a:gd name="connsiteX6" fmla="*/ 0 w 12350"/>
              <a:gd name="connsiteY6" fmla="*/ 29606 h 30207"/>
              <a:gd name="connsiteX0" fmla="*/ 12206 w 12350"/>
              <a:gd name="connsiteY0" fmla="*/ 0 h 29984"/>
              <a:gd name="connsiteX1" fmla="*/ 12215 w 12350"/>
              <a:gd name="connsiteY1" fmla="*/ 29265 h 29984"/>
              <a:gd name="connsiteX2" fmla="*/ 10216 w 12350"/>
              <a:gd name="connsiteY2" fmla="*/ 29477 h 29984"/>
              <a:gd name="connsiteX3" fmla="*/ 4199 w 12350"/>
              <a:gd name="connsiteY3" fmla="*/ 29522 h 29984"/>
              <a:gd name="connsiteX4" fmla="*/ 3588 w 12350"/>
              <a:gd name="connsiteY4" fmla="*/ 29984 h 29984"/>
              <a:gd name="connsiteX5" fmla="*/ 2821 w 12350"/>
              <a:gd name="connsiteY5" fmla="*/ 29522 h 29984"/>
              <a:gd name="connsiteX6" fmla="*/ 0 w 12350"/>
              <a:gd name="connsiteY6" fmla="*/ 29606 h 29984"/>
              <a:gd name="connsiteX0" fmla="*/ 12206 w 12350"/>
              <a:gd name="connsiteY0" fmla="*/ 0 h 29984"/>
              <a:gd name="connsiteX1" fmla="*/ 12215 w 12350"/>
              <a:gd name="connsiteY1" fmla="*/ 29166 h 29984"/>
              <a:gd name="connsiteX2" fmla="*/ 10216 w 12350"/>
              <a:gd name="connsiteY2" fmla="*/ 29477 h 29984"/>
              <a:gd name="connsiteX3" fmla="*/ 4199 w 12350"/>
              <a:gd name="connsiteY3" fmla="*/ 29522 h 29984"/>
              <a:gd name="connsiteX4" fmla="*/ 3588 w 12350"/>
              <a:gd name="connsiteY4" fmla="*/ 29984 h 29984"/>
              <a:gd name="connsiteX5" fmla="*/ 2821 w 12350"/>
              <a:gd name="connsiteY5" fmla="*/ 29522 h 29984"/>
              <a:gd name="connsiteX6" fmla="*/ 0 w 12350"/>
              <a:gd name="connsiteY6" fmla="*/ 29606 h 29984"/>
              <a:gd name="connsiteX0" fmla="*/ 12206 w 12350"/>
              <a:gd name="connsiteY0" fmla="*/ 0 h 29984"/>
              <a:gd name="connsiteX1" fmla="*/ 12215 w 12350"/>
              <a:gd name="connsiteY1" fmla="*/ 29092 h 29984"/>
              <a:gd name="connsiteX2" fmla="*/ 10216 w 12350"/>
              <a:gd name="connsiteY2" fmla="*/ 29477 h 29984"/>
              <a:gd name="connsiteX3" fmla="*/ 4199 w 12350"/>
              <a:gd name="connsiteY3" fmla="*/ 29522 h 29984"/>
              <a:gd name="connsiteX4" fmla="*/ 3588 w 12350"/>
              <a:gd name="connsiteY4" fmla="*/ 29984 h 29984"/>
              <a:gd name="connsiteX5" fmla="*/ 2821 w 12350"/>
              <a:gd name="connsiteY5" fmla="*/ 29522 h 29984"/>
              <a:gd name="connsiteX6" fmla="*/ 0 w 12350"/>
              <a:gd name="connsiteY6" fmla="*/ 29606 h 29984"/>
              <a:gd name="connsiteX0" fmla="*/ 12206 w 12421"/>
              <a:gd name="connsiteY0" fmla="*/ 0 h 29984"/>
              <a:gd name="connsiteX1" fmla="*/ 12215 w 12421"/>
              <a:gd name="connsiteY1" fmla="*/ 29092 h 29984"/>
              <a:gd name="connsiteX2" fmla="*/ 10216 w 12421"/>
              <a:gd name="connsiteY2" fmla="*/ 29477 h 29984"/>
              <a:gd name="connsiteX3" fmla="*/ 4199 w 12421"/>
              <a:gd name="connsiteY3" fmla="*/ 29522 h 29984"/>
              <a:gd name="connsiteX4" fmla="*/ 3588 w 12421"/>
              <a:gd name="connsiteY4" fmla="*/ 29984 h 29984"/>
              <a:gd name="connsiteX5" fmla="*/ 2821 w 12421"/>
              <a:gd name="connsiteY5" fmla="*/ 29522 h 29984"/>
              <a:gd name="connsiteX6" fmla="*/ 0 w 12421"/>
              <a:gd name="connsiteY6" fmla="*/ 29606 h 29984"/>
              <a:gd name="connsiteX0" fmla="*/ 12206 w 12520"/>
              <a:gd name="connsiteY0" fmla="*/ 0 h 29984"/>
              <a:gd name="connsiteX1" fmla="*/ 12340 w 12520"/>
              <a:gd name="connsiteY1" fmla="*/ 29080 h 29984"/>
              <a:gd name="connsiteX2" fmla="*/ 10216 w 12520"/>
              <a:gd name="connsiteY2" fmla="*/ 29477 h 29984"/>
              <a:gd name="connsiteX3" fmla="*/ 4199 w 12520"/>
              <a:gd name="connsiteY3" fmla="*/ 29522 h 29984"/>
              <a:gd name="connsiteX4" fmla="*/ 3588 w 12520"/>
              <a:gd name="connsiteY4" fmla="*/ 29984 h 29984"/>
              <a:gd name="connsiteX5" fmla="*/ 2821 w 12520"/>
              <a:gd name="connsiteY5" fmla="*/ 29522 h 29984"/>
              <a:gd name="connsiteX6" fmla="*/ 0 w 12520"/>
              <a:gd name="connsiteY6" fmla="*/ 29606 h 29984"/>
              <a:gd name="connsiteX0" fmla="*/ 12206 w 12394"/>
              <a:gd name="connsiteY0" fmla="*/ 0 h 29984"/>
              <a:gd name="connsiteX1" fmla="*/ 12179 w 12394"/>
              <a:gd name="connsiteY1" fmla="*/ 29068 h 29984"/>
              <a:gd name="connsiteX2" fmla="*/ 10216 w 12394"/>
              <a:gd name="connsiteY2" fmla="*/ 29477 h 29984"/>
              <a:gd name="connsiteX3" fmla="*/ 4199 w 12394"/>
              <a:gd name="connsiteY3" fmla="*/ 29522 h 29984"/>
              <a:gd name="connsiteX4" fmla="*/ 3588 w 12394"/>
              <a:gd name="connsiteY4" fmla="*/ 29984 h 29984"/>
              <a:gd name="connsiteX5" fmla="*/ 2821 w 12394"/>
              <a:gd name="connsiteY5" fmla="*/ 29522 h 29984"/>
              <a:gd name="connsiteX6" fmla="*/ 0 w 12394"/>
              <a:gd name="connsiteY6" fmla="*/ 29606 h 29984"/>
              <a:gd name="connsiteX0" fmla="*/ 12206 w 12394"/>
              <a:gd name="connsiteY0" fmla="*/ 0 h 29984"/>
              <a:gd name="connsiteX1" fmla="*/ 12179 w 12394"/>
              <a:gd name="connsiteY1" fmla="*/ 29068 h 29984"/>
              <a:gd name="connsiteX2" fmla="*/ 10216 w 12394"/>
              <a:gd name="connsiteY2" fmla="*/ 29477 h 29984"/>
              <a:gd name="connsiteX3" fmla="*/ 4199 w 12394"/>
              <a:gd name="connsiteY3" fmla="*/ 29522 h 29984"/>
              <a:gd name="connsiteX4" fmla="*/ 3588 w 12394"/>
              <a:gd name="connsiteY4" fmla="*/ 29984 h 29984"/>
              <a:gd name="connsiteX5" fmla="*/ 2821 w 12394"/>
              <a:gd name="connsiteY5" fmla="*/ 29522 h 29984"/>
              <a:gd name="connsiteX6" fmla="*/ 0 w 12394"/>
              <a:gd name="connsiteY6" fmla="*/ 29606 h 29984"/>
              <a:gd name="connsiteX0" fmla="*/ 12206 w 12394"/>
              <a:gd name="connsiteY0" fmla="*/ 0 h 29984"/>
              <a:gd name="connsiteX1" fmla="*/ 12179 w 12394"/>
              <a:gd name="connsiteY1" fmla="*/ 29068 h 29984"/>
              <a:gd name="connsiteX2" fmla="*/ 10216 w 12394"/>
              <a:gd name="connsiteY2" fmla="*/ 29477 h 29984"/>
              <a:gd name="connsiteX3" fmla="*/ 4199 w 12394"/>
              <a:gd name="connsiteY3" fmla="*/ 29522 h 29984"/>
              <a:gd name="connsiteX4" fmla="*/ 3588 w 12394"/>
              <a:gd name="connsiteY4" fmla="*/ 29984 h 29984"/>
              <a:gd name="connsiteX5" fmla="*/ 2821 w 12394"/>
              <a:gd name="connsiteY5" fmla="*/ 29522 h 29984"/>
              <a:gd name="connsiteX6" fmla="*/ 0 w 12394"/>
              <a:gd name="connsiteY6" fmla="*/ 29606 h 29984"/>
              <a:gd name="connsiteX0" fmla="*/ 12206 w 12394"/>
              <a:gd name="connsiteY0" fmla="*/ 0 h 29984"/>
              <a:gd name="connsiteX1" fmla="*/ 12179 w 12394"/>
              <a:gd name="connsiteY1" fmla="*/ 29068 h 29984"/>
              <a:gd name="connsiteX2" fmla="*/ 10216 w 12394"/>
              <a:gd name="connsiteY2" fmla="*/ 29477 h 29984"/>
              <a:gd name="connsiteX3" fmla="*/ 4199 w 12394"/>
              <a:gd name="connsiteY3" fmla="*/ 29522 h 29984"/>
              <a:gd name="connsiteX4" fmla="*/ 3588 w 12394"/>
              <a:gd name="connsiteY4" fmla="*/ 29984 h 29984"/>
              <a:gd name="connsiteX5" fmla="*/ 2821 w 12394"/>
              <a:gd name="connsiteY5" fmla="*/ 29522 h 29984"/>
              <a:gd name="connsiteX6" fmla="*/ 0 w 12394"/>
              <a:gd name="connsiteY6" fmla="*/ 29606 h 29984"/>
              <a:gd name="connsiteX0" fmla="*/ 12206 w 12394"/>
              <a:gd name="connsiteY0" fmla="*/ 0 h 29984"/>
              <a:gd name="connsiteX1" fmla="*/ 12179 w 12394"/>
              <a:gd name="connsiteY1" fmla="*/ 29068 h 29984"/>
              <a:gd name="connsiteX2" fmla="*/ 10216 w 12394"/>
              <a:gd name="connsiteY2" fmla="*/ 29477 h 29984"/>
              <a:gd name="connsiteX3" fmla="*/ 4199 w 12394"/>
              <a:gd name="connsiteY3" fmla="*/ 29522 h 29984"/>
              <a:gd name="connsiteX4" fmla="*/ 3588 w 12394"/>
              <a:gd name="connsiteY4" fmla="*/ 29984 h 29984"/>
              <a:gd name="connsiteX5" fmla="*/ 2821 w 12394"/>
              <a:gd name="connsiteY5" fmla="*/ 29522 h 29984"/>
              <a:gd name="connsiteX6" fmla="*/ 0 w 12394"/>
              <a:gd name="connsiteY6" fmla="*/ 29606 h 29984"/>
              <a:gd name="connsiteX0" fmla="*/ 12206 w 12322"/>
              <a:gd name="connsiteY0" fmla="*/ 0 h 29984"/>
              <a:gd name="connsiteX1" fmla="*/ 12179 w 12322"/>
              <a:gd name="connsiteY1" fmla="*/ 29068 h 29984"/>
              <a:gd name="connsiteX2" fmla="*/ 10216 w 12322"/>
              <a:gd name="connsiteY2" fmla="*/ 29477 h 29984"/>
              <a:gd name="connsiteX3" fmla="*/ 4199 w 12322"/>
              <a:gd name="connsiteY3" fmla="*/ 29522 h 29984"/>
              <a:gd name="connsiteX4" fmla="*/ 3588 w 12322"/>
              <a:gd name="connsiteY4" fmla="*/ 29984 h 29984"/>
              <a:gd name="connsiteX5" fmla="*/ 2821 w 12322"/>
              <a:gd name="connsiteY5" fmla="*/ 29522 h 29984"/>
              <a:gd name="connsiteX6" fmla="*/ 0 w 12322"/>
              <a:gd name="connsiteY6" fmla="*/ 29606 h 29984"/>
              <a:gd name="connsiteX0" fmla="*/ 12206 w 12350"/>
              <a:gd name="connsiteY0" fmla="*/ 0 h 29984"/>
              <a:gd name="connsiteX1" fmla="*/ 12215 w 12350"/>
              <a:gd name="connsiteY1" fmla="*/ 28932 h 29984"/>
              <a:gd name="connsiteX2" fmla="*/ 10216 w 12350"/>
              <a:gd name="connsiteY2" fmla="*/ 29477 h 29984"/>
              <a:gd name="connsiteX3" fmla="*/ 4199 w 12350"/>
              <a:gd name="connsiteY3" fmla="*/ 29522 h 29984"/>
              <a:gd name="connsiteX4" fmla="*/ 3588 w 12350"/>
              <a:gd name="connsiteY4" fmla="*/ 29984 h 29984"/>
              <a:gd name="connsiteX5" fmla="*/ 2821 w 12350"/>
              <a:gd name="connsiteY5" fmla="*/ 29522 h 29984"/>
              <a:gd name="connsiteX6" fmla="*/ 0 w 12350"/>
              <a:gd name="connsiteY6" fmla="*/ 29606 h 29984"/>
              <a:gd name="connsiteX0" fmla="*/ 12206 w 12412"/>
              <a:gd name="connsiteY0" fmla="*/ 0 h 29984"/>
              <a:gd name="connsiteX1" fmla="*/ 12292 w 12412"/>
              <a:gd name="connsiteY1" fmla="*/ 28796 h 29984"/>
              <a:gd name="connsiteX2" fmla="*/ 10216 w 12412"/>
              <a:gd name="connsiteY2" fmla="*/ 29477 h 29984"/>
              <a:gd name="connsiteX3" fmla="*/ 4199 w 12412"/>
              <a:gd name="connsiteY3" fmla="*/ 29522 h 29984"/>
              <a:gd name="connsiteX4" fmla="*/ 3588 w 12412"/>
              <a:gd name="connsiteY4" fmla="*/ 29984 h 29984"/>
              <a:gd name="connsiteX5" fmla="*/ 2821 w 12412"/>
              <a:gd name="connsiteY5" fmla="*/ 29522 h 29984"/>
              <a:gd name="connsiteX6" fmla="*/ 0 w 12412"/>
              <a:gd name="connsiteY6" fmla="*/ 29606 h 29984"/>
              <a:gd name="connsiteX0" fmla="*/ 12361 w 12567"/>
              <a:gd name="connsiteY0" fmla="*/ 0 h 29984"/>
              <a:gd name="connsiteX1" fmla="*/ 12447 w 12567"/>
              <a:gd name="connsiteY1" fmla="*/ 28796 h 29984"/>
              <a:gd name="connsiteX2" fmla="*/ 10371 w 12567"/>
              <a:gd name="connsiteY2" fmla="*/ 29477 h 29984"/>
              <a:gd name="connsiteX3" fmla="*/ 4354 w 12567"/>
              <a:gd name="connsiteY3" fmla="*/ 29522 h 29984"/>
              <a:gd name="connsiteX4" fmla="*/ 3743 w 12567"/>
              <a:gd name="connsiteY4" fmla="*/ 29984 h 29984"/>
              <a:gd name="connsiteX5" fmla="*/ 2976 w 12567"/>
              <a:gd name="connsiteY5" fmla="*/ 29522 h 29984"/>
              <a:gd name="connsiteX6" fmla="*/ 0 w 12567"/>
              <a:gd name="connsiteY6" fmla="*/ 29458 h 29984"/>
              <a:gd name="connsiteX0" fmla="*/ 12438 w 12644"/>
              <a:gd name="connsiteY0" fmla="*/ 0 h 29984"/>
              <a:gd name="connsiteX1" fmla="*/ 12524 w 12644"/>
              <a:gd name="connsiteY1" fmla="*/ 28796 h 29984"/>
              <a:gd name="connsiteX2" fmla="*/ 10448 w 12644"/>
              <a:gd name="connsiteY2" fmla="*/ 29477 h 29984"/>
              <a:gd name="connsiteX3" fmla="*/ 4431 w 12644"/>
              <a:gd name="connsiteY3" fmla="*/ 29522 h 29984"/>
              <a:gd name="connsiteX4" fmla="*/ 3820 w 12644"/>
              <a:gd name="connsiteY4" fmla="*/ 29984 h 29984"/>
              <a:gd name="connsiteX5" fmla="*/ 3053 w 12644"/>
              <a:gd name="connsiteY5" fmla="*/ 29522 h 29984"/>
              <a:gd name="connsiteX6" fmla="*/ 0 w 12644"/>
              <a:gd name="connsiteY6" fmla="*/ 29532 h 29984"/>
              <a:gd name="connsiteX0" fmla="*/ 12438 w 12644"/>
              <a:gd name="connsiteY0" fmla="*/ 0 h 29984"/>
              <a:gd name="connsiteX1" fmla="*/ 12524 w 12644"/>
              <a:gd name="connsiteY1" fmla="*/ 28796 h 29984"/>
              <a:gd name="connsiteX2" fmla="*/ 10448 w 12644"/>
              <a:gd name="connsiteY2" fmla="*/ 29477 h 29984"/>
              <a:gd name="connsiteX3" fmla="*/ 4431 w 12644"/>
              <a:gd name="connsiteY3" fmla="*/ 29522 h 29984"/>
              <a:gd name="connsiteX4" fmla="*/ 3820 w 12644"/>
              <a:gd name="connsiteY4" fmla="*/ 29984 h 29984"/>
              <a:gd name="connsiteX5" fmla="*/ 3053 w 12644"/>
              <a:gd name="connsiteY5" fmla="*/ 29522 h 29984"/>
              <a:gd name="connsiteX6" fmla="*/ 0 w 12644"/>
              <a:gd name="connsiteY6" fmla="*/ 29532 h 29984"/>
              <a:gd name="connsiteX0" fmla="*/ 12438 w 12589"/>
              <a:gd name="connsiteY0" fmla="*/ 0 h 29984"/>
              <a:gd name="connsiteX1" fmla="*/ 12524 w 12589"/>
              <a:gd name="connsiteY1" fmla="*/ 28796 h 29984"/>
              <a:gd name="connsiteX2" fmla="*/ 10448 w 12589"/>
              <a:gd name="connsiteY2" fmla="*/ 29477 h 29984"/>
              <a:gd name="connsiteX3" fmla="*/ 4431 w 12589"/>
              <a:gd name="connsiteY3" fmla="*/ 29522 h 29984"/>
              <a:gd name="connsiteX4" fmla="*/ 3820 w 12589"/>
              <a:gd name="connsiteY4" fmla="*/ 29984 h 29984"/>
              <a:gd name="connsiteX5" fmla="*/ 3053 w 12589"/>
              <a:gd name="connsiteY5" fmla="*/ 29522 h 29984"/>
              <a:gd name="connsiteX6" fmla="*/ 0 w 12589"/>
              <a:gd name="connsiteY6" fmla="*/ 29532 h 29984"/>
              <a:gd name="connsiteX0" fmla="*/ 12438 w 12589"/>
              <a:gd name="connsiteY0" fmla="*/ 0 h 29984"/>
              <a:gd name="connsiteX1" fmla="*/ 12524 w 12589"/>
              <a:gd name="connsiteY1" fmla="*/ 28900 h 29984"/>
              <a:gd name="connsiteX2" fmla="*/ 10448 w 12589"/>
              <a:gd name="connsiteY2" fmla="*/ 29477 h 29984"/>
              <a:gd name="connsiteX3" fmla="*/ 4431 w 12589"/>
              <a:gd name="connsiteY3" fmla="*/ 29522 h 29984"/>
              <a:gd name="connsiteX4" fmla="*/ 3820 w 12589"/>
              <a:gd name="connsiteY4" fmla="*/ 29984 h 29984"/>
              <a:gd name="connsiteX5" fmla="*/ 3053 w 12589"/>
              <a:gd name="connsiteY5" fmla="*/ 29522 h 29984"/>
              <a:gd name="connsiteX6" fmla="*/ 0 w 12589"/>
              <a:gd name="connsiteY6" fmla="*/ 29532 h 29984"/>
              <a:gd name="connsiteX0" fmla="*/ 12786 w 12786"/>
              <a:gd name="connsiteY0" fmla="*/ 0 h 29947"/>
              <a:gd name="connsiteX1" fmla="*/ 12524 w 12786"/>
              <a:gd name="connsiteY1" fmla="*/ 28863 h 29947"/>
              <a:gd name="connsiteX2" fmla="*/ 10448 w 12786"/>
              <a:gd name="connsiteY2" fmla="*/ 29440 h 29947"/>
              <a:gd name="connsiteX3" fmla="*/ 4431 w 12786"/>
              <a:gd name="connsiteY3" fmla="*/ 29485 h 29947"/>
              <a:gd name="connsiteX4" fmla="*/ 3820 w 12786"/>
              <a:gd name="connsiteY4" fmla="*/ 29947 h 29947"/>
              <a:gd name="connsiteX5" fmla="*/ 3053 w 12786"/>
              <a:gd name="connsiteY5" fmla="*/ 29485 h 29947"/>
              <a:gd name="connsiteX6" fmla="*/ 0 w 12786"/>
              <a:gd name="connsiteY6" fmla="*/ 29495 h 29947"/>
              <a:gd name="connsiteX0" fmla="*/ 12554 w 12610"/>
              <a:gd name="connsiteY0" fmla="*/ 0 h 29836"/>
              <a:gd name="connsiteX1" fmla="*/ 12524 w 12610"/>
              <a:gd name="connsiteY1" fmla="*/ 28752 h 29836"/>
              <a:gd name="connsiteX2" fmla="*/ 10448 w 12610"/>
              <a:gd name="connsiteY2" fmla="*/ 29329 h 29836"/>
              <a:gd name="connsiteX3" fmla="*/ 4431 w 12610"/>
              <a:gd name="connsiteY3" fmla="*/ 29374 h 29836"/>
              <a:gd name="connsiteX4" fmla="*/ 3820 w 12610"/>
              <a:gd name="connsiteY4" fmla="*/ 29836 h 29836"/>
              <a:gd name="connsiteX5" fmla="*/ 3053 w 12610"/>
              <a:gd name="connsiteY5" fmla="*/ 29374 h 29836"/>
              <a:gd name="connsiteX6" fmla="*/ 0 w 12610"/>
              <a:gd name="connsiteY6" fmla="*/ 29384 h 29836"/>
              <a:gd name="connsiteX0" fmla="*/ 12524 w 12524"/>
              <a:gd name="connsiteY0" fmla="*/ 0 h 1084"/>
              <a:gd name="connsiteX1" fmla="*/ 10448 w 12524"/>
              <a:gd name="connsiteY1" fmla="*/ 577 h 1084"/>
              <a:gd name="connsiteX2" fmla="*/ 4431 w 12524"/>
              <a:gd name="connsiteY2" fmla="*/ 622 h 1084"/>
              <a:gd name="connsiteX3" fmla="*/ 3820 w 12524"/>
              <a:gd name="connsiteY3" fmla="*/ 1084 h 1084"/>
              <a:gd name="connsiteX4" fmla="*/ 3053 w 12524"/>
              <a:gd name="connsiteY4" fmla="*/ 622 h 1084"/>
              <a:gd name="connsiteX5" fmla="*/ 0 w 12524"/>
              <a:gd name="connsiteY5" fmla="*/ 632 h 1084"/>
              <a:gd name="connsiteX0" fmla="*/ 10104 w 10104"/>
              <a:gd name="connsiteY0" fmla="*/ 0 h 18836"/>
              <a:gd name="connsiteX1" fmla="*/ 8342 w 10104"/>
              <a:gd name="connsiteY1" fmla="*/ 14159 h 18836"/>
              <a:gd name="connsiteX2" fmla="*/ 3538 w 10104"/>
              <a:gd name="connsiteY2" fmla="*/ 14574 h 18836"/>
              <a:gd name="connsiteX3" fmla="*/ 3050 w 10104"/>
              <a:gd name="connsiteY3" fmla="*/ 18836 h 18836"/>
              <a:gd name="connsiteX4" fmla="*/ 2438 w 10104"/>
              <a:gd name="connsiteY4" fmla="*/ 14574 h 18836"/>
              <a:gd name="connsiteX5" fmla="*/ 0 w 10104"/>
              <a:gd name="connsiteY5" fmla="*/ 14666 h 18836"/>
              <a:gd name="connsiteX0" fmla="*/ 10104 w 10107"/>
              <a:gd name="connsiteY0" fmla="*/ 0 h 18836"/>
              <a:gd name="connsiteX1" fmla="*/ 8342 w 10107"/>
              <a:gd name="connsiteY1" fmla="*/ 14159 h 18836"/>
              <a:gd name="connsiteX2" fmla="*/ 3538 w 10107"/>
              <a:gd name="connsiteY2" fmla="*/ 14574 h 18836"/>
              <a:gd name="connsiteX3" fmla="*/ 3050 w 10107"/>
              <a:gd name="connsiteY3" fmla="*/ 18836 h 18836"/>
              <a:gd name="connsiteX4" fmla="*/ 2438 w 10107"/>
              <a:gd name="connsiteY4" fmla="*/ 14574 h 18836"/>
              <a:gd name="connsiteX5" fmla="*/ 0 w 10107"/>
              <a:gd name="connsiteY5" fmla="*/ 14666 h 18836"/>
              <a:gd name="connsiteX0" fmla="*/ 10312 w 10315"/>
              <a:gd name="connsiteY0" fmla="*/ 0 h 78962"/>
              <a:gd name="connsiteX1" fmla="*/ 8342 w 10315"/>
              <a:gd name="connsiteY1" fmla="*/ 74285 h 78962"/>
              <a:gd name="connsiteX2" fmla="*/ 3538 w 10315"/>
              <a:gd name="connsiteY2" fmla="*/ 74700 h 78962"/>
              <a:gd name="connsiteX3" fmla="*/ 3050 w 10315"/>
              <a:gd name="connsiteY3" fmla="*/ 78962 h 78962"/>
              <a:gd name="connsiteX4" fmla="*/ 2438 w 10315"/>
              <a:gd name="connsiteY4" fmla="*/ 74700 h 78962"/>
              <a:gd name="connsiteX5" fmla="*/ 0 w 10315"/>
              <a:gd name="connsiteY5" fmla="*/ 74792 h 78962"/>
              <a:gd name="connsiteX0" fmla="*/ 10312 w 10312"/>
              <a:gd name="connsiteY0" fmla="*/ 0 h 78962"/>
              <a:gd name="connsiteX1" fmla="*/ 10035 w 10312"/>
              <a:gd name="connsiteY1" fmla="*/ 24752 h 78962"/>
              <a:gd name="connsiteX2" fmla="*/ 8342 w 10312"/>
              <a:gd name="connsiteY2" fmla="*/ 74285 h 78962"/>
              <a:gd name="connsiteX3" fmla="*/ 3538 w 10312"/>
              <a:gd name="connsiteY3" fmla="*/ 74700 h 78962"/>
              <a:gd name="connsiteX4" fmla="*/ 3050 w 10312"/>
              <a:gd name="connsiteY4" fmla="*/ 78962 h 78962"/>
              <a:gd name="connsiteX5" fmla="*/ 2438 w 10312"/>
              <a:gd name="connsiteY5" fmla="*/ 74700 h 78962"/>
              <a:gd name="connsiteX6" fmla="*/ 0 w 10312"/>
              <a:gd name="connsiteY6" fmla="*/ 74792 h 78962"/>
              <a:gd name="connsiteX0" fmla="*/ 10312 w 10312"/>
              <a:gd name="connsiteY0" fmla="*/ 0 h 78962"/>
              <a:gd name="connsiteX1" fmla="*/ 10087 w 10312"/>
              <a:gd name="connsiteY1" fmla="*/ 69702 h 78962"/>
              <a:gd name="connsiteX2" fmla="*/ 8342 w 10312"/>
              <a:gd name="connsiteY2" fmla="*/ 74285 h 78962"/>
              <a:gd name="connsiteX3" fmla="*/ 3538 w 10312"/>
              <a:gd name="connsiteY3" fmla="*/ 74700 h 78962"/>
              <a:gd name="connsiteX4" fmla="*/ 3050 w 10312"/>
              <a:gd name="connsiteY4" fmla="*/ 78962 h 78962"/>
              <a:gd name="connsiteX5" fmla="*/ 2438 w 10312"/>
              <a:gd name="connsiteY5" fmla="*/ 74700 h 78962"/>
              <a:gd name="connsiteX6" fmla="*/ 0 w 10312"/>
              <a:gd name="connsiteY6" fmla="*/ 74792 h 78962"/>
              <a:gd name="connsiteX0" fmla="*/ 10312 w 10312"/>
              <a:gd name="connsiteY0" fmla="*/ 0 h 78962"/>
              <a:gd name="connsiteX1" fmla="*/ 10087 w 10312"/>
              <a:gd name="connsiteY1" fmla="*/ 69702 h 78962"/>
              <a:gd name="connsiteX2" fmla="*/ 8342 w 10312"/>
              <a:gd name="connsiteY2" fmla="*/ 74285 h 78962"/>
              <a:gd name="connsiteX3" fmla="*/ 3538 w 10312"/>
              <a:gd name="connsiteY3" fmla="*/ 74700 h 78962"/>
              <a:gd name="connsiteX4" fmla="*/ 3050 w 10312"/>
              <a:gd name="connsiteY4" fmla="*/ 78962 h 78962"/>
              <a:gd name="connsiteX5" fmla="*/ 2438 w 10312"/>
              <a:gd name="connsiteY5" fmla="*/ 74700 h 78962"/>
              <a:gd name="connsiteX6" fmla="*/ 0 w 10312"/>
              <a:gd name="connsiteY6" fmla="*/ 74792 h 78962"/>
              <a:gd name="connsiteX0" fmla="*/ 10312 w 10312"/>
              <a:gd name="connsiteY0" fmla="*/ 0 h 78962"/>
              <a:gd name="connsiteX1" fmla="*/ 10087 w 10312"/>
              <a:gd name="connsiteY1" fmla="*/ 69702 h 78962"/>
              <a:gd name="connsiteX2" fmla="*/ 8342 w 10312"/>
              <a:gd name="connsiteY2" fmla="*/ 74285 h 78962"/>
              <a:gd name="connsiteX3" fmla="*/ 3538 w 10312"/>
              <a:gd name="connsiteY3" fmla="*/ 74700 h 78962"/>
              <a:gd name="connsiteX4" fmla="*/ 3050 w 10312"/>
              <a:gd name="connsiteY4" fmla="*/ 78962 h 78962"/>
              <a:gd name="connsiteX5" fmla="*/ 2438 w 10312"/>
              <a:gd name="connsiteY5" fmla="*/ 74700 h 78962"/>
              <a:gd name="connsiteX6" fmla="*/ 0 w 10312"/>
              <a:gd name="connsiteY6" fmla="*/ 74792 h 78962"/>
              <a:gd name="connsiteX0" fmla="*/ 10312 w 10312"/>
              <a:gd name="connsiteY0" fmla="*/ 0 h 78962"/>
              <a:gd name="connsiteX1" fmla="*/ 10087 w 10312"/>
              <a:gd name="connsiteY1" fmla="*/ 69702 h 78962"/>
              <a:gd name="connsiteX2" fmla="*/ 8342 w 10312"/>
              <a:gd name="connsiteY2" fmla="*/ 74285 h 78962"/>
              <a:gd name="connsiteX3" fmla="*/ 3538 w 10312"/>
              <a:gd name="connsiteY3" fmla="*/ 74700 h 78962"/>
              <a:gd name="connsiteX4" fmla="*/ 3050 w 10312"/>
              <a:gd name="connsiteY4" fmla="*/ 78962 h 78962"/>
              <a:gd name="connsiteX5" fmla="*/ 2438 w 10312"/>
              <a:gd name="connsiteY5" fmla="*/ 74700 h 78962"/>
              <a:gd name="connsiteX6" fmla="*/ 0 w 10312"/>
              <a:gd name="connsiteY6" fmla="*/ 74792 h 78962"/>
              <a:gd name="connsiteX0" fmla="*/ 10312 w 10312"/>
              <a:gd name="connsiteY0" fmla="*/ 0 h 78962"/>
              <a:gd name="connsiteX1" fmla="*/ 10087 w 10312"/>
              <a:gd name="connsiteY1" fmla="*/ 69702 h 78962"/>
              <a:gd name="connsiteX2" fmla="*/ 9069 w 10312"/>
              <a:gd name="connsiteY2" fmla="*/ 74285 h 78962"/>
              <a:gd name="connsiteX3" fmla="*/ 3538 w 10312"/>
              <a:gd name="connsiteY3" fmla="*/ 74700 h 78962"/>
              <a:gd name="connsiteX4" fmla="*/ 3050 w 10312"/>
              <a:gd name="connsiteY4" fmla="*/ 78962 h 78962"/>
              <a:gd name="connsiteX5" fmla="*/ 2438 w 10312"/>
              <a:gd name="connsiteY5" fmla="*/ 74700 h 78962"/>
              <a:gd name="connsiteX6" fmla="*/ 0 w 10312"/>
              <a:gd name="connsiteY6" fmla="*/ 74792 h 78962"/>
              <a:gd name="connsiteX0" fmla="*/ 10312 w 10312"/>
              <a:gd name="connsiteY0" fmla="*/ 0 h 78962"/>
              <a:gd name="connsiteX1" fmla="*/ 10087 w 10312"/>
              <a:gd name="connsiteY1" fmla="*/ 69702 h 78962"/>
              <a:gd name="connsiteX2" fmla="*/ 9069 w 10312"/>
              <a:gd name="connsiteY2" fmla="*/ 74285 h 78962"/>
              <a:gd name="connsiteX3" fmla="*/ 3538 w 10312"/>
              <a:gd name="connsiteY3" fmla="*/ 74700 h 78962"/>
              <a:gd name="connsiteX4" fmla="*/ 3050 w 10312"/>
              <a:gd name="connsiteY4" fmla="*/ 78962 h 78962"/>
              <a:gd name="connsiteX5" fmla="*/ 2438 w 10312"/>
              <a:gd name="connsiteY5" fmla="*/ 74700 h 78962"/>
              <a:gd name="connsiteX6" fmla="*/ 0 w 10312"/>
              <a:gd name="connsiteY6" fmla="*/ 74792 h 78962"/>
              <a:gd name="connsiteX0" fmla="*/ 10312 w 10312"/>
              <a:gd name="connsiteY0" fmla="*/ 0 h 78962"/>
              <a:gd name="connsiteX1" fmla="*/ 10087 w 10312"/>
              <a:gd name="connsiteY1" fmla="*/ 69702 h 78962"/>
              <a:gd name="connsiteX2" fmla="*/ 9069 w 10312"/>
              <a:gd name="connsiteY2" fmla="*/ 74285 h 78962"/>
              <a:gd name="connsiteX3" fmla="*/ 3538 w 10312"/>
              <a:gd name="connsiteY3" fmla="*/ 74700 h 78962"/>
              <a:gd name="connsiteX4" fmla="*/ 3050 w 10312"/>
              <a:gd name="connsiteY4" fmla="*/ 78962 h 78962"/>
              <a:gd name="connsiteX5" fmla="*/ 2438 w 10312"/>
              <a:gd name="connsiteY5" fmla="*/ 74700 h 78962"/>
              <a:gd name="connsiteX6" fmla="*/ 0 w 10312"/>
              <a:gd name="connsiteY6" fmla="*/ 74792 h 78962"/>
              <a:gd name="connsiteX0" fmla="*/ 10182 w 10182"/>
              <a:gd name="connsiteY0" fmla="*/ 0 h 271058"/>
              <a:gd name="connsiteX1" fmla="*/ 10087 w 10182"/>
              <a:gd name="connsiteY1" fmla="*/ 261798 h 271058"/>
              <a:gd name="connsiteX2" fmla="*/ 9069 w 10182"/>
              <a:gd name="connsiteY2" fmla="*/ 266381 h 271058"/>
              <a:gd name="connsiteX3" fmla="*/ 3538 w 10182"/>
              <a:gd name="connsiteY3" fmla="*/ 266796 h 271058"/>
              <a:gd name="connsiteX4" fmla="*/ 3050 w 10182"/>
              <a:gd name="connsiteY4" fmla="*/ 271058 h 271058"/>
              <a:gd name="connsiteX5" fmla="*/ 2438 w 10182"/>
              <a:gd name="connsiteY5" fmla="*/ 266796 h 271058"/>
              <a:gd name="connsiteX6" fmla="*/ 0 w 10182"/>
              <a:gd name="connsiteY6" fmla="*/ 266888 h 271058"/>
              <a:gd name="connsiteX0" fmla="*/ 10182 w 10182"/>
              <a:gd name="connsiteY0" fmla="*/ 0 h 271058"/>
              <a:gd name="connsiteX1" fmla="*/ 10087 w 10182"/>
              <a:gd name="connsiteY1" fmla="*/ 261798 h 271058"/>
              <a:gd name="connsiteX2" fmla="*/ 9069 w 10182"/>
              <a:gd name="connsiteY2" fmla="*/ 266381 h 271058"/>
              <a:gd name="connsiteX3" fmla="*/ 3538 w 10182"/>
              <a:gd name="connsiteY3" fmla="*/ 266796 h 271058"/>
              <a:gd name="connsiteX4" fmla="*/ 3050 w 10182"/>
              <a:gd name="connsiteY4" fmla="*/ 271058 h 271058"/>
              <a:gd name="connsiteX5" fmla="*/ 2438 w 10182"/>
              <a:gd name="connsiteY5" fmla="*/ 266796 h 271058"/>
              <a:gd name="connsiteX6" fmla="*/ 0 w 10182"/>
              <a:gd name="connsiteY6" fmla="*/ 266888 h 271058"/>
              <a:gd name="connsiteX0" fmla="*/ 10182 w 10196"/>
              <a:gd name="connsiteY0" fmla="*/ 0 h 271058"/>
              <a:gd name="connsiteX1" fmla="*/ 10087 w 10196"/>
              <a:gd name="connsiteY1" fmla="*/ 261798 h 271058"/>
              <a:gd name="connsiteX2" fmla="*/ 9069 w 10196"/>
              <a:gd name="connsiteY2" fmla="*/ 266381 h 271058"/>
              <a:gd name="connsiteX3" fmla="*/ 3538 w 10196"/>
              <a:gd name="connsiteY3" fmla="*/ 266796 h 271058"/>
              <a:gd name="connsiteX4" fmla="*/ 3050 w 10196"/>
              <a:gd name="connsiteY4" fmla="*/ 271058 h 271058"/>
              <a:gd name="connsiteX5" fmla="*/ 2438 w 10196"/>
              <a:gd name="connsiteY5" fmla="*/ 266796 h 271058"/>
              <a:gd name="connsiteX6" fmla="*/ 0 w 10196"/>
              <a:gd name="connsiteY6" fmla="*/ 266888 h 271058"/>
              <a:gd name="connsiteX0" fmla="*/ 10182 w 10276"/>
              <a:gd name="connsiteY0" fmla="*/ 0 h 271058"/>
              <a:gd name="connsiteX1" fmla="*/ 10229 w 10276"/>
              <a:gd name="connsiteY1" fmla="*/ 261798 h 271058"/>
              <a:gd name="connsiteX2" fmla="*/ 9069 w 10276"/>
              <a:gd name="connsiteY2" fmla="*/ 266381 h 271058"/>
              <a:gd name="connsiteX3" fmla="*/ 3538 w 10276"/>
              <a:gd name="connsiteY3" fmla="*/ 266796 h 271058"/>
              <a:gd name="connsiteX4" fmla="*/ 3050 w 10276"/>
              <a:gd name="connsiteY4" fmla="*/ 271058 h 271058"/>
              <a:gd name="connsiteX5" fmla="*/ 2438 w 10276"/>
              <a:gd name="connsiteY5" fmla="*/ 266796 h 271058"/>
              <a:gd name="connsiteX6" fmla="*/ 0 w 10276"/>
              <a:gd name="connsiteY6" fmla="*/ 266888 h 271058"/>
              <a:gd name="connsiteX0" fmla="*/ 10182 w 10256"/>
              <a:gd name="connsiteY0" fmla="*/ 0 h 271058"/>
              <a:gd name="connsiteX1" fmla="*/ 10229 w 10256"/>
              <a:gd name="connsiteY1" fmla="*/ 261798 h 271058"/>
              <a:gd name="connsiteX2" fmla="*/ 9069 w 10256"/>
              <a:gd name="connsiteY2" fmla="*/ 266381 h 271058"/>
              <a:gd name="connsiteX3" fmla="*/ 3538 w 10256"/>
              <a:gd name="connsiteY3" fmla="*/ 266796 h 271058"/>
              <a:gd name="connsiteX4" fmla="*/ 3050 w 10256"/>
              <a:gd name="connsiteY4" fmla="*/ 271058 h 271058"/>
              <a:gd name="connsiteX5" fmla="*/ 2438 w 10256"/>
              <a:gd name="connsiteY5" fmla="*/ 266796 h 271058"/>
              <a:gd name="connsiteX6" fmla="*/ 0 w 10256"/>
              <a:gd name="connsiteY6" fmla="*/ 266888 h 271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56" h="271058">
                <a:moveTo>
                  <a:pt x="10182" y="0"/>
                </a:moveTo>
                <a:cubicBezTo>
                  <a:pt x="10209" y="253032"/>
                  <a:pt x="10302" y="112461"/>
                  <a:pt x="10229" y="261798"/>
                </a:cubicBezTo>
                <a:cubicBezTo>
                  <a:pt x="10187" y="267263"/>
                  <a:pt x="9502" y="266316"/>
                  <a:pt x="9069" y="266381"/>
                </a:cubicBezTo>
                <a:lnTo>
                  <a:pt x="3538" y="266796"/>
                </a:lnTo>
                <a:cubicBezTo>
                  <a:pt x="3107" y="266796"/>
                  <a:pt x="3050" y="271058"/>
                  <a:pt x="3050" y="271058"/>
                </a:cubicBezTo>
                <a:cubicBezTo>
                  <a:pt x="3050" y="271058"/>
                  <a:pt x="2870" y="266796"/>
                  <a:pt x="2438" y="266796"/>
                </a:cubicBezTo>
                <a:lnTo>
                  <a:pt x="0" y="266888"/>
                </a:lnTo>
              </a:path>
            </a:pathLst>
          </a:custGeom>
          <a:solidFill>
            <a:schemeClr val="bg1"/>
          </a:solidFill>
          <a:ln w="28575">
            <a:solidFill>
              <a:schemeClr val="accent6"/>
            </a:solidFill>
            <a:round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8" name="Groupe 210"/>
          <p:cNvGrpSpPr/>
          <p:nvPr/>
        </p:nvGrpSpPr>
        <p:grpSpPr>
          <a:xfrm>
            <a:off x="7332315" y="4030833"/>
            <a:ext cx="168532" cy="397593"/>
            <a:chOff x="5103944" y="2824502"/>
            <a:chExt cx="160659" cy="430210"/>
          </a:xfrm>
          <a:effectLst/>
        </p:grpSpPr>
        <p:sp>
          <p:nvSpPr>
            <p:cNvPr id="89" name="Freeform 5"/>
            <p:cNvSpPr>
              <a:spLocks/>
            </p:cNvSpPr>
            <p:nvPr/>
          </p:nvSpPr>
          <p:spPr bwMode="auto">
            <a:xfrm>
              <a:off x="5103944" y="2824502"/>
              <a:ext cx="157982" cy="255270"/>
            </a:xfrm>
            <a:custGeom>
              <a:avLst/>
              <a:gdLst/>
              <a:ahLst/>
              <a:cxnLst>
                <a:cxn ang="0">
                  <a:pos x="12" y="121"/>
                </a:cxn>
                <a:cxn ang="0">
                  <a:pos x="0" y="84"/>
                </a:cxn>
                <a:cxn ang="0">
                  <a:pos x="27" y="38"/>
                </a:cxn>
                <a:cxn ang="0">
                  <a:pos x="20" y="20"/>
                </a:cxn>
                <a:cxn ang="0">
                  <a:pos x="34" y="0"/>
                </a:cxn>
                <a:cxn ang="0">
                  <a:pos x="50" y="20"/>
                </a:cxn>
                <a:cxn ang="0">
                  <a:pos x="41" y="38"/>
                </a:cxn>
                <a:cxn ang="0">
                  <a:pos x="68" y="84"/>
                </a:cxn>
                <a:cxn ang="0">
                  <a:pos x="75" y="105"/>
                </a:cxn>
                <a:cxn ang="0">
                  <a:pos x="69" y="107"/>
                </a:cxn>
              </a:cxnLst>
              <a:rect l="0" t="0" r="r" b="b"/>
              <a:pathLst>
                <a:path w="75" h="121">
                  <a:moveTo>
                    <a:pt x="12" y="121"/>
                  </a:moveTo>
                  <a:cubicBezTo>
                    <a:pt x="11" y="117"/>
                    <a:pt x="2" y="103"/>
                    <a:pt x="0" y="84"/>
                  </a:cubicBezTo>
                  <a:cubicBezTo>
                    <a:pt x="0" y="58"/>
                    <a:pt x="8" y="39"/>
                    <a:pt x="27" y="38"/>
                  </a:cubicBezTo>
                  <a:cubicBezTo>
                    <a:pt x="25" y="34"/>
                    <a:pt x="20" y="26"/>
                    <a:pt x="20" y="20"/>
                  </a:cubicBezTo>
                  <a:cubicBezTo>
                    <a:pt x="20" y="9"/>
                    <a:pt x="26" y="0"/>
                    <a:pt x="34" y="0"/>
                  </a:cubicBezTo>
                  <a:cubicBezTo>
                    <a:pt x="43" y="0"/>
                    <a:pt x="50" y="9"/>
                    <a:pt x="50" y="20"/>
                  </a:cubicBezTo>
                  <a:cubicBezTo>
                    <a:pt x="50" y="26"/>
                    <a:pt x="45" y="34"/>
                    <a:pt x="41" y="38"/>
                  </a:cubicBezTo>
                  <a:cubicBezTo>
                    <a:pt x="68" y="40"/>
                    <a:pt x="68" y="58"/>
                    <a:pt x="68" y="84"/>
                  </a:cubicBezTo>
                  <a:cubicBezTo>
                    <a:pt x="73" y="94"/>
                    <a:pt x="75" y="102"/>
                    <a:pt x="75" y="105"/>
                  </a:cubicBezTo>
                  <a:cubicBezTo>
                    <a:pt x="72" y="106"/>
                    <a:pt x="73" y="106"/>
                    <a:pt x="69" y="107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 6"/>
            <p:cNvSpPr>
              <a:spLocks/>
            </p:cNvSpPr>
            <p:nvPr/>
          </p:nvSpPr>
          <p:spPr bwMode="auto">
            <a:xfrm>
              <a:off x="5123580" y="2957492"/>
              <a:ext cx="102644" cy="297220"/>
            </a:xfrm>
            <a:custGeom>
              <a:avLst/>
              <a:gdLst/>
              <a:ahLst/>
              <a:cxnLst>
                <a:cxn ang="0">
                  <a:pos x="49" y="1"/>
                </a:cxn>
                <a:cxn ang="0">
                  <a:pos x="47" y="28"/>
                </a:cxn>
                <a:cxn ang="0">
                  <a:pos x="49" y="52"/>
                </a:cxn>
                <a:cxn ang="0">
                  <a:pos x="47" y="52"/>
                </a:cxn>
                <a:cxn ang="0">
                  <a:pos x="44" y="141"/>
                </a:cxn>
                <a:cxn ang="0">
                  <a:pos x="31" y="141"/>
                </a:cxn>
                <a:cxn ang="0">
                  <a:pos x="27" y="63"/>
                </a:cxn>
                <a:cxn ang="0">
                  <a:pos x="21" y="141"/>
                </a:cxn>
                <a:cxn ang="0">
                  <a:pos x="8" y="141"/>
                </a:cxn>
                <a:cxn ang="0">
                  <a:pos x="3" y="50"/>
                </a:cxn>
                <a:cxn ang="0">
                  <a:pos x="1" y="50"/>
                </a:cxn>
                <a:cxn ang="0">
                  <a:pos x="4" y="27"/>
                </a:cxn>
                <a:cxn ang="0">
                  <a:pos x="2" y="0"/>
                </a:cxn>
              </a:cxnLst>
              <a:rect l="0" t="0" r="r" b="b"/>
              <a:pathLst>
                <a:path w="49" h="141">
                  <a:moveTo>
                    <a:pt x="49" y="1"/>
                  </a:moveTo>
                  <a:cubicBezTo>
                    <a:pt x="49" y="6"/>
                    <a:pt x="49" y="20"/>
                    <a:pt x="47" y="28"/>
                  </a:cubicBezTo>
                  <a:cubicBezTo>
                    <a:pt x="49" y="38"/>
                    <a:pt x="49" y="48"/>
                    <a:pt x="49" y="52"/>
                  </a:cubicBezTo>
                  <a:cubicBezTo>
                    <a:pt x="47" y="52"/>
                    <a:pt x="48" y="52"/>
                    <a:pt x="47" y="52"/>
                  </a:cubicBezTo>
                  <a:cubicBezTo>
                    <a:pt x="46" y="68"/>
                    <a:pt x="47" y="126"/>
                    <a:pt x="44" y="141"/>
                  </a:cubicBezTo>
                  <a:cubicBezTo>
                    <a:pt x="31" y="141"/>
                    <a:pt x="31" y="141"/>
                    <a:pt x="31" y="141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50"/>
                    <a:pt x="2" y="50"/>
                    <a:pt x="1" y="50"/>
                  </a:cubicBezTo>
                  <a:cubicBezTo>
                    <a:pt x="1" y="45"/>
                    <a:pt x="0" y="36"/>
                    <a:pt x="4" y="27"/>
                  </a:cubicBezTo>
                  <a:cubicBezTo>
                    <a:pt x="1" y="18"/>
                    <a:pt x="2" y="10"/>
                    <a:pt x="2" y="0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 7"/>
            <p:cNvSpPr>
              <a:spLocks/>
            </p:cNvSpPr>
            <p:nvPr/>
          </p:nvSpPr>
          <p:spPr bwMode="auto">
            <a:xfrm>
              <a:off x="5243182" y="3052995"/>
              <a:ext cx="21421" cy="8568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41"/>
                </a:cxn>
                <a:cxn ang="0">
                  <a:pos x="0" y="41"/>
                </a:cxn>
                <a:cxn ang="0">
                  <a:pos x="0" y="6"/>
                </a:cxn>
                <a:cxn ang="0">
                  <a:pos x="2" y="6"/>
                </a:cxn>
              </a:cxnLst>
              <a:rect l="0" t="0" r="r" b="b"/>
              <a:pathLst>
                <a:path w="10" h="41">
                  <a:moveTo>
                    <a:pt x="6" y="0"/>
                  </a:moveTo>
                  <a:cubicBezTo>
                    <a:pt x="6" y="3"/>
                    <a:pt x="6" y="4"/>
                    <a:pt x="6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8"/>
                    <a:pt x="10" y="29"/>
                    <a:pt x="1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9"/>
                    <a:pt x="0" y="18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 8"/>
            <p:cNvSpPr>
              <a:spLocks/>
            </p:cNvSpPr>
            <p:nvPr/>
          </p:nvSpPr>
          <p:spPr bwMode="auto">
            <a:xfrm>
              <a:off x="5226224" y="3006582"/>
              <a:ext cx="8926" cy="3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6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cubicBezTo>
                    <a:pt x="1" y="6"/>
                    <a:pt x="2" y="10"/>
                    <a:pt x="4" y="16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 9"/>
            <p:cNvSpPr>
              <a:spLocks/>
            </p:cNvSpPr>
            <p:nvPr/>
          </p:nvSpPr>
          <p:spPr bwMode="auto">
            <a:xfrm>
              <a:off x="5173563" y="2913757"/>
              <a:ext cx="38380" cy="15619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67"/>
                </a:cxn>
                <a:cxn ang="0">
                  <a:pos x="8" y="73"/>
                </a:cxn>
                <a:cxn ang="0">
                  <a:pos x="18" y="73"/>
                </a:cxn>
              </a:cxnLst>
              <a:rect l="0" t="0" r="r" b="b"/>
              <a:pathLst>
                <a:path w="18" h="74">
                  <a:moveTo>
                    <a:pt x="9" y="0"/>
                  </a:moveTo>
                  <a:cubicBezTo>
                    <a:pt x="3" y="18"/>
                    <a:pt x="0" y="45"/>
                    <a:pt x="2" y="67"/>
                  </a:cubicBezTo>
                  <a:cubicBezTo>
                    <a:pt x="3" y="72"/>
                    <a:pt x="5" y="72"/>
                    <a:pt x="8" y="73"/>
                  </a:cubicBezTo>
                  <a:cubicBezTo>
                    <a:pt x="12" y="74"/>
                    <a:pt x="14" y="74"/>
                    <a:pt x="18" y="73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4" name="Freeform 10"/>
            <p:cNvSpPr>
              <a:spLocks/>
            </p:cNvSpPr>
            <p:nvPr/>
          </p:nvSpPr>
          <p:spPr bwMode="auto">
            <a:xfrm>
              <a:off x="5161067" y="2911080"/>
              <a:ext cx="12496" cy="490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3"/>
                </a:cxn>
              </a:cxnLst>
              <a:rect l="0" t="0" r="r" b="b"/>
              <a:pathLst>
                <a:path w="6" h="23">
                  <a:moveTo>
                    <a:pt x="0" y="0"/>
                  </a:moveTo>
                  <a:cubicBezTo>
                    <a:pt x="5" y="9"/>
                    <a:pt x="5" y="15"/>
                    <a:pt x="6" y="23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Freeform 11"/>
            <p:cNvSpPr>
              <a:spLocks/>
            </p:cNvSpPr>
            <p:nvPr/>
          </p:nvSpPr>
          <p:spPr bwMode="auto">
            <a:xfrm>
              <a:off x="5137861" y="3050318"/>
              <a:ext cx="38380" cy="2142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7"/>
                </a:cxn>
              </a:cxnLst>
              <a:rect l="0" t="0" r="r" b="b"/>
              <a:pathLst>
                <a:path w="18" h="10">
                  <a:moveTo>
                    <a:pt x="18" y="0"/>
                  </a:moveTo>
                  <a:cubicBezTo>
                    <a:pt x="18" y="10"/>
                    <a:pt x="3" y="8"/>
                    <a:pt x="0" y="7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Freeform 12"/>
            <p:cNvSpPr>
              <a:spLocks/>
            </p:cNvSpPr>
            <p:nvPr/>
          </p:nvSpPr>
          <p:spPr bwMode="auto">
            <a:xfrm>
              <a:off x="5171778" y="2907509"/>
              <a:ext cx="12496" cy="2945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4" y="5"/>
                </a:cxn>
                <a:cxn ang="0">
                  <a:pos x="6" y="14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0" y="11"/>
                    <a:pt x="0" y="8"/>
                    <a:pt x="2" y="5"/>
                  </a:cubicBezTo>
                  <a:cubicBezTo>
                    <a:pt x="1" y="3"/>
                    <a:pt x="0" y="3"/>
                    <a:pt x="0" y="0"/>
                  </a:cubicBezTo>
                  <a:cubicBezTo>
                    <a:pt x="2" y="1"/>
                    <a:pt x="4" y="1"/>
                    <a:pt x="6" y="0"/>
                  </a:cubicBezTo>
                  <a:cubicBezTo>
                    <a:pt x="6" y="2"/>
                    <a:pt x="5" y="3"/>
                    <a:pt x="4" y="5"/>
                  </a:cubicBezTo>
                  <a:cubicBezTo>
                    <a:pt x="6" y="7"/>
                    <a:pt x="6" y="11"/>
                    <a:pt x="6" y="14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7" name="Groupe 219"/>
          <p:cNvGrpSpPr/>
          <p:nvPr/>
        </p:nvGrpSpPr>
        <p:grpSpPr>
          <a:xfrm>
            <a:off x="5492292" y="4032480"/>
            <a:ext cx="168532" cy="397593"/>
            <a:chOff x="3356607" y="2826284"/>
            <a:chExt cx="160659" cy="430210"/>
          </a:xfrm>
          <a:effectLst/>
        </p:grpSpPr>
        <p:sp>
          <p:nvSpPr>
            <p:cNvPr id="98" name="Freeform 5"/>
            <p:cNvSpPr>
              <a:spLocks/>
            </p:cNvSpPr>
            <p:nvPr/>
          </p:nvSpPr>
          <p:spPr bwMode="auto">
            <a:xfrm>
              <a:off x="3356607" y="2826284"/>
              <a:ext cx="157982" cy="255270"/>
            </a:xfrm>
            <a:custGeom>
              <a:avLst/>
              <a:gdLst/>
              <a:ahLst/>
              <a:cxnLst>
                <a:cxn ang="0">
                  <a:pos x="12" y="121"/>
                </a:cxn>
                <a:cxn ang="0">
                  <a:pos x="0" y="84"/>
                </a:cxn>
                <a:cxn ang="0">
                  <a:pos x="27" y="38"/>
                </a:cxn>
                <a:cxn ang="0">
                  <a:pos x="20" y="20"/>
                </a:cxn>
                <a:cxn ang="0">
                  <a:pos x="34" y="0"/>
                </a:cxn>
                <a:cxn ang="0">
                  <a:pos x="50" y="20"/>
                </a:cxn>
                <a:cxn ang="0">
                  <a:pos x="41" y="38"/>
                </a:cxn>
                <a:cxn ang="0">
                  <a:pos x="68" y="84"/>
                </a:cxn>
                <a:cxn ang="0">
                  <a:pos x="75" y="105"/>
                </a:cxn>
                <a:cxn ang="0">
                  <a:pos x="69" y="107"/>
                </a:cxn>
              </a:cxnLst>
              <a:rect l="0" t="0" r="r" b="b"/>
              <a:pathLst>
                <a:path w="75" h="121">
                  <a:moveTo>
                    <a:pt x="12" y="121"/>
                  </a:moveTo>
                  <a:cubicBezTo>
                    <a:pt x="11" y="117"/>
                    <a:pt x="2" y="103"/>
                    <a:pt x="0" y="84"/>
                  </a:cubicBezTo>
                  <a:cubicBezTo>
                    <a:pt x="0" y="58"/>
                    <a:pt x="8" y="39"/>
                    <a:pt x="27" y="38"/>
                  </a:cubicBezTo>
                  <a:cubicBezTo>
                    <a:pt x="25" y="34"/>
                    <a:pt x="20" y="26"/>
                    <a:pt x="20" y="20"/>
                  </a:cubicBezTo>
                  <a:cubicBezTo>
                    <a:pt x="20" y="9"/>
                    <a:pt x="26" y="0"/>
                    <a:pt x="34" y="0"/>
                  </a:cubicBezTo>
                  <a:cubicBezTo>
                    <a:pt x="43" y="0"/>
                    <a:pt x="50" y="9"/>
                    <a:pt x="50" y="20"/>
                  </a:cubicBezTo>
                  <a:cubicBezTo>
                    <a:pt x="50" y="26"/>
                    <a:pt x="45" y="34"/>
                    <a:pt x="41" y="38"/>
                  </a:cubicBezTo>
                  <a:cubicBezTo>
                    <a:pt x="68" y="40"/>
                    <a:pt x="68" y="58"/>
                    <a:pt x="68" y="84"/>
                  </a:cubicBezTo>
                  <a:cubicBezTo>
                    <a:pt x="73" y="94"/>
                    <a:pt x="75" y="102"/>
                    <a:pt x="75" y="105"/>
                  </a:cubicBezTo>
                  <a:cubicBezTo>
                    <a:pt x="72" y="106"/>
                    <a:pt x="73" y="106"/>
                    <a:pt x="69" y="107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Freeform 6"/>
            <p:cNvSpPr>
              <a:spLocks/>
            </p:cNvSpPr>
            <p:nvPr/>
          </p:nvSpPr>
          <p:spPr bwMode="auto">
            <a:xfrm>
              <a:off x="3376243" y="2959274"/>
              <a:ext cx="102644" cy="297220"/>
            </a:xfrm>
            <a:custGeom>
              <a:avLst/>
              <a:gdLst/>
              <a:ahLst/>
              <a:cxnLst>
                <a:cxn ang="0">
                  <a:pos x="49" y="1"/>
                </a:cxn>
                <a:cxn ang="0">
                  <a:pos x="47" y="28"/>
                </a:cxn>
                <a:cxn ang="0">
                  <a:pos x="49" y="52"/>
                </a:cxn>
                <a:cxn ang="0">
                  <a:pos x="47" y="52"/>
                </a:cxn>
                <a:cxn ang="0">
                  <a:pos x="44" y="141"/>
                </a:cxn>
                <a:cxn ang="0">
                  <a:pos x="31" y="141"/>
                </a:cxn>
                <a:cxn ang="0">
                  <a:pos x="27" y="63"/>
                </a:cxn>
                <a:cxn ang="0">
                  <a:pos x="21" y="141"/>
                </a:cxn>
                <a:cxn ang="0">
                  <a:pos x="8" y="141"/>
                </a:cxn>
                <a:cxn ang="0">
                  <a:pos x="3" y="50"/>
                </a:cxn>
                <a:cxn ang="0">
                  <a:pos x="1" y="50"/>
                </a:cxn>
                <a:cxn ang="0">
                  <a:pos x="4" y="27"/>
                </a:cxn>
                <a:cxn ang="0">
                  <a:pos x="2" y="0"/>
                </a:cxn>
              </a:cxnLst>
              <a:rect l="0" t="0" r="r" b="b"/>
              <a:pathLst>
                <a:path w="49" h="141">
                  <a:moveTo>
                    <a:pt x="49" y="1"/>
                  </a:moveTo>
                  <a:cubicBezTo>
                    <a:pt x="49" y="6"/>
                    <a:pt x="49" y="20"/>
                    <a:pt x="47" y="28"/>
                  </a:cubicBezTo>
                  <a:cubicBezTo>
                    <a:pt x="49" y="38"/>
                    <a:pt x="49" y="48"/>
                    <a:pt x="49" y="52"/>
                  </a:cubicBezTo>
                  <a:cubicBezTo>
                    <a:pt x="47" y="52"/>
                    <a:pt x="48" y="52"/>
                    <a:pt x="47" y="52"/>
                  </a:cubicBezTo>
                  <a:cubicBezTo>
                    <a:pt x="46" y="68"/>
                    <a:pt x="47" y="126"/>
                    <a:pt x="44" y="141"/>
                  </a:cubicBezTo>
                  <a:cubicBezTo>
                    <a:pt x="31" y="141"/>
                    <a:pt x="31" y="141"/>
                    <a:pt x="31" y="141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50"/>
                    <a:pt x="2" y="50"/>
                    <a:pt x="1" y="50"/>
                  </a:cubicBezTo>
                  <a:cubicBezTo>
                    <a:pt x="1" y="45"/>
                    <a:pt x="0" y="36"/>
                    <a:pt x="4" y="27"/>
                  </a:cubicBezTo>
                  <a:cubicBezTo>
                    <a:pt x="1" y="18"/>
                    <a:pt x="2" y="10"/>
                    <a:pt x="2" y="0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Freeform 7"/>
            <p:cNvSpPr>
              <a:spLocks/>
            </p:cNvSpPr>
            <p:nvPr/>
          </p:nvSpPr>
          <p:spPr bwMode="auto">
            <a:xfrm>
              <a:off x="3495845" y="3054777"/>
              <a:ext cx="21421" cy="8568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41"/>
                </a:cxn>
                <a:cxn ang="0">
                  <a:pos x="0" y="41"/>
                </a:cxn>
                <a:cxn ang="0">
                  <a:pos x="0" y="6"/>
                </a:cxn>
                <a:cxn ang="0">
                  <a:pos x="2" y="6"/>
                </a:cxn>
              </a:cxnLst>
              <a:rect l="0" t="0" r="r" b="b"/>
              <a:pathLst>
                <a:path w="10" h="41">
                  <a:moveTo>
                    <a:pt x="6" y="0"/>
                  </a:moveTo>
                  <a:cubicBezTo>
                    <a:pt x="6" y="3"/>
                    <a:pt x="6" y="4"/>
                    <a:pt x="6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8"/>
                    <a:pt x="10" y="29"/>
                    <a:pt x="1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9"/>
                    <a:pt x="0" y="18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Freeform 8"/>
            <p:cNvSpPr>
              <a:spLocks/>
            </p:cNvSpPr>
            <p:nvPr/>
          </p:nvSpPr>
          <p:spPr bwMode="auto">
            <a:xfrm>
              <a:off x="3478887" y="3008364"/>
              <a:ext cx="8926" cy="3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6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cubicBezTo>
                    <a:pt x="1" y="6"/>
                    <a:pt x="2" y="10"/>
                    <a:pt x="4" y="16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Freeform 9"/>
            <p:cNvSpPr>
              <a:spLocks/>
            </p:cNvSpPr>
            <p:nvPr/>
          </p:nvSpPr>
          <p:spPr bwMode="auto">
            <a:xfrm>
              <a:off x="3426226" y="2915539"/>
              <a:ext cx="38380" cy="15619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67"/>
                </a:cxn>
                <a:cxn ang="0">
                  <a:pos x="8" y="73"/>
                </a:cxn>
                <a:cxn ang="0">
                  <a:pos x="18" y="73"/>
                </a:cxn>
              </a:cxnLst>
              <a:rect l="0" t="0" r="r" b="b"/>
              <a:pathLst>
                <a:path w="18" h="74">
                  <a:moveTo>
                    <a:pt x="9" y="0"/>
                  </a:moveTo>
                  <a:cubicBezTo>
                    <a:pt x="3" y="18"/>
                    <a:pt x="0" y="45"/>
                    <a:pt x="2" y="67"/>
                  </a:cubicBezTo>
                  <a:cubicBezTo>
                    <a:pt x="3" y="72"/>
                    <a:pt x="5" y="72"/>
                    <a:pt x="8" y="73"/>
                  </a:cubicBezTo>
                  <a:cubicBezTo>
                    <a:pt x="12" y="74"/>
                    <a:pt x="14" y="74"/>
                    <a:pt x="18" y="73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Freeform 10"/>
            <p:cNvSpPr>
              <a:spLocks/>
            </p:cNvSpPr>
            <p:nvPr/>
          </p:nvSpPr>
          <p:spPr bwMode="auto">
            <a:xfrm>
              <a:off x="3413730" y="2912862"/>
              <a:ext cx="12496" cy="490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3"/>
                </a:cxn>
              </a:cxnLst>
              <a:rect l="0" t="0" r="r" b="b"/>
              <a:pathLst>
                <a:path w="6" h="23">
                  <a:moveTo>
                    <a:pt x="0" y="0"/>
                  </a:moveTo>
                  <a:cubicBezTo>
                    <a:pt x="5" y="9"/>
                    <a:pt x="5" y="15"/>
                    <a:pt x="6" y="23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Freeform 11"/>
            <p:cNvSpPr>
              <a:spLocks/>
            </p:cNvSpPr>
            <p:nvPr/>
          </p:nvSpPr>
          <p:spPr bwMode="auto">
            <a:xfrm>
              <a:off x="3390524" y="3052100"/>
              <a:ext cx="38380" cy="2142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7"/>
                </a:cxn>
              </a:cxnLst>
              <a:rect l="0" t="0" r="r" b="b"/>
              <a:pathLst>
                <a:path w="18" h="10">
                  <a:moveTo>
                    <a:pt x="18" y="0"/>
                  </a:moveTo>
                  <a:cubicBezTo>
                    <a:pt x="18" y="10"/>
                    <a:pt x="3" y="8"/>
                    <a:pt x="0" y="7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5" name="Freeform 12"/>
            <p:cNvSpPr>
              <a:spLocks/>
            </p:cNvSpPr>
            <p:nvPr/>
          </p:nvSpPr>
          <p:spPr bwMode="auto">
            <a:xfrm>
              <a:off x="3424441" y="2909291"/>
              <a:ext cx="12496" cy="2945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4" y="5"/>
                </a:cxn>
                <a:cxn ang="0">
                  <a:pos x="6" y="14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0" y="11"/>
                    <a:pt x="0" y="8"/>
                    <a:pt x="2" y="5"/>
                  </a:cubicBezTo>
                  <a:cubicBezTo>
                    <a:pt x="1" y="3"/>
                    <a:pt x="0" y="3"/>
                    <a:pt x="0" y="0"/>
                  </a:cubicBezTo>
                  <a:cubicBezTo>
                    <a:pt x="2" y="1"/>
                    <a:pt x="4" y="1"/>
                    <a:pt x="6" y="0"/>
                  </a:cubicBezTo>
                  <a:cubicBezTo>
                    <a:pt x="6" y="2"/>
                    <a:pt x="5" y="3"/>
                    <a:pt x="4" y="5"/>
                  </a:cubicBezTo>
                  <a:cubicBezTo>
                    <a:pt x="6" y="7"/>
                    <a:pt x="6" y="11"/>
                    <a:pt x="6" y="14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06" name="Rectangle 12"/>
          <p:cNvSpPr>
            <a:spLocks noChangeArrowheads="1"/>
          </p:cNvSpPr>
          <p:nvPr/>
        </p:nvSpPr>
        <p:spPr bwMode="auto">
          <a:xfrm>
            <a:off x="2223526" y="3875797"/>
            <a:ext cx="1682952" cy="67318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lvl="0" algn="ctr" defTabSz="914400">
              <a:defRPr/>
            </a:pPr>
            <a:r>
              <a:rPr lang="en-GB" sz="11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eopleSof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enter</a:t>
            </a:r>
            <a:endParaRPr kumimoji="0" lang="en-GB" sz="105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050" b="1" kern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Rectangle 14"/>
          <p:cNvSpPr>
            <a:spLocks noChangeArrowheads="1"/>
          </p:cNvSpPr>
          <p:nvPr/>
        </p:nvSpPr>
        <p:spPr bwMode="auto">
          <a:xfrm>
            <a:off x="7651922" y="3875797"/>
            <a:ext cx="1682952" cy="67318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lvl="0" algn="ctr" defTabSz="914400">
              <a:defRPr/>
            </a:pPr>
            <a:r>
              <a:rPr lang="en-GB" sz="1100" b="1" kern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LM &amp; MES</a:t>
            </a:r>
          </a:p>
          <a:p>
            <a:pPr lvl="0" algn="ctr" defTabSz="914400">
              <a:defRPr/>
            </a:pPr>
            <a:r>
              <a:rPr lang="en-GB" sz="1050" kern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ente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Rectangle 14"/>
          <p:cNvSpPr>
            <a:spLocks noChangeArrowheads="1"/>
          </p:cNvSpPr>
          <p:nvPr/>
        </p:nvSpPr>
        <p:spPr bwMode="auto">
          <a:xfrm>
            <a:off x="5842456" y="3875797"/>
            <a:ext cx="1682952" cy="67318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lvl="0" algn="ctr" defTabSz="914400">
              <a:defRPr/>
            </a:pPr>
            <a:r>
              <a:rPr lang="en-GB" sz="11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racle Utilities</a:t>
            </a:r>
            <a:br>
              <a:rPr lang="en-GB" sz="11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GB" sz="1050" kern="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enter</a:t>
            </a:r>
            <a:endParaRPr lang="en-GB" sz="1050" kern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Rectangle 14"/>
          <p:cNvSpPr>
            <a:spLocks noChangeArrowheads="1"/>
          </p:cNvSpPr>
          <p:nvPr/>
        </p:nvSpPr>
        <p:spPr bwMode="auto">
          <a:xfrm>
            <a:off x="4032991" y="3875797"/>
            <a:ext cx="1682952" cy="67318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0" tIns="0" rIns="0" bIns="0" anchor="ctr"/>
          <a:lstStyle/>
          <a:p>
            <a:pPr lvl="0" algn="ctr" defTabSz="914400">
              <a:defRPr/>
            </a:pPr>
            <a:r>
              <a:rPr lang="en-GB" sz="11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FS </a:t>
            </a:r>
          </a:p>
          <a:p>
            <a:pPr lvl="0" algn="ctr" defTabSz="914400">
              <a:defRPr/>
            </a:pPr>
            <a:r>
              <a:rPr lang="en-GB" sz="1050" kern="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enter</a:t>
            </a:r>
            <a:endParaRPr lang="en-GB" sz="1050" kern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10" name="Image 109" descr="1395859613_Network.pn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8409251" y="4330685"/>
            <a:ext cx="168295" cy="16829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1" name="Groupe 228"/>
          <p:cNvGrpSpPr/>
          <p:nvPr/>
        </p:nvGrpSpPr>
        <p:grpSpPr>
          <a:xfrm>
            <a:off x="3593393" y="3948855"/>
            <a:ext cx="168532" cy="397593"/>
            <a:chOff x="1645221" y="2838750"/>
            <a:chExt cx="160659" cy="430210"/>
          </a:xfrm>
          <a:effectLst/>
        </p:grpSpPr>
        <p:sp>
          <p:nvSpPr>
            <p:cNvPr id="112" name="Freeform 5"/>
            <p:cNvSpPr>
              <a:spLocks/>
            </p:cNvSpPr>
            <p:nvPr/>
          </p:nvSpPr>
          <p:spPr bwMode="auto">
            <a:xfrm>
              <a:off x="1645221" y="2838750"/>
              <a:ext cx="157982" cy="255270"/>
            </a:xfrm>
            <a:custGeom>
              <a:avLst/>
              <a:gdLst/>
              <a:ahLst/>
              <a:cxnLst>
                <a:cxn ang="0">
                  <a:pos x="12" y="121"/>
                </a:cxn>
                <a:cxn ang="0">
                  <a:pos x="0" y="84"/>
                </a:cxn>
                <a:cxn ang="0">
                  <a:pos x="27" y="38"/>
                </a:cxn>
                <a:cxn ang="0">
                  <a:pos x="20" y="20"/>
                </a:cxn>
                <a:cxn ang="0">
                  <a:pos x="34" y="0"/>
                </a:cxn>
                <a:cxn ang="0">
                  <a:pos x="50" y="20"/>
                </a:cxn>
                <a:cxn ang="0">
                  <a:pos x="41" y="38"/>
                </a:cxn>
                <a:cxn ang="0">
                  <a:pos x="68" y="84"/>
                </a:cxn>
                <a:cxn ang="0">
                  <a:pos x="75" y="105"/>
                </a:cxn>
                <a:cxn ang="0">
                  <a:pos x="69" y="107"/>
                </a:cxn>
              </a:cxnLst>
              <a:rect l="0" t="0" r="r" b="b"/>
              <a:pathLst>
                <a:path w="75" h="121">
                  <a:moveTo>
                    <a:pt x="12" y="121"/>
                  </a:moveTo>
                  <a:cubicBezTo>
                    <a:pt x="11" y="117"/>
                    <a:pt x="2" y="103"/>
                    <a:pt x="0" y="84"/>
                  </a:cubicBezTo>
                  <a:cubicBezTo>
                    <a:pt x="0" y="58"/>
                    <a:pt x="8" y="39"/>
                    <a:pt x="27" y="38"/>
                  </a:cubicBezTo>
                  <a:cubicBezTo>
                    <a:pt x="25" y="34"/>
                    <a:pt x="20" y="26"/>
                    <a:pt x="20" y="20"/>
                  </a:cubicBezTo>
                  <a:cubicBezTo>
                    <a:pt x="20" y="9"/>
                    <a:pt x="26" y="0"/>
                    <a:pt x="34" y="0"/>
                  </a:cubicBezTo>
                  <a:cubicBezTo>
                    <a:pt x="43" y="0"/>
                    <a:pt x="50" y="9"/>
                    <a:pt x="50" y="20"/>
                  </a:cubicBezTo>
                  <a:cubicBezTo>
                    <a:pt x="50" y="26"/>
                    <a:pt x="45" y="34"/>
                    <a:pt x="41" y="38"/>
                  </a:cubicBezTo>
                  <a:cubicBezTo>
                    <a:pt x="68" y="40"/>
                    <a:pt x="68" y="58"/>
                    <a:pt x="68" y="84"/>
                  </a:cubicBezTo>
                  <a:cubicBezTo>
                    <a:pt x="73" y="94"/>
                    <a:pt x="75" y="102"/>
                    <a:pt x="75" y="105"/>
                  </a:cubicBezTo>
                  <a:cubicBezTo>
                    <a:pt x="72" y="106"/>
                    <a:pt x="73" y="106"/>
                    <a:pt x="69" y="107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Freeform 6"/>
            <p:cNvSpPr>
              <a:spLocks/>
            </p:cNvSpPr>
            <p:nvPr/>
          </p:nvSpPr>
          <p:spPr bwMode="auto">
            <a:xfrm>
              <a:off x="1664857" y="2971740"/>
              <a:ext cx="102644" cy="297220"/>
            </a:xfrm>
            <a:custGeom>
              <a:avLst/>
              <a:gdLst/>
              <a:ahLst/>
              <a:cxnLst>
                <a:cxn ang="0">
                  <a:pos x="49" y="1"/>
                </a:cxn>
                <a:cxn ang="0">
                  <a:pos x="47" y="28"/>
                </a:cxn>
                <a:cxn ang="0">
                  <a:pos x="49" y="52"/>
                </a:cxn>
                <a:cxn ang="0">
                  <a:pos x="47" y="52"/>
                </a:cxn>
                <a:cxn ang="0">
                  <a:pos x="44" y="141"/>
                </a:cxn>
                <a:cxn ang="0">
                  <a:pos x="31" y="141"/>
                </a:cxn>
                <a:cxn ang="0">
                  <a:pos x="27" y="63"/>
                </a:cxn>
                <a:cxn ang="0">
                  <a:pos x="21" y="141"/>
                </a:cxn>
                <a:cxn ang="0">
                  <a:pos x="8" y="141"/>
                </a:cxn>
                <a:cxn ang="0">
                  <a:pos x="3" y="50"/>
                </a:cxn>
                <a:cxn ang="0">
                  <a:pos x="1" y="50"/>
                </a:cxn>
                <a:cxn ang="0">
                  <a:pos x="4" y="27"/>
                </a:cxn>
                <a:cxn ang="0">
                  <a:pos x="2" y="0"/>
                </a:cxn>
              </a:cxnLst>
              <a:rect l="0" t="0" r="r" b="b"/>
              <a:pathLst>
                <a:path w="49" h="141">
                  <a:moveTo>
                    <a:pt x="49" y="1"/>
                  </a:moveTo>
                  <a:cubicBezTo>
                    <a:pt x="49" y="6"/>
                    <a:pt x="49" y="20"/>
                    <a:pt x="47" y="28"/>
                  </a:cubicBezTo>
                  <a:cubicBezTo>
                    <a:pt x="49" y="38"/>
                    <a:pt x="49" y="48"/>
                    <a:pt x="49" y="52"/>
                  </a:cubicBezTo>
                  <a:cubicBezTo>
                    <a:pt x="47" y="52"/>
                    <a:pt x="48" y="52"/>
                    <a:pt x="47" y="52"/>
                  </a:cubicBezTo>
                  <a:cubicBezTo>
                    <a:pt x="46" y="68"/>
                    <a:pt x="47" y="126"/>
                    <a:pt x="44" y="141"/>
                  </a:cubicBezTo>
                  <a:cubicBezTo>
                    <a:pt x="31" y="141"/>
                    <a:pt x="31" y="141"/>
                    <a:pt x="31" y="141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50"/>
                    <a:pt x="2" y="50"/>
                    <a:pt x="1" y="50"/>
                  </a:cubicBezTo>
                  <a:cubicBezTo>
                    <a:pt x="1" y="45"/>
                    <a:pt x="0" y="36"/>
                    <a:pt x="4" y="27"/>
                  </a:cubicBezTo>
                  <a:cubicBezTo>
                    <a:pt x="1" y="18"/>
                    <a:pt x="2" y="10"/>
                    <a:pt x="2" y="0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Freeform 7"/>
            <p:cNvSpPr>
              <a:spLocks/>
            </p:cNvSpPr>
            <p:nvPr/>
          </p:nvSpPr>
          <p:spPr bwMode="auto">
            <a:xfrm>
              <a:off x="1784459" y="3067243"/>
              <a:ext cx="21421" cy="8568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41"/>
                </a:cxn>
                <a:cxn ang="0">
                  <a:pos x="0" y="41"/>
                </a:cxn>
                <a:cxn ang="0">
                  <a:pos x="0" y="6"/>
                </a:cxn>
                <a:cxn ang="0">
                  <a:pos x="2" y="6"/>
                </a:cxn>
              </a:cxnLst>
              <a:rect l="0" t="0" r="r" b="b"/>
              <a:pathLst>
                <a:path w="10" h="41">
                  <a:moveTo>
                    <a:pt x="6" y="0"/>
                  </a:moveTo>
                  <a:cubicBezTo>
                    <a:pt x="6" y="3"/>
                    <a:pt x="6" y="4"/>
                    <a:pt x="6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8"/>
                    <a:pt x="10" y="29"/>
                    <a:pt x="1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9"/>
                    <a:pt x="0" y="18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Freeform 8"/>
            <p:cNvSpPr>
              <a:spLocks/>
            </p:cNvSpPr>
            <p:nvPr/>
          </p:nvSpPr>
          <p:spPr bwMode="auto">
            <a:xfrm>
              <a:off x="1767501" y="3020830"/>
              <a:ext cx="8926" cy="3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6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cubicBezTo>
                    <a:pt x="1" y="6"/>
                    <a:pt x="2" y="10"/>
                    <a:pt x="4" y="16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Freeform 9"/>
            <p:cNvSpPr>
              <a:spLocks/>
            </p:cNvSpPr>
            <p:nvPr/>
          </p:nvSpPr>
          <p:spPr bwMode="auto">
            <a:xfrm>
              <a:off x="1714840" y="2928005"/>
              <a:ext cx="38380" cy="15619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67"/>
                </a:cxn>
                <a:cxn ang="0">
                  <a:pos x="8" y="73"/>
                </a:cxn>
                <a:cxn ang="0">
                  <a:pos x="18" y="73"/>
                </a:cxn>
              </a:cxnLst>
              <a:rect l="0" t="0" r="r" b="b"/>
              <a:pathLst>
                <a:path w="18" h="74">
                  <a:moveTo>
                    <a:pt x="9" y="0"/>
                  </a:moveTo>
                  <a:cubicBezTo>
                    <a:pt x="3" y="18"/>
                    <a:pt x="0" y="45"/>
                    <a:pt x="2" y="67"/>
                  </a:cubicBezTo>
                  <a:cubicBezTo>
                    <a:pt x="3" y="72"/>
                    <a:pt x="5" y="72"/>
                    <a:pt x="8" y="73"/>
                  </a:cubicBezTo>
                  <a:cubicBezTo>
                    <a:pt x="12" y="74"/>
                    <a:pt x="14" y="74"/>
                    <a:pt x="18" y="73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7" name="Freeform 10"/>
            <p:cNvSpPr>
              <a:spLocks/>
            </p:cNvSpPr>
            <p:nvPr/>
          </p:nvSpPr>
          <p:spPr bwMode="auto">
            <a:xfrm>
              <a:off x="1702344" y="2925328"/>
              <a:ext cx="12496" cy="490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3"/>
                </a:cxn>
              </a:cxnLst>
              <a:rect l="0" t="0" r="r" b="b"/>
              <a:pathLst>
                <a:path w="6" h="23">
                  <a:moveTo>
                    <a:pt x="0" y="0"/>
                  </a:moveTo>
                  <a:cubicBezTo>
                    <a:pt x="5" y="9"/>
                    <a:pt x="5" y="15"/>
                    <a:pt x="6" y="23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8" name="Freeform 11"/>
            <p:cNvSpPr>
              <a:spLocks/>
            </p:cNvSpPr>
            <p:nvPr/>
          </p:nvSpPr>
          <p:spPr bwMode="auto">
            <a:xfrm>
              <a:off x="1679138" y="3064566"/>
              <a:ext cx="38380" cy="2142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7"/>
                </a:cxn>
              </a:cxnLst>
              <a:rect l="0" t="0" r="r" b="b"/>
              <a:pathLst>
                <a:path w="18" h="10">
                  <a:moveTo>
                    <a:pt x="18" y="0"/>
                  </a:moveTo>
                  <a:cubicBezTo>
                    <a:pt x="18" y="10"/>
                    <a:pt x="3" y="8"/>
                    <a:pt x="0" y="7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9" name="Freeform 12"/>
            <p:cNvSpPr>
              <a:spLocks/>
            </p:cNvSpPr>
            <p:nvPr/>
          </p:nvSpPr>
          <p:spPr bwMode="auto">
            <a:xfrm>
              <a:off x="1713055" y="2921757"/>
              <a:ext cx="12496" cy="2945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4" y="5"/>
                </a:cxn>
                <a:cxn ang="0">
                  <a:pos x="6" y="14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0" y="11"/>
                    <a:pt x="0" y="8"/>
                    <a:pt x="2" y="5"/>
                  </a:cubicBezTo>
                  <a:cubicBezTo>
                    <a:pt x="1" y="3"/>
                    <a:pt x="0" y="3"/>
                    <a:pt x="0" y="0"/>
                  </a:cubicBezTo>
                  <a:cubicBezTo>
                    <a:pt x="2" y="1"/>
                    <a:pt x="4" y="1"/>
                    <a:pt x="6" y="0"/>
                  </a:cubicBezTo>
                  <a:cubicBezTo>
                    <a:pt x="6" y="2"/>
                    <a:pt x="5" y="3"/>
                    <a:pt x="4" y="5"/>
                  </a:cubicBezTo>
                  <a:cubicBezTo>
                    <a:pt x="6" y="7"/>
                    <a:pt x="6" y="11"/>
                    <a:pt x="6" y="14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0" name="Groupe 228"/>
          <p:cNvGrpSpPr/>
          <p:nvPr/>
        </p:nvGrpSpPr>
        <p:grpSpPr>
          <a:xfrm>
            <a:off x="5414882" y="3948855"/>
            <a:ext cx="168532" cy="397593"/>
            <a:chOff x="1645221" y="2838750"/>
            <a:chExt cx="160659" cy="430210"/>
          </a:xfrm>
          <a:effectLst/>
        </p:grpSpPr>
        <p:sp>
          <p:nvSpPr>
            <p:cNvPr id="121" name="Freeform 5"/>
            <p:cNvSpPr>
              <a:spLocks/>
            </p:cNvSpPr>
            <p:nvPr/>
          </p:nvSpPr>
          <p:spPr bwMode="auto">
            <a:xfrm>
              <a:off x="1645221" y="2838750"/>
              <a:ext cx="157982" cy="255270"/>
            </a:xfrm>
            <a:custGeom>
              <a:avLst/>
              <a:gdLst/>
              <a:ahLst/>
              <a:cxnLst>
                <a:cxn ang="0">
                  <a:pos x="12" y="121"/>
                </a:cxn>
                <a:cxn ang="0">
                  <a:pos x="0" y="84"/>
                </a:cxn>
                <a:cxn ang="0">
                  <a:pos x="27" y="38"/>
                </a:cxn>
                <a:cxn ang="0">
                  <a:pos x="20" y="20"/>
                </a:cxn>
                <a:cxn ang="0">
                  <a:pos x="34" y="0"/>
                </a:cxn>
                <a:cxn ang="0">
                  <a:pos x="50" y="20"/>
                </a:cxn>
                <a:cxn ang="0">
                  <a:pos x="41" y="38"/>
                </a:cxn>
                <a:cxn ang="0">
                  <a:pos x="68" y="84"/>
                </a:cxn>
                <a:cxn ang="0">
                  <a:pos x="75" y="105"/>
                </a:cxn>
                <a:cxn ang="0">
                  <a:pos x="69" y="107"/>
                </a:cxn>
              </a:cxnLst>
              <a:rect l="0" t="0" r="r" b="b"/>
              <a:pathLst>
                <a:path w="75" h="121">
                  <a:moveTo>
                    <a:pt x="12" y="121"/>
                  </a:moveTo>
                  <a:cubicBezTo>
                    <a:pt x="11" y="117"/>
                    <a:pt x="2" y="103"/>
                    <a:pt x="0" y="84"/>
                  </a:cubicBezTo>
                  <a:cubicBezTo>
                    <a:pt x="0" y="58"/>
                    <a:pt x="8" y="39"/>
                    <a:pt x="27" y="38"/>
                  </a:cubicBezTo>
                  <a:cubicBezTo>
                    <a:pt x="25" y="34"/>
                    <a:pt x="20" y="26"/>
                    <a:pt x="20" y="20"/>
                  </a:cubicBezTo>
                  <a:cubicBezTo>
                    <a:pt x="20" y="9"/>
                    <a:pt x="26" y="0"/>
                    <a:pt x="34" y="0"/>
                  </a:cubicBezTo>
                  <a:cubicBezTo>
                    <a:pt x="43" y="0"/>
                    <a:pt x="50" y="9"/>
                    <a:pt x="50" y="20"/>
                  </a:cubicBezTo>
                  <a:cubicBezTo>
                    <a:pt x="50" y="26"/>
                    <a:pt x="45" y="34"/>
                    <a:pt x="41" y="38"/>
                  </a:cubicBezTo>
                  <a:cubicBezTo>
                    <a:pt x="68" y="40"/>
                    <a:pt x="68" y="58"/>
                    <a:pt x="68" y="84"/>
                  </a:cubicBezTo>
                  <a:cubicBezTo>
                    <a:pt x="73" y="94"/>
                    <a:pt x="75" y="102"/>
                    <a:pt x="75" y="105"/>
                  </a:cubicBezTo>
                  <a:cubicBezTo>
                    <a:pt x="72" y="106"/>
                    <a:pt x="73" y="106"/>
                    <a:pt x="69" y="107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Freeform 6"/>
            <p:cNvSpPr>
              <a:spLocks/>
            </p:cNvSpPr>
            <p:nvPr/>
          </p:nvSpPr>
          <p:spPr bwMode="auto">
            <a:xfrm>
              <a:off x="1664857" y="2971740"/>
              <a:ext cx="102644" cy="297220"/>
            </a:xfrm>
            <a:custGeom>
              <a:avLst/>
              <a:gdLst/>
              <a:ahLst/>
              <a:cxnLst>
                <a:cxn ang="0">
                  <a:pos x="49" y="1"/>
                </a:cxn>
                <a:cxn ang="0">
                  <a:pos x="47" y="28"/>
                </a:cxn>
                <a:cxn ang="0">
                  <a:pos x="49" y="52"/>
                </a:cxn>
                <a:cxn ang="0">
                  <a:pos x="47" y="52"/>
                </a:cxn>
                <a:cxn ang="0">
                  <a:pos x="44" y="141"/>
                </a:cxn>
                <a:cxn ang="0">
                  <a:pos x="31" y="141"/>
                </a:cxn>
                <a:cxn ang="0">
                  <a:pos x="27" y="63"/>
                </a:cxn>
                <a:cxn ang="0">
                  <a:pos x="21" y="141"/>
                </a:cxn>
                <a:cxn ang="0">
                  <a:pos x="8" y="141"/>
                </a:cxn>
                <a:cxn ang="0">
                  <a:pos x="3" y="50"/>
                </a:cxn>
                <a:cxn ang="0">
                  <a:pos x="1" y="50"/>
                </a:cxn>
                <a:cxn ang="0">
                  <a:pos x="4" y="27"/>
                </a:cxn>
                <a:cxn ang="0">
                  <a:pos x="2" y="0"/>
                </a:cxn>
              </a:cxnLst>
              <a:rect l="0" t="0" r="r" b="b"/>
              <a:pathLst>
                <a:path w="49" h="141">
                  <a:moveTo>
                    <a:pt x="49" y="1"/>
                  </a:moveTo>
                  <a:cubicBezTo>
                    <a:pt x="49" y="6"/>
                    <a:pt x="49" y="20"/>
                    <a:pt x="47" y="28"/>
                  </a:cubicBezTo>
                  <a:cubicBezTo>
                    <a:pt x="49" y="38"/>
                    <a:pt x="49" y="48"/>
                    <a:pt x="49" y="52"/>
                  </a:cubicBezTo>
                  <a:cubicBezTo>
                    <a:pt x="47" y="52"/>
                    <a:pt x="48" y="52"/>
                    <a:pt x="47" y="52"/>
                  </a:cubicBezTo>
                  <a:cubicBezTo>
                    <a:pt x="46" y="68"/>
                    <a:pt x="47" y="126"/>
                    <a:pt x="44" y="141"/>
                  </a:cubicBezTo>
                  <a:cubicBezTo>
                    <a:pt x="31" y="141"/>
                    <a:pt x="31" y="141"/>
                    <a:pt x="31" y="141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50"/>
                    <a:pt x="2" y="50"/>
                    <a:pt x="1" y="50"/>
                  </a:cubicBezTo>
                  <a:cubicBezTo>
                    <a:pt x="1" y="45"/>
                    <a:pt x="0" y="36"/>
                    <a:pt x="4" y="27"/>
                  </a:cubicBezTo>
                  <a:cubicBezTo>
                    <a:pt x="1" y="18"/>
                    <a:pt x="2" y="10"/>
                    <a:pt x="2" y="0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3" name="Freeform 7"/>
            <p:cNvSpPr>
              <a:spLocks/>
            </p:cNvSpPr>
            <p:nvPr/>
          </p:nvSpPr>
          <p:spPr bwMode="auto">
            <a:xfrm>
              <a:off x="1784459" y="3067243"/>
              <a:ext cx="21421" cy="8568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41"/>
                </a:cxn>
                <a:cxn ang="0">
                  <a:pos x="0" y="41"/>
                </a:cxn>
                <a:cxn ang="0">
                  <a:pos x="0" y="6"/>
                </a:cxn>
                <a:cxn ang="0">
                  <a:pos x="2" y="6"/>
                </a:cxn>
              </a:cxnLst>
              <a:rect l="0" t="0" r="r" b="b"/>
              <a:pathLst>
                <a:path w="10" h="41">
                  <a:moveTo>
                    <a:pt x="6" y="0"/>
                  </a:moveTo>
                  <a:cubicBezTo>
                    <a:pt x="6" y="3"/>
                    <a:pt x="6" y="4"/>
                    <a:pt x="6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8"/>
                    <a:pt x="10" y="29"/>
                    <a:pt x="1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9"/>
                    <a:pt x="0" y="18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Freeform 8"/>
            <p:cNvSpPr>
              <a:spLocks/>
            </p:cNvSpPr>
            <p:nvPr/>
          </p:nvSpPr>
          <p:spPr bwMode="auto">
            <a:xfrm>
              <a:off x="1767501" y="3020830"/>
              <a:ext cx="8926" cy="3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6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cubicBezTo>
                    <a:pt x="1" y="6"/>
                    <a:pt x="2" y="10"/>
                    <a:pt x="4" y="16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5" name="Freeform 9"/>
            <p:cNvSpPr>
              <a:spLocks/>
            </p:cNvSpPr>
            <p:nvPr/>
          </p:nvSpPr>
          <p:spPr bwMode="auto">
            <a:xfrm>
              <a:off x="1714840" y="2928005"/>
              <a:ext cx="38380" cy="15619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67"/>
                </a:cxn>
                <a:cxn ang="0">
                  <a:pos x="8" y="73"/>
                </a:cxn>
                <a:cxn ang="0">
                  <a:pos x="18" y="73"/>
                </a:cxn>
              </a:cxnLst>
              <a:rect l="0" t="0" r="r" b="b"/>
              <a:pathLst>
                <a:path w="18" h="74">
                  <a:moveTo>
                    <a:pt x="9" y="0"/>
                  </a:moveTo>
                  <a:cubicBezTo>
                    <a:pt x="3" y="18"/>
                    <a:pt x="0" y="45"/>
                    <a:pt x="2" y="67"/>
                  </a:cubicBezTo>
                  <a:cubicBezTo>
                    <a:pt x="3" y="72"/>
                    <a:pt x="5" y="72"/>
                    <a:pt x="8" y="73"/>
                  </a:cubicBezTo>
                  <a:cubicBezTo>
                    <a:pt x="12" y="74"/>
                    <a:pt x="14" y="74"/>
                    <a:pt x="18" y="73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6" name="Freeform 10"/>
            <p:cNvSpPr>
              <a:spLocks/>
            </p:cNvSpPr>
            <p:nvPr/>
          </p:nvSpPr>
          <p:spPr bwMode="auto">
            <a:xfrm>
              <a:off x="1702344" y="2925328"/>
              <a:ext cx="12496" cy="490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3"/>
                </a:cxn>
              </a:cxnLst>
              <a:rect l="0" t="0" r="r" b="b"/>
              <a:pathLst>
                <a:path w="6" h="23">
                  <a:moveTo>
                    <a:pt x="0" y="0"/>
                  </a:moveTo>
                  <a:cubicBezTo>
                    <a:pt x="5" y="9"/>
                    <a:pt x="5" y="15"/>
                    <a:pt x="6" y="23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7" name="Freeform 11"/>
            <p:cNvSpPr>
              <a:spLocks/>
            </p:cNvSpPr>
            <p:nvPr/>
          </p:nvSpPr>
          <p:spPr bwMode="auto">
            <a:xfrm>
              <a:off x="1679138" y="3064566"/>
              <a:ext cx="38380" cy="2142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7"/>
                </a:cxn>
              </a:cxnLst>
              <a:rect l="0" t="0" r="r" b="b"/>
              <a:pathLst>
                <a:path w="18" h="10">
                  <a:moveTo>
                    <a:pt x="18" y="0"/>
                  </a:moveTo>
                  <a:cubicBezTo>
                    <a:pt x="18" y="10"/>
                    <a:pt x="3" y="8"/>
                    <a:pt x="0" y="7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8" name="Freeform 12"/>
            <p:cNvSpPr>
              <a:spLocks/>
            </p:cNvSpPr>
            <p:nvPr/>
          </p:nvSpPr>
          <p:spPr bwMode="auto">
            <a:xfrm>
              <a:off x="1713055" y="2921757"/>
              <a:ext cx="12496" cy="2945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4" y="5"/>
                </a:cxn>
                <a:cxn ang="0">
                  <a:pos x="6" y="14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0" y="11"/>
                    <a:pt x="0" y="8"/>
                    <a:pt x="2" y="5"/>
                  </a:cubicBezTo>
                  <a:cubicBezTo>
                    <a:pt x="1" y="3"/>
                    <a:pt x="0" y="3"/>
                    <a:pt x="0" y="0"/>
                  </a:cubicBezTo>
                  <a:cubicBezTo>
                    <a:pt x="2" y="1"/>
                    <a:pt x="4" y="1"/>
                    <a:pt x="6" y="0"/>
                  </a:cubicBezTo>
                  <a:cubicBezTo>
                    <a:pt x="6" y="2"/>
                    <a:pt x="5" y="3"/>
                    <a:pt x="4" y="5"/>
                  </a:cubicBezTo>
                  <a:cubicBezTo>
                    <a:pt x="6" y="7"/>
                    <a:pt x="6" y="11"/>
                    <a:pt x="6" y="14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9" name="Groupe 228"/>
          <p:cNvGrpSpPr/>
          <p:nvPr/>
        </p:nvGrpSpPr>
        <p:grpSpPr>
          <a:xfrm>
            <a:off x="7236813" y="3948855"/>
            <a:ext cx="168532" cy="397593"/>
            <a:chOff x="1645221" y="2838750"/>
            <a:chExt cx="160659" cy="430210"/>
          </a:xfrm>
          <a:effectLst/>
        </p:grpSpPr>
        <p:sp>
          <p:nvSpPr>
            <p:cNvPr id="130" name="Freeform 5"/>
            <p:cNvSpPr>
              <a:spLocks/>
            </p:cNvSpPr>
            <p:nvPr/>
          </p:nvSpPr>
          <p:spPr bwMode="auto">
            <a:xfrm>
              <a:off x="1645221" y="2838750"/>
              <a:ext cx="157982" cy="255270"/>
            </a:xfrm>
            <a:custGeom>
              <a:avLst/>
              <a:gdLst/>
              <a:ahLst/>
              <a:cxnLst>
                <a:cxn ang="0">
                  <a:pos x="12" y="121"/>
                </a:cxn>
                <a:cxn ang="0">
                  <a:pos x="0" y="84"/>
                </a:cxn>
                <a:cxn ang="0">
                  <a:pos x="27" y="38"/>
                </a:cxn>
                <a:cxn ang="0">
                  <a:pos x="20" y="20"/>
                </a:cxn>
                <a:cxn ang="0">
                  <a:pos x="34" y="0"/>
                </a:cxn>
                <a:cxn ang="0">
                  <a:pos x="50" y="20"/>
                </a:cxn>
                <a:cxn ang="0">
                  <a:pos x="41" y="38"/>
                </a:cxn>
                <a:cxn ang="0">
                  <a:pos x="68" y="84"/>
                </a:cxn>
                <a:cxn ang="0">
                  <a:pos x="75" y="105"/>
                </a:cxn>
                <a:cxn ang="0">
                  <a:pos x="69" y="107"/>
                </a:cxn>
              </a:cxnLst>
              <a:rect l="0" t="0" r="r" b="b"/>
              <a:pathLst>
                <a:path w="75" h="121">
                  <a:moveTo>
                    <a:pt x="12" y="121"/>
                  </a:moveTo>
                  <a:cubicBezTo>
                    <a:pt x="11" y="117"/>
                    <a:pt x="2" y="103"/>
                    <a:pt x="0" y="84"/>
                  </a:cubicBezTo>
                  <a:cubicBezTo>
                    <a:pt x="0" y="58"/>
                    <a:pt x="8" y="39"/>
                    <a:pt x="27" y="38"/>
                  </a:cubicBezTo>
                  <a:cubicBezTo>
                    <a:pt x="25" y="34"/>
                    <a:pt x="20" y="26"/>
                    <a:pt x="20" y="20"/>
                  </a:cubicBezTo>
                  <a:cubicBezTo>
                    <a:pt x="20" y="9"/>
                    <a:pt x="26" y="0"/>
                    <a:pt x="34" y="0"/>
                  </a:cubicBezTo>
                  <a:cubicBezTo>
                    <a:pt x="43" y="0"/>
                    <a:pt x="50" y="9"/>
                    <a:pt x="50" y="20"/>
                  </a:cubicBezTo>
                  <a:cubicBezTo>
                    <a:pt x="50" y="26"/>
                    <a:pt x="45" y="34"/>
                    <a:pt x="41" y="38"/>
                  </a:cubicBezTo>
                  <a:cubicBezTo>
                    <a:pt x="68" y="40"/>
                    <a:pt x="68" y="58"/>
                    <a:pt x="68" y="84"/>
                  </a:cubicBezTo>
                  <a:cubicBezTo>
                    <a:pt x="73" y="94"/>
                    <a:pt x="75" y="102"/>
                    <a:pt x="75" y="105"/>
                  </a:cubicBezTo>
                  <a:cubicBezTo>
                    <a:pt x="72" y="106"/>
                    <a:pt x="73" y="106"/>
                    <a:pt x="69" y="107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Freeform 6"/>
            <p:cNvSpPr>
              <a:spLocks/>
            </p:cNvSpPr>
            <p:nvPr/>
          </p:nvSpPr>
          <p:spPr bwMode="auto">
            <a:xfrm>
              <a:off x="1664857" y="2971740"/>
              <a:ext cx="102644" cy="297220"/>
            </a:xfrm>
            <a:custGeom>
              <a:avLst/>
              <a:gdLst/>
              <a:ahLst/>
              <a:cxnLst>
                <a:cxn ang="0">
                  <a:pos x="49" y="1"/>
                </a:cxn>
                <a:cxn ang="0">
                  <a:pos x="47" y="28"/>
                </a:cxn>
                <a:cxn ang="0">
                  <a:pos x="49" y="52"/>
                </a:cxn>
                <a:cxn ang="0">
                  <a:pos x="47" y="52"/>
                </a:cxn>
                <a:cxn ang="0">
                  <a:pos x="44" y="141"/>
                </a:cxn>
                <a:cxn ang="0">
                  <a:pos x="31" y="141"/>
                </a:cxn>
                <a:cxn ang="0">
                  <a:pos x="27" y="63"/>
                </a:cxn>
                <a:cxn ang="0">
                  <a:pos x="21" y="141"/>
                </a:cxn>
                <a:cxn ang="0">
                  <a:pos x="8" y="141"/>
                </a:cxn>
                <a:cxn ang="0">
                  <a:pos x="3" y="50"/>
                </a:cxn>
                <a:cxn ang="0">
                  <a:pos x="1" y="50"/>
                </a:cxn>
                <a:cxn ang="0">
                  <a:pos x="4" y="27"/>
                </a:cxn>
                <a:cxn ang="0">
                  <a:pos x="2" y="0"/>
                </a:cxn>
              </a:cxnLst>
              <a:rect l="0" t="0" r="r" b="b"/>
              <a:pathLst>
                <a:path w="49" h="141">
                  <a:moveTo>
                    <a:pt x="49" y="1"/>
                  </a:moveTo>
                  <a:cubicBezTo>
                    <a:pt x="49" y="6"/>
                    <a:pt x="49" y="20"/>
                    <a:pt x="47" y="28"/>
                  </a:cubicBezTo>
                  <a:cubicBezTo>
                    <a:pt x="49" y="38"/>
                    <a:pt x="49" y="48"/>
                    <a:pt x="49" y="52"/>
                  </a:cubicBezTo>
                  <a:cubicBezTo>
                    <a:pt x="47" y="52"/>
                    <a:pt x="48" y="52"/>
                    <a:pt x="47" y="52"/>
                  </a:cubicBezTo>
                  <a:cubicBezTo>
                    <a:pt x="46" y="68"/>
                    <a:pt x="47" y="126"/>
                    <a:pt x="44" y="141"/>
                  </a:cubicBezTo>
                  <a:cubicBezTo>
                    <a:pt x="31" y="141"/>
                    <a:pt x="31" y="141"/>
                    <a:pt x="31" y="141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50"/>
                    <a:pt x="2" y="50"/>
                    <a:pt x="1" y="50"/>
                  </a:cubicBezTo>
                  <a:cubicBezTo>
                    <a:pt x="1" y="45"/>
                    <a:pt x="0" y="36"/>
                    <a:pt x="4" y="27"/>
                  </a:cubicBezTo>
                  <a:cubicBezTo>
                    <a:pt x="1" y="18"/>
                    <a:pt x="2" y="10"/>
                    <a:pt x="2" y="0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Freeform 7"/>
            <p:cNvSpPr>
              <a:spLocks/>
            </p:cNvSpPr>
            <p:nvPr/>
          </p:nvSpPr>
          <p:spPr bwMode="auto">
            <a:xfrm>
              <a:off x="1784459" y="3067243"/>
              <a:ext cx="21421" cy="8568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41"/>
                </a:cxn>
                <a:cxn ang="0">
                  <a:pos x="0" y="41"/>
                </a:cxn>
                <a:cxn ang="0">
                  <a:pos x="0" y="6"/>
                </a:cxn>
                <a:cxn ang="0">
                  <a:pos x="2" y="6"/>
                </a:cxn>
              </a:cxnLst>
              <a:rect l="0" t="0" r="r" b="b"/>
              <a:pathLst>
                <a:path w="10" h="41">
                  <a:moveTo>
                    <a:pt x="6" y="0"/>
                  </a:moveTo>
                  <a:cubicBezTo>
                    <a:pt x="6" y="3"/>
                    <a:pt x="6" y="4"/>
                    <a:pt x="6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8"/>
                    <a:pt x="10" y="29"/>
                    <a:pt x="1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9"/>
                    <a:pt x="0" y="18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Freeform 8"/>
            <p:cNvSpPr>
              <a:spLocks/>
            </p:cNvSpPr>
            <p:nvPr/>
          </p:nvSpPr>
          <p:spPr bwMode="auto">
            <a:xfrm>
              <a:off x="1767501" y="3020830"/>
              <a:ext cx="8926" cy="3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6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cubicBezTo>
                    <a:pt x="1" y="6"/>
                    <a:pt x="2" y="10"/>
                    <a:pt x="4" y="16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 9"/>
            <p:cNvSpPr>
              <a:spLocks/>
            </p:cNvSpPr>
            <p:nvPr/>
          </p:nvSpPr>
          <p:spPr bwMode="auto">
            <a:xfrm>
              <a:off x="1714840" y="2928005"/>
              <a:ext cx="38380" cy="15619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67"/>
                </a:cxn>
                <a:cxn ang="0">
                  <a:pos x="8" y="73"/>
                </a:cxn>
                <a:cxn ang="0">
                  <a:pos x="18" y="73"/>
                </a:cxn>
              </a:cxnLst>
              <a:rect l="0" t="0" r="r" b="b"/>
              <a:pathLst>
                <a:path w="18" h="74">
                  <a:moveTo>
                    <a:pt x="9" y="0"/>
                  </a:moveTo>
                  <a:cubicBezTo>
                    <a:pt x="3" y="18"/>
                    <a:pt x="0" y="45"/>
                    <a:pt x="2" y="67"/>
                  </a:cubicBezTo>
                  <a:cubicBezTo>
                    <a:pt x="3" y="72"/>
                    <a:pt x="5" y="72"/>
                    <a:pt x="8" y="73"/>
                  </a:cubicBezTo>
                  <a:cubicBezTo>
                    <a:pt x="12" y="74"/>
                    <a:pt x="14" y="74"/>
                    <a:pt x="18" y="73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 10"/>
            <p:cNvSpPr>
              <a:spLocks/>
            </p:cNvSpPr>
            <p:nvPr/>
          </p:nvSpPr>
          <p:spPr bwMode="auto">
            <a:xfrm>
              <a:off x="1702344" y="2925328"/>
              <a:ext cx="12496" cy="490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3"/>
                </a:cxn>
              </a:cxnLst>
              <a:rect l="0" t="0" r="r" b="b"/>
              <a:pathLst>
                <a:path w="6" h="23">
                  <a:moveTo>
                    <a:pt x="0" y="0"/>
                  </a:moveTo>
                  <a:cubicBezTo>
                    <a:pt x="5" y="9"/>
                    <a:pt x="5" y="15"/>
                    <a:pt x="6" y="23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 11"/>
            <p:cNvSpPr>
              <a:spLocks/>
            </p:cNvSpPr>
            <p:nvPr/>
          </p:nvSpPr>
          <p:spPr bwMode="auto">
            <a:xfrm>
              <a:off x="1679138" y="3064566"/>
              <a:ext cx="38380" cy="2142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7"/>
                </a:cxn>
              </a:cxnLst>
              <a:rect l="0" t="0" r="r" b="b"/>
              <a:pathLst>
                <a:path w="18" h="10">
                  <a:moveTo>
                    <a:pt x="18" y="0"/>
                  </a:moveTo>
                  <a:cubicBezTo>
                    <a:pt x="18" y="10"/>
                    <a:pt x="3" y="8"/>
                    <a:pt x="0" y="7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 12"/>
            <p:cNvSpPr>
              <a:spLocks/>
            </p:cNvSpPr>
            <p:nvPr/>
          </p:nvSpPr>
          <p:spPr bwMode="auto">
            <a:xfrm>
              <a:off x="1713055" y="2921757"/>
              <a:ext cx="12496" cy="2945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4" y="5"/>
                </a:cxn>
                <a:cxn ang="0">
                  <a:pos x="6" y="14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0" y="11"/>
                    <a:pt x="0" y="8"/>
                    <a:pt x="2" y="5"/>
                  </a:cubicBezTo>
                  <a:cubicBezTo>
                    <a:pt x="1" y="3"/>
                    <a:pt x="0" y="3"/>
                    <a:pt x="0" y="0"/>
                  </a:cubicBezTo>
                  <a:cubicBezTo>
                    <a:pt x="2" y="1"/>
                    <a:pt x="4" y="1"/>
                    <a:pt x="6" y="0"/>
                  </a:cubicBezTo>
                  <a:cubicBezTo>
                    <a:pt x="6" y="2"/>
                    <a:pt x="5" y="3"/>
                    <a:pt x="4" y="5"/>
                  </a:cubicBezTo>
                  <a:cubicBezTo>
                    <a:pt x="6" y="7"/>
                    <a:pt x="6" y="11"/>
                    <a:pt x="6" y="14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38" name="Groupe 228"/>
          <p:cNvGrpSpPr/>
          <p:nvPr/>
        </p:nvGrpSpPr>
        <p:grpSpPr>
          <a:xfrm>
            <a:off x="9028160" y="3948855"/>
            <a:ext cx="168532" cy="397593"/>
            <a:chOff x="1645221" y="2838750"/>
            <a:chExt cx="160659" cy="430210"/>
          </a:xfrm>
          <a:effectLst/>
        </p:grpSpPr>
        <p:sp>
          <p:nvSpPr>
            <p:cNvPr id="139" name="Freeform 5"/>
            <p:cNvSpPr>
              <a:spLocks/>
            </p:cNvSpPr>
            <p:nvPr/>
          </p:nvSpPr>
          <p:spPr bwMode="auto">
            <a:xfrm>
              <a:off x="1645221" y="2838750"/>
              <a:ext cx="157982" cy="255270"/>
            </a:xfrm>
            <a:custGeom>
              <a:avLst/>
              <a:gdLst/>
              <a:ahLst/>
              <a:cxnLst>
                <a:cxn ang="0">
                  <a:pos x="12" y="121"/>
                </a:cxn>
                <a:cxn ang="0">
                  <a:pos x="0" y="84"/>
                </a:cxn>
                <a:cxn ang="0">
                  <a:pos x="27" y="38"/>
                </a:cxn>
                <a:cxn ang="0">
                  <a:pos x="20" y="20"/>
                </a:cxn>
                <a:cxn ang="0">
                  <a:pos x="34" y="0"/>
                </a:cxn>
                <a:cxn ang="0">
                  <a:pos x="50" y="20"/>
                </a:cxn>
                <a:cxn ang="0">
                  <a:pos x="41" y="38"/>
                </a:cxn>
                <a:cxn ang="0">
                  <a:pos x="68" y="84"/>
                </a:cxn>
                <a:cxn ang="0">
                  <a:pos x="75" y="105"/>
                </a:cxn>
                <a:cxn ang="0">
                  <a:pos x="69" y="107"/>
                </a:cxn>
              </a:cxnLst>
              <a:rect l="0" t="0" r="r" b="b"/>
              <a:pathLst>
                <a:path w="75" h="121">
                  <a:moveTo>
                    <a:pt x="12" y="121"/>
                  </a:moveTo>
                  <a:cubicBezTo>
                    <a:pt x="11" y="117"/>
                    <a:pt x="2" y="103"/>
                    <a:pt x="0" y="84"/>
                  </a:cubicBezTo>
                  <a:cubicBezTo>
                    <a:pt x="0" y="58"/>
                    <a:pt x="8" y="39"/>
                    <a:pt x="27" y="38"/>
                  </a:cubicBezTo>
                  <a:cubicBezTo>
                    <a:pt x="25" y="34"/>
                    <a:pt x="20" y="26"/>
                    <a:pt x="20" y="20"/>
                  </a:cubicBezTo>
                  <a:cubicBezTo>
                    <a:pt x="20" y="9"/>
                    <a:pt x="26" y="0"/>
                    <a:pt x="34" y="0"/>
                  </a:cubicBezTo>
                  <a:cubicBezTo>
                    <a:pt x="43" y="0"/>
                    <a:pt x="50" y="9"/>
                    <a:pt x="50" y="20"/>
                  </a:cubicBezTo>
                  <a:cubicBezTo>
                    <a:pt x="50" y="26"/>
                    <a:pt x="45" y="34"/>
                    <a:pt x="41" y="38"/>
                  </a:cubicBezTo>
                  <a:cubicBezTo>
                    <a:pt x="68" y="40"/>
                    <a:pt x="68" y="58"/>
                    <a:pt x="68" y="84"/>
                  </a:cubicBezTo>
                  <a:cubicBezTo>
                    <a:pt x="73" y="94"/>
                    <a:pt x="75" y="102"/>
                    <a:pt x="75" y="105"/>
                  </a:cubicBezTo>
                  <a:cubicBezTo>
                    <a:pt x="72" y="106"/>
                    <a:pt x="73" y="106"/>
                    <a:pt x="69" y="107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 6"/>
            <p:cNvSpPr>
              <a:spLocks/>
            </p:cNvSpPr>
            <p:nvPr/>
          </p:nvSpPr>
          <p:spPr bwMode="auto">
            <a:xfrm>
              <a:off x="1664857" y="2971740"/>
              <a:ext cx="102644" cy="297220"/>
            </a:xfrm>
            <a:custGeom>
              <a:avLst/>
              <a:gdLst/>
              <a:ahLst/>
              <a:cxnLst>
                <a:cxn ang="0">
                  <a:pos x="49" y="1"/>
                </a:cxn>
                <a:cxn ang="0">
                  <a:pos x="47" y="28"/>
                </a:cxn>
                <a:cxn ang="0">
                  <a:pos x="49" y="52"/>
                </a:cxn>
                <a:cxn ang="0">
                  <a:pos x="47" y="52"/>
                </a:cxn>
                <a:cxn ang="0">
                  <a:pos x="44" y="141"/>
                </a:cxn>
                <a:cxn ang="0">
                  <a:pos x="31" y="141"/>
                </a:cxn>
                <a:cxn ang="0">
                  <a:pos x="27" y="63"/>
                </a:cxn>
                <a:cxn ang="0">
                  <a:pos x="21" y="141"/>
                </a:cxn>
                <a:cxn ang="0">
                  <a:pos x="8" y="141"/>
                </a:cxn>
                <a:cxn ang="0">
                  <a:pos x="3" y="50"/>
                </a:cxn>
                <a:cxn ang="0">
                  <a:pos x="1" y="50"/>
                </a:cxn>
                <a:cxn ang="0">
                  <a:pos x="4" y="27"/>
                </a:cxn>
                <a:cxn ang="0">
                  <a:pos x="2" y="0"/>
                </a:cxn>
              </a:cxnLst>
              <a:rect l="0" t="0" r="r" b="b"/>
              <a:pathLst>
                <a:path w="49" h="141">
                  <a:moveTo>
                    <a:pt x="49" y="1"/>
                  </a:moveTo>
                  <a:cubicBezTo>
                    <a:pt x="49" y="6"/>
                    <a:pt x="49" y="20"/>
                    <a:pt x="47" y="28"/>
                  </a:cubicBezTo>
                  <a:cubicBezTo>
                    <a:pt x="49" y="38"/>
                    <a:pt x="49" y="48"/>
                    <a:pt x="49" y="52"/>
                  </a:cubicBezTo>
                  <a:cubicBezTo>
                    <a:pt x="47" y="52"/>
                    <a:pt x="48" y="52"/>
                    <a:pt x="47" y="52"/>
                  </a:cubicBezTo>
                  <a:cubicBezTo>
                    <a:pt x="46" y="68"/>
                    <a:pt x="47" y="126"/>
                    <a:pt x="44" y="141"/>
                  </a:cubicBezTo>
                  <a:cubicBezTo>
                    <a:pt x="31" y="141"/>
                    <a:pt x="31" y="141"/>
                    <a:pt x="31" y="141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50"/>
                    <a:pt x="2" y="50"/>
                    <a:pt x="1" y="50"/>
                  </a:cubicBezTo>
                  <a:cubicBezTo>
                    <a:pt x="1" y="45"/>
                    <a:pt x="0" y="36"/>
                    <a:pt x="4" y="27"/>
                  </a:cubicBezTo>
                  <a:cubicBezTo>
                    <a:pt x="1" y="18"/>
                    <a:pt x="2" y="10"/>
                    <a:pt x="2" y="0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 7"/>
            <p:cNvSpPr>
              <a:spLocks/>
            </p:cNvSpPr>
            <p:nvPr/>
          </p:nvSpPr>
          <p:spPr bwMode="auto">
            <a:xfrm>
              <a:off x="1784459" y="3067243"/>
              <a:ext cx="21421" cy="8568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41"/>
                </a:cxn>
                <a:cxn ang="0">
                  <a:pos x="0" y="41"/>
                </a:cxn>
                <a:cxn ang="0">
                  <a:pos x="0" y="6"/>
                </a:cxn>
                <a:cxn ang="0">
                  <a:pos x="2" y="6"/>
                </a:cxn>
              </a:cxnLst>
              <a:rect l="0" t="0" r="r" b="b"/>
              <a:pathLst>
                <a:path w="10" h="41">
                  <a:moveTo>
                    <a:pt x="6" y="0"/>
                  </a:moveTo>
                  <a:cubicBezTo>
                    <a:pt x="6" y="3"/>
                    <a:pt x="6" y="4"/>
                    <a:pt x="6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8"/>
                    <a:pt x="10" y="29"/>
                    <a:pt x="1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9"/>
                    <a:pt x="0" y="18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 8"/>
            <p:cNvSpPr>
              <a:spLocks/>
            </p:cNvSpPr>
            <p:nvPr/>
          </p:nvSpPr>
          <p:spPr bwMode="auto">
            <a:xfrm>
              <a:off x="1767501" y="3020830"/>
              <a:ext cx="8926" cy="3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6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cubicBezTo>
                    <a:pt x="1" y="6"/>
                    <a:pt x="2" y="10"/>
                    <a:pt x="4" y="16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 9"/>
            <p:cNvSpPr>
              <a:spLocks/>
            </p:cNvSpPr>
            <p:nvPr/>
          </p:nvSpPr>
          <p:spPr bwMode="auto">
            <a:xfrm>
              <a:off x="1714840" y="2928005"/>
              <a:ext cx="38380" cy="15619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67"/>
                </a:cxn>
                <a:cxn ang="0">
                  <a:pos x="8" y="73"/>
                </a:cxn>
                <a:cxn ang="0">
                  <a:pos x="18" y="73"/>
                </a:cxn>
              </a:cxnLst>
              <a:rect l="0" t="0" r="r" b="b"/>
              <a:pathLst>
                <a:path w="18" h="74">
                  <a:moveTo>
                    <a:pt x="9" y="0"/>
                  </a:moveTo>
                  <a:cubicBezTo>
                    <a:pt x="3" y="18"/>
                    <a:pt x="0" y="45"/>
                    <a:pt x="2" y="67"/>
                  </a:cubicBezTo>
                  <a:cubicBezTo>
                    <a:pt x="3" y="72"/>
                    <a:pt x="5" y="72"/>
                    <a:pt x="8" y="73"/>
                  </a:cubicBezTo>
                  <a:cubicBezTo>
                    <a:pt x="12" y="74"/>
                    <a:pt x="14" y="74"/>
                    <a:pt x="18" y="73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 10"/>
            <p:cNvSpPr>
              <a:spLocks/>
            </p:cNvSpPr>
            <p:nvPr/>
          </p:nvSpPr>
          <p:spPr bwMode="auto">
            <a:xfrm>
              <a:off x="1702344" y="2925328"/>
              <a:ext cx="12496" cy="490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3"/>
                </a:cxn>
              </a:cxnLst>
              <a:rect l="0" t="0" r="r" b="b"/>
              <a:pathLst>
                <a:path w="6" h="23">
                  <a:moveTo>
                    <a:pt x="0" y="0"/>
                  </a:moveTo>
                  <a:cubicBezTo>
                    <a:pt x="5" y="9"/>
                    <a:pt x="5" y="15"/>
                    <a:pt x="6" y="23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 11"/>
            <p:cNvSpPr>
              <a:spLocks/>
            </p:cNvSpPr>
            <p:nvPr/>
          </p:nvSpPr>
          <p:spPr bwMode="auto">
            <a:xfrm>
              <a:off x="1679138" y="3064566"/>
              <a:ext cx="38380" cy="2142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7"/>
                </a:cxn>
              </a:cxnLst>
              <a:rect l="0" t="0" r="r" b="b"/>
              <a:pathLst>
                <a:path w="18" h="10">
                  <a:moveTo>
                    <a:pt x="18" y="0"/>
                  </a:moveTo>
                  <a:cubicBezTo>
                    <a:pt x="18" y="10"/>
                    <a:pt x="3" y="8"/>
                    <a:pt x="0" y="7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 12"/>
            <p:cNvSpPr>
              <a:spLocks/>
            </p:cNvSpPr>
            <p:nvPr/>
          </p:nvSpPr>
          <p:spPr bwMode="auto">
            <a:xfrm>
              <a:off x="1713055" y="2921757"/>
              <a:ext cx="12496" cy="2945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4" y="5"/>
                </a:cxn>
                <a:cxn ang="0">
                  <a:pos x="6" y="14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0" y="11"/>
                    <a:pt x="0" y="8"/>
                    <a:pt x="2" y="5"/>
                  </a:cubicBezTo>
                  <a:cubicBezTo>
                    <a:pt x="1" y="3"/>
                    <a:pt x="0" y="3"/>
                    <a:pt x="0" y="0"/>
                  </a:cubicBezTo>
                  <a:cubicBezTo>
                    <a:pt x="2" y="1"/>
                    <a:pt x="4" y="1"/>
                    <a:pt x="6" y="0"/>
                  </a:cubicBezTo>
                  <a:cubicBezTo>
                    <a:pt x="6" y="2"/>
                    <a:pt x="5" y="3"/>
                    <a:pt x="4" y="5"/>
                  </a:cubicBezTo>
                  <a:cubicBezTo>
                    <a:pt x="6" y="7"/>
                    <a:pt x="6" y="11"/>
                    <a:pt x="6" y="14"/>
                  </a:cubicBezTo>
                </a:path>
              </a:pathLst>
            </a:custGeom>
            <a:no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47" name="Image 146" descr="1395859613_Network.pn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6599785" y="4330685"/>
            <a:ext cx="168295" cy="168295"/>
          </a:xfrm>
          <a:prstGeom prst="rect">
            <a:avLst/>
          </a:prstGeom>
          <a:noFill/>
          <a:ln>
            <a:noFill/>
          </a:ln>
        </p:spPr>
      </p:pic>
      <p:pic>
        <p:nvPicPr>
          <p:cNvPr id="148" name="Image 147" descr="1395859613_Network.pn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4790320" y="4330685"/>
            <a:ext cx="168295" cy="168295"/>
          </a:xfrm>
          <a:prstGeom prst="rect">
            <a:avLst/>
          </a:prstGeom>
          <a:noFill/>
          <a:ln>
            <a:noFill/>
          </a:ln>
        </p:spPr>
      </p:pic>
      <p:pic>
        <p:nvPicPr>
          <p:cNvPr id="149" name="Image 148" descr="1395859613_Network.pn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2980855" y="4330685"/>
            <a:ext cx="168295" cy="168295"/>
          </a:xfrm>
          <a:prstGeom prst="rect">
            <a:avLst/>
          </a:prstGeom>
          <a:noFill/>
          <a:ln>
            <a:noFill/>
          </a:ln>
        </p:spPr>
      </p:pic>
      <p:sp>
        <p:nvSpPr>
          <p:cNvPr id="150" name="Rectangle à coins arrondis 149"/>
          <p:cNvSpPr/>
          <p:nvPr/>
        </p:nvSpPr>
        <p:spPr>
          <a:xfrm>
            <a:off x="2570232" y="4319189"/>
            <a:ext cx="390161" cy="19503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fr-FR" sz="800" b="1" dirty="0" smtClean="0">
                <a:solidFill>
                  <a:schemeClr val="tx1"/>
                </a:solidFill>
              </a:rPr>
              <a:t>80+</a:t>
            </a:r>
            <a:endParaRPr lang="fr-FR" sz="800" b="1" dirty="0">
              <a:solidFill>
                <a:schemeClr val="tx1"/>
              </a:solidFill>
            </a:endParaRPr>
          </a:p>
        </p:txBody>
      </p:sp>
      <p:sp>
        <p:nvSpPr>
          <p:cNvPr id="151" name="Rectangle à coins arrondis 150"/>
          <p:cNvSpPr/>
          <p:nvPr/>
        </p:nvSpPr>
        <p:spPr>
          <a:xfrm>
            <a:off x="3182250" y="4319189"/>
            <a:ext cx="390161" cy="19503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lvl="0" algn="ctr"/>
            <a:r>
              <a:rPr lang="fr-FR" sz="900" b="1" dirty="0" smtClean="0">
                <a:solidFill>
                  <a:schemeClr val="tx1"/>
                </a:solidFill>
              </a:rPr>
              <a:t>300+</a:t>
            </a:r>
            <a:endParaRPr lang="fr-FR" sz="900" b="1" dirty="0">
              <a:solidFill>
                <a:schemeClr val="tx1"/>
              </a:solidFill>
            </a:endParaRPr>
          </a:p>
        </p:txBody>
      </p:sp>
      <p:sp>
        <p:nvSpPr>
          <p:cNvPr id="152" name="Rectangle à coins arrondis 151"/>
          <p:cNvSpPr/>
          <p:nvPr/>
        </p:nvSpPr>
        <p:spPr>
          <a:xfrm>
            <a:off x="4995837" y="4319189"/>
            <a:ext cx="390161" cy="19503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fr-FR" sz="800" b="1" dirty="0" smtClean="0">
                <a:solidFill>
                  <a:schemeClr val="tx1"/>
                </a:solidFill>
              </a:rPr>
              <a:t>50+</a:t>
            </a:r>
            <a:endParaRPr lang="fr-FR" sz="800" b="1" dirty="0">
              <a:solidFill>
                <a:schemeClr val="tx1"/>
              </a:solidFill>
            </a:endParaRPr>
          </a:p>
        </p:txBody>
      </p:sp>
      <p:sp>
        <p:nvSpPr>
          <p:cNvPr id="153" name="Rectangle à coins arrondis 152"/>
          <p:cNvSpPr/>
          <p:nvPr/>
        </p:nvSpPr>
        <p:spPr>
          <a:xfrm>
            <a:off x="6791143" y="4319189"/>
            <a:ext cx="390161" cy="19503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fr-FR" sz="800" b="1" dirty="0" smtClean="0">
                <a:solidFill>
                  <a:schemeClr val="tx1"/>
                </a:solidFill>
              </a:rPr>
              <a:t>100+</a:t>
            </a:r>
            <a:endParaRPr lang="fr-FR" sz="800" b="1" dirty="0">
              <a:solidFill>
                <a:schemeClr val="tx1"/>
              </a:solidFill>
            </a:endParaRPr>
          </a:p>
        </p:txBody>
      </p:sp>
      <p:sp>
        <p:nvSpPr>
          <p:cNvPr id="154" name="Rectangle à coins arrondis 153"/>
          <p:cNvSpPr/>
          <p:nvPr/>
        </p:nvSpPr>
        <p:spPr>
          <a:xfrm>
            <a:off x="8604217" y="4319189"/>
            <a:ext cx="390161" cy="19503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r"/>
            <a:r>
              <a:rPr lang="fr-FR" sz="800" b="1" dirty="0" smtClean="0">
                <a:solidFill>
                  <a:schemeClr val="tx1"/>
                </a:solidFill>
              </a:rPr>
              <a:t>150+</a:t>
            </a:r>
            <a:endParaRPr lang="fr-FR" sz="800" b="1" dirty="0">
              <a:solidFill>
                <a:schemeClr val="tx1"/>
              </a:solidFill>
            </a:endParaRPr>
          </a:p>
        </p:txBody>
      </p:sp>
      <p:cxnSp>
        <p:nvCxnSpPr>
          <p:cNvPr id="155" name="Connecteur droit 154"/>
          <p:cNvCxnSpPr/>
          <p:nvPr/>
        </p:nvCxnSpPr>
        <p:spPr>
          <a:xfrm>
            <a:off x="3969734" y="3918340"/>
            <a:ext cx="0" cy="1946244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Connecteur droit 155"/>
          <p:cNvCxnSpPr/>
          <p:nvPr/>
        </p:nvCxnSpPr>
        <p:spPr>
          <a:xfrm>
            <a:off x="5779200" y="3918340"/>
            <a:ext cx="0" cy="1946244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Connecteur droit 156"/>
          <p:cNvCxnSpPr/>
          <p:nvPr/>
        </p:nvCxnSpPr>
        <p:spPr>
          <a:xfrm>
            <a:off x="7588665" y="3918340"/>
            <a:ext cx="0" cy="1946244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tangle 157"/>
          <p:cNvSpPr/>
          <p:nvPr/>
        </p:nvSpPr>
        <p:spPr>
          <a:xfrm>
            <a:off x="239089" y="4148791"/>
            <a:ext cx="208337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600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</a:rPr>
              <a:t>Nos</a:t>
            </a:r>
            <a:br>
              <a:rPr lang="fr-FR" sz="1600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</a:rPr>
            </a:br>
            <a:r>
              <a:rPr lang="fr-FR" sz="1600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</a:rPr>
              <a:t>autres spécialités…</a:t>
            </a:r>
            <a:endParaRPr lang="fr-FR" sz="1600" b="1" dirty="0">
              <a:solidFill>
                <a:schemeClr val="accent6">
                  <a:lumMod val="75000"/>
                </a:schemeClr>
              </a:solidFill>
              <a:latin typeface="Arial" pitchFamily="34" charset="0"/>
            </a:endParaRPr>
          </a:p>
        </p:txBody>
      </p:sp>
      <p:pic>
        <p:nvPicPr>
          <p:cNvPr id="159" name="Picture 3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2521613" y="4653773"/>
            <a:ext cx="1227244" cy="10764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0" name="ZoneTexte 159"/>
          <p:cNvSpPr txBox="1"/>
          <p:nvPr/>
        </p:nvSpPr>
        <p:spPr>
          <a:xfrm>
            <a:off x="2425222" y="5548400"/>
            <a:ext cx="657225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RM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inance</a:t>
            </a:r>
          </a:p>
        </p:txBody>
      </p:sp>
      <p:pic>
        <p:nvPicPr>
          <p:cNvPr id="161" name="Picture 7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4377487" y="4657546"/>
            <a:ext cx="1432928" cy="1069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2" name="ZoneTexte 161"/>
          <p:cNvSpPr txBox="1"/>
          <p:nvPr/>
        </p:nvSpPr>
        <p:spPr>
          <a:xfrm>
            <a:off x="4140454" y="5363734"/>
            <a:ext cx="657225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upply Chain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ocurement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istribution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oject</a:t>
            </a:r>
          </a:p>
        </p:txBody>
      </p:sp>
      <p:pic>
        <p:nvPicPr>
          <p:cNvPr id="163" name="Picture 5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6280410" y="4603566"/>
            <a:ext cx="1206675" cy="1117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4" name="ZoneTexte 163"/>
          <p:cNvSpPr txBox="1"/>
          <p:nvPr/>
        </p:nvSpPr>
        <p:spPr>
          <a:xfrm>
            <a:off x="6012001" y="5456067"/>
            <a:ext cx="657225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DM 2.0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C&amp;B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martX</a:t>
            </a:r>
          </a:p>
        </p:txBody>
      </p:sp>
      <p:pic>
        <p:nvPicPr>
          <p:cNvPr id="165" name="Picture 3" descr="C:\Users\jfenyo\AppData\Local\Microsoft\Windows\Temporary Internet Files\Content.Outlook\5VEB9492\pictogramme adm (2).png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975658" y="1570025"/>
            <a:ext cx="610240" cy="200926"/>
          </a:xfrm>
          <a:prstGeom prst="rect">
            <a:avLst/>
          </a:prstGeom>
          <a:noFill/>
        </p:spPr>
      </p:pic>
      <p:grpSp>
        <p:nvGrpSpPr>
          <p:cNvPr id="166" name="Groupe 165"/>
          <p:cNvGrpSpPr/>
          <p:nvPr/>
        </p:nvGrpSpPr>
        <p:grpSpPr>
          <a:xfrm>
            <a:off x="970879" y="2672697"/>
            <a:ext cx="619798" cy="525218"/>
            <a:chOff x="771614" y="3393615"/>
            <a:chExt cx="684270" cy="579852"/>
          </a:xfrm>
        </p:grpSpPr>
        <p:grpSp>
          <p:nvGrpSpPr>
            <p:cNvPr id="167" name="Group 45"/>
            <p:cNvGrpSpPr>
              <a:grpSpLocks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942681" y="3393615"/>
              <a:ext cx="319918" cy="211057"/>
              <a:chOff x="12099" y="1177"/>
              <a:chExt cx="720" cy="475"/>
            </a:xfrm>
          </p:grpSpPr>
          <p:grpSp>
            <p:nvGrpSpPr>
              <p:cNvPr id="183" name="Group 46"/>
              <p:cNvGrpSpPr>
                <a:grpSpLocks/>
              </p:cNvGrpSpPr>
              <p:nvPr/>
            </p:nvGrpSpPr>
            <p:grpSpPr bwMode="auto">
              <a:xfrm>
                <a:off x="12144" y="1415"/>
                <a:ext cx="400" cy="2"/>
                <a:chOff x="12144" y="1415"/>
                <a:chExt cx="400" cy="2"/>
              </a:xfrm>
            </p:grpSpPr>
            <p:sp>
              <p:nvSpPr>
                <p:cNvPr id="186" name="Freeform 47"/>
                <p:cNvSpPr>
                  <a:spLocks/>
                </p:cNvSpPr>
                <p:nvPr/>
              </p:nvSpPr>
              <p:spPr bwMode="auto">
                <a:xfrm>
                  <a:off x="12144" y="1415"/>
                  <a:ext cx="400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00" y="0"/>
                    </a:cxn>
                  </a:cxnLst>
                  <a:rect l="0" t="0" r="r" b="b"/>
                  <a:pathLst>
                    <a:path w="400">
                      <a:moveTo>
                        <a:pt x="0" y="0"/>
                      </a:moveTo>
                      <a:lnTo>
                        <a:pt x="400" y="0"/>
                      </a:lnTo>
                    </a:path>
                  </a:pathLst>
                </a:custGeom>
                <a:noFill/>
                <a:ln w="19050">
                  <a:solidFill>
                    <a:schemeClr val="accent5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grpSp>
            <p:nvGrpSpPr>
              <p:cNvPr id="184" name="Group 48"/>
              <p:cNvGrpSpPr>
                <a:grpSpLocks/>
              </p:cNvGrpSpPr>
              <p:nvPr/>
            </p:nvGrpSpPr>
            <p:grpSpPr bwMode="auto">
              <a:xfrm>
                <a:off x="12574" y="1222"/>
                <a:ext cx="200" cy="385"/>
                <a:chOff x="12574" y="1222"/>
                <a:chExt cx="200" cy="385"/>
              </a:xfrm>
            </p:grpSpPr>
            <p:sp>
              <p:nvSpPr>
                <p:cNvPr id="185" name="Freeform 49"/>
                <p:cNvSpPr>
                  <a:spLocks/>
                </p:cNvSpPr>
                <p:nvPr/>
              </p:nvSpPr>
              <p:spPr bwMode="auto">
                <a:xfrm>
                  <a:off x="12574" y="1222"/>
                  <a:ext cx="200" cy="38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00" y="193"/>
                    </a:cxn>
                    <a:cxn ang="0">
                      <a:pos x="0" y="385"/>
                    </a:cxn>
                  </a:cxnLst>
                  <a:rect l="0" t="0" r="r" b="b"/>
                  <a:pathLst>
                    <a:path w="200" h="385">
                      <a:moveTo>
                        <a:pt x="0" y="0"/>
                      </a:moveTo>
                      <a:lnTo>
                        <a:pt x="200" y="193"/>
                      </a:lnTo>
                      <a:lnTo>
                        <a:pt x="0" y="385"/>
                      </a:lnTo>
                    </a:path>
                  </a:pathLst>
                </a:custGeom>
                <a:noFill/>
                <a:ln w="19050">
                  <a:solidFill>
                    <a:schemeClr val="accent5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</p:grpSp>
        <p:grpSp>
          <p:nvGrpSpPr>
            <p:cNvPr id="168" name="Group 50"/>
            <p:cNvGrpSpPr>
              <a:grpSpLocks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1614" y="3578012"/>
              <a:ext cx="319918" cy="211057"/>
              <a:chOff x="11716" y="-1323"/>
              <a:chExt cx="720" cy="475"/>
            </a:xfrm>
          </p:grpSpPr>
          <p:grpSp>
            <p:nvGrpSpPr>
              <p:cNvPr id="179" name="Group 51"/>
              <p:cNvGrpSpPr>
                <a:grpSpLocks/>
              </p:cNvGrpSpPr>
              <p:nvPr/>
            </p:nvGrpSpPr>
            <p:grpSpPr bwMode="auto">
              <a:xfrm>
                <a:off x="11761" y="-1085"/>
                <a:ext cx="400" cy="2"/>
                <a:chOff x="11761" y="-1085"/>
                <a:chExt cx="400" cy="2"/>
              </a:xfrm>
            </p:grpSpPr>
            <p:sp>
              <p:nvSpPr>
                <p:cNvPr id="182" name="Freeform 52"/>
                <p:cNvSpPr>
                  <a:spLocks/>
                </p:cNvSpPr>
                <p:nvPr/>
              </p:nvSpPr>
              <p:spPr bwMode="auto">
                <a:xfrm>
                  <a:off x="11761" y="-1085"/>
                  <a:ext cx="400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00" y="0"/>
                    </a:cxn>
                  </a:cxnLst>
                  <a:rect l="0" t="0" r="r" b="b"/>
                  <a:pathLst>
                    <a:path w="400">
                      <a:moveTo>
                        <a:pt x="0" y="0"/>
                      </a:moveTo>
                      <a:lnTo>
                        <a:pt x="400" y="0"/>
                      </a:lnTo>
                    </a:path>
                  </a:pathLst>
                </a:custGeom>
                <a:noFill/>
                <a:ln w="19050">
                  <a:solidFill>
                    <a:schemeClr val="accent5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grpSp>
            <p:nvGrpSpPr>
              <p:cNvPr id="180" name="Group 53"/>
              <p:cNvGrpSpPr>
                <a:grpSpLocks/>
              </p:cNvGrpSpPr>
              <p:nvPr/>
            </p:nvGrpSpPr>
            <p:grpSpPr bwMode="auto">
              <a:xfrm>
                <a:off x="12191" y="-1278"/>
                <a:ext cx="200" cy="385"/>
                <a:chOff x="12191" y="-1278"/>
                <a:chExt cx="200" cy="385"/>
              </a:xfrm>
            </p:grpSpPr>
            <p:sp>
              <p:nvSpPr>
                <p:cNvPr id="181" name="Freeform 54"/>
                <p:cNvSpPr>
                  <a:spLocks/>
                </p:cNvSpPr>
                <p:nvPr/>
              </p:nvSpPr>
              <p:spPr bwMode="auto">
                <a:xfrm>
                  <a:off x="12191" y="-1278"/>
                  <a:ext cx="200" cy="38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00" y="193"/>
                    </a:cxn>
                    <a:cxn ang="0">
                      <a:pos x="0" y="386"/>
                    </a:cxn>
                  </a:cxnLst>
                  <a:rect l="0" t="0" r="r" b="b"/>
                  <a:pathLst>
                    <a:path w="200" h="385">
                      <a:moveTo>
                        <a:pt x="0" y="0"/>
                      </a:moveTo>
                      <a:lnTo>
                        <a:pt x="200" y="193"/>
                      </a:lnTo>
                      <a:lnTo>
                        <a:pt x="0" y="386"/>
                      </a:lnTo>
                    </a:path>
                  </a:pathLst>
                </a:custGeom>
                <a:noFill/>
                <a:ln w="19050">
                  <a:solidFill>
                    <a:schemeClr val="accent5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</p:grpSp>
        <p:grpSp>
          <p:nvGrpSpPr>
            <p:cNvPr id="169" name="Group 55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1135966" y="3578012"/>
              <a:ext cx="319918" cy="211057"/>
              <a:chOff x="12535" y="-1323"/>
              <a:chExt cx="720" cy="475"/>
            </a:xfrm>
          </p:grpSpPr>
          <p:grpSp>
            <p:nvGrpSpPr>
              <p:cNvPr id="175" name="Group 56"/>
              <p:cNvGrpSpPr>
                <a:grpSpLocks/>
              </p:cNvGrpSpPr>
              <p:nvPr/>
            </p:nvGrpSpPr>
            <p:grpSpPr bwMode="auto">
              <a:xfrm>
                <a:off x="12580" y="-1085"/>
                <a:ext cx="400" cy="2"/>
                <a:chOff x="12580" y="-1085"/>
                <a:chExt cx="400" cy="2"/>
              </a:xfrm>
            </p:grpSpPr>
            <p:sp>
              <p:nvSpPr>
                <p:cNvPr id="178" name="Freeform 57"/>
                <p:cNvSpPr>
                  <a:spLocks/>
                </p:cNvSpPr>
                <p:nvPr/>
              </p:nvSpPr>
              <p:spPr bwMode="auto">
                <a:xfrm>
                  <a:off x="12580" y="-1085"/>
                  <a:ext cx="400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01" y="0"/>
                    </a:cxn>
                  </a:cxnLst>
                  <a:rect l="0" t="0" r="r" b="b"/>
                  <a:pathLst>
                    <a:path w="400">
                      <a:moveTo>
                        <a:pt x="0" y="0"/>
                      </a:moveTo>
                      <a:lnTo>
                        <a:pt x="401" y="0"/>
                      </a:lnTo>
                    </a:path>
                  </a:pathLst>
                </a:custGeom>
                <a:noFill/>
                <a:ln w="19050">
                  <a:solidFill>
                    <a:schemeClr val="accent5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grpSp>
            <p:nvGrpSpPr>
              <p:cNvPr id="176" name="Group 58"/>
              <p:cNvGrpSpPr>
                <a:grpSpLocks/>
              </p:cNvGrpSpPr>
              <p:nvPr/>
            </p:nvGrpSpPr>
            <p:grpSpPr bwMode="auto">
              <a:xfrm>
                <a:off x="13010" y="-1278"/>
                <a:ext cx="200" cy="385"/>
                <a:chOff x="13010" y="-1278"/>
                <a:chExt cx="200" cy="385"/>
              </a:xfrm>
            </p:grpSpPr>
            <p:sp>
              <p:nvSpPr>
                <p:cNvPr id="177" name="Freeform 59"/>
                <p:cNvSpPr>
                  <a:spLocks/>
                </p:cNvSpPr>
                <p:nvPr/>
              </p:nvSpPr>
              <p:spPr bwMode="auto">
                <a:xfrm>
                  <a:off x="13010" y="-1278"/>
                  <a:ext cx="200" cy="38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00" y="193"/>
                    </a:cxn>
                    <a:cxn ang="0">
                      <a:pos x="0" y="386"/>
                    </a:cxn>
                  </a:cxnLst>
                  <a:rect l="0" t="0" r="r" b="b"/>
                  <a:pathLst>
                    <a:path w="200" h="385">
                      <a:moveTo>
                        <a:pt x="0" y="0"/>
                      </a:moveTo>
                      <a:lnTo>
                        <a:pt x="200" y="193"/>
                      </a:lnTo>
                      <a:lnTo>
                        <a:pt x="0" y="386"/>
                      </a:lnTo>
                    </a:path>
                  </a:pathLst>
                </a:custGeom>
                <a:noFill/>
                <a:ln w="19050">
                  <a:solidFill>
                    <a:schemeClr val="accent5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</p:grpSp>
        <p:grpSp>
          <p:nvGrpSpPr>
            <p:cNvPr id="170" name="Group 60"/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942681" y="3762410"/>
              <a:ext cx="319918" cy="211057"/>
              <a:chOff x="12099" y="-908"/>
              <a:chExt cx="720" cy="475"/>
            </a:xfrm>
          </p:grpSpPr>
          <p:grpSp>
            <p:nvGrpSpPr>
              <p:cNvPr id="171" name="Group 61"/>
              <p:cNvGrpSpPr>
                <a:grpSpLocks/>
              </p:cNvGrpSpPr>
              <p:nvPr/>
            </p:nvGrpSpPr>
            <p:grpSpPr bwMode="auto">
              <a:xfrm>
                <a:off x="12144" y="-670"/>
                <a:ext cx="400" cy="2"/>
                <a:chOff x="12144" y="-670"/>
                <a:chExt cx="400" cy="2"/>
              </a:xfrm>
            </p:grpSpPr>
            <p:sp>
              <p:nvSpPr>
                <p:cNvPr id="174" name="Freeform 62"/>
                <p:cNvSpPr>
                  <a:spLocks/>
                </p:cNvSpPr>
                <p:nvPr/>
              </p:nvSpPr>
              <p:spPr bwMode="auto">
                <a:xfrm>
                  <a:off x="12144" y="-670"/>
                  <a:ext cx="400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00" y="0"/>
                    </a:cxn>
                  </a:cxnLst>
                  <a:rect l="0" t="0" r="r" b="b"/>
                  <a:pathLst>
                    <a:path w="400">
                      <a:moveTo>
                        <a:pt x="0" y="0"/>
                      </a:moveTo>
                      <a:lnTo>
                        <a:pt x="400" y="0"/>
                      </a:lnTo>
                    </a:path>
                  </a:pathLst>
                </a:custGeom>
                <a:noFill/>
                <a:ln w="19050">
                  <a:solidFill>
                    <a:schemeClr val="accent5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grpSp>
            <p:nvGrpSpPr>
              <p:cNvPr id="172" name="Group 63"/>
              <p:cNvGrpSpPr>
                <a:grpSpLocks/>
              </p:cNvGrpSpPr>
              <p:nvPr/>
            </p:nvGrpSpPr>
            <p:grpSpPr bwMode="auto">
              <a:xfrm>
                <a:off x="12574" y="-863"/>
                <a:ext cx="200" cy="385"/>
                <a:chOff x="12574" y="-863"/>
                <a:chExt cx="200" cy="385"/>
              </a:xfrm>
            </p:grpSpPr>
            <p:sp>
              <p:nvSpPr>
                <p:cNvPr id="173" name="Freeform 64"/>
                <p:cNvSpPr>
                  <a:spLocks/>
                </p:cNvSpPr>
                <p:nvPr/>
              </p:nvSpPr>
              <p:spPr bwMode="auto">
                <a:xfrm>
                  <a:off x="12574" y="-863"/>
                  <a:ext cx="200" cy="38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00" y="193"/>
                    </a:cxn>
                    <a:cxn ang="0">
                      <a:pos x="0" y="386"/>
                    </a:cxn>
                  </a:cxnLst>
                  <a:rect l="0" t="0" r="r" b="b"/>
                  <a:pathLst>
                    <a:path w="200" h="385">
                      <a:moveTo>
                        <a:pt x="0" y="0"/>
                      </a:moveTo>
                      <a:lnTo>
                        <a:pt x="200" y="193"/>
                      </a:lnTo>
                      <a:lnTo>
                        <a:pt x="0" y="386"/>
                      </a:lnTo>
                    </a:path>
                  </a:pathLst>
                </a:custGeom>
                <a:noFill/>
                <a:ln w="19050">
                  <a:solidFill>
                    <a:schemeClr val="accent5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</p:grpSp>
      </p:grpSp>
      <p:grpSp>
        <p:nvGrpSpPr>
          <p:cNvPr id="187" name="Groupe 186"/>
          <p:cNvGrpSpPr/>
          <p:nvPr/>
        </p:nvGrpSpPr>
        <p:grpSpPr>
          <a:xfrm>
            <a:off x="970879" y="5080495"/>
            <a:ext cx="619798" cy="525218"/>
            <a:chOff x="771614" y="3393615"/>
            <a:chExt cx="684270" cy="579852"/>
          </a:xfrm>
        </p:grpSpPr>
        <p:grpSp>
          <p:nvGrpSpPr>
            <p:cNvPr id="188" name="Group 45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auto">
            <a:xfrm>
              <a:off x="942681" y="3393615"/>
              <a:ext cx="319918" cy="211057"/>
              <a:chOff x="12099" y="1177"/>
              <a:chExt cx="720" cy="475"/>
            </a:xfrm>
          </p:grpSpPr>
          <p:grpSp>
            <p:nvGrpSpPr>
              <p:cNvPr id="204" name="Group 46"/>
              <p:cNvGrpSpPr>
                <a:grpSpLocks/>
              </p:cNvGrpSpPr>
              <p:nvPr/>
            </p:nvGrpSpPr>
            <p:grpSpPr bwMode="auto">
              <a:xfrm>
                <a:off x="12144" y="1415"/>
                <a:ext cx="400" cy="2"/>
                <a:chOff x="12144" y="1415"/>
                <a:chExt cx="400" cy="2"/>
              </a:xfrm>
            </p:grpSpPr>
            <p:sp>
              <p:nvSpPr>
                <p:cNvPr id="207" name="Freeform 47"/>
                <p:cNvSpPr>
                  <a:spLocks/>
                </p:cNvSpPr>
                <p:nvPr/>
              </p:nvSpPr>
              <p:spPr bwMode="auto">
                <a:xfrm>
                  <a:off x="12144" y="1415"/>
                  <a:ext cx="400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00" y="0"/>
                    </a:cxn>
                  </a:cxnLst>
                  <a:rect l="0" t="0" r="r" b="b"/>
                  <a:pathLst>
                    <a:path w="400">
                      <a:moveTo>
                        <a:pt x="0" y="0"/>
                      </a:moveTo>
                      <a:lnTo>
                        <a:pt x="400" y="0"/>
                      </a:lnTo>
                    </a:path>
                  </a:pathLst>
                </a:custGeom>
                <a:noFill/>
                <a:ln w="190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grpSp>
            <p:nvGrpSpPr>
              <p:cNvPr id="205" name="Group 48"/>
              <p:cNvGrpSpPr>
                <a:grpSpLocks/>
              </p:cNvGrpSpPr>
              <p:nvPr/>
            </p:nvGrpSpPr>
            <p:grpSpPr bwMode="auto">
              <a:xfrm>
                <a:off x="12574" y="1222"/>
                <a:ext cx="200" cy="385"/>
                <a:chOff x="12574" y="1222"/>
                <a:chExt cx="200" cy="385"/>
              </a:xfrm>
            </p:grpSpPr>
            <p:sp>
              <p:nvSpPr>
                <p:cNvPr id="206" name="Freeform 49"/>
                <p:cNvSpPr>
                  <a:spLocks/>
                </p:cNvSpPr>
                <p:nvPr/>
              </p:nvSpPr>
              <p:spPr bwMode="auto">
                <a:xfrm>
                  <a:off x="12574" y="1222"/>
                  <a:ext cx="200" cy="38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00" y="193"/>
                    </a:cxn>
                    <a:cxn ang="0">
                      <a:pos x="0" y="385"/>
                    </a:cxn>
                  </a:cxnLst>
                  <a:rect l="0" t="0" r="r" b="b"/>
                  <a:pathLst>
                    <a:path w="200" h="385">
                      <a:moveTo>
                        <a:pt x="0" y="0"/>
                      </a:moveTo>
                      <a:lnTo>
                        <a:pt x="200" y="193"/>
                      </a:lnTo>
                      <a:lnTo>
                        <a:pt x="0" y="385"/>
                      </a:lnTo>
                    </a:path>
                  </a:pathLst>
                </a:custGeom>
                <a:noFill/>
                <a:ln w="190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</p:grpSp>
        <p:grpSp>
          <p:nvGrpSpPr>
            <p:cNvPr id="189" name="Group 50"/>
            <p:cNvGrpSpPr>
              <a:grpSpLocks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1614" y="3578012"/>
              <a:ext cx="319918" cy="211057"/>
              <a:chOff x="11716" y="-1323"/>
              <a:chExt cx="720" cy="475"/>
            </a:xfrm>
          </p:grpSpPr>
          <p:grpSp>
            <p:nvGrpSpPr>
              <p:cNvPr id="200" name="Group 51"/>
              <p:cNvGrpSpPr>
                <a:grpSpLocks/>
              </p:cNvGrpSpPr>
              <p:nvPr/>
            </p:nvGrpSpPr>
            <p:grpSpPr bwMode="auto">
              <a:xfrm>
                <a:off x="11761" y="-1085"/>
                <a:ext cx="400" cy="2"/>
                <a:chOff x="11761" y="-1085"/>
                <a:chExt cx="400" cy="2"/>
              </a:xfrm>
            </p:grpSpPr>
            <p:sp>
              <p:nvSpPr>
                <p:cNvPr id="203" name="Freeform 52"/>
                <p:cNvSpPr>
                  <a:spLocks/>
                </p:cNvSpPr>
                <p:nvPr/>
              </p:nvSpPr>
              <p:spPr bwMode="auto">
                <a:xfrm>
                  <a:off x="11761" y="-1085"/>
                  <a:ext cx="400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00" y="0"/>
                    </a:cxn>
                  </a:cxnLst>
                  <a:rect l="0" t="0" r="r" b="b"/>
                  <a:pathLst>
                    <a:path w="400">
                      <a:moveTo>
                        <a:pt x="0" y="0"/>
                      </a:moveTo>
                      <a:lnTo>
                        <a:pt x="400" y="0"/>
                      </a:lnTo>
                    </a:path>
                  </a:pathLst>
                </a:custGeom>
                <a:noFill/>
                <a:ln w="190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grpSp>
            <p:nvGrpSpPr>
              <p:cNvPr id="201" name="Group 53"/>
              <p:cNvGrpSpPr>
                <a:grpSpLocks/>
              </p:cNvGrpSpPr>
              <p:nvPr/>
            </p:nvGrpSpPr>
            <p:grpSpPr bwMode="auto">
              <a:xfrm>
                <a:off x="12191" y="-1278"/>
                <a:ext cx="200" cy="385"/>
                <a:chOff x="12191" y="-1278"/>
                <a:chExt cx="200" cy="385"/>
              </a:xfrm>
            </p:grpSpPr>
            <p:sp>
              <p:nvSpPr>
                <p:cNvPr id="202" name="Freeform 54"/>
                <p:cNvSpPr>
                  <a:spLocks/>
                </p:cNvSpPr>
                <p:nvPr/>
              </p:nvSpPr>
              <p:spPr bwMode="auto">
                <a:xfrm>
                  <a:off x="12191" y="-1278"/>
                  <a:ext cx="200" cy="38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00" y="193"/>
                    </a:cxn>
                    <a:cxn ang="0">
                      <a:pos x="0" y="386"/>
                    </a:cxn>
                  </a:cxnLst>
                  <a:rect l="0" t="0" r="r" b="b"/>
                  <a:pathLst>
                    <a:path w="200" h="385">
                      <a:moveTo>
                        <a:pt x="0" y="0"/>
                      </a:moveTo>
                      <a:lnTo>
                        <a:pt x="200" y="193"/>
                      </a:lnTo>
                      <a:lnTo>
                        <a:pt x="0" y="386"/>
                      </a:lnTo>
                    </a:path>
                  </a:pathLst>
                </a:custGeom>
                <a:noFill/>
                <a:ln w="190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</p:grpSp>
        <p:grpSp>
          <p:nvGrpSpPr>
            <p:cNvPr id="190" name="Group 55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auto">
            <a:xfrm>
              <a:off x="1135966" y="3578012"/>
              <a:ext cx="319918" cy="211057"/>
              <a:chOff x="12535" y="-1323"/>
              <a:chExt cx="720" cy="475"/>
            </a:xfrm>
          </p:grpSpPr>
          <p:grpSp>
            <p:nvGrpSpPr>
              <p:cNvPr id="196" name="Group 56"/>
              <p:cNvGrpSpPr>
                <a:grpSpLocks/>
              </p:cNvGrpSpPr>
              <p:nvPr/>
            </p:nvGrpSpPr>
            <p:grpSpPr bwMode="auto">
              <a:xfrm>
                <a:off x="12580" y="-1085"/>
                <a:ext cx="400" cy="2"/>
                <a:chOff x="12580" y="-1085"/>
                <a:chExt cx="400" cy="2"/>
              </a:xfrm>
            </p:grpSpPr>
            <p:sp>
              <p:nvSpPr>
                <p:cNvPr id="199" name="Freeform 57"/>
                <p:cNvSpPr>
                  <a:spLocks/>
                </p:cNvSpPr>
                <p:nvPr/>
              </p:nvSpPr>
              <p:spPr bwMode="auto">
                <a:xfrm>
                  <a:off x="12580" y="-1085"/>
                  <a:ext cx="400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01" y="0"/>
                    </a:cxn>
                  </a:cxnLst>
                  <a:rect l="0" t="0" r="r" b="b"/>
                  <a:pathLst>
                    <a:path w="400">
                      <a:moveTo>
                        <a:pt x="0" y="0"/>
                      </a:moveTo>
                      <a:lnTo>
                        <a:pt x="401" y="0"/>
                      </a:lnTo>
                    </a:path>
                  </a:pathLst>
                </a:custGeom>
                <a:noFill/>
                <a:ln w="190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grpSp>
            <p:nvGrpSpPr>
              <p:cNvPr id="197" name="Group 58"/>
              <p:cNvGrpSpPr>
                <a:grpSpLocks/>
              </p:cNvGrpSpPr>
              <p:nvPr/>
            </p:nvGrpSpPr>
            <p:grpSpPr bwMode="auto">
              <a:xfrm>
                <a:off x="13010" y="-1278"/>
                <a:ext cx="200" cy="385"/>
                <a:chOff x="13010" y="-1278"/>
                <a:chExt cx="200" cy="385"/>
              </a:xfrm>
            </p:grpSpPr>
            <p:sp>
              <p:nvSpPr>
                <p:cNvPr id="198" name="Freeform 59"/>
                <p:cNvSpPr>
                  <a:spLocks/>
                </p:cNvSpPr>
                <p:nvPr/>
              </p:nvSpPr>
              <p:spPr bwMode="auto">
                <a:xfrm>
                  <a:off x="13010" y="-1278"/>
                  <a:ext cx="200" cy="38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00" y="193"/>
                    </a:cxn>
                    <a:cxn ang="0">
                      <a:pos x="0" y="386"/>
                    </a:cxn>
                  </a:cxnLst>
                  <a:rect l="0" t="0" r="r" b="b"/>
                  <a:pathLst>
                    <a:path w="200" h="385">
                      <a:moveTo>
                        <a:pt x="0" y="0"/>
                      </a:moveTo>
                      <a:lnTo>
                        <a:pt x="200" y="193"/>
                      </a:lnTo>
                      <a:lnTo>
                        <a:pt x="0" y="386"/>
                      </a:lnTo>
                    </a:path>
                  </a:pathLst>
                </a:custGeom>
                <a:noFill/>
                <a:ln w="190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</p:grpSp>
        <p:grpSp>
          <p:nvGrpSpPr>
            <p:cNvPr id="191" name="Group 60"/>
            <p:cNvGrpSpPr>
              <a:grpSpLocks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942681" y="3762410"/>
              <a:ext cx="319918" cy="211057"/>
              <a:chOff x="12099" y="-908"/>
              <a:chExt cx="720" cy="475"/>
            </a:xfrm>
          </p:grpSpPr>
          <p:grpSp>
            <p:nvGrpSpPr>
              <p:cNvPr id="192" name="Group 61"/>
              <p:cNvGrpSpPr>
                <a:grpSpLocks/>
              </p:cNvGrpSpPr>
              <p:nvPr/>
            </p:nvGrpSpPr>
            <p:grpSpPr bwMode="auto">
              <a:xfrm>
                <a:off x="12144" y="-670"/>
                <a:ext cx="400" cy="2"/>
                <a:chOff x="12144" y="-670"/>
                <a:chExt cx="400" cy="2"/>
              </a:xfrm>
            </p:grpSpPr>
            <p:sp>
              <p:nvSpPr>
                <p:cNvPr id="195" name="Freeform 62"/>
                <p:cNvSpPr>
                  <a:spLocks/>
                </p:cNvSpPr>
                <p:nvPr/>
              </p:nvSpPr>
              <p:spPr bwMode="auto">
                <a:xfrm>
                  <a:off x="12144" y="-670"/>
                  <a:ext cx="400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00" y="0"/>
                    </a:cxn>
                  </a:cxnLst>
                  <a:rect l="0" t="0" r="r" b="b"/>
                  <a:pathLst>
                    <a:path w="400">
                      <a:moveTo>
                        <a:pt x="0" y="0"/>
                      </a:moveTo>
                      <a:lnTo>
                        <a:pt x="400" y="0"/>
                      </a:lnTo>
                    </a:path>
                  </a:pathLst>
                </a:custGeom>
                <a:noFill/>
                <a:ln w="190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grpSp>
            <p:nvGrpSpPr>
              <p:cNvPr id="193" name="Group 63"/>
              <p:cNvGrpSpPr>
                <a:grpSpLocks/>
              </p:cNvGrpSpPr>
              <p:nvPr/>
            </p:nvGrpSpPr>
            <p:grpSpPr bwMode="auto">
              <a:xfrm>
                <a:off x="12574" y="-863"/>
                <a:ext cx="200" cy="385"/>
                <a:chOff x="12574" y="-863"/>
                <a:chExt cx="200" cy="385"/>
              </a:xfrm>
            </p:grpSpPr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12574" y="-863"/>
                  <a:ext cx="200" cy="38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00" y="193"/>
                    </a:cxn>
                    <a:cxn ang="0">
                      <a:pos x="0" y="386"/>
                    </a:cxn>
                  </a:cxnLst>
                  <a:rect l="0" t="0" r="r" b="b"/>
                  <a:pathLst>
                    <a:path w="200" h="385">
                      <a:moveTo>
                        <a:pt x="0" y="0"/>
                      </a:moveTo>
                      <a:lnTo>
                        <a:pt x="200" y="193"/>
                      </a:lnTo>
                      <a:lnTo>
                        <a:pt x="0" y="386"/>
                      </a:lnTo>
                    </a:path>
                  </a:pathLst>
                </a:custGeom>
                <a:noFill/>
                <a:ln w="190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</p:grpSp>
      </p:grpSp>
      <p:grpSp>
        <p:nvGrpSpPr>
          <p:cNvPr id="208" name="Groupe 207"/>
          <p:cNvGrpSpPr/>
          <p:nvPr/>
        </p:nvGrpSpPr>
        <p:grpSpPr>
          <a:xfrm>
            <a:off x="228600" y="1578443"/>
            <a:ext cx="364854" cy="1931011"/>
            <a:chOff x="43541" y="1333501"/>
            <a:chExt cx="364854" cy="4980214"/>
          </a:xfrm>
        </p:grpSpPr>
        <p:sp>
          <p:nvSpPr>
            <p:cNvPr id="209" name="AutoShape 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 rot="16200000" flipV="1">
              <a:off x="-2040757" y="3725227"/>
              <a:ext cx="4662237" cy="236067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000000">
                    <a:lumMod val="71000"/>
                    <a:lumOff val="29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/>
          </p:spPr>
          <p:txBody>
            <a:bodyPr lIns="71997" tIns="71997" rIns="71997" bIns="71997" anchor="ctr"/>
            <a:lstStyle/>
            <a:p>
              <a:pPr marL="0" marR="0" lvl="0" indent="0" defTabSz="91122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 smtClean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</a:endParaRPr>
            </a:p>
          </p:txBody>
        </p:sp>
        <p:sp>
          <p:nvSpPr>
            <p:cNvPr id="210" name="Rectangle 209"/>
            <p:cNvSpPr/>
            <p:nvPr/>
          </p:nvSpPr>
          <p:spPr>
            <a:xfrm>
              <a:off x="43541" y="1333501"/>
              <a:ext cx="277782" cy="498021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211" name="Groupe 210"/>
          <p:cNvGrpSpPr/>
          <p:nvPr/>
        </p:nvGrpSpPr>
        <p:grpSpPr>
          <a:xfrm>
            <a:off x="228600" y="3875797"/>
            <a:ext cx="364854" cy="1931011"/>
            <a:chOff x="43541" y="1333501"/>
            <a:chExt cx="364854" cy="4980214"/>
          </a:xfrm>
        </p:grpSpPr>
        <p:sp>
          <p:nvSpPr>
            <p:cNvPr id="212" name="AutoShape 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 rot="16200000" flipV="1">
              <a:off x="-2040757" y="3725227"/>
              <a:ext cx="4662237" cy="236067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000000">
                    <a:lumMod val="71000"/>
                    <a:lumOff val="29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/>
          </p:spPr>
          <p:txBody>
            <a:bodyPr lIns="71997" tIns="71997" rIns="71997" bIns="71997" anchor="ctr"/>
            <a:lstStyle/>
            <a:p>
              <a:pPr marL="0" marR="0" lvl="0" indent="0" defTabSz="91122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 smtClean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</a:endParaRPr>
            </a:p>
          </p:txBody>
        </p:sp>
        <p:sp>
          <p:nvSpPr>
            <p:cNvPr id="213" name="Rectangle 212"/>
            <p:cNvSpPr/>
            <p:nvPr/>
          </p:nvSpPr>
          <p:spPr>
            <a:xfrm>
              <a:off x="43541" y="1333501"/>
              <a:ext cx="277782" cy="498021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214" name="Groupe 213"/>
          <p:cNvGrpSpPr/>
          <p:nvPr/>
        </p:nvGrpSpPr>
        <p:grpSpPr>
          <a:xfrm flipH="1">
            <a:off x="9453357" y="1578443"/>
            <a:ext cx="364854" cy="1931011"/>
            <a:chOff x="43541" y="1333501"/>
            <a:chExt cx="364854" cy="4980214"/>
          </a:xfrm>
        </p:grpSpPr>
        <p:sp>
          <p:nvSpPr>
            <p:cNvPr id="215" name="AutoShape 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 rot="16200000" flipV="1">
              <a:off x="-2040757" y="3725227"/>
              <a:ext cx="4662237" cy="236067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000000">
                    <a:lumMod val="71000"/>
                    <a:lumOff val="29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/>
          </p:spPr>
          <p:txBody>
            <a:bodyPr lIns="71997" tIns="71997" rIns="71997" bIns="71997" anchor="ctr"/>
            <a:lstStyle/>
            <a:p>
              <a:pPr marL="0" marR="0" lvl="0" indent="0" defTabSz="91122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 smtClean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</a:endParaRPr>
            </a:p>
          </p:txBody>
        </p:sp>
        <p:sp>
          <p:nvSpPr>
            <p:cNvPr id="216" name="Rectangle 215"/>
            <p:cNvSpPr/>
            <p:nvPr/>
          </p:nvSpPr>
          <p:spPr>
            <a:xfrm>
              <a:off x="43541" y="1333501"/>
              <a:ext cx="277782" cy="498021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217" name="Groupe 216"/>
          <p:cNvGrpSpPr/>
          <p:nvPr/>
        </p:nvGrpSpPr>
        <p:grpSpPr>
          <a:xfrm flipH="1">
            <a:off x="9453357" y="3875797"/>
            <a:ext cx="364854" cy="1931011"/>
            <a:chOff x="43541" y="1333501"/>
            <a:chExt cx="364854" cy="4980214"/>
          </a:xfrm>
        </p:grpSpPr>
        <p:sp>
          <p:nvSpPr>
            <p:cNvPr id="218" name="AutoShape 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 rot="16200000" flipV="1">
              <a:off x="-2040757" y="3725227"/>
              <a:ext cx="4662237" cy="236067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000000">
                    <a:lumMod val="71000"/>
                    <a:lumOff val="29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/>
          </p:spPr>
          <p:txBody>
            <a:bodyPr lIns="71997" tIns="71997" rIns="71997" bIns="71997" anchor="ctr"/>
            <a:lstStyle/>
            <a:p>
              <a:pPr marL="0" marR="0" lvl="0" indent="0" defTabSz="91122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 smtClean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</a:endParaRPr>
            </a:p>
          </p:txBody>
        </p:sp>
        <p:sp>
          <p:nvSpPr>
            <p:cNvPr id="219" name="Rectangle 218"/>
            <p:cNvSpPr/>
            <p:nvPr/>
          </p:nvSpPr>
          <p:spPr>
            <a:xfrm>
              <a:off x="43541" y="1333501"/>
              <a:ext cx="277782" cy="498021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pic>
        <p:nvPicPr>
          <p:cNvPr id="220" name="Picture 3" descr="C:\Users\jfenyo\AppData\Local\Microsoft\Windows\Temporary Internet Files\Content.Outlook\5VEB9492\pictogramme adm (2).png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975658" y="3922367"/>
            <a:ext cx="610240" cy="200926"/>
          </a:xfrm>
          <a:prstGeom prst="rect">
            <a:avLst/>
          </a:prstGeom>
          <a:noFill/>
        </p:spPr>
      </p:pic>
      <p:pic>
        <p:nvPicPr>
          <p:cNvPr id="221" name="Picture 3" descr="C:\Users\jfenyo\AppData\Local\Microsoft\Windows\Temporary Internet Files\Content.Outlook\5VEB9492\pictogramme adm (2).png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2277408" y="1930372"/>
            <a:ext cx="273804" cy="90152"/>
          </a:xfrm>
          <a:prstGeom prst="rect">
            <a:avLst/>
          </a:prstGeom>
          <a:noFill/>
        </p:spPr>
      </p:pic>
      <p:pic>
        <p:nvPicPr>
          <p:cNvPr id="222" name="Picture 3" descr="C:\Users\jfenyo\AppData\Local\Microsoft\Windows\Temporary Internet Files\Content.Outlook\5VEB9492\pictogramme adm (2).png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4080808" y="1930372"/>
            <a:ext cx="273804" cy="90152"/>
          </a:xfrm>
          <a:prstGeom prst="rect">
            <a:avLst/>
          </a:prstGeom>
          <a:noFill/>
        </p:spPr>
      </p:pic>
      <p:pic>
        <p:nvPicPr>
          <p:cNvPr id="223" name="Picture 3" descr="C:\Users\jfenyo\AppData\Local\Microsoft\Windows\Temporary Internet Files\Content.Outlook\5VEB9492\pictogramme adm (2).png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5884208" y="1930372"/>
            <a:ext cx="273804" cy="90152"/>
          </a:xfrm>
          <a:prstGeom prst="rect">
            <a:avLst/>
          </a:prstGeom>
          <a:noFill/>
        </p:spPr>
      </p:pic>
      <p:pic>
        <p:nvPicPr>
          <p:cNvPr id="224" name="Picture 3" descr="C:\Users\jfenyo\AppData\Local\Microsoft\Windows\Temporary Internet Files\Content.Outlook\5VEB9492\pictogramme adm (2).png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695228" y="1930372"/>
            <a:ext cx="273804" cy="90152"/>
          </a:xfrm>
          <a:prstGeom prst="rect">
            <a:avLst/>
          </a:prstGeom>
          <a:noFill/>
        </p:spPr>
      </p:pic>
      <p:pic>
        <p:nvPicPr>
          <p:cNvPr id="225" name="Picture 3" descr="C:\Users\jfenyo\AppData\Local\Microsoft\Windows\Temporary Internet Files\Content.Outlook\5VEB9492\pictogramme adm (2).png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2269788" y="4376710"/>
            <a:ext cx="273804" cy="90152"/>
          </a:xfrm>
          <a:prstGeom prst="rect">
            <a:avLst/>
          </a:prstGeom>
          <a:noFill/>
        </p:spPr>
      </p:pic>
      <p:pic>
        <p:nvPicPr>
          <p:cNvPr id="226" name="Picture 47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7963548" y="4642118"/>
            <a:ext cx="1383665" cy="1021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7" name="ZoneTexte 226"/>
          <p:cNvSpPr txBox="1"/>
          <p:nvPr/>
        </p:nvSpPr>
        <p:spPr>
          <a:xfrm>
            <a:off x="7601129" y="5456067"/>
            <a:ext cx="862629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0" dirty="0" smtClean="0">
                <a:solidFill>
                  <a:sysClr val="windowText" lastClr="000000"/>
                </a:solidFill>
              </a:rPr>
              <a:t>PTC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assault</a:t>
            </a: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GB" sz="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ystèmes</a:t>
            </a:r>
            <a:endParaRPr kumimoji="0" lang="en-GB" sz="6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0" dirty="0" smtClean="0">
                <a:solidFill>
                  <a:sysClr val="windowText" lastClr="000000"/>
                </a:solidFill>
              </a:rPr>
              <a:t>Siemens</a:t>
            </a:r>
            <a:endParaRPr kumimoji="0" lang="en-GB" sz="6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28" name="ZoneTexte 227"/>
          <p:cNvSpPr txBox="1"/>
          <p:nvPr/>
        </p:nvSpPr>
        <p:spPr>
          <a:xfrm>
            <a:off x="8899241" y="5363734"/>
            <a:ext cx="540048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PRISO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spentech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OSIsoft</a:t>
            </a:r>
            <a:b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GB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Historian</a:t>
            </a:r>
          </a:p>
        </p:txBody>
      </p:sp>
      <p:grpSp>
        <p:nvGrpSpPr>
          <p:cNvPr id="253" name="Groupe 252"/>
          <p:cNvGrpSpPr/>
          <p:nvPr/>
        </p:nvGrpSpPr>
        <p:grpSpPr>
          <a:xfrm>
            <a:off x="9144000" y="73921"/>
            <a:ext cx="467994" cy="840479"/>
            <a:chOff x="6096141" y="1400737"/>
            <a:chExt cx="466725" cy="838200"/>
          </a:xfrm>
        </p:grpSpPr>
        <p:sp>
          <p:nvSpPr>
            <p:cNvPr id="254" name="Freeform 43"/>
            <p:cNvSpPr>
              <a:spLocks/>
            </p:cNvSpPr>
            <p:nvPr/>
          </p:nvSpPr>
          <p:spPr bwMode="auto">
            <a:xfrm>
              <a:off x="6096141" y="1854762"/>
              <a:ext cx="55563" cy="214313"/>
            </a:xfrm>
            <a:custGeom>
              <a:avLst/>
              <a:gdLst>
                <a:gd name="T0" fmla="*/ 23 w 23"/>
                <a:gd name="T1" fmla="*/ 0 h 89"/>
                <a:gd name="T2" fmla="*/ 0 w 23"/>
                <a:gd name="T3" fmla="*/ 63 h 89"/>
                <a:gd name="T4" fmla="*/ 4 w 23"/>
                <a:gd name="T5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89">
                  <a:moveTo>
                    <a:pt x="23" y="0"/>
                  </a:moveTo>
                  <a:cubicBezTo>
                    <a:pt x="9" y="17"/>
                    <a:pt x="0" y="39"/>
                    <a:pt x="0" y="63"/>
                  </a:cubicBezTo>
                  <a:cubicBezTo>
                    <a:pt x="0" y="72"/>
                    <a:pt x="1" y="81"/>
                    <a:pt x="4" y="89"/>
                  </a:cubicBezTo>
                </a:path>
              </a:pathLst>
            </a:custGeom>
            <a:noFill/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5" name="Freeform 44"/>
            <p:cNvSpPr>
              <a:spLocks/>
            </p:cNvSpPr>
            <p:nvPr/>
          </p:nvSpPr>
          <p:spPr bwMode="auto">
            <a:xfrm>
              <a:off x="6151703" y="1773799"/>
              <a:ext cx="355600" cy="80963"/>
            </a:xfrm>
            <a:custGeom>
              <a:avLst/>
              <a:gdLst>
                <a:gd name="T0" fmla="*/ 0 w 148"/>
                <a:gd name="T1" fmla="*/ 34 h 34"/>
                <a:gd name="T2" fmla="*/ 74 w 148"/>
                <a:gd name="T3" fmla="*/ 0 h 34"/>
                <a:gd name="T4" fmla="*/ 148 w 148"/>
                <a:gd name="T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8" h="34">
                  <a:moveTo>
                    <a:pt x="0" y="34"/>
                  </a:moveTo>
                  <a:cubicBezTo>
                    <a:pt x="18" y="13"/>
                    <a:pt x="44" y="0"/>
                    <a:pt x="74" y="0"/>
                  </a:cubicBezTo>
                  <a:cubicBezTo>
                    <a:pt x="104" y="0"/>
                    <a:pt x="130" y="13"/>
                    <a:pt x="148" y="34"/>
                  </a:cubicBezTo>
                </a:path>
              </a:pathLst>
            </a:custGeom>
            <a:noFill/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6" name="Freeform 45"/>
            <p:cNvSpPr>
              <a:spLocks/>
            </p:cNvSpPr>
            <p:nvPr/>
          </p:nvSpPr>
          <p:spPr bwMode="auto">
            <a:xfrm>
              <a:off x="6461266" y="1854762"/>
              <a:ext cx="46038" cy="22225"/>
            </a:xfrm>
            <a:custGeom>
              <a:avLst/>
              <a:gdLst>
                <a:gd name="T0" fmla="*/ 0 w 19"/>
                <a:gd name="T1" fmla="*/ 9 h 9"/>
                <a:gd name="T2" fmla="*/ 19 w 19"/>
                <a:gd name="T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9" h="9">
                  <a:moveTo>
                    <a:pt x="0" y="9"/>
                  </a:moveTo>
                  <a:cubicBezTo>
                    <a:pt x="7" y="6"/>
                    <a:pt x="13" y="4"/>
                    <a:pt x="19" y="0"/>
                  </a:cubicBezTo>
                </a:path>
              </a:pathLst>
            </a:custGeom>
            <a:noFill/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7" name="Freeform 46"/>
            <p:cNvSpPr>
              <a:spLocks/>
            </p:cNvSpPr>
            <p:nvPr/>
          </p:nvSpPr>
          <p:spPr bwMode="auto">
            <a:xfrm>
              <a:off x="6151703" y="1854762"/>
              <a:ext cx="107950" cy="36513"/>
            </a:xfrm>
            <a:custGeom>
              <a:avLst/>
              <a:gdLst>
                <a:gd name="T0" fmla="*/ 0 w 45"/>
                <a:gd name="T1" fmla="*/ 0 h 15"/>
                <a:gd name="T2" fmla="*/ 45 w 45"/>
                <a:gd name="T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5" h="15">
                  <a:moveTo>
                    <a:pt x="0" y="0"/>
                  </a:moveTo>
                  <a:cubicBezTo>
                    <a:pt x="12" y="7"/>
                    <a:pt x="27" y="12"/>
                    <a:pt x="45" y="15"/>
                  </a:cubicBezTo>
                </a:path>
              </a:pathLst>
            </a:custGeom>
            <a:noFill/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8" name="Freeform 47"/>
            <p:cNvSpPr>
              <a:spLocks/>
            </p:cNvSpPr>
            <p:nvPr/>
          </p:nvSpPr>
          <p:spPr bwMode="auto">
            <a:xfrm>
              <a:off x="6151703" y="2115112"/>
              <a:ext cx="355600" cy="39688"/>
            </a:xfrm>
            <a:custGeom>
              <a:avLst/>
              <a:gdLst>
                <a:gd name="T0" fmla="*/ 148 w 148"/>
                <a:gd name="T1" fmla="*/ 17 h 17"/>
                <a:gd name="T2" fmla="*/ 74 w 148"/>
                <a:gd name="T3" fmla="*/ 0 h 17"/>
                <a:gd name="T4" fmla="*/ 0 w 148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8" h="17">
                  <a:moveTo>
                    <a:pt x="148" y="17"/>
                  </a:moveTo>
                  <a:cubicBezTo>
                    <a:pt x="130" y="6"/>
                    <a:pt x="104" y="0"/>
                    <a:pt x="74" y="0"/>
                  </a:cubicBezTo>
                  <a:cubicBezTo>
                    <a:pt x="44" y="0"/>
                    <a:pt x="18" y="6"/>
                    <a:pt x="0" y="17"/>
                  </a:cubicBezTo>
                </a:path>
              </a:pathLst>
            </a:custGeom>
            <a:noFill/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9" name="Freeform 48"/>
            <p:cNvSpPr>
              <a:spLocks/>
            </p:cNvSpPr>
            <p:nvPr/>
          </p:nvSpPr>
          <p:spPr bwMode="auto">
            <a:xfrm>
              <a:off x="6212028" y="1773799"/>
              <a:ext cx="195263" cy="149225"/>
            </a:xfrm>
            <a:custGeom>
              <a:avLst/>
              <a:gdLst>
                <a:gd name="T0" fmla="*/ 0 w 81"/>
                <a:gd name="T1" fmla="*/ 62 h 62"/>
                <a:gd name="T2" fmla="*/ 49 w 81"/>
                <a:gd name="T3" fmla="*/ 0 h 62"/>
                <a:gd name="T4" fmla="*/ 81 w 81"/>
                <a:gd name="T5" fmla="*/ 2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1" h="62">
                  <a:moveTo>
                    <a:pt x="0" y="62"/>
                  </a:moveTo>
                  <a:cubicBezTo>
                    <a:pt x="7" y="25"/>
                    <a:pt x="27" y="0"/>
                    <a:pt x="49" y="0"/>
                  </a:cubicBezTo>
                  <a:cubicBezTo>
                    <a:pt x="61" y="0"/>
                    <a:pt x="72" y="7"/>
                    <a:pt x="81" y="20"/>
                  </a:cubicBezTo>
                </a:path>
              </a:pathLst>
            </a:custGeom>
            <a:noFill/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0" name="Freeform 49"/>
            <p:cNvSpPr>
              <a:spLocks/>
            </p:cNvSpPr>
            <p:nvPr/>
          </p:nvSpPr>
          <p:spPr bwMode="auto">
            <a:xfrm>
              <a:off x="6204091" y="1907149"/>
              <a:ext cx="250825" cy="331788"/>
            </a:xfrm>
            <a:custGeom>
              <a:avLst/>
              <a:gdLst>
                <a:gd name="T0" fmla="*/ 100 w 104"/>
                <a:gd name="T1" fmla="*/ 0 h 138"/>
                <a:gd name="T2" fmla="*/ 104 w 104"/>
                <a:gd name="T3" fmla="*/ 41 h 138"/>
                <a:gd name="T4" fmla="*/ 52 w 104"/>
                <a:gd name="T5" fmla="*/ 138 h 138"/>
                <a:gd name="T6" fmla="*/ 0 w 104"/>
                <a:gd name="T7" fmla="*/ 41 h 138"/>
                <a:gd name="T8" fmla="*/ 0 w 104"/>
                <a:gd name="T9" fmla="*/ 2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138">
                  <a:moveTo>
                    <a:pt x="100" y="0"/>
                  </a:moveTo>
                  <a:cubicBezTo>
                    <a:pt x="103" y="12"/>
                    <a:pt x="104" y="26"/>
                    <a:pt x="104" y="41"/>
                  </a:cubicBezTo>
                  <a:cubicBezTo>
                    <a:pt x="104" y="94"/>
                    <a:pt x="81" y="138"/>
                    <a:pt x="52" y="138"/>
                  </a:cubicBezTo>
                  <a:cubicBezTo>
                    <a:pt x="23" y="138"/>
                    <a:pt x="0" y="94"/>
                    <a:pt x="0" y="41"/>
                  </a:cubicBezTo>
                  <a:cubicBezTo>
                    <a:pt x="0" y="37"/>
                    <a:pt x="0" y="33"/>
                    <a:pt x="0" y="29"/>
                  </a:cubicBezTo>
                </a:path>
              </a:pathLst>
            </a:custGeom>
            <a:noFill/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1" name="Line 50"/>
            <p:cNvSpPr>
              <a:spLocks noChangeShapeType="1"/>
            </p:cNvSpPr>
            <p:nvPr/>
          </p:nvSpPr>
          <p:spPr bwMode="auto">
            <a:xfrm>
              <a:off x="6497778" y="2007162"/>
              <a:ext cx="65088" cy="0"/>
            </a:xfrm>
            <a:prstGeom prst="line">
              <a:avLst/>
            </a:prstGeom>
            <a:noFill/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2" name="Line 51"/>
            <p:cNvSpPr>
              <a:spLocks noChangeShapeType="1"/>
            </p:cNvSpPr>
            <p:nvPr/>
          </p:nvSpPr>
          <p:spPr bwMode="auto">
            <a:xfrm>
              <a:off x="6418403" y="2007162"/>
              <a:ext cx="0" cy="0"/>
            </a:xfrm>
            <a:prstGeom prst="line">
              <a:avLst/>
            </a:prstGeom>
            <a:noFill/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3" name="Line 52"/>
            <p:cNvSpPr>
              <a:spLocks noChangeShapeType="1"/>
            </p:cNvSpPr>
            <p:nvPr/>
          </p:nvSpPr>
          <p:spPr bwMode="auto">
            <a:xfrm>
              <a:off x="6367603" y="2007162"/>
              <a:ext cx="0" cy="0"/>
            </a:xfrm>
            <a:prstGeom prst="line">
              <a:avLst/>
            </a:prstGeom>
            <a:noFill/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4" name="Line 53"/>
            <p:cNvSpPr>
              <a:spLocks noChangeShapeType="1"/>
            </p:cNvSpPr>
            <p:nvPr/>
          </p:nvSpPr>
          <p:spPr bwMode="auto">
            <a:xfrm>
              <a:off x="6096141" y="2007162"/>
              <a:ext cx="166688" cy="0"/>
            </a:xfrm>
            <a:prstGeom prst="line">
              <a:avLst/>
            </a:prstGeom>
            <a:noFill/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5" name="Line 54"/>
            <p:cNvSpPr>
              <a:spLocks noChangeShapeType="1"/>
            </p:cNvSpPr>
            <p:nvPr/>
          </p:nvSpPr>
          <p:spPr bwMode="auto">
            <a:xfrm flipV="1">
              <a:off x="6329503" y="1773799"/>
              <a:ext cx="0" cy="60325"/>
            </a:xfrm>
            <a:prstGeom prst="line">
              <a:avLst/>
            </a:prstGeom>
            <a:noFill/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6" name="Line 55"/>
            <p:cNvSpPr>
              <a:spLocks noChangeShapeType="1"/>
            </p:cNvSpPr>
            <p:nvPr/>
          </p:nvSpPr>
          <p:spPr bwMode="auto">
            <a:xfrm flipV="1">
              <a:off x="6329503" y="2064312"/>
              <a:ext cx="0" cy="174625"/>
            </a:xfrm>
            <a:prstGeom prst="line">
              <a:avLst/>
            </a:prstGeom>
            <a:noFill/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7" name="Freeform 61"/>
            <p:cNvSpPr>
              <a:spLocks/>
            </p:cNvSpPr>
            <p:nvPr/>
          </p:nvSpPr>
          <p:spPr bwMode="auto">
            <a:xfrm>
              <a:off x="6267591" y="1830949"/>
              <a:ext cx="244475" cy="223838"/>
            </a:xfrm>
            <a:custGeom>
              <a:avLst/>
              <a:gdLst>
                <a:gd name="T0" fmla="*/ 1 w 154"/>
                <a:gd name="T1" fmla="*/ 27 h 141"/>
                <a:gd name="T2" fmla="*/ 1 w 154"/>
                <a:gd name="T3" fmla="*/ 33 h 141"/>
                <a:gd name="T4" fmla="*/ 13 w 154"/>
                <a:gd name="T5" fmla="*/ 41 h 141"/>
                <a:gd name="T6" fmla="*/ 24 w 154"/>
                <a:gd name="T7" fmla="*/ 47 h 141"/>
                <a:gd name="T8" fmla="*/ 22 w 154"/>
                <a:gd name="T9" fmla="*/ 55 h 141"/>
                <a:gd name="T10" fmla="*/ 28 w 154"/>
                <a:gd name="T11" fmla="*/ 65 h 141"/>
                <a:gd name="T12" fmla="*/ 31 w 154"/>
                <a:gd name="T13" fmla="*/ 82 h 141"/>
                <a:gd name="T14" fmla="*/ 25 w 154"/>
                <a:gd name="T15" fmla="*/ 82 h 141"/>
                <a:gd name="T16" fmla="*/ 22 w 154"/>
                <a:gd name="T17" fmla="*/ 89 h 141"/>
                <a:gd name="T18" fmla="*/ 18 w 154"/>
                <a:gd name="T19" fmla="*/ 97 h 141"/>
                <a:gd name="T20" fmla="*/ 10 w 154"/>
                <a:gd name="T21" fmla="*/ 111 h 141"/>
                <a:gd name="T22" fmla="*/ 10 w 154"/>
                <a:gd name="T23" fmla="*/ 117 h 141"/>
                <a:gd name="T24" fmla="*/ 31 w 154"/>
                <a:gd name="T25" fmla="*/ 130 h 141"/>
                <a:gd name="T26" fmla="*/ 50 w 154"/>
                <a:gd name="T27" fmla="*/ 138 h 141"/>
                <a:gd name="T28" fmla="*/ 65 w 154"/>
                <a:gd name="T29" fmla="*/ 141 h 141"/>
                <a:gd name="T30" fmla="*/ 71 w 154"/>
                <a:gd name="T31" fmla="*/ 130 h 141"/>
                <a:gd name="T32" fmla="*/ 84 w 154"/>
                <a:gd name="T33" fmla="*/ 126 h 141"/>
                <a:gd name="T34" fmla="*/ 95 w 154"/>
                <a:gd name="T35" fmla="*/ 130 h 141"/>
                <a:gd name="T36" fmla="*/ 109 w 154"/>
                <a:gd name="T37" fmla="*/ 138 h 141"/>
                <a:gd name="T38" fmla="*/ 121 w 154"/>
                <a:gd name="T39" fmla="*/ 135 h 141"/>
                <a:gd name="T40" fmla="*/ 131 w 154"/>
                <a:gd name="T41" fmla="*/ 126 h 141"/>
                <a:gd name="T42" fmla="*/ 125 w 154"/>
                <a:gd name="T43" fmla="*/ 121 h 141"/>
                <a:gd name="T44" fmla="*/ 124 w 154"/>
                <a:gd name="T45" fmla="*/ 109 h 141"/>
                <a:gd name="T46" fmla="*/ 127 w 154"/>
                <a:gd name="T47" fmla="*/ 97 h 141"/>
                <a:gd name="T48" fmla="*/ 127 w 154"/>
                <a:gd name="T49" fmla="*/ 86 h 141"/>
                <a:gd name="T50" fmla="*/ 121 w 154"/>
                <a:gd name="T51" fmla="*/ 86 h 141"/>
                <a:gd name="T52" fmla="*/ 118 w 154"/>
                <a:gd name="T53" fmla="*/ 85 h 141"/>
                <a:gd name="T54" fmla="*/ 125 w 154"/>
                <a:gd name="T55" fmla="*/ 77 h 141"/>
                <a:gd name="T56" fmla="*/ 136 w 154"/>
                <a:gd name="T57" fmla="*/ 67 h 141"/>
                <a:gd name="T58" fmla="*/ 142 w 154"/>
                <a:gd name="T59" fmla="*/ 62 h 141"/>
                <a:gd name="T60" fmla="*/ 147 w 154"/>
                <a:gd name="T61" fmla="*/ 53 h 141"/>
                <a:gd name="T62" fmla="*/ 154 w 154"/>
                <a:gd name="T63" fmla="*/ 44 h 141"/>
                <a:gd name="T64" fmla="*/ 145 w 154"/>
                <a:gd name="T65" fmla="*/ 39 h 141"/>
                <a:gd name="T66" fmla="*/ 134 w 154"/>
                <a:gd name="T67" fmla="*/ 36 h 141"/>
                <a:gd name="T68" fmla="*/ 127 w 154"/>
                <a:gd name="T69" fmla="*/ 30 h 141"/>
                <a:gd name="T70" fmla="*/ 116 w 154"/>
                <a:gd name="T71" fmla="*/ 23 h 141"/>
                <a:gd name="T72" fmla="*/ 109 w 154"/>
                <a:gd name="T73" fmla="*/ 14 h 141"/>
                <a:gd name="T74" fmla="*/ 103 w 154"/>
                <a:gd name="T75" fmla="*/ 6 h 141"/>
                <a:gd name="T76" fmla="*/ 89 w 154"/>
                <a:gd name="T77" fmla="*/ 0 h 141"/>
                <a:gd name="T78" fmla="*/ 83 w 154"/>
                <a:gd name="T79" fmla="*/ 6 h 141"/>
                <a:gd name="T80" fmla="*/ 63 w 154"/>
                <a:gd name="T81" fmla="*/ 17 h 141"/>
                <a:gd name="T82" fmla="*/ 53 w 154"/>
                <a:gd name="T83" fmla="*/ 20 h 141"/>
                <a:gd name="T84" fmla="*/ 44 w 154"/>
                <a:gd name="T85" fmla="*/ 15 h 141"/>
                <a:gd name="T86" fmla="*/ 39 w 154"/>
                <a:gd name="T87" fmla="*/ 11 h 141"/>
                <a:gd name="T88" fmla="*/ 41 w 154"/>
                <a:gd name="T89" fmla="*/ 15 h 141"/>
                <a:gd name="T90" fmla="*/ 39 w 154"/>
                <a:gd name="T91" fmla="*/ 21 h 141"/>
                <a:gd name="T92" fmla="*/ 36 w 154"/>
                <a:gd name="T93" fmla="*/ 26 h 141"/>
                <a:gd name="T94" fmla="*/ 27 w 154"/>
                <a:gd name="T95" fmla="*/ 24 h 141"/>
                <a:gd name="T96" fmla="*/ 18 w 154"/>
                <a:gd name="T97" fmla="*/ 18 h 141"/>
                <a:gd name="T98" fmla="*/ 10 w 154"/>
                <a:gd name="T99" fmla="*/ 2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4" h="141">
                  <a:moveTo>
                    <a:pt x="1" y="20"/>
                  </a:moveTo>
                  <a:lnTo>
                    <a:pt x="3" y="23"/>
                  </a:lnTo>
                  <a:lnTo>
                    <a:pt x="1" y="26"/>
                  </a:lnTo>
                  <a:lnTo>
                    <a:pt x="1" y="27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0" y="30"/>
                  </a:lnTo>
                  <a:lnTo>
                    <a:pt x="1" y="33"/>
                  </a:lnTo>
                  <a:lnTo>
                    <a:pt x="4" y="32"/>
                  </a:lnTo>
                  <a:lnTo>
                    <a:pt x="9" y="36"/>
                  </a:lnTo>
                  <a:lnTo>
                    <a:pt x="12" y="39"/>
                  </a:lnTo>
                  <a:lnTo>
                    <a:pt x="13" y="41"/>
                  </a:lnTo>
                  <a:lnTo>
                    <a:pt x="18" y="41"/>
                  </a:lnTo>
                  <a:lnTo>
                    <a:pt x="18" y="44"/>
                  </a:lnTo>
                  <a:lnTo>
                    <a:pt x="22" y="47"/>
                  </a:lnTo>
                  <a:lnTo>
                    <a:pt x="24" y="47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3"/>
                  </a:lnTo>
                  <a:lnTo>
                    <a:pt x="22" y="55"/>
                  </a:lnTo>
                  <a:lnTo>
                    <a:pt x="22" y="59"/>
                  </a:lnTo>
                  <a:lnTo>
                    <a:pt x="25" y="62"/>
                  </a:lnTo>
                  <a:lnTo>
                    <a:pt x="28" y="64"/>
                  </a:lnTo>
                  <a:lnTo>
                    <a:pt x="28" y="65"/>
                  </a:lnTo>
                  <a:lnTo>
                    <a:pt x="28" y="73"/>
                  </a:lnTo>
                  <a:lnTo>
                    <a:pt x="27" y="77"/>
                  </a:lnTo>
                  <a:lnTo>
                    <a:pt x="28" y="79"/>
                  </a:lnTo>
                  <a:lnTo>
                    <a:pt x="31" y="82"/>
                  </a:lnTo>
                  <a:lnTo>
                    <a:pt x="31" y="85"/>
                  </a:lnTo>
                  <a:lnTo>
                    <a:pt x="31" y="88"/>
                  </a:lnTo>
                  <a:lnTo>
                    <a:pt x="27" y="83"/>
                  </a:lnTo>
                  <a:lnTo>
                    <a:pt x="25" y="82"/>
                  </a:lnTo>
                  <a:lnTo>
                    <a:pt x="24" y="82"/>
                  </a:lnTo>
                  <a:lnTo>
                    <a:pt x="25" y="83"/>
                  </a:lnTo>
                  <a:lnTo>
                    <a:pt x="24" y="86"/>
                  </a:lnTo>
                  <a:lnTo>
                    <a:pt x="22" y="89"/>
                  </a:lnTo>
                  <a:lnTo>
                    <a:pt x="21" y="91"/>
                  </a:lnTo>
                  <a:lnTo>
                    <a:pt x="22" y="92"/>
                  </a:lnTo>
                  <a:lnTo>
                    <a:pt x="21" y="94"/>
                  </a:lnTo>
                  <a:lnTo>
                    <a:pt x="18" y="97"/>
                  </a:lnTo>
                  <a:lnTo>
                    <a:pt x="18" y="98"/>
                  </a:lnTo>
                  <a:lnTo>
                    <a:pt x="16" y="101"/>
                  </a:lnTo>
                  <a:lnTo>
                    <a:pt x="13" y="106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2" y="112"/>
                  </a:lnTo>
                  <a:lnTo>
                    <a:pt x="10" y="115"/>
                  </a:lnTo>
                  <a:lnTo>
                    <a:pt x="10" y="117"/>
                  </a:lnTo>
                  <a:lnTo>
                    <a:pt x="13" y="120"/>
                  </a:lnTo>
                  <a:lnTo>
                    <a:pt x="22" y="126"/>
                  </a:lnTo>
                  <a:lnTo>
                    <a:pt x="30" y="130"/>
                  </a:lnTo>
                  <a:lnTo>
                    <a:pt x="31" y="130"/>
                  </a:lnTo>
                  <a:lnTo>
                    <a:pt x="35" y="129"/>
                  </a:lnTo>
                  <a:lnTo>
                    <a:pt x="47" y="133"/>
                  </a:lnTo>
                  <a:lnTo>
                    <a:pt x="48" y="135"/>
                  </a:lnTo>
                  <a:lnTo>
                    <a:pt x="50" y="138"/>
                  </a:lnTo>
                  <a:lnTo>
                    <a:pt x="51" y="138"/>
                  </a:lnTo>
                  <a:lnTo>
                    <a:pt x="54" y="139"/>
                  </a:lnTo>
                  <a:lnTo>
                    <a:pt x="57" y="141"/>
                  </a:lnTo>
                  <a:lnTo>
                    <a:pt x="65" y="141"/>
                  </a:lnTo>
                  <a:lnTo>
                    <a:pt x="66" y="139"/>
                  </a:lnTo>
                  <a:lnTo>
                    <a:pt x="68" y="136"/>
                  </a:lnTo>
                  <a:lnTo>
                    <a:pt x="68" y="133"/>
                  </a:lnTo>
                  <a:lnTo>
                    <a:pt x="71" y="130"/>
                  </a:lnTo>
                  <a:lnTo>
                    <a:pt x="75" y="127"/>
                  </a:lnTo>
                  <a:lnTo>
                    <a:pt x="78" y="127"/>
                  </a:lnTo>
                  <a:lnTo>
                    <a:pt x="81" y="126"/>
                  </a:lnTo>
                  <a:lnTo>
                    <a:pt x="84" y="126"/>
                  </a:lnTo>
                  <a:lnTo>
                    <a:pt x="88" y="127"/>
                  </a:lnTo>
                  <a:lnTo>
                    <a:pt x="89" y="130"/>
                  </a:lnTo>
                  <a:lnTo>
                    <a:pt x="92" y="130"/>
                  </a:lnTo>
                  <a:lnTo>
                    <a:pt x="95" y="130"/>
                  </a:lnTo>
                  <a:lnTo>
                    <a:pt x="100" y="130"/>
                  </a:lnTo>
                  <a:lnTo>
                    <a:pt x="103" y="135"/>
                  </a:lnTo>
                  <a:lnTo>
                    <a:pt x="106" y="136"/>
                  </a:lnTo>
                  <a:lnTo>
                    <a:pt x="109" y="138"/>
                  </a:lnTo>
                  <a:lnTo>
                    <a:pt x="112" y="139"/>
                  </a:lnTo>
                  <a:lnTo>
                    <a:pt x="113" y="139"/>
                  </a:lnTo>
                  <a:lnTo>
                    <a:pt x="119" y="135"/>
                  </a:lnTo>
                  <a:lnTo>
                    <a:pt x="121" y="135"/>
                  </a:lnTo>
                  <a:lnTo>
                    <a:pt x="124" y="133"/>
                  </a:lnTo>
                  <a:lnTo>
                    <a:pt x="127" y="130"/>
                  </a:lnTo>
                  <a:lnTo>
                    <a:pt x="131" y="130"/>
                  </a:lnTo>
                  <a:lnTo>
                    <a:pt x="131" y="126"/>
                  </a:lnTo>
                  <a:lnTo>
                    <a:pt x="130" y="124"/>
                  </a:lnTo>
                  <a:lnTo>
                    <a:pt x="128" y="121"/>
                  </a:lnTo>
                  <a:lnTo>
                    <a:pt x="127" y="123"/>
                  </a:lnTo>
                  <a:lnTo>
                    <a:pt x="125" y="121"/>
                  </a:lnTo>
                  <a:lnTo>
                    <a:pt x="124" y="120"/>
                  </a:lnTo>
                  <a:lnTo>
                    <a:pt x="124" y="115"/>
                  </a:lnTo>
                  <a:lnTo>
                    <a:pt x="127" y="111"/>
                  </a:lnTo>
                  <a:lnTo>
                    <a:pt x="124" y="109"/>
                  </a:lnTo>
                  <a:lnTo>
                    <a:pt x="124" y="108"/>
                  </a:lnTo>
                  <a:lnTo>
                    <a:pt x="128" y="103"/>
                  </a:lnTo>
                  <a:lnTo>
                    <a:pt x="128" y="101"/>
                  </a:lnTo>
                  <a:lnTo>
                    <a:pt x="127" y="97"/>
                  </a:lnTo>
                  <a:lnTo>
                    <a:pt x="130" y="94"/>
                  </a:lnTo>
                  <a:lnTo>
                    <a:pt x="128" y="91"/>
                  </a:lnTo>
                  <a:lnTo>
                    <a:pt x="128" y="89"/>
                  </a:lnTo>
                  <a:lnTo>
                    <a:pt x="127" y="86"/>
                  </a:lnTo>
                  <a:lnTo>
                    <a:pt x="127" y="85"/>
                  </a:lnTo>
                  <a:lnTo>
                    <a:pt x="124" y="85"/>
                  </a:lnTo>
                  <a:lnTo>
                    <a:pt x="122" y="85"/>
                  </a:lnTo>
                  <a:lnTo>
                    <a:pt x="121" y="86"/>
                  </a:lnTo>
                  <a:lnTo>
                    <a:pt x="119" y="88"/>
                  </a:lnTo>
                  <a:lnTo>
                    <a:pt x="118" y="88"/>
                  </a:lnTo>
                  <a:lnTo>
                    <a:pt x="116" y="86"/>
                  </a:lnTo>
                  <a:lnTo>
                    <a:pt x="118" y="85"/>
                  </a:lnTo>
                  <a:lnTo>
                    <a:pt x="119" y="83"/>
                  </a:lnTo>
                  <a:lnTo>
                    <a:pt x="119" y="82"/>
                  </a:lnTo>
                  <a:lnTo>
                    <a:pt x="124" y="77"/>
                  </a:lnTo>
                  <a:lnTo>
                    <a:pt x="125" y="77"/>
                  </a:lnTo>
                  <a:lnTo>
                    <a:pt x="125" y="74"/>
                  </a:lnTo>
                  <a:lnTo>
                    <a:pt x="127" y="71"/>
                  </a:lnTo>
                  <a:lnTo>
                    <a:pt x="134" y="67"/>
                  </a:lnTo>
                  <a:lnTo>
                    <a:pt x="136" y="67"/>
                  </a:lnTo>
                  <a:lnTo>
                    <a:pt x="137" y="65"/>
                  </a:lnTo>
                  <a:lnTo>
                    <a:pt x="139" y="64"/>
                  </a:lnTo>
                  <a:lnTo>
                    <a:pt x="141" y="64"/>
                  </a:lnTo>
                  <a:lnTo>
                    <a:pt x="142" y="62"/>
                  </a:lnTo>
                  <a:lnTo>
                    <a:pt x="144" y="61"/>
                  </a:lnTo>
                  <a:lnTo>
                    <a:pt x="145" y="59"/>
                  </a:lnTo>
                  <a:lnTo>
                    <a:pt x="145" y="55"/>
                  </a:lnTo>
                  <a:lnTo>
                    <a:pt x="147" y="53"/>
                  </a:lnTo>
                  <a:lnTo>
                    <a:pt x="147" y="50"/>
                  </a:lnTo>
                  <a:lnTo>
                    <a:pt x="148" y="47"/>
                  </a:lnTo>
                  <a:lnTo>
                    <a:pt x="153" y="45"/>
                  </a:lnTo>
                  <a:lnTo>
                    <a:pt x="154" y="44"/>
                  </a:lnTo>
                  <a:lnTo>
                    <a:pt x="154" y="42"/>
                  </a:lnTo>
                  <a:lnTo>
                    <a:pt x="151" y="41"/>
                  </a:lnTo>
                  <a:lnTo>
                    <a:pt x="150" y="41"/>
                  </a:lnTo>
                  <a:lnTo>
                    <a:pt x="145" y="39"/>
                  </a:lnTo>
                  <a:lnTo>
                    <a:pt x="141" y="39"/>
                  </a:lnTo>
                  <a:lnTo>
                    <a:pt x="137" y="39"/>
                  </a:lnTo>
                  <a:lnTo>
                    <a:pt x="136" y="38"/>
                  </a:lnTo>
                  <a:lnTo>
                    <a:pt x="134" y="36"/>
                  </a:lnTo>
                  <a:lnTo>
                    <a:pt x="133" y="33"/>
                  </a:lnTo>
                  <a:lnTo>
                    <a:pt x="131" y="32"/>
                  </a:lnTo>
                  <a:lnTo>
                    <a:pt x="130" y="32"/>
                  </a:lnTo>
                  <a:lnTo>
                    <a:pt x="127" y="30"/>
                  </a:lnTo>
                  <a:lnTo>
                    <a:pt x="125" y="30"/>
                  </a:lnTo>
                  <a:lnTo>
                    <a:pt x="124" y="27"/>
                  </a:lnTo>
                  <a:lnTo>
                    <a:pt x="119" y="26"/>
                  </a:lnTo>
                  <a:lnTo>
                    <a:pt x="116" y="23"/>
                  </a:lnTo>
                  <a:lnTo>
                    <a:pt x="115" y="21"/>
                  </a:lnTo>
                  <a:lnTo>
                    <a:pt x="113" y="21"/>
                  </a:lnTo>
                  <a:lnTo>
                    <a:pt x="112" y="18"/>
                  </a:lnTo>
                  <a:lnTo>
                    <a:pt x="109" y="14"/>
                  </a:lnTo>
                  <a:lnTo>
                    <a:pt x="107" y="12"/>
                  </a:lnTo>
                  <a:lnTo>
                    <a:pt x="106" y="9"/>
                  </a:lnTo>
                  <a:lnTo>
                    <a:pt x="104" y="8"/>
                  </a:lnTo>
                  <a:lnTo>
                    <a:pt x="103" y="6"/>
                  </a:lnTo>
                  <a:lnTo>
                    <a:pt x="100" y="3"/>
                  </a:lnTo>
                  <a:lnTo>
                    <a:pt x="97" y="2"/>
                  </a:lnTo>
                  <a:lnTo>
                    <a:pt x="95" y="0"/>
                  </a:lnTo>
                  <a:lnTo>
                    <a:pt x="89" y="0"/>
                  </a:lnTo>
                  <a:lnTo>
                    <a:pt x="86" y="0"/>
                  </a:lnTo>
                  <a:lnTo>
                    <a:pt x="83" y="2"/>
                  </a:lnTo>
                  <a:lnTo>
                    <a:pt x="86" y="5"/>
                  </a:lnTo>
                  <a:lnTo>
                    <a:pt x="83" y="6"/>
                  </a:lnTo>
                  <a:lnTo>
                    <a:pt x="77" y="14"/>
                  </a:lnTo>
                  <a:lnTo>
                    <a:pt x="75" y="15"/>
                  </a:lnTo>
                  <a:lnTo>
                    <a:pt x="66" y="15"/>
                  </a:lnTo>
                  <a:lnTo>
                    <a:pt x="63" y="17"/>
                  </a:lnTo>
                  <a:lnTo>
                    <a:pt x="62" y="18"/>
                  </a:lnTo>
                  <a:lnTo>
                    <a:pt x="60" y="20"/>
                  </a:lnTo>
                  <a:lnTo>
                    <a:pt x="57" y="18"/>
                  </a:lnTo>
                  <a:lnTo>
                    <a:pt x="53" y="20"/>
                  </a:lnTo>
                  <a:lnTo>
                    <a:pt x="50" y="20"/>
                  </a:lnTo>
                  <a:lnTo>
                    <a:pt x="47" y="18"/>
                  </a:lnTo>
                  <a:lnTo>
                    <a:pt x="45" y="15"/>
                  </a:lnTo>
                  <a:lnTo>
                    <a:pt x="44" y="15"/>
                  </a:lnTo>
                  <a:lnTo>
                    <a:pt x="45" y="14"/>
                  </a:lnTo>
                  <a:lnTo>
                    <a:pt x="42" y="11"/>
                  </a:lnTo>
                  <a:lnTo>
                    <a:pt x="41" y="11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41" y="12"/>
                  </a:lnTo>
                  <a:lnTo>
                    <a:pt x="39" y="14"/>
                  </a:lnTo>
                  <a:lnTo>
                    <a:pt x="41" y="15"/>
                  </a:lnTo>
                  <a:lnTo>
                    <a:pt x="41" y="18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39" y="21"/>
                  </a:lnTo>
                  <a:lnTo>
                    <a:pt x="39" y="23"/>
                  </a:lnTo>
                  <a:lnTo>
                    <a:pt x="39" y="24"/>
                  </a:lnTo>
                  <a:lnTo>
                    <a:pt x="38" y="26"/>
                  </a:lnTo>
                  <a:lnTo>
                    <a:pt x="36" y="26"/>
                  </a:lnTo>
                  <a:lnTo>
                    <a:pt x="33" y="24"/>
                  </a:lnTo>
                  <a:lnTo>
                    <a:pt x="31" y="26"/>
                  </a:lnTo>
                  <a:lnTo>
                    <a:pt x="28" y="24"/>
                  </a:lnTo>
                  <a:lnTo>
                    <a:pt x="27" y="24"/>
                  </a:lnTo>
                  <a:lnTo>
                    <a:pt x="25" y="26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2" y="20"/>
                  </a:lnTo>
                  <a:lnTo>
                    <a:pt x="10" y="20"/>
                  </a:lnTo>
                  <a:lnTo>
                    <a:pt x="9" y="18"/>
                  </a:lnTo>
                  <a:lnTo>
                    <a:pt x="4" y="18"/>
                  </a:lnTo>
                  <a:lnTo>
                    <a:pt x="1" y="20"/>
                  </a:lnTo>
                </a:path>
              </a:pathLst>
            </a:custGeom>
            <a:solidFill>
              <a:sysClr val="window" lastClr="FFFFFF"/>
            </a:solidFill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8" name="Line 64"/>
            <p:cNvSpPr>
              <a:spLocks noChangeShapeType="1"/>
            </p:cNvSpPr>
            <p:nvPr/>
          </p:nvSpPr>
          <p:spPr bwMode="auto">
            <a:xfrm>
              <a:off x="6142178" y="2138924"/>
              <a:ext cx="0" cy="0"/>
            </a:xfrm>
            <a:prstGeom prst="line">
              <a:avLst/>
            </a:prstGeom>
            <a:noFill/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9" name="Freeform 65"/>
            <p:cNvSpPr>
              <a:spLocks/>
            </p:cNvSpPr>
            <p:nvPr/>
          </p:nvSpPr>
          <p:spPr bwMode="auto">
            <a:xfrm>
              <a:off x="6146941" y="1854762"/>
              <a:ext cx="415925" cy="384175"/>
            </a:xfrm>
            <a:custGeom>
              <a:avLst/>
              <a:gdLst>
                <a:gd name="T0" fmla="*/ 0 w 173"/>
                <a:gd name="T1" fmla="*/ 123 h 160"/>
                <a:gd name="T2" fmla="*/ 76 w 173"/>
                <a:gd name="T3" fmla="*/ 160 h 160"/>
                <a:gd name="T4" fmla="*/ 173 w 173"/>
                <a:gd name="T5" fmla="*/ 63 h 160"/>
                <a:gd name="T6" fmla="*/ 150 w 173"/>
                <a:gd name="T7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3" h="160">
                  <a:moveTo>
                    <a:pt x="0" y="123"/>
                  </a:moveTo>
                  <a:cubicBezTo>
                    <a:pt x="16" y="144"/>
                    <a:pt x="46" y="160"/>
                    <a:pt x="76" y="160"/>
                  </a:cubicBezTo>
                  <a:cubicBezTo>
                    <a:pt x="130" y="160"/>
                    <a:pt x="173" y="116"/>
                    <a:pt x="173" y="63"/>
                  </a:cubicBezTo>
                  <a:cubicBezTo>
                    <a:pt x="173" y="39"/>
                    <a:pt x="164" y="17"/>
                    <a:pt x="150" y="0"/>
                  </a:cubicBezTo>
                </a:path>
              </a:pathLst>
            </a:custGeom>
            <a:noFill/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0" name="Freeform 69"/>
            <p:cNvSpPr>
              <a:spLocks/>
            </p:cNvSpPr>
            <p:nvPr/>
          </p:nvSpPr>
          <p:spPr bwMode="auto">
            <a:xfrm>
              <a:off x="6137416" y="1511862"/>
              <a:ext cx="111125" cy="347663"/>
            </a:xfrm>
            <a:custGeom>
              <a:avLst/>
              <a:gdLst>
                <a:gd name="T0" fmla="*/ 46 w 46"/>
                <a:gd name="T1" fmla="*/ 115 h 145"/>
                <a:gd name="T2" fmla="*/ 46 w 46"/>
                <a:gd name="T3" fmla="*/ 75 h 145"/>
                <a:gd name="T4" fmla="*/ 34 w 46"/>
                <a:gd name="T5" fmla="*/ 63 h 145"/>
                <a:gd name="T6" fmla="*/ 34 w 46"/>
                <a:gd name="T7" fmla="*/ 6 h 145"/>
                <a:gd name="T8" fmla="*/ 36 w 46"/>
                <a:gd name="T9" fmla="*/ 0 h 145"/>
                <a:gd name="T10" fmla="*/ 11 w 46"/>
                <a:gd name="T11" fmla="*/ 0 h 145"/>
                <a:gd name="T12" fmla="*/ 0 w 46"/>
                <a:gd name="T13" fmla="*/ 12 h 145"/>
                <a:gd name="T14" fmla="*/ 0 w 46"/>
                <a:gd name="T15" fmla="*/ 52 h 145"/>
                <a:gd name="T16" fmla="*/ 11 w 46"/>
                <a:gd name="T17" fmla="*/ 63 h 145"/>
                <a:gd name="T18" fmla="*/ 11 w 46"/>
                <a:gd name="T19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145">
                  <a:moveTo>
                    <a:pt x="46" y="115"/>
                  </a:moveTo>
                  <a:cubicBezTo>
                    <a:pt x="46" y="75"/>
                    <a:pt x="46" y="75"/>
                    <a:pt x="46" y="75"/>
                  </a:cubicBezTo>
                  <a:cubicBezTo>
                    <a:pt x="46" y="75"/>
                    <a:pt x="34" y="75"/>
                    <a:pt x="34" y="63"/>
                  </a:cubicBezTo>
                  <a:cubicBezTo>
                    <a:pt x="34" y="52"/>
                    <a:pt x="34" y="6"/>
                    <a:pt x="34" y="6"/>
                  </a:cubicBezTo>
                  <a:cubicBezTo>
                    <a:pt x="34" y="6"/>
                    <a:pt x="34" y="3"/>
                    <a:pt x="36" y="0"/>
                  </a:cubicBezTo>
                  <a:cubicBezTo>
                    <a:pt x="24" y="0"/>
                    <a:pt x="11" y="0"/>
                    <a:pt x="11" y="0"/>
                  </a:cubicBezTo>
                  <a:cubicBezTo>
                    <a:pt x="11" y="0"/>
                    <a:pt x="0" y="0"/>
                    <a:pt x="0" y="1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63"/>
                    <a:pt x="11" y="63"/>
                    <a:pt x="11" y="63"/>
                  </a:cubicBezTo>
                  <a:cubicBezTo>
                    <a:pt x="11" y="145"/>
                    <a:pt x="11" y="145"/>
                    <a:pt x="11" y="145"/>
                  </a:cubicBezTo>
                </a:path>
              </a:pathLst>
            </a:custGeom>
            <a:noFill/>
            <a:ln w="12700" cap="rnd">
              <a:solidFill>
                <a:srgbClr val="9F9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1" name="Freeform 70"/>
            <p:cNvSpPr>
              <a:spLocks/>
            </p:cNvSpPr>
            <p:nvPr/>
          </p:nvSpPr>
          <p:spPr bwMode="auto">
            <a:xfrm>
              <a:off x="6178691" y="1400737"/>
              <a:ext cx="80963" cy="84138"/>
            </a:xfrm>
            <a:custGeom>
              <a:avLst/>
              <a:gdLst>
                <a:gd name="T0" fmla="*/ 17 w 34"/>
                <a:gd name="T1" fmla="*/ 35 h 35"/>
                <a:gd name="T2" fmla="*/ 25 w 34"/>
                <a:gd name="T3" fmla="*/ 33 h 35"/>
                <a:gd name="T4" fmla="*/ 26 w 34"/>
                <a:gd name="T5" fmla="*/ 32 h 35"/>
                <a:gd name="T6" fmla="*/ 34 w 34"/>
                <a:gd name="T7" fmla="*/ 18 h 35"/>
                <a:gd name="T8" fmla="*/ 17 w 34"/>
                <a:gd name="T9" fmla="*/ 0 h 35"/>
                <a:gd name="T10" fmla="*/ 0 w 34"/>
                <a:gd name="T11" fmla="*/ 18 h 35"/>
                <a:gd name="T12" fmla="*/ 17 w 34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5">
                  <a:moveTo>
                    <a:pt x="17" y="35"/>
                  </a:moveTo>
                  <a:cubicBezTo>
                    <a:pt x="20" y="35"/>
                    <a:pt x="23" y="34"/>
                    <a:pt x="25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31" y="29"/>
                    <a:pt x="34" y="24"/>
                    <a:pt x="34" y="18"/>
                  </a:cubicBezTo>
                  <a:cubicBezTo>
                    <a:pt x="34" y="8"/>
                    <a:pt x="27" y="0"/>
                    <a:pt x="17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7"/>
                    <a:pt x="8" y="35"/>
                    <a:pt x="17" y="35"/>
                  </a:cubicBezTo>
                  <a:close/>
                </a:path>
              </a:pathLst>
            </a:custGeom>
            <a:noFill/>
            <a:ln w="12700" cap="rnd">
              <a:solidFill>
                <a:srgbClr val="9F9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2" name="Freeform 71"/>
            <p:cNvSpPr>
              <a:spLocks/>
            </p:cNvSpPr>
            <p:nvPr/>
          </p:nvSpPr>
          <p:spPr bwMode="auto">
            <a:xfrm>
              <a:off x="6412053" y="1511862"/>
              <a:ext cx="109538" cy="342900"/>
            </a:xfrm>
            <a:custGeom>
              <a:avLst/>
              <a:gdLst>
                <a:gd name="T0" fmla="*/ 35 w 46"/>
                <a:gd name="T1" fmla="*/ 143 h 143"/>
                <a:gd name="T2" fmla="*/ 35 w 46"/>
                <a:gd name="T3" fmla="*/ 63 h 143"/>
                <a:gd name="T4" fmla="*/ 46 w 46"/>
                <a:gd name="T5" fmla="*/ 52 h 143"/>
                <a:gd name="T6" fmla="*/ 46 w 46"/>
                <a:gd name="T7" fmla="*/ 12 h 143"/>
                <a:gd name="T8" fmla="*/ 35 w 46"/>
                <a:gd name="T9" fmla="*/ 0 h 143"/>
                <a:gd name="T10" fmla="*/ 11 w 46"/>
                <a:gd name="T11" fmla="*/ 0 h 143"/>
                <a:gd name="T12" fmla="*/ 12 w 46"/>
                <a:gd name="T13" fmla="*/ 6 h 143"/>
                <a:gd name="T14" fmla="*/ 12 w 46"/>
                <a:gd name="T15" fmla="*/ 63 h 143"/>
                <a:gd name="T16" fmla="*/ 0 w 46"/>
                <a:gd name="T17" fmla="*/ 75 h 143"/>
                <a:gd name="T18" fmla="*/ 0 w 46"/>
                <a:gd name="T19" fmla="*/ 11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143">
                  <a:moveTo>
                    <a:pt x="35" y="143"/>
                  </a:move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46" y="63"/>
                    <a:pt x="46" y="52"/>
                  </a:cubicBezTo>
                  <a:cubicBezTo>
                    <a:pt x="46" y="40"/>
                    <a:pt x="46" y="12"/>
                    <a:pt x="46" y="12"/>
                  </a:cubicBezTo>
                  <a:cubicBezTo>
                    <a:pt x="46" y="12"/>
                    <a:pt x="46" y="0"/>
                    <a:pt x="3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3"/>
                    <a:pt x="12" y="6"/>
                    <a:pt x="12" y="6"/>
                  </a:cubicBezTo>
                  <a:cubicBezTo>
                    <a:pt x="12" y="6"/>
                    <a:pt x="12" y="52"/>
                    <a:pt x="12" y="63"/>
                  </a:cubicBezTo>
                  <a:cubicBezTo>
                    <a:pt x="12" y="75"/>
                    <a:pt x="0" y="75"/>
                    <a:pt x="0" y="75"/>
                  </a:cubicBezTo>
                  <a:cubicBezTo>
                    <a:pt x="0" y="114"/>
                    <a:pt x="0" y="114"/>
                    <a:pt x="0" y="114"/>
                  </a:cubicBezTo>
                </a:path>
              </a:pathLst>
            </a:custGeom>
            <a:noFill/>
            <a:ln w="12700" cap="rnd">
              <a:solidFill>
                <a:srgbClr val="9F9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3" name="Freeform 72"/>
            <p:cNvSpPr>
              <a:spLocks/>
            </p:cNvSpPr>
            <p:nvPr/>
          </p:nvSpPr>
          <p:spPr bwMode="auto">
            <a:xfrm>
              <a:off x="6399353" y="1400737"/>
              <a:ext cx="80963" cy="84138"/>
            </a:xfrm>
            <a:custGeom>
              <a:avLst/>
              <a:gdLst>
                <a:gd name="T0" fmla="*/ 8 w 34"/>
                <a:gd name="T1" fmla="*/ 32 h 35"/>
                <a:gd name="T2" fmla="*/ 9 w 34"/>
                <a:gd name="T3" fmla="*/ 33 h 35"/>
                <a:gd name="T4" fmla="*/ 17 w 34"/>
                <a:gd name="T5" fmla="*/ 35 h 35"/>
                <a:gd name="T6" fmla="*/ 34 w 34"/>
                <a:gd name="T7" fmla="*/ 18 h 35"/>
                <a:gd name="T8" fmla="*/ 17 w 34"/>
                <a:gd name="T9" fmla="*/ 0 h 35"/>
                <a:gd name="T10" fmla="*/ 0 w 34"/>
                <a:gd name="T11" fmla="*/ 18 h 35"/>
                <a:gd name="T12" fmla="*/ 8 w 34"/>
                <a:gd name="T13" fmla="*/ 3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5">
                  <a:moveTo>
                    <a:pt x="8" y="32"/>
                  </a:moveTo>
                  <a:cubicBezTo>
                    <a:pt x="8" y="32"/>
                    <a:pt x="8" y="32"/>
                    <a:pt x="9" y="33"/>
                  </a:cubicBezTo>
                  <a:cubicBezTo>
                    <a:pt x="11" y="34"/>
                    <a:pt x="14" y="35"/>
                    <a:pt x="17" y="35"/>
                  </a:cubicBezTo>
                  <a:cubicBezTo>
                    <a:pt x="26" y="35"/>
                    <a:pt x="34" y="27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0"/>
                    <a:pt x="0" y="8"/>
                    <a:pt x="0" y="18"/>
                  </a:cubicBezTo>
                  <a:cubicBezTo>
                    <a:pt x="0" y="24"/>
                    <a:pt x="3" y="29"/>
                    <a:pt x="8" y="32"/>
                  </a:cubicBezTo>
                  <a:close/>
                </a:path>
              </a:pathLst>
            </a:custGeom>
            <a:noFill/>
            <a:ln w="12700" cap="rnd">
              <a:solidFill>
                <a:srgbClr val="9F9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4" name="Oval 73"/>
            <p:cNvSpPr>
              <a:spLocks noChangeArrowheads="1"/>
            </p:cNvSpPr>
            <p:nvPr/>
          </p:nvSpPr>
          <p:spPr bwMode="auto">
            <a:xfrm>
              <a:off x="6288228" y="1400737"/>
              <a:ext cx="82550" cy="84138"/>
            </a:xfrm>
            <a:prstGeom prst="ellipse">
              <a:avLst/>
            </a:prstGeom>
            <a:noFill/>
            <a:ln w="12700" cap="rnd">
              <a:solidFill>
                <a:srgbClr val="9F9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5" name="Freeform 74"/>
            <p:cNvSpPr>
              <a:spLocks/>
            </p:cNvSpPr>
            <p:nvPr/>
          </p:nvSpPr>
          <p:spPr bwMode="auto">
            <a:xfrm>
              <a:off x="6248541" y="1511862"/>
              <a:ext cx="163513" cy="268288"/>
            </a:xfrm>
            <a:custGeom>
              <a:avLst/>
              <a:gdLst>
                <a:gd name="T0" fmla="*/ 57 w 68"/>
                <a:gd name="T1" fmla="*/ 112 h 112"/>
                <a:gd name="T2" fmla="*/ 57 w 68"/>
                <a:gd name="T3" fmla="*/ 63 h 112"/>
                <a:gd name="T4" fmla="*/ 68 w 68"/>
                <a:gd name="T5" fmla="*/ 52 h 112"/>
                <a:gd name="T6" fmla="*/ 68 w 68"/>
                <a:gd name="T7" fmla="*/ 12 h 112"/>
                <a:gd name="T8" fmla="*/ 57 w 68"/>
                <a:gd name="T9" fmla="*/ 0 h 112"/>
                <a:gd name="T10" fmla="*/ 11 w 68"/>
                <a:gd name="T11" fmla="*/ 0 h 112"/>
                <a:gd name="T12" fmla="*/ 0 w 68"/>
                <a:gd name="T13" fmla="*/ 12 h 112"/>
                <a:gd name="T14" fmla="*/ 0 w 68"/>
                <a:gd name="T15" fmla="*/ 52 h 112"/>
                <a:gd name="T16" fmla="*/ 11 w 68"/>
                <a:gd name="T17" fmla="*/ 63 h 112"/>
                <a:gd name="T18" fmla="*/ 11 w 68"/>
                <a:gd name="T19" fmla="*/ 10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112">
                  <a:moveTo>
                    <a:pt x="57" y="112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63"/>
                    <a:pt x="68" y="63"/>
                    <a:pt x="68" y="52"/>
                  </a:cubicBezTo>
                  <a:cubicBezTo>
                    <a:pt x="68" y="40"/>
                    <a:pt x="68" y="12"/>
                    <a:pt x="68" y="12"/>
                  </a:cubicBezTo>
                  <a:cubicBezTo>
                    <a:pt x="68" y="12"/>
                    <a:pt x="68" y="0"/>
                    <a:pt x="57" y="0"/>
                  </a:cubicBezTo>
                  <a:cubicBezTo>
                    <a:pt x="54" y="0"/>
                    <a:pt x="11" y="0"/>
                    <a:pt x="11" y="0"/>
                  </a:cubicBezTo>
                  <a:cubicBezTo>
                    <a:pt x="11" y="0"/>
                    <a:pt x="0" y="0"/>
                    <a:pt x="0" y="1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63"/>
                    <a:pt x="11" y="63"/>
                    <a:pt x="11" y="63"/>
                  </a:cubicBezTo>
                  <a:cubicBezTo>
                    <a:pt x="11" y="109"/>
                    <a:pt x="11" y="109"/>
                    <a:pt x="11" y="109"/>
                  </a:cubicBezTo>
                </a:path>
              </a:pathLst>
            </a:custGeom>
            <a:noFill/>
            <a:ln w="12700" cap="rnd">
              <a:solidFill>
                <a:srgbClr val="9F9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" name="Freeform 59"/>
            <p:cNvSpPr>
              <a:spLocks/>
            </p:cNvSpPr>
            <p:nvPr/>
          </p:nvSpPr>
          <p:spPr bwMode="auto">
            <a:xfrm>
              <a:off x="6442216" y="2056374"/>
              <a:ext cx="22225" cy="39688"/>
            </a:xfrm>
            <a:custGeom>
              <a:avLst/>
              <a:gdLst>
                <a:gd name="T0" fmla="*/ 14 w 14"/>
                <a:gd name="T1" fmla="*/ 0 h 25"/>
                <a:gd name="T2" fmla="*/ 9 w 14"/>
                <a:gd name="T3" fmla="*/ 6 h 25"/>
                <a:gd name="T4" fmla="*/ 5 w 14"/>
                <a:gd name="T5" fmla="*/ 6 h 25"/>
                <a:gd name="T6" fmla="*/ 0 w 14"/>
                <a:gd name="T7" fmla="*/ 8 h 25"/>
                <a:gd name="T8" fmla="*/ 0 w 14"/>
                <a:gd name="T9" fmla="*/ 12 h 25"/>
                <a:gd name="T10" fmla="*/ 0 w 14"/>
                <a:gd name="T11" fmla="*/ 20 h 25"/>
                <a:gd name="T12" fmla="*/ 5 w 14"/>
                <a:gd name="T13" fmla="*/ 25 h 25"/>
                <a:gd name="T14" fmla="*/ 8 w 14"/>
                <a:gd name="T15" fmla="*/ 23 h 25"/>
                <a:gd name="T16" fmla="*/ 8 w 14"/>
                <a:gd name="T17" fmla="*/ 20 h 25"/>
                <a:gd name="T18" fmla="*/ 12 w 14"/>
                <a:gd name="T19" fmla="*/ 14 h 25"/>
                <a:gd name="T20" fmla="*/ 12 w 14"/>
                <a:gd name="T21" fmla="*/ 9 h 25"/>
                <a:gd name="T22" fmla="*/ 14 w 14"/>
                <a:gd name="T2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25">
                  <a:moveTo>
                    <a:pt x="14" y="0"/>
                  </a:moveTo>
                  <a:lnTo>
                    <a:pt x="9" y="6"/>
                  </a:lnTo>
                  <a:lnTo>
                    <a:pt x="5" y="6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20"/>
                  </a:lnTo>
                  <a:lnTo>
                    <a:pt x="5" y="25"/>
                  </a:lnTo>
                  <a:lnTo>
                    <a:pt x="8" y="23"/>
                  </a:lnTo>
                  <a:lnTo>
                    <a:pt x="8" y="20"/>
                  </a:lnTo>
                  <a:lnTo>
                    <a:pt x="12" y="14"/>
                  </a:lnTo>
                  <a:lnTo>
                    <a:pt x="12" y="9"/>
                  </a:lnTo>
                  <a:lnTo>
                    <a:pt x="14" y="0"/>
                  </a:lnTo>
                </a:path>
              </a:pathLst>
            </a:custGeom>
            <a:solidFill>
              <a:sysClr val="window" lastClr="FFFFFF"/>
            </a:solidFill>
            <a:ln w="12700" cap="rnd">
              <a:solidFill>
                <a:srgbClr val="9F958F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Une déclinaison de l’ADM par </a:t>
            </a:r>
            <a:r>
              <a:rPr lang="fr-FR" b="1" dirty="0" smtClean="0"/>
              <a:t>secteur</a:t>
            </a:r>
            <a:r>
              <a:rPr lang="fr-FR" dirty="0" smtClean="0"/>
              <a:t> au travers</a:t>
            </a:r>
            <a:br>
              <a:rPr lang="fr-FR" dirty="0" smtClean="0"/>
            </a:br>
            <a:r>
              <a:rPr lang="fr-FR" dirty="0" smtClean="0"/>
              <a:t>de nos références en France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455737" y="5694933"/>
            <a:ext cx="2808312" cy="3600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 smtClean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63241" y="3457811"/>
            <a:ext cx="2808312" cy="31146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76200">
              <a:schemeClr val="tx2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63241" y="1786135"/>
            <a:ext cx="2808312" cy="16631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bIns="36000" rtlCol="0" anchor="t"/>
          <a:lstStyle/>
          <a:p>
            <a:pPr algn="ctr"/>
            <a:r>
              <a:rPr lang="fr-FR" sz="1200" b="1" dirty="0" smtClean="0">
                <a:solidFill>
                  <a:schemeClr val="tx1"/>
                </a:solidFill>
              </a:rPr>
              <a:t>CRM et </a:t>
            </a:r>
            <a:r>
              <a:rPr lang="fr-FR" sz="1200" b="1" dirty="0" err="1" smtClean="0">
                <a:solidFill>
                  <a:schemeClr val="tx1"/>
                </a:solidFill>
              </a:rPr>
              <a:t>billing</a:t>
            </a:r>
            <a:endParaRPr lang="fr-FR" sz="1200" b="1" dirty="0" smtClean="0">
              <a:solidFill>
                <a:schemeClr val="tx1"/>
              </a:solidFill>
            </a:endParaRPr>
          </a:p>
          <a:p>
            <a:pPr algn="ctr"/>
            <a:r>
              <a:rPr lang="fr-FR" sz="1100" dirty="0" smtClean="0">
                <a:solidFill>
                  <a:schemeClr val="tx1"/>
                </a:solidFill>
              </a:rPr>
              <a:t>Le challenge : accompagner EDF dans l’évolution des services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et de la réglementation de l’électricité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et maintenir le SI</a:t>
            </a:r>
          </a:p>
          <a:p>
            <a:pPr algn="ctr"/>
            <a:endParaRPr lang="fr-FR" sz="1100" dirty="0" smtClean="0">
              <a:solidFill>
                <a:schemeClr val="tx1"/>
              </a:solidFill>
            </a:endParaRPr>
          </a:p>
          <a:p>
            <a:pPr algn="ctr"/>
            <a:r>
              <a:rPr lang="fr-FR" sz="1100" b="1" dirty="0" smtClean="0">
                <a:solidFill>
                  <a:schemeClr val="tx1"/>
                </a:solidFill>
              </a:rPr>
              <a:t>180 ETP </a:t>
            </a:r>
            <a:r>
              <a:rPr lang="fr-FR" sz="1100" dirty="0" smtClean="0">
                <a:solidFill>
                  <a:schemeClr val="tx1"/>
                </a:solidFill>
              </a:rPr>
              <a:t>Toulouse/Paris/Lille/Casablanca</a:t>
            </a:r>
          </a:p>
          <a:p>
            <a:pPr algn="ctr"/>
            <a:r>
              <a:rPr lang="fr-FR" sz="1100" b="1" dirty="0" smtClean="0">
                <a:solidFill>
                  <a:schemeClr val="tx1"/>
                </a:solidFill>
              </a:rPr>
              <a:t>2 paliers </a:t>
            </a:r>
            <a:r>
              <a:rPr lang="fr-FR" sz="1100" dirty="0" smtClean="0">
                <a:solidFill>
                  <a:schemeClr val="tx1"/>
                </a:solidFill>
              </a:rPr>
              <a:t>majeurs par an</a:t>
            </a:r>
          </a:p>
          <a:p>
            <a:pPr algn="ctr"/>
            <a:r>
              <a:rPr lang="fr-FR" sz="1100" dirty="0" smtClean="0">
                <a:solidFill>
                  <a:schemeClr val="tx1"/>
                </a:solidFill>
              </a:rPr>
              <a:t>Conception, réalisation, tests palier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563241" y="1524000"/>
            <a:ext cx="2808312" cy="264317"/>
          </a:xfrm>
          <a:prstGeom prst="round2SameRect">
            <a:avLst/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5400000" scaled="1"/>
            <a:tileRect/>
          </a:gradFill>
        </p:spPr>
        <p:txBody>
          <a:bodyPr wrap="none" lIns="18000" tIns="18000" rIns="18000" bIns="18000" rtlCol="0" anchor="ctr">
            <a:noAutofit/>
          </a:bodyPr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ergie &amp; Utilities</a:t>
            </a:r>
          </a:p>
        </p:txBody>
      </p:sp>
      <p:pic>
        <p:nvPicPr>
          <p:cNvPr id="7" name="Image 6" descr="GDF-SUEZ_logo.jpg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17686"/>
          <a:stretch>
            <a:fillRect/>
          </a:stretch>
        </p:blipFill>
        <p:spPr>
          <a:xfrm>
            <a:off x="670745" y="3506915"/>
            <a:ext cx="575984" cy="197065"/>
          </a:xfrm>
          <a:prstGeom prst="rect">
            <a:avLst/>
          </a:prstGeom>
        </p:spPr>
      </p:pic>
      <p:pic>
        <p:nvPicPr>
          <p:cNvPr id="8" name="Image 7" descr="ERDF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489482" y="3515327"/>
            <a:ext cx="432048" cy="180240"/>
          </a:xfrm>
          <a:prstGeom prst="rect">
            <a:avLst/>
          </a:prstGeom>
        </p:spPr>
      </p:pic>
      <p:pic>
        <p:nvPicPr>
          <p:cNvPr id="9" name="Image 8" descr="logo_GRDF.gif"/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84453" y="3470856"/>
            <a:ext cx="391924" cy="269183"/>
          </a:xfrm>
          <a:prstGeom prst="rect">
            <a:avLst/>
          </a:prstGeom>
        </p:spPr>
      </p:pic>
      <p:pic>
        <p:nvPicPr>
          <p:cNvPr id="10" name="Picture 44" descr="LdE_logo_RGB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2164283" y="3495260"/>
            <a:ext cx="377418" cy="220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Connecteur droit 10"/>
          <p:cNvCxnSpPr/>
          <p:nvPr/>
        </p:nvCxnSpPr>
        <p:spPr>
          <a:xfrm flipH="1">
            <a:off x="563553" y="1770062"/>
            <a:ext cx="2808000" cy="0"/>
          </a:xfrm>
          <a:prstGeom prst="line">
            <a:avLst/>
          </a:pr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3553248" y="3457811"/>
            <a:ext cx="2808312" cy="31146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76200">
              <a:schemeClr val="tx2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553248" y="1786135"/>
            <a:ext cx="2808312" cy="16631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bIns="36000" rtlCol="0" anchor="t"/>
          <a:lstStyle/>
          <a:p>
            <a:pPr algn="ctr"/>
            <a:r>
              <a:rPr lang="fr-FR" sz="1200" b="1" dirty="0" smtClean="0">
                <a:solidFill>
                  <a:schemeClr val="tx1"/>
                </a:solidFill>
              </a:rPr>
              <a:t> Programme Move</a:t>
            </a:r>
            <a:br>
              <a:rPr lang="fr-FR" sz="1200" b="1" dirty="0" smtClean="0">
                <a:solidFill>
                  <a:schemeClr val="tx1"/>
                </a:solidFill>
              </a:rPr>
            </a:br>
            <a:r>
              <a:rPr lang="fr-FR" sz="1100" dirty="0">
                <a:solidFill>
                  <a:schemeClr val="tx1"/>
                </a:solidFill>
              </a:rPr>
              <a:t>Le challenge : réussir le programme de transformation du SI </a:t>
            </a:r>
            <a:r>
              <a:rPr lang="fr-FR" sz="1100" dirty="0" smtClean="0">
                <a:solidFill>
                  <a:schemeClr val="tx1"/>
                </a:solidFill>
              </a:rPr>
              <a:t>Neuf </a:t>
            </a:r>
            <a:r>
              <a:rPr lang="fr-FR" sz="1100" dirty="0">
                <a:solidFill>
                  <a:schemeClr val="tx1"/>
                </a:solidFill>
              </a:rPr>
              <a:t>Telecom pour en faire le SI entreprises de SFR fixe et mobile et maintenir le </a:t>
            </a:r>
            <a:r>
              <a:rPr lang="fr-FR" sz="1100" dirty="0" smtClean="0">
                <a:solidFill>
                  <a:schemeClr val="tx1"/>
                </a:solidFill>
              </a:rPr>
              <a:t>patrimoine</a:t>
            </a:r>
          </a:p>
          <a:p>
            <a:pPr algn="ctr"/>
            <a:endParaRPr lang="fr-FR" sz="1100" dirty="0">
              <a:solidFill>
                <a:schemeClr val="tx1"/>
              </a:solidFill>
            </a:endParaRPr>
          </a:p>
          <a:p>
            <a:pPr algn="ctr"/>
            <a:r>
              <a:rPr lang="fr-FR" sz="1100" b="1" dirty="0">
                <a:solidFill>
                  <a:schemeClr val="tx1"/>
                </a:solidFill>
              </a:rPr>
              <a:t>100 ETP </a:t>
            </a:r>
            <a:r>
              <a:rPr lang="fr-FR" sz="1100" dirty="0">
                <a:solidFill>
                  <a:schemeClr val="tx1"/>
                </a:solidFill>
              </a:rPr>
              <a:t>Rennes/Paris/Casablanca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</a:rPr>
              <a:t>Principalement </a:t>
            </a:r>
            <a:r>
              <a:rPr lang="fr-FR" sz="1100" dirty="0" smtClean="0">
                <a:solidFill>
                  <a:schemeClr val="tx1"/>
                </a:solidFill>
              </a:rPr>
              <a:t>J2E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3553248" y="1524000"/>
            <a:ext cx="2808312" cy="264317"/>
          </a:xfrm>
          <a:prstGeom prst="round2SameRect">
            <a:avLst/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5400000" scaled="1"/>
            <a:tileRect/>
          </a:gradFill>
        </p:spPr>
        <p:txBody>
          <a:bodyPr wrap="none" lIns="18000" tIns="18000" rIns="18000" bIns="18000" rtlCol="0" anchor="ctr">
            <a:noAutofit/>
          </a:bodyPr>
          <a:lstStyle/>
          <a:p>
            <a:pPr algn="ctr"/>
            <a:r>
              <a:rPr lang="fr-FR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élécoms</a:t>
            </a:r>
          </a:p>
        </p:txBody>
      </p:sp>
      <p:cxnSp>
        <p:nvCxnSpPr>
          <p:cNvPr id="15" name="Connecteur droit 14"/>
          <p:cNvCxnSpPr/>
          <p:nvPr/>
        </p:nvCxnSpPr>
        <p:spPr>
          <a:xfrm flipH="1">
            <a:off x="3553560" y="1770062"/>
            <a:ext cx="2808000" cy="0"/>
          </a:xfrm>
          <a:prstGeom prst="line">
            <a:avLst/>
          </a:pr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6543255" y="3457811"/>
            <a:ext cx="2808312" cy="31146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76200">
              <a:schemeClr val="tx2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43255" y="1786135"/>
            <a:ext cx="2808312" cy="16631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bIns="36000" rtlCol="0" anchor="t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Centres </a:t>
            </a:r>
            <a:r>
              <a:rPr lang="fr-FR" sz="1200" b="1" dirty="0" smtClean="0">
                <a:solidFill>
                  <a:schemeClr val="tx1"/>
                </a:solidFill>
              </a:rPr>
              <a:t>de Services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100" dirty="0">
                <a:solidFill>
                  <a:schemeClr val="tx1"/>
                </a:solidFill>
              </a:rPr>
              <a:t>Le challenge : accompagner la </a:t>
            </a:r>
            <a:r>
              <a:rPr lang="fr-FR" sz="1100" dirty="0" smtClean="0">
                <a:solidFill>
                  <a:schemeClr val="tx1"/>
                </a:solidFill>
              </a:rPr>
              <a:t>DSI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de </a:t>
            </a:r>
            <a:r>
              <a:rPr lang="fr-FR" sz="1100" dirty="0">
                <a:solidFill>
                  <a:schemeClr val="tx1"/>
                </a:solidFill>
              </a:rPr>
              <a:t>la SCNF dans sa transformation,  optimiser les </a:t>
            </a:r>
            <a:r>
              <a:rPr lang="fr-FR" sz="1100" dirty="0" smtClean="0">
                <a:solidFill>
                  <a:schemeClr val="tx1"/>
                </a:solidFill>
              </a:rPr>
              <a:t>coûts</a:t>
            </a:r>
          </a:p>
          <a:p>
            <a:pPr algn="ctr"/>
            <a:endParaRPr lang="fr-FR" sz="1100" dirty="0">
              <a:solidFill>
                <a:schemeClr val="tx1"/>
              </a:solidFill>
            </a:endParaRPr>
          </a:p>
          <a:p>
            <a:pPr algn="ctr"/>
            <a:r>
              <a:rPr lang="fr-FR" sz="1100" b="1" dirty="0">
                <a:solidFill>
                  <a:schemeClr val="tx1"/>
                </a:solidFill>
              </a:rPr>
              <a:t>180 ETP </a:t>
            </a:r>
            <a:r>
              <a:rPr lang="fr-FR" sz="1100" dirty="0">
                <a:solidFill>
                  <a:schemeClr val="tx1"/>
                </a:solidFill>
              </a:rPr>
              <a:t>Nantes/Rennes/Paris/Lille</a:t>
            </a:r>
          </a:p>
          <a:p>
            <a:pPr algn="ctr"/>
            <a:r>
              <a:rPr lang="fr-FR" sz="1100" b="1" dirty="0">
                <a:solidFill>
                  <a:schemeClr val="tx1"/>
                </a:solidFill>
              </a:rPr>
              <a:t>120 </a:t>
            </a:r>
            <a:r>
              <a:rPr lang="fr-FR" sz="1100" dirty="0">
                <a:solidFill>
                  <a:schemeClr val="tx1"/>
                </a:solidFill>
              </a:rPr>
              <a:t>applications, projets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</a:rPr>
              <a:t>Agile ou cycle en V, ERP et NTIC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6543255" y="1524000"/>
            <a:ext cx="2808312" cy="264317"/>
          </a:xfrm>
          <a:prstGeom prst="round2SameRect">
            <a:avLst/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5400000" scaled="1"/>
            <a:tileRect/>
          </a:gradFill>
        </p:spPr>
        <p:txBody>
          <a:bodyPr wrap="none" lIns="18000" tIns="18000" rIns="18000" bIns="18000" rtlCol="0" anchor="ctr">
            <a:noAutofit/>
          </a:bodyPr>
          <a:lstStyle/>
          <a:p>
            <a:pPr algn="ctr"/>
            <a:r>
              <a:rPr lang="fr-FR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vices &amp; Transport</a:t>
            </a:r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6543567" y="1770062"/>
            <a:ext cx="2808000" cy="0"/>
          </a:xfrm>
          <a:prstGeom prst="line">
            <a:avLst/>
          </a:pr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563241" y="5743505"/>
            <a:ext cx="2808312" cy="31146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76200">
              <a:schemeClr val="tx2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3241" y="4071829"/>
            <a:ext cx="2808312" cy="16631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bIns="36000" rtlCol="0" anchor="t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Legac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smtClean="0">
                <a:solidFill>
                  <a:schemeClr val="tx1"/>
                </a:solidFill>
              </a:rPr>
              <a:t>France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100" dirty="0">
                <a:solidFill>
                  <a:schemeClr val="tx1"/>
                </a:solidFill>
              </a:rPr>
              <a:t>Le challenge : </a:t>
            </a:r>
            <a:r>
              <a:rPr lang="fr-FR" sz="1100" dirty="0" smtClean="0">
                <a:solidFill>
                  <a:schemeClr val="tx1"/>
                </a:solidFill>
              </a:rPr>
              <a:t>responsabilité</a:t>
            </a:r>
            <a:br>
              <a:rPr lang="fr-FR" sz="1100" dirty="0" smtClean="0">
                <a:solidFill>
                  <a:schemeClr val="tx1"/>
                </a:solidFill>
              </a:rPr>
            </a:br>
            <a:r>
              <a:rPr lang="fr-FR" sz="1100" dirty="0" smtClean="0">
                <a:solidFill>
                  <a:schemeClr val="tx1"/>
                </a:solidFill>
              </a:rPr>
              <a:t>end-to-end </a:t>
            </a:r>
            <a:r>
              <a:rPr lang="fr-FR" sz="1100" dirty="0">
                <a:solidFill>
                  <a:schemeClr val="tx1"/>
                </a:solidFill>
              </a:rPr>
              <a:t>des </a:t>
            </a:r>
            <a:r>
              <a:rPr lang="fr-FR" sz="1100" dirty="0" smtClean="0">
                <a:solidFill>
                  <a:schemeClr val="tx1"/>
                </a:solidFill>
              </a:rPr>
              <a:t>systèmes </a:t>
            </a:r>
            <a:r>
              <a:rPr lang="fr-FR" sz="1100" dirty="0" err="1">
                <a:solidFill>
                  <a:schemeClr val="tx1"/>
                </a:solidFill>
              </a:rPr>
              <a:t>legacy</a:t>
            </a:r>
            <a:r>
              <a:rPr lang="fr-FR" sz="1100" dirty="0">
                <a:solidFill>
                  <a:schemeClr val="tx1"/>
                </a:solidFill>
              </a:rPr>
              <a:t> France infra et applis (</a:t>
            </a:r>
            <a:r>
              <a:rPr lang="fr-FR" sz="1100" dirty="0" err="1" smtClean="0">
                <a:solidFill>
                  <a:schemeClr val="tx1"/>
                </a:solidFill>
              </a:rPr>
              <a:t>y.c</a:t>
            </a:r>
            <a:r>
              <a:rPr lang="fr-FR" sz="1100" dirty="0" smtClean="0">
                <a:solidFill>
                  <a:schemeClr val="tx1"/>
                </a:solidFill>
              </a:rPr>
              <a:t>. </a:t>
            </a:r>
            <a:r>
              <a:rPr lang="fr-FR" sz="1100" dirty="0">
                <a:solidFill>
                  <a:schemeClr val="tx1"/>
                </a:solidFill>
              </a:rPr>
              <a:t>reprise de personnel</a:t>
            </a:r>
            <a:r>
              <a:rPr lang="fr-FR" sz="1100" dirty="0" smtClean="0">
                <a:solidFill>
                  <a:schemeClr val="tx1"/>
                </a:solidFill>
              </a:rPr>
              <a:t>)</a:t>
            </a:r>
          </a:p>
          <a:p>
            <a:pPr algn="ctr"/>
            <a:endParaRPr lang="fr-FR" sz="1100" dirty="0">
              <a:solidFill>
                <a:schemeClr val="tx1"/>
              </a:solidFill>
            </a:endParaRPr>
          </a:p>
          <a:p>
            <a:pPr algn="ctr"/>
            <a:r>
              <a:rPr lang="fr-FR" sz="1100" b="1" dirty="0">
                <a:solidFill>
                  <a:schemeClr val="tx1"/>
                </a:solidFill>
              </a:rPr>
              <a:t>150 ETP </a:t>
            </a:r>
            <a:r>
              <a:rPr lang="fr-FR" sz="1100" dirty="0">
                <a:solidFill>
                  <a:schemeClr val="tx1"/>
                </a:solidFill>
              </a:rPr>
              <a:t>Grenoble/Inde</a:t>
            </a:r>
          </a:p>
          <a:p>
            <a:pPr algn="ctr"/>
            <a:r>
              <a:rPr lang="fr-FR" sz="1100" b="1" dirty="0">
                <a:solidFill>
                  <a:schemeClr val="tx1"/>
                </a:solidFill>
              </a:rPr>
              <a:t>60</a:t>
            </a:r>
            <a:r>
              <a:rPr lang="fr-FR" sz="1100" dirty="0">
                <a:solidFill>
                  <a:schemeClr val="tx1"/>
                </a:solidFill>
              </a:rPr>
              <a:t> applications : </a:t>
            </a:r>
            <a:r>
              <a:rPr lang="fr-FR" sz="1100" dirty="0" err="1">
                <a:solidFill>
                  <a:schemeClr val="tx1"/>
                </a:solidFill>
              </a:rPr>
              <a:t>supply</a:t>
            </a:r>
            <a:r>
              <a:rPr lang="fr-FR" sz="1100" dirty="0">
                <a:solidFill>
                  <a:schemeClr val="tx1"/>
                </a:solidFill>
              </a:rPr>
              <a:t> </a:t>
            </a:r>
            <a:r>
              <a:rPr lang="fr-FR" sz="1100" dirty="0" err="1">
                <a:solidFill>
                  <a:schemeClr val="tx1"/>
                </a:solidFill>
              </a:rPr>
              <a:t>chain</a:t>
            </a:r>
            <a:r>
              <a:rPr lang="fr-FR" sz="1100" dirty="0">
                <a:solidFill>
                  <a:schemeClr val="tx1"/>
                </a:solidFill>
              </a:rPr>
              <a:t>, finance, GPAO, HA, … </a:t>
            </a:r>
            <a:r>
              <a:rPr lang="fr-FR" sz="1100" dirty="0" smtClean="0">
                <a:solidFill>
                  <a:schemeClr val="tx1"/>
                </a:solidFill>
              </a:rPr>
              <a:t>Multi-techno </a:t>
            </a:r>
            <a:r>
              <a:rPr lang="fr-FR" sz="1100" dirty="0">
                <a:solidFill>
                  <a:schemeClr val="tx1"/>
                </a:solidFill>
              </a:rPr>
              <a:t>(SAP, </a:t>
            </a:r>
            <a:r>
              <a:rPr lang="fr-FR" sz="1100" dirty="0" smtClean="0">
                <a:solidFill>
                  <a:schemeClr val="tx1"/>
                </a:solidFill>
              </a:rPr>
              <a:t>.Net</a:t>
            </a:r>
            <a:r>
              <a:rPr lang="fr-FR" sz="1100" dirty="0">
                <a:solidFill>
                  <a:schemeClr val="tx1"/>
                </a:solidFill>
              </a:rPr>
              <a:t>, </a:t>
            </a:r>
            <a:r>
              <a:rPr lang="fr-FR" sz="1100" dirty="0" smtClean="0">
                <a:solidFill>
                  <a:schemeClr val="tx1"/>
                </a:solidFill>
              </a:rPr>
              <a:t>Mainframe</a:t>
            </a:r>
            <a:r>
              <a:rPr lang="fr-FR" sz="1100" dirty="0">
                <a:solidFill>
                  <a:schemeClr val="tx1"/>
                </a:solidFill>
              </a:rPr>
              <a:t>) </a:t>
            </a:r>
            <a:r>
              <a:rPr lang="fr-FR" sz="1100" dirty="0" smtClean="0">
                <a:solidFill>
                  <a:schemeClr val="tx1"/>
                </a:solidFill>
              </a:rPr>
              <a:t>- 172 </a:t>
            </a:r>
            <a:r>
              <a:rPr lang="fr-FR" sz="1100" dirty="0">
                <a:solidFill>
                  <a:schemeClr val="tx1"/>
                </a:solidFill>
              </a:rPr>
              <a:t>SLA</a:t>
            </a:r>
            <a:endParaRPr lang="fr-FR" sz="1100" dirty="0" smtClean="0">
              <a:solidFill>
                <a:schemeClr val="tx1"/>
              </a:solidFill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563241" y="3809694"/>
            <a:ext cx="2808312" cy="264317"/>
          </a:xfrm>
          <a:prstGeom prst="round2SameRect">
            <a:avLst/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5400000" scaled="1"/>
            <a:tileRect/>
          </a:gradFill>
        </p:spPr>
        <p:txBody>
          <a:bodyPr wrap="none" lIns="18000" tIns="18000" rIns="18000" bIns="18000" rtlCol="0" anchor="ctr">
            <a:noAutofit/>
          </a:bodyPr>
          <a:lstStyle/>
          <a:p>
            <a:pPr algn="ctr"/>
            <a:r>
              <a:rPr lang="fr-FR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dustries &amp; Distribution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553248" y="5743505"/>
            <a:ext cx="2808312" cy="31146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76200">
              <a:schemeClr val="tx2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553248" y="4071829"/>
            <a:ext cx="2808312" cy="16631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bIns="36000" rtlCol="0" anchor="t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ystème de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Gestion du Budget de l’Etat</a:t>
            </a:r>
          </a:p>
          <a:p>
            <a:pPr marL="0" lvl="1" indent="-285750" algn="ctr" fontAlgn="base">
              <a:buClr>
                <a:srgbClr val="503971"/>
              </a:buClr>
              <a:defRPr/>
            </a:pPr>
            <a:r>
              <a:rPr lang="fr-FR" sz="1100" dirty="0">
                <a:solidFill>
                  <a:schemeClr val="tx1"/>
                </a:solidFill>
              </a:rPr>
              <a:t>Le challenge : délivrer un rythme soutenu d’évolutions, améliorer la qualité </a:t>
            </a:r>
            <a:r>
              <a:rPr lang="fr-FR" sz="1100" dirty="0" smtClean="0">
                <a:solidFill>
                  <a:schemeClr val="tx1"/>
                </a:solidFill>
              </a:rPr>
              <a:t>des</a:t>
            </a:r>
          </a:p>
          <a:p>
            <a:pPr marL="0" lvl="1" indent="-285750" algn="ctr" fontAlgn="base">
              <a:buClr>
                <a:srgbClr val="503971"/>
              </a:buClr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 </a:t>
            </a:r>
            <a:r>
              <a:rPr lang="fr-FR" sz="1100" dirty="0">
                <a:solidFill>
                  <a:schemeClr val="tx1"/>
                </a:solidFill>
              </a:rPr>
              <a:t>services </a:t>
            </a:r>
            <a:r>
              <a:rPr lang="fr-FR" sz="1100" dirty="0" smtClean="0">
                <a:solidFill>
                  <a:schemeClr val="tx1"/>
                </a:solidFill>
              </a:rPr>
              <a:t>récurrents</a:t>
            </a:r>
          </a:p>
          <a:p>
            <a:pPr marL="0" lvl="1" indent="-285750" algn="ctr" fontAlgn="base">
              <a:buClr>
                <a:srgbClr val="503971"/>
              </a:buClr>
              <a:defRPr/>
            </a:pPr>
            <a:endParaRPr lang="fr-FR" sz="1100" dirty="0">
              <a:solidFill>
                <a:schemeClr val="tx1"/>
              </a:solidFill>
            </a:endParaRPr>
          </a:p>
          <a:p>
            <a:pPr algn="ctr"/>
            <a:r>
              <a:rPr lang="fr-FR" sz="1100" b="1" dirty="0">
                <a:solidFill>
                  <a:schemeClr val="tx1"/>
                </a:solidFill>
              </a:rPr>
              <a:t>200 ETP </a:t>
            </a:r>
            <a:r>
              <a:rPr lang="fr-FR" sz="1100" dirty="0" err="1">
                <a:solidFill>
                  <a:schemeClr val="tx1"/>
                </a:solidFill>
              </a:rPr>
              <a:t>co-traitance</a:t>
            </a:r>
            <a:r>
              <a:rPr lang="fr-FR" sz="1100" dirty="0">
                <a:solidFill>
                  <a:schemeClr val="tx1"/>
                </a:solidFill>
              </a:rPr>
              <a:t> Toulouse/ Noisy</a:t>
            </a:r>
          </a:p>
          <a:p>
            <a:pPr algn="ctr"/>
            <a:r>
              <a:rPr lang="fr-FR" sz="1100" b="1" dirty="0">
                <a:solidFill>
                  <a:schemeClr val="tx1"/>
                </a:solidFill>
              </a:rPr>
              <a:t>50 000 </a:t>
            </a:r>
            <a:r>
              <a:rPr lang="fr-FR" sz="1100" dirty="0">
                <a:solidFill>
                  <a:schemeClr val="tx1"/>
                </a:solidFill>
              </a:rPr>
              <a:t>utilisateurs, </a:t>
            </a:r>
            <a:r>
              <a:rPr lang="fr-FR" sz="1100" b="1" dirty="0">
                <a:solidFill>
                  <a:schemeClr val="tx1"/>
                </a:solidFill>
              </a:rPr>
              <a:t>2 000 </a:t>
            </a:r>
            <a:r>
              <a:rPr lang="fr-FR" sz="1100" dirty="0">
                <a:solidFill>
                  <a:schemeClr val="tx1"/>
                </a:solidFill>
              </a:rPr>
              <a:t>fiches de support/mois, 400 Mds €/an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3553248" y="3809694"/>
            <a:ext cx="2808312" cy="264317"/>
          </a:xfrm>
          <a:prstGeom prst="round2SameRect">
            <a:avLst/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5400000" scaled="1"/>
            <a:tileRect/>
          </a:gradFill>
        </p:spPr>
        <p:txBody>
          <a:bodyPr wrap="none" lIns="18000" tIns="18000" rIns="18000" bIns="18000" rtlCol="0" anchor="ctr">
            <a:noAutofit/>
          </a:bodyPr>
          <a:lstStyle/>
          <a:p>
            <a:pPr algn="ctr"/>
            <a:r>
              <a:rPr lang="fr-FR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vices </a:t>
            </a:r>
            <a:r>
              <a:rPr lang="fr-FR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ublics</a:t>
            </a:r>
            <a:endParaRPr lang="fr-FR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543255" y="5743505"/>
            <a:ext cx="2808312" cy="31146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76200">
              <a:schemeClr val="tx2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543255" y="4071829"/>
            <a:ext cx="2808312" cy="16631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bIns="36000" rtlCol="0" anchor="t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irbus PDM</a:t>
            </a:r>
          </a:p>
          <a:p>
            <a:pPr marL="0" lvl="1" algn="ctr" fontAlgn="base">
              <a:buClr>
                <a:srgbClr val="503971"/>
              </a:buClr>
              <a:defRPr/>
            </a:pPr>
            <a:r>
              <a:rPr lang="fr-FR" sz="1100" dirty="0" smtClean="0">
                <a:solidFill>
                  <a:schemeClr val="tx1"/>
                </a:solidFill>
              </a:rPr>
              <a:t>Le </a:t>
            </a:r>
            <a:r>
              <a:rPr lang="fr-FR" sz="1100" dirty="0">
                <a:solidFill>
                  <a:schemeClr val="tx1"/>
                </a:solidFill>
              </a:rPr>
              <a:t>challenge : accompagner le développement des appareils (A380, A350…) en maintenant et en faisant évoluer les outils de configuration avion </a:t>
            </a:r>
            <a:r>
              <a:rPr lang="fr-FR" sz="1100" dirty="0" smtClean="0">
                <a:solidFill>
                  <a:schemeClr val="tx1"/>
                </a:solidFill>
              </a:rPr>
              <a:t>d’Airbus</a:t>
            </a:r>
          </a:p>
          <a:p>
            <a:pPr marL="0" lvl="1" algn="ctr" fontAlgn="base">
              <a:buClr>
                <a:srgbClr val="503971"/>
              </a:buClr>
              <a:defRPr/>
            </a:pPr>
            <a:endParaRPr lang="fr-FR" sz="1100" dirty="0">
              <a:solidFill>
                <a:schemeClr val="tx1"/>
              </a:solidFill>
            </a:endParaRPr>
          </a:p>
          <a:p>
            <a:pPr algn="ctr"/>
            <a:r>
              <a:rPr lang="fr-FR" sz="1100" b="1" dirty="0" smtClean="0">
                <a:solidFill>
                  <a:schemeClr val="tx1"/>
                </a:solidFill>
              </a:rPr>
              <a:t>140 </a:t>
            </a:r>
            <a:r>
              <a:rPr lang="fr-FR" sz="1100" b="1" dirty="0">
                <a:solidFill>
                  <a:schemeClr val="tx1"/>
                </a:solidFill>
              </a:rPr>
              <a:t>ETP </a:t>
            </a:r>
            <a:r>
              <a:rPr lang="fr-FR" sz="1100" dirty="0">
                <a:solidFill>
                  <a:schemeClr val="tx1"/>
                </a:solidFill>
              </a:rPr>
              <a:t>Toulouse</a:t>
            </a:r>
          </a:p>
          <a:p>
            <a:pPr algn="ctr"/>
            <a:r>
              <a:rPr lang="fr-FR" sz="1100" b="1" dirty="0">
                <a:solidFill>
                  <a:schemeClr val="tx1"/>
                </a:solidFill>
              </a:rPr>
              <a:t>3000</a:t>
            </a:r>
            <a:r>
              <a:rPr lang="fr-FR" sz="1100" dirty="0">
                <a:solidFill>
                  <a:schemeClr val="tx1"/>
                </a:solidFill>
              </a:rPr>
              <a:t> utilisateurs, ERP et </a:t>
            </a:r>
            <a:r>
              <a:rPr lang="fr-FR" sz="1100" dirty="0" smtClean="0">
                <a:solidFill>
                  <a:schemeClr val="tx1"/>
                </a:solidFill>
              </a:rPr>
              <a:t>J2E</a:t>
            </a:r>
            <a:endParaRPr lang="fr-FR" sz="1100" dirty="0">
              <a:solidFill>
                <a:schemeClr val="tx1"/>
              </a:solidFill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6543255" y="3809694"/>
            <a:ext cx="2808312" cy="264317"/>
          </a:xfrm>
          <a:prstGeom prst="round2SameRect">
            <a:avLst/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5400000" scaled="1"/>
            <a:tileRect/>
          </a:gradFill>
        </p:spPr>
        <p:txBody>
          <a:bodyPr wrap="none" lIns="18000" tIns="18000" rIns="18000" bIns="18000" rtlCol="0" anchor="ctr">
            <a:noAutofit/>
          </a:bodyPr>
          <a:lstStyle/>
          <a:p>
            <a:pPr algn="ctr"/>
            <a:r>
              <a:rPr lang="fr-FR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éronautique &amp; </a:t>
            </a:r>
            <a:r>
              <a:rPr lang="fr-FR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éfense</a:t>
            </a:r>
          </a:p>
        </p:txBody>
      </p:sp>
      <p:pic>
        <p:nvPicPr>
          <p:cNvPr id="29" name="Picture 10" descr="SFR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90300" y="1809375"/>
            <a:ext cx="273590" cy="276873"/>
          </a:xfrm>
          <a:prstGeom prst="rect">
            <a:avLst/>
          </a:prstGeom>
          <a:noFill/>
        </p:spPr>
      </p:pic>
      <p:pic>
        <p:nvPicPr>
          <p:cNvPr id="30" name="Picture 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88520" y="3474159"/>
            <a:ext cx="280987" cy="28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13" descr="https://encrypted-tbn1.gstatic.com/images?q=tbn:ANd9GcSgakbi6-DodAJePAziPWhK230tZsDhnO9lM9TNxdlW8JCoTFRO7JwZLfs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944704" y="3477206"/>
            <a:ext cx="595219" cy="275726"/>
          </a:xfrm>
          <a:prstGeom prst="rect">
            <a:avLst/>
          </a:prstGeom>
          <a:noFill/>
        </p:spPr>
      </p:pic>
      <p:pic>
        <p:nvPicPr>
          <p:cNvPr id="32" name="Image 31" descr="sncf.gif"/>
          <p:cNvPicPr>
            <a:picLocks noChangeAspect="1"/>
          </p:cNvPicPr>
          <p:nvPr/>
        </p:nvPicPr>
        <p:blipFill>
          <a:blip r:embed="rId11" cstate="screen"/>
          <a:stretch>
            <a:fillRect/>
          </a:stretch>
        </p:blipFill>
        <p:spPr>
          <a:xfrm>
            <a:off x="6561420" y="1786135"/>
            <a:ext cx="510894" cy="292912"/>
          </a:xfrm>
          <a:prstGeom prst="rect">
            <a:avLst/>
          </a:prstGeom>
        </p:spPr>
      </p:pic>
      <p:pic>
        <p:nvPicPr>
          <p:cNvPr id="33" name="Picture 2" descr="Adecco Logo">
            <a:hlinkClick r:id="rId12" tooltip="Adecco Logo"/>
          </p:cNvPr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951631" y="3518336"/>
            <a:ext cx="366241" cy="199601"/>
          </a:xfrm>
          <a:prstGeom prst="rect">
            <a:avLst/>
          </a:prstGeom>
          <a:noFill/>
        </p:spPr>
      </p:pic>
      <p:pic>
        <p:nvPicPr>
          <p:cNvPr id="34" name="Picture 12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415782" y="3516595"/>
            <a:ext cx="462049" cy="203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7"/>
          <p:cNvPicPr>
            <a:picLocks noChangeAspect="1" noChangeArrowheads="1"/>
          </p:cNvPicPr>
          <p:nvPr/>
        </p:nvPicPr>
        <p:blipFill>
          <a:blip r:embed="rId15" cstate="print"/>
          <a:srcRect l="7460" t="7753" r="7381" b="6135"/>
          <a:stretch>
            <a:fillRect/>
          </a:stretch>
        </p:blipFill>
        <p:spPr bwMode="auto">
          <a:xfrm>
            <a:off x="7975741" y="3477823"/>
            <a:ext cx="370029" cy="280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31"/>
          <p:cNvPicPr>
            <a:picLocks noChangeAspect="1" noChangeArrowheads="1"/>
          </p:cNvPicPr>
          <p:nvPr/>
        </p:nvPicPr>
        <p:blipFill>
          <a:blip r:embed="rId16" cstate="print"/>
          <a:srcRect l="9882" t="20409" r="10851" b="19519"/>
          <a:stretch>
            <a:fillRect/>
          </a:stretch>
        </p:blipFill>
        <p:spPr bwMode="auto">
          <a:xfrm>
            <a:off x="8443681" y="3508954"/>
            <a:ext cx="596861" cy="218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45" descr="SANOFI_Logo_H_2011_Quadri copie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825" y="5858765"/>
            <a:ext cx="432048" cy="99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Image 37" descr="logo-auchan.gif"/>
          <p:cNvPicPr>
            <a:picLocks noChangeAspect="1"/>
          </p:cNvPicPr>
          <p:nvPr/>
        </p:nvPicPr>
        <p:blipFill>
          <a:blip r:embed="rId18" cstate="screen"/>
          <a:srcRect r="-5998" b="-29676"/>
          <a:stretch>
            <a:fillRect/>
          </a:stretch>
        </p:blipFill>
        <p:spPr>
          <a:xfrm>
            <a:off x="2102857" y="5856221"/>
            <a:ext cx="389784" cy="104659"/>
          </a:xfrm>
          <a:prstGeom prst="rect">
            <a:avLst/>
          </a:prstGeom>
        </p:spPr>
      </p:pic>
      <p:pic>
        <p:nvPicPr>
          <p:cNvPr id="39" name="Picture 8" descr="http://a70.g.akamai.net/7/70/36744/v001/schneider2.download.akamai.com/36774/failover/500/site_maintenance_logo.gif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3339" y="4113646"/>
            <a:ext cx="432048" cy="216024"/>
          </a:xfrm>
          <a:prstGeom prst="rect">
            <a:avLst/>
          </a:prstGeom>
          <a:noFill/>
        </p:spPr>
      </p:pic>
      <p:pic>
        <p:nvPicPr>
          <p:cNvPr id="40" name="Picture 9" descr="http://t1.gstatic.com/images?q=tbn:ANd9GcSHSBnAdymRt8n64HrwcxbtRSHWs9fYYwfJBN_mmQR6CQs2Cxp3JzFkY1L1">
            <a:hlinkClick r:id="rId21"/>
          </p:cNvPr>
          <p:cNvPicPr>
            <a:picLocks noChangeAspect="1" noChangeArrowheads="1"/>
          </p:cNvPicPr>
          <p:nvPr/>
        </p:nvPicPr>
        <p:blipFill>
          <a:blip r:embed="rId22" cstate="screen"/>
          <a:srcRect/>
          <a:stretch>
            <a:fillRect/>
          </a:stretch>
        </p:blipFill>
        <p:spPr bwMode="auto">
          <a:xfrm>
            <a:off x="1199507" y="5792243"/>
            <a:ext cx="290882" cy="232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" name="Image 40" descr="Logo_Technip.jpg"/>
          <p:cNvPicPr>
            <a:picLocks noChangeAspect="1"/>
          </p:cNvPicPr>
          <p:nvPr/>
        </p:nvPicPr>
        <p:blipFill>
          <a:blip r:embed="rId23" cstate="screen"/>
          <a:srcRect l="5732" r="10795"/>
          <a:stretch>
            <a:fillRect/>
          </a:stretch>
        </p:blipFill>
        <p:spPr>
          <a:xfrm>
            <a:off x="1568023" y="5810613"/>
            <a:ext cx="457200" cy="195874"/>
          </a:xfrm>
          <a:prstGeom prst="rect">
            <a:avLst/>
          </a:prstGeom>
        </p:spPr>
      </p:pic>
      <p:pic>
        <p:nvPicPr>
          <p:cNvPr id="42" name="Picture 14"/>
          <p:cNvPicPr>
            <a:picLocks noChangeAspect="1" noChangeArrowheads="1"/>
          </p:cNvPicPr>
          <p:nvPr/>
        </p:nvPicPr>
        <p:blipFill>
          <a:blip r:embed="rId24" cstate="print"/>
          <a:srcRect t="35201" b="35040"/>
          <a:stretch>
            <a:fillRect/>
          </a:stretch>
        </p:blipFill>
        <p:spPr bwMode="auto">
          <a:xfrm>
            <a:off x="2570274" y="5807013"/>
            <a:ext cx="682403" cy="203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8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583832" y="4090382"/>
            <a:ext cx="330943" cy="194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26"/>
          <p:cNvPicPr>
            <a:picLocks noChangeAspect="1" noChangeArrowheads="1"/>
          </p:cNvPicPr>
          <p:nvPr/>
        </p:nvPicPr>
        <p:blipFill>
          <a:blip r:embed="rId26" cstate="screen"/>
          <a:srcRect/>
          <a:stretch>
            <a:fillRect/>
          </a:stretch>
        </p:blipFill>
        <p:spPr bwMode="auto">
          <a:xfrm>
            <a:off x="3952875" y="5790555"/>
            <a:ext cx="216023" cy="216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6" descr="http://www.businessimmo.com/system/datas/32537/original/ministere-economie-finance.jpg?1359390971"/>
          <p:cNvPicPr>
            <a:picLocks noChangeAspect="1" noChangeArrowheads="1"/>
          </p:cNvPicPr>
          <p:nvPr/>
        </p:nvPicPr>
        <p:blipFill>
          <a:blip r:embed="rId2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8489" b="18883"/>
          <a:stretch>
            <a:fillRect/>
          </a:stretch>
        </p:blipFill>
        <p:spPr bwMode="auto">
          <a:xfrm>
            <a:off x="4247232" y="5761931"/>
            <a:ext cx="700206" cy="273270"/>
          </a:xfrm>
          <a:prstGeom prst="rect">
            <a:avLst/>
          </a:prstGeom>
          <a:noFill/>
        </p:spPr>
      </p:pic>
      <p:pic>
        <p:nvPicPr>
          <p:cNvPr id="46" name="Picture 20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4999223" y="5778382"/>
            <a:ext cx="184053" cy="240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3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5280413" y="5774107"/>
            <a:ext cx="253998" cy="248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25" descr="https://encrypted-tbn1.gstatic.com/images?q=tbn:ANd9GcRE6baf0ZxzzJ16wd77lFX7w1mbVC1RUf4SBsHGzVg6TW6OC3JhUqHGm8U">
            <a:hlinkClick r:id="rId30"/>
          </p:cNvPr>
          <p:cNvPicPr>
            <a:picLocks noChangeAspect="1" noChangeArrowheads="1"/>
          </p:cNvPicPr>
          <p:nvPr/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5610352" y="5792431"/>
            <a:ext cx="265339" cy="212271"/>
          </a:xfrm>
          <a:prstGeom prst="rect">
            <a:avLst/>
          </a:prstGeom>
          <a:noFill/>
        </p:spPr>
      </p:pic>
      <p:pic>
        <p:nvPicPr>
          <p:cNvPr id="49" name="Picture 23" descr="https://encrypted-tbn2.gstatic.com/images?q=tbn:ANd9GcRhkmih6y0RBGJKHN5QLmOR8NokxzARbe6R2mxDh_XhnOdIaIU5"/>
          <p:cNvPicPr>
            <a:picLocks noChangeAspect="1" noChangeArrowheads="1"/>
          </p:cNvPicPr>
          <p:nvPr/>
        </p:nvPicPr>
        <p:blipFill>
          <a:blip r:embed="rId32" cstate="screen"/>
          <a:srcRect/>
          <a:stretch>
            <a:fillRect/>
          </a:stretch>
        </p:blipFill>
        <p:spPr bwMode="auto">
          <a:xfrm>
            <a:off x="6601553" y="4108301"/>
            <a:ext cx="350078" cy="285404"/>
          </a:xfrm>
          <a:prstGeom prst="rect">
            <a:avLst/>
          </a:prstGeom>
          <a:noFill/>
        </p:spPr>
      </p:pic>
      <p:pic>
        <p:nvPicPr>
          <p:cNvPr id="50" name="Picture 27" descr="Logo Cnes Centre national d études spatiales">
            <a:hlinkClick r:id="rId33" tooltip="logo cnes centre national d etudes spatiales"/>
          </p:cNvPr>
          <p:cNvPicPr>
            <a:picLocks noChangeAspect="1" noChangeArrowheads="1"/>
          </p:cNvPicPr>
          <p:nvPr/>
        </p:nvPicPr>
        <p:blipFill>
          <a:blip r:embed="rId34" cstate="print"/>
          <a:srcRect t="5196" r="9107" b="15153"/>
          <a:stretch>
            <a:fillRect/>
          </a:stretch>
        </p:blipFill>
        <p:spPr bwMode="auto">
          <a:xfrm>
            <a:off x="7901765" y="5770664"/>
            <a:ext cx="320357" cy="257150"/>
          </a:xfrm>
          <a:prstGeom prst="rect">
            <a:avLst/>
          </a:prstGeom>
          <a:noFill/>
        </p:spPr>
      </p:pic>
      <p:pic>
        <p:nvPicPr>
          <p:cNvPr id="51" name="Picture 30"/>
          <p:cNvPicPr>
            <a:picLocks noChangeAspect="1" noChangeArrowheads="1"/>
          </p:cNvPicPr>
          <p:nvPr/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7519218" y="5754459"/>
            <a:ext cx="255175" cy="289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8" name="Connecteur droit 57"/>
          <p:cNvCxnSpPr/>
          <p:nvPr/>
        </p:nvCxnSpPr>
        <p:spPr>
          <a:xfrm flipH="1">
            <a:off x="563553" y="4058632"/>
            <a:ext cx="2808000" cy="0"/>
          </a:xfrm>
          <a:prstGeom prst="line">
            <a:avLst/>
          </a:pr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eur droit 58"/>
          <p:cNvCxnSpPr/>
          <p:nvPr/>
        </p:nvCxnSpPr>
        <p:spPr>
          <a:xfrm flipH="1">
            <a:off x="3553560" y="4058632"/>
            <a:ext cx="2808000" cy="0"/>
          </a:xfrm>
          <a:prstGeom prst="line">
            <a:avLst/>
          </a:pr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eur droit 59"/>
          <p:cNvCxnSpPr/>
          <p:nvPr/>
        </p:nvCxnSpPr>
        <p:spPr>
          <a:xfrm flipH="1">
            <a:off x="6543567" y="4058632"/>
            <a:ext cx="2808000" cy="0"/>
          </a:xfrm>
          <a:prstGeom prst="line">
            <a:avLst/>
          </a:pr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Image 60"/>
          <p:cNvPicPr>
            <a:picLocks noChangeAspect="1"/>
          </p:cNvPicPr>
          <p:nvPr/>
        </p:nvPicPr>
        <p:blipFill>
          <a:blip r:embed="rId3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45" y="1809375"/>
            <a:ext cx="589899" cy="266138"/>
          </a:xfrm>
          <a:prstGeom prst="rect">
            <a:avLst/>
          </a:prstGeom>
        </p:spPr>
      </p:pic>
      <p:sp>
        <p:nvSpPr>
          <p:cNvPr id="88" name="Freeform 19"/>
          <p:cNvSpPr>
            <a:spLocks/>
          </p:cNvSpPr>
          <p:nvPr/>
        </p:nvSpPr>
        <p:spPr bwMode="auto">
          <a:xfrm>
            <a:off x="8900317" y="259314"/>
            <a:ext cx="81331" cy="322933"/>
          </a:xfrm>
          <a:custGeom>
            <a:avLst/>
            <a:gdLst>
              <a:gd name="T0" fmla="*/ 23 w 23"/>
              <a:gd name="T1" fmla="*/ 0 h 89"/>
              <a:gd name="T2" fmla="*/ 0 w 23"/>
              <a:gd name="T3" fmla="*/ 63 h 89"/>
              <a:gd name="T4" fmla="*/ 4 w 23"/>
              <a:gd name="T5" fmla="*/ 89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3" h="89">
                <a:moveTo>
                  <a:pt x="23" y="0"/>
                </a:moveTo>
                <a:cubicBezTo>
                  <a:pt x="8" y="17"/>
                  <a:pt x="0" y="39"/>
                  <a:pt x="0" y="63"/>
                </a:cubicBezTo>
                <a:cubicBezTo>
                  <a:pt x="0" y="72"/>
                  <a:pt x="1" y="81"/>
                  <a:pt x="4" y="89"/>
                </a:cubicBezTo>
              </a:path>
            </a:pathLst>
          </a:custGeom>
          <a:noFill/>
          <a:ln w="12700" cap="rnd">
            <a:solidFill>
              <a:srgbClr val="9F958F">
                <a:lumMod val="40000"/>
                <a:lumOff val="6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9" name="Freeform 20"/>
          <p:cNvSpPr>
            <a:spLocks/>
          </p:cNvSpPr>
          <p:nvPr/>
        </p:nvSpPr>
        <p:spPr bwMode="auto">
          <a:xfrm>
            <a:off x="8981648" y="137317"/>
            <a:ext cx="538221" cy="121997"/>
          </a:xfrm>
          <a:custGeom>
            <a:avLst/>
            <a:gdLst>
              <a:gd name="T0" fmla="*/ 0 w 148"/>
              <a:gd name="T1" fmla="*/ 34 h 34"/>
              <a:gd name="T2" fmla="*/ 74 w 148"/>
              <a:gd name="T3" fmla="*/ 0 h 34"/>
              <a:gd name="T4" fmla="*/ 148 w 148"/>
              <a:gd name="T5" fmla="*/ 34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8" h="34">
                <a:moveTo>
                  <a:pt x="0" y="34"/>
                </a:moveTo>
                <a:cubicBezTo>
                  <a:pt x="17" y="13"/>
                  <a:pt x="44" y="0"/>
                  <a:pt x="74" y="0"/>
                </a:cubicBezTo>
                <a:cubicBezTo>
                  <a:pt x="104" y="0"/>
                  <a:pt x="130" y="13"/>
                  <a:pt x="148" y="34"/>
                </a:cubicBezTo>
              </a:path>
            </a:pathLst>
          </a:custGeom>
          <a:noFill/>
          <a:ln w="12700" cap="rnd">
            <a:solidFill>
              <a:srgbClr val="9F958F">
                <a:lumMod val="40000"/>
                <a:lumOff val="6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0" name="Freeform 21"/>
          <p:cNvSpPr>
            <a:spLocks/>
          </p:cNvSpPr>
          <p:nvPr/>
        </p:nvSpPr>
        <p:spPr bwMode="auto">
          <a:xfrm>
            <a:off x="9445713" y="259314"/>
            <a:ext cx="74155" cy="33489"/>
          </a:xfrm>
          <a:custGeom>
            <a:avLst/>
            <a:gdLst>
              <a:gd name="T0" fmla="*/ 0 w 20"/>
              <a:gd name="T1" fmla="*/ 9 h 9"/>
              <a:gd name="T2" fmla="*/ 20 w 20"/>
              <a:gd name="T3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0" h="9">
                <a:moveTo>
                  <a:pt x="0" y="9"/>
                </a:moveTo>
                <a:cubicBezTo>
                  <a:pt x="8" y="6"/>
                  <a:pt x="14" y="4"/>
                  <a:pt x="20" y="0"/>
                </a:cubicBezTo>
              </a:path>
            </a:pathLst>
          </a:custGeom>
          <a:noFill/>
          <a:ln w="12700" cap="rnd">
            <a:solidFill>
              <a:srgbClr val="9F958F">
                <a:lumMod val="40000"/>
                <a:lumOff val="6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1" name="Freeform 22"/>
          <p:cNvSpPr>
            <a:spLocks/>
          </p:cNvSpPr>
          <p:nvPr/>
        </p:nvSpPr>
        <p:spPr bwMode="auto">
          <a:xfrm>
            <a:off x="8981648" y="259314"/>
            <a:ext cx="165055" cy="55019"/>
          </a:xfrm>
          <a:custGeom>
            <a:avLst/>
            <a:gdLst>
              <a:gd name="T0" fmla="*/ 0 w 45"/>
              <a:gd name="T1" fmla="*/ 0 h 15"/>
              <a:gd name="T2" fmla="*/ 45 w 45"/>
              <a:gd name="T3" fmla="*/ 15 h 15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45" h="15">
                <a:moveTo>
                  <a:pt x="0" y="0"/>
                </a:moveTo>
                <a:cubicBezTo>
                  <a:pt x="11" y="7"/>
                  <a:pt x="27" y="12"/>
                  <a:pt x="45" y="15"/>
                </a:cubicBezTo>
              </a:path>
            </a:pathLst>
          </a:custGeom>
          <a:noFill/>
          <a:ln w="12700" cap="rnd">
            <a:solidFill>
              <a:srgbClr val="9F958F">
                <a:lumMod val="40000"/>
                <a:lumOff val="6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2" name="Freeform 23"/>
          <p:cNvSpPr>
            <a:spLocks/>
          </p:cNvSpPr>
          <p:nvPr/>
        </p:nvSpPr>
        <p:spPr bwMode="auto">
          <a:xfrm>
            <a:off x="8981648" y="651617"/>
            <a:ext cx="538221" cy="59803"/>
          </a:xfrm>
          <a:custGeom>
            <a:avLst/>
            <a:gdLst>
              <a:gd name="T0" fmla="*/ 148 w 148"/>
              <a:gd name="T1" fmla="*/ 17 h 17"/>
              <a:gd name="T2" fmla="*/ 74 w 148"/>
              <a:gd name="T3" fmla="*/ 0 h 17"/>
              <a:gd name="T4" fmla="*/ 0 w 148"/>
              <a:gd name="T5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8" h="17">
                <a:moveTo>
                  <a:pt x="148" y="17"/>
                </a:moveTo>
                <a:cubicBezTo>
                  <a:pt x="130" y="6"/>
                  <a:pt x="104" y="0"/>
                  <a:pt x="74" y="0"/>
                </a:cubicBezTo>
                <a:cubicBezTo>
                  <a:pt x="44" y="0"/>
                  <a:pt x="17" y="6"/>
                  <a:pt x="0" y="17"/>
                </a:cubicBezTo>
              </a:path>
            </a:pathLst>
          </a:custGeom>
          <a:noFill/>
          <a:ln w="12700" cap="rnd">
            <a:solidFill>
              <a:srgbClr val="9F958F">
                <a:lumMod val="40000"/>
                <a:lumOff val="6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3" name="Freeform 24"/>
          <p:cNvSpPr>
            <a:spLocks/>
          </p:cNvSpPr>
          <p:nvPr/>
        </p:nvSpPr>
        <p:spPr bwMode="auto">
          <a:xfrm>
            <a:off x="9072548" y="137317"/>
            <a:ext cx="294228" cy="224856"/>
          </a:xfrm>
          <a:custGeom>
            <a:avLst/>
            <a:gdLst>
              <a:gd name="T0" fmla="*/ 0 w 81"/>
              <a:gd name="T1" fmla="*/ 62 h 62"/>
              <a:gd name="T2" fmla="*/ 49 w 81"/>
              <a:gd name="T3" fmla="*/ 0 h 62"/>
              <a:gd name="T4" fmla="*/ 81 w 81"/>
              <a:gd name="T5" fmla="*/ 2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1" h="62">
                <a:moveTo>
                  <a:pt x="0" y="62"/>
                </a:moveTo>
                <a:cubicBezTo>
                  <a:pt x="7" y="25"/>
                  <a:pt x="26" y="0"/>
                  <a:pt x="49" y="0"/>
                </a:cubicBezTo>
                <a:cubicBezTo>
                  <a:pt x="61" y="0"/>
                  <a:pt x="72" y="7"/>
                  <a:pt x="81" y="20"/>
                </a:cubicBezTo>
              </a:path>
            </a:pathLst>
          </a:custGeom>
          <a:noFill/>
          <a:ln w="12700" cap="rnd">
            <a:solidFill>
              <a:srgbClr val="9F958F">
                <a:lumMod val="40000"/>
                <a:lumOff val="6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4" name="Freeform 25"/>
          <p:cNvSpPr>
            <a:spLocks/>
          </p:cNvSpPr>
          <p:nvPr/>
        </p:nvSpPr>
        <p:spPr bwMode="auto">
          <a:xfrm>
            <a:off x="9058195" y="338253"/>
            <a:ext cx="380343" cy="499947"/>
          </a:xfrm>
          <a:custGeom>
            <a:avLst/>
            <a:gdLst>
              <a:gd name="T0" fmla="*/ 101 w 105"/>
              <a:gd name="T1" fmla="*/ 0 h 138"/>
              <a:gd name="T2" fmla="*/ 105 w 105"/>
              <a:gd name="T3" fmla="*/ 41 h 138"/>
              <a:gd name="T4" fmla="*/ 53 w 105"/>
              <a:gd name="T5" fmla="*/ 138 h 138"/>
              <a:gd name="T6" fmla="*/ 0 w 105"/>
              <a:gd name="T7" fmla="*/ 41 h 138"/>
              <a:gd name="T8" fmla="*/ 1 w 105"/>
              <a:gd name="T9" fmla="*/ 29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" h="138">
                <a:moveTo>
                  <a:pt x="101" y="0"/>
                </a:moveTo>
                <a:cubicBezTo>
                  <a:pt x="104" y="12"/>
                  <a:pt x="105" y="26"/>
                  <a:pt x="105" y="41"/>
                </a:cubicBezTo>
                <a:cubicBezTo>
                  <a:pt x="105" y="94"/>
                  <a:pt x="82" y="138"/>
                  <a:pt x="53" y="138"/>
                </a:cubicBezTo>
                <a:cubicBezTo>
                  <a:pt x="24" y="138"/>
                  <a:pt x="0" y="94"/>
                  <a:pt x="0" y="41"/>
                </a:cubicBezTo>
                <a:cubicBezTo>
                  <a:pt x="0" y="37"/>
                  <a:pt x="1" y="33"/>
                  <a:pt x="1" y="29"/>
                </a:cubicBezTo>
              </a:path>
            </a:pathLst>
          </a:custGeom>
          <a:noFill/>
          <a:ln w="12700" cap="rnd">
            <a:solidFill>
              <a:srgbClr val="9F958F">
                <a:lumMod val="40000"/>
                <a:lumOff val="6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5" name="Line 26"/>
          <p:cNvSpPr>
            <a:spLocks noChangeShapeType="1"/>
          </p:cNvSpPr>
          <p:nvPr/>
        </p:nvSpPr>
        <p:spPr bwMode="auto">
          <a:xfrm>
            <a:off x="9500731" y="488955"/>
            <a:ext cx="100468" cy="0"/>
          </a:xfrm>
          <a:prstGeom prst="line">
            <a:avLst/>
          </a:prstGeom>
          <a:noFill/>
          <a:ln w="12700" cap="rnd">
            <a:solidFill>
              <a:srgbClr val="9F958F">
                <a:lumMod val="40000"/>
                <a:lumOff val="6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6" name="Line 27"/>
          <p:cNvSpPr>
            <a:spLocks noChangeShapeType="1"/>
          </p:cNvSpPr>
          <p:nvPr/>
        </p:nvSpPr>
        <p:spPr bwMode="auto">
          <a:xfrm>
            <a:off x="9385911" y="488955"/>
            <a:ext cx="0" cy="0"/>
          </a:xfrm>
          <a:prstGeom prst="line">
            <a:avLst/>
          </a:prstGeom>
          <a:noFill/>
          <a:ln w="12700" cap="rnd">
            <a:solidFill>
              <a:srgbClr val="B1B3B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7" name="Line 28"/>
          <p:cNvSpPr>
            <a:spLocks noChangeShapeType="1"/>
          </p:cNvSpPr>
          <p:nvPr/>
        </p:nvSpPr>
        <p:spPr bwMode="auto">
          <a:xfrm>
            <a:off x="9309364" y="488955"/>
            <a:ext cx="0" cy="0"/>
          </a:xfrm>
          <a:prstGeom prst="line">
            <a:avLst/>
          </a:prstGeom>
          <a:noFill/>
          <a:ln w="12700" cap="rnd">
            <a:solidFill>
              <a:srgbClr val="B1B3B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8" name="Line 30"/>
          <p:cNvSpPr>
            <a:spLocks noChangeShapeType="1"/>
          </p:cNvSpPr>
          <p:nvPr/>
        </p:nvSpPr>
        <p:spPr bwMode="auto">
          <a:xfrm flipV="1">
            <a:off x="9251954" y="137317"/>
            <a:ext cx="0" cy="90899"/>
          </a:xfrm>
          <a:prstGeom prst="line">
            <a:avLst/>
          </a:prstGeom>
          <a:noFill/>
          <a:ln w="12700" cap="rnd">
            <a:solidFill>
              <a:srgbClr val="9F958F">
                <a:lumMod val="40000"/>
                <a:lumOff val="6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9" name="Line 31"/>
          <p:cNvSpPr>
            <a:spLocks noChangeShapeType="1"/>
          </p:cNvSpPr>
          <p:nvPr/>
        </p:nvSpPr>
        <p:spPr bwMode="auto">
          <a:xfrm flipV="1">
            <a:off x="9251954" y="575070"/>
            <a:ext cx="0" cy="263130"/>
          </a:xfrm>
          <a:prstGeom prst="line">
            <a:avLst/>
          </a:prstGeom>
          <a:noFill/>
          <a:ln w="12700" cap="rnd">
            <a:solidFill>
              <a:srgbClr val="9F958F">
                <a:lumMod val="40000"/>
                <a:lumOff val="6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0" name="Line 41"/>
          <p:cNvSpPr>
            <a:spLocks noChangeShapeType="1"/>
          </p:cNvSpPr>
          <p:nvPr/>
        </p:nvSpPr>
        <p:spPr bwMode="auto">
          <a:xfrm>
            <a:off x="8967296" y="687498"/>
            <a:ext cx="0" cy="0"/>
          </a:xfrm>
          <a:prstGeom prst="line">
            <a:avLst/>
          </a:prstGeom>
          <a:noFill/>
          <a:ln w="12700" cap="rnd">
            <a:solidFill>
              <a:srgbClr val="9F958F">
                <a:lumMod val="40000"/>
                <a:lumOff val="6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1" name="Freeform 42"/>
          <p:cNvSpPr>
            <a:spLocks/>
          </p:cNvSpPr>
          <p:nvPr/>
        </p:nvSpPr>
        <p:spPr bwMode="auto">
          <a:xfrm>
            <a:off x="8975379" y="259314"/>
            <a:ext cx="625821" cy="578886"/>
          </a:xfrm>
          <a:custGeom>
            <a:avLst/>
            <a:gdLst>
              <a:gd name="T0" fmla="*/ 0 w 244"/>
              <a:gd name="T1" fmla="*/ 103 h 160"/>
              <a:gd name="T2" fmla="*/ 0 w 244"/>
              <a:gd name="T3" fmla="*/ 122 h 160"/>
              <a:gd name="T4" fmla="*/ 71 w 244"/>
              <a:gd name="T5" fmla="*/ 123 h 160"/>
              <a:gd name="T6" fmla="*/ 147 w 244"/>
              <a:gd name="T7" fmla="*/ 160 h 160"/>
              <a:gd name="T8" fmla="*/ 244 w 244"/>
              <a:gd name="T9" fmla="*/ 63 h 160"/>
              <a:gd name="T10" fmla="*/ 221 w 244"/>
              <a:gd name="T11" fmla="*/ 0 h 160"/>
              <a:gd name="connsiteX0" fmla="*/ 0 w 10000"/>
              <a:gd name="connsiteY0" fmla="*/ 6438 h 10000"/>
              <a:gd name="connsiteX1" fmla="*/ 2910 w 10000"/>
              <a:gd name="connsiteY1" fmla="*/ 7688 h 10000"/>
              <a:gd name="connsiteX2" fmla="*/ 6025 w 10000"/>
              <a:gd name="connsiteY2" fmla="*/ 10000 h 10000"/>
              <a:gd name="connsiteX3" fmla="*/ 10000 w 10000"/>
              <a:gd name="connsiteY3" fmla="*/ 3938 h 10000"/>
              <a:gd name="connsiteX4" fmla="*/ 9057 w 10000"/>
              <a:gd name="connsiteY4" fmla="*/ 0 h 10000"/>
              <a:gd name="connsiteX0" fmla="*/ 0 w 7090"/>
              <a:gd name="connsiteY0" fmla="*/ 7688 h 10000"/>
              <a:gd name="connsiteX1" fmla="*/ 3115 w 7090"/>
              <a:gd name="connsiteY1" fmla="*/ 10000 h 10000"/>
              <a:gd name="connsiteX2" fmla="*/ 7090 w 7090"/>
              <a:gd name="connsiteY2" fmla="*/ 3938 h 10000"/>
              <a:gd name="connsiteX3" fmla="*/ 6147 w 7090"/>
              <a:gd name="connsiteY3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90" h="10000">
                <a:moveTo>
                  <a:pt x="0" y="7688"/>
                </a:moveTo>
                <a:cubicBezTo>
                  <a:pt x="656" y="9000"/>
                  <a:pt x="1885" y="10000"/>
                  <a:pt x="3115" y="10000"/>
                </a:cubicBezTo>
                <a:cubicBezTo>
                  <a:pt x="5287" y="10000"/>
                  <a:pt x="7090" y="7250"/>
                  <a:pt x="7090" y="3938"/>
                </a:cubicBezTo>
                <a:cubicBezTo>
                  <a:pt x="7090" y="2438"/>
                  <a:pt x="6721" y="1063"/>
                  <a:pt x="6147" y="0"/>
                </a:cubicBezTo>
              </a:path>
            </a:pathLst>
          </a:custGeom>
          <a:noFill/>
          <a:ln w="12700" cap="rnd">
            <a:solidFill>
              <a:srgbClr val="9F958F">
                <a:lumMod val="40000"/>
                <a:lumOff val="6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2" name="Freeform 66"/>
          <p:cNvSpPr>
            <a:spLocks/>
          </p:cNvSpPr>
          <p:nvPr/>
        </p:nvSpPr>
        <p:spPr bwMode="auto">
          <a:xfrm>
            <a:off x="8694576" y="299465"/>
            <a:ext cx="64587" cy="64587"/>
          </a:xfrm>
          <a:prstGeom prst="ellipse">
            <a:avLst/>
          </a:prstGeom>
          <a:solidFill>
            <a:srgbClr val="9F958F">
              <a:lumMod val="40000"/>
              <a:lumOff val="60000"/>
            </a:srgbClr>
          </a:solidFill>
          <a:ln w="12700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3" name="Oval 68"/>
          <p:cNvSpPr>
            <a:spLocks noChangeArrowheads="1"/>
          </p:cNvSpPr>
          <p:nvPr/>
        </p:nvSpPr>
        <p:spPr bwMode="auto">
          <a:xfrm>
            <a:off x="8661086" y="263583"/>
            <a:ext cx="133957" cy="133957"/>
          </a:xfrm>
          <a:prstGeom prst="ellipse">
            <a:avLst/>
          </a:prstGeom>
          <a:noFill/>
          <a:ln w="12700" cap="rnd">
            <a:solidFill>
              <a:srgbClr val="9F958F">
                <a:lumMod val="40000"/>
                <a:lumOff val="6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4" name="Freeform 39"/>
          <p:cNvSpPr>
            <a:spLocks/>
          </p:cNvSpPr>
          <p:nvPr/>
        </p:nvSpPr>
        <p:spPr bwMode="auto">
          <a:xfrm>
            <a:off x="9153879" y="223432"/>
            <a:ext cx="373166" cy="337285"/>
          </a:xfrm>
          <a:custGeom>
            <a:avLst/>
            <a:gdLst>
              <a:gd name="T0" fmla="*/ 3 w 156"/>
              <a:gd name="T1" fmla="*/ 27 h 141"/>
              <a:gd name="T2" fmla="*/ 3 w 156"/>
              <a:gd name="T3" fmla="*/ 33 h 141"/>
              <a:gd name="T4" fmla="*/ 15 w 156"/>
              <a:gd name="T5" fmla="*/ 41 h 141"/>
              <a:gd name="T6" fmla="*/ 25 w 156"/>
              <a:gd name="T7" fmla="*/ 47 h 141"/>
              <a:gd name="T8" fmla="*/ 24 w 156"/>
              <a:gd name="T9" fmla="*/ 55 h 141"/>
              <a:gd name="T10" fmla="*/ 30 w 156"/>
              <a:gd name="T11" fmla="*/ 65 h 141"/>
              <a:gd name="T12" fmla="*/ 33 w 156"/>
              <a:gd name="T13" fmla="*/ 82 h 141"/>
              <a:gd name="T14" fmla="*/ 27 w 156"/>
              <a:gd name="T15" fmla="*/ 82 h 141"/>
              <a:gd name="T16" fmla="*/ 24 w 156"/>
              <a:gd name="T17" fmla="*/ 89 h 141"/>
              <a:gd name="T18" fmla="*/ 19 w 156"/>
              <a:gd name="T19" fmla="*/ 97 h 141"/>
              <a:gd name="T20" fmla="*/ 12 w 156"/>
              <a:gd name="T21" fmla="*/ 111 h 141"/>
              <a:gd name="T22" fmla="*/ 12 w 156"/>
              <a:gd name="T23" fmla="*/ 117 h 141"/>
              <a:gd name="T24" fmla="*/ 33 w 156"/>
              <a:gd name="T25" fmla="*/ 130 h 141"/>
              <a:gd name="T26" fmla="*/ 51 w 156"/>
              <a:gd name="T27" fmla="*/ 138 h 141"/>
              <a:gd name="T28" fmla="*/ 66 w 156"/>
              <a:gd name="T29" fmla="*/ 141 h 141"/>
              <a:gd name="T30" fmla="*/ 71 w 156"/>
              <a:gd name="T31" fmla="*/ 130 h 141"/>
              <a:gd name="T32" fmla="*/ 86 w 156"/>
              <a:gd name="T33" fmla="*/ 126 h 141"/>
              <a:gd name="T34" fmla="*/ 95 w 156"/>
              <a:gd name="T35" fmla="*/ 130 h 141"/>
              <a:gd name="T36" fmla="*/ 110 w 156"/>
              <a:gd name="T37" fmla="*/ 138 h 141"/>
              <a:gd name="T38" fmla="*/ 122 w 156"/>
              <a:gd name="T39" fmla="*/ 135 h 141"/>
              <a:gd name="T40" fmla="*/ 133 w 156"/>
              <a:gd name="T41" fmla="*/ 126 h 141"/>
              <a:gd name="T42" fmla="*/ 127 w 156"/>
              <a:gd name="T43" fmla="*/ 121 h 141"/>
              <a:gd name="T44" fmla="*/ 125 w 156"/>
              <a:gd name="T45" fmla="*/ 109 h 141"/>
              <a:gd name="T46" fmla="*/ 128 w 156"/>
              <a:gd name="T47" fmla="*/ 97 h 141"/>
              <a:gd name="T48" fmla="*/ 128 w 156"/>
              <a:gd name="T49" fmla="*/ 86 h 141"/>
              <a:gd name="T50" fmla="*/ 122 w 156"/>
              <a:gd name="T51" fmla="*/ 86 h 141"/>
              <a:gd name="T52" fmla="*/ 119 w 156"/>
              <a:gd name="T53" fmla="*/ 85 h 141"/>
              <a:gd name="T54" fmla="*/ 127 w 156"/>
              <a:gd name="T55" fmla="*/ 77 h 141"/>
              <a:gd name="T56" fmla="*/ 137 w 156"/>
              <a:gd name="T57" fmla="*/ 67 h 141"/>
              <a:gd name="T58" fmla="*/ 144 w 156"/>
              <a:gd name="T59" fmla="*/ 62 h 141"/>
              <a:gd name="T60" fmla="*/ 148 w 156"/>
              <a:gd name="T61" fmla="*/ 53 h 141"/>
              <a:gd name="T62" fmla="*/ 156 w 156"/>
              <a:gd name="T63" fmla="*/ 44 h 141"/>
              <a:gd name="T64" fmla="*/ 147 w 156"/>
              <a:gd name="T65" fmla="*/ 39 h 141"/>
              <a:gd name="T66" fmla="*/ 136 w 156"/>
              <a:gd name="T67" fmla="*/ 36 h 141"/>
              <a:gd name="T68" fmla="*/ 128 w 156"/>
              <a:gd name="T69" fmla="*/ 30 h 141"/>
              <a:gd name="T70" fmla="*/ 118 w 156"/>
              <a:gd name="T71" fmla="*/ 23 h 141"/>
              <a:gd name="T72" fmla="*/ 110 w 156"/>
              <a:gd name="T73" fmla="*/ 14 h 141"/>
              <a:gd name="T74" fmla="*/ 103 w 156"/>
              <a:gd name="T75" fmla="*/ 6 h 141"/>
              <a:gd name="T76" fmla="*/ 91 w 156"/>
              <a:gd name="T77" fmla="*/ 0 h 141"/>
              <a:gd name="T78" fmla="*/ 84 w 156"/>
              <a:gd name="T79" fmla="*/ 6 h 141"/>
              <a:gd name="T80" fmla="*/ 65 w 156"/>
              <a:gd name="T81" fmla="*/ 17 h 141"/>
              <a:gd name="T82" fmla="*/ 54 w 156"/>
              <a:gd name="T83" fmla="*/ 20 h 141"/>
              <a:gd name="T84" fmla="*/ 45 w 156"/>
              <a:gd name="T85" fmla="*/ 15 h 141"/>
              <a:gd name="T86" fmla="*/ 41 w 156"/>
              <a:gd name="T87" fmla="*/ 11 h 141"/>
              <a:gd name="T88" fmla="*/ 42 w 156"/>
              <a:gd name="T89" fmla="*/ 15 h 141"/>
              <a:gd name="T90" fmla="*/ 41 w 156"/>
              <a:gd name="T91" fmla="*/ 21 h 141"/>
              <a:gd name="T92" fmla="*/ 38 w 156"/>
              <a:gd name="T93" fmla="*/ 26 h 141"/>
              <a:gd name="T94" fmla="*/ 28 w 156"/>
              <a:gd name="T95" fmla="*/ 24 h 141"/>
              <a:gd name="T96" fmla="*/ 19 w 156"/>
              <a:gd name="T97" fmla="*/ 18 h 141"/>
              <a:gd name="T98" fmla="*/ 12 w 156"/>
              <a:gd name="T99" fmla="*/ 2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56" h="141">
                <a:moveTo>
                  <a:pt x="3" y="20"/>
                </a:moveTo>
                <a:lnTo>
                  <a:pt x="4" y="23"/>
                </a:lnTo>
                <a:lnTo>
                  <a:pt x="3" y="26"/>
                </a:lnTo>
                <a:lnTo>
                  <a:pt x="3" y="27"/>
                </a:lnTo>
                <a:lnTo>
                  <a:pt x="0" y="27"/>
                </a:lnTo>
                <a:lnTo>
                  <a:pt x="1" y="29"/>
                </a:lnTo>
                <a:lnTo>
                  <a:pt x="1" y="30"/>
                </a:lnTo>
                <a:lnTo>
                  <a:pt x="3" y="33"/>
                </a:lnTo>
                <a:lnTo>
                  <a:pt x="6" y="32"/>
                </a:lnTo>
                <a:lnTo>
                  <a:pt x="10" y="36"/>
                </a:lnTo>
                <a:lnTo>
                  <a:pt x="12" y="39"/>
                </a:lnTo>
                <a:lnTo>
                  <a:pt x="15" y="41"/>
                </a:lnTo>
                <a:lnTo>
                  <a:pt x="18" y="41"/>
                </a:lnTo>
                <a:lnTo>
                  <a:pt x="19" y="44"/>
                </a:lnTo>
                <a:lnTo>
                  <a:pt x="22" y="47"/>
                </a:lnTo>
                <a:lnTo>
                  <a:pt x="25" y="47"/>
                </a:lnTo>
                <a:lnTo>
                  <a:pt x="25" y="48"/>
                </a:lnTo>
                <a:lnTo>
                  <a:pt x="24" y="52"/>
                </a:lnTo>
                <a:lnTo>
                  <a:pt x="24" y="53"/>
                </a:lnTo>
                <a:lnTo>
                  <a:pt x="24" y="55"/>
                </a:lnTo>
                <a:lnTo>
                  <a:pt x="22" y="59"/>
                </a:lnTo>
                <a:lnTo>
                  <a:pt x="25" y="62"/>
                </a:lnTo>
                <a:lnTo>
                  <a:pt x="30" y="64"/>
                </a:lnTo>
                <a:lnTo>
                  <a:pt x="30" y="65"/>
                </a:lnTo>
                <a:lnTo>
                  <a:pt x="28" y="73"/>
                </a:lnTo>
                <a:lnTo>
                  <a:pt x="28" y="77"/>
                </a:lnTo>
                <a:lnTo>
                  <a:pt x="28" y="79"/>
                </a:lnTo>
                <a:lnTo>
                  <a:pt x="33" y="82"/>
                </a:lnTo>
                <a:lnTo>
                  <a:pt x="33" y="85"/>
                </a:lnTo>
                <a:lnTo>
                  <a:pt x="33" y="88"/>
                </a:lnTo>
                <a:lnTo>
                  <a:pt x="28" y="83"/>
                </a:lnTo>
                <a:lnTo>
                  <a:pt x="27" y="82"/>
                </a:lnTo>
                <a:lnTo>
                  <a:pt x="25" y="82"/>
                </a:lnTo>
                <a:lnTo>
                  <a:pt x="27" y="83"/>
                </a:lnTo>
                <a:lnTo>
                  <a:pt x="25" y="86"/>
                </a:lnTo>
                <a:lnTo>
                  <a:pt x="24" y="89"/>
                </a:lnTo>
                <a:lnTo>
                  <a:pt x="22" y="91"/>
                </a:lnTo>
                <a:lnTo>
                  <a:pt x="24" y="92"/>
                </a:lnTo>
                <a:lnTo>
                  <a:pt x="22" y="94"/>
                </a:lnTo>
                <a:lnTo>
                  <a:pt x="19" y="97"/>
                </a:lnTo>
                <a:lnTo>
                  <a:pt x="19" y="98"/>
                </a:lnTo>
                <a:lnTo>
                  <a:pt x="18" y="101"/>
                </a:lnTo>
                <a:lnTo>
                  <a:pt x="15" y="106"/>
                </a:lnTo>
                <a:lnTo>
                  <a:pt x="12" y="111"/>
                </a:lnTo>
                <a:lnTo>
                  <a:pt x="12" y="111"/>
                </a:lnTo>
                <a:lnTo>
                  <a:pt x="13" y="112"/>
                </a:lnTo>
                <a:lnTo>
                  <a:pt x="12" y="115"/>
                </a:lnTo>
                <a:lnTo>
                  <a:pt x="12" y="117"/>
                </a:lnTo>
                <a:lnTo>
                  <a:pt x="15" y="120"/>
                </a:lnTo>
                <a:lnTo>
                  <a:pt x="24" y="126"/>
                </a:lnTo>
                <a:lnTo>
                  <a:pt x="30" y="130"/>
                </a:lnTo>
                <a:lnTo>
                  <a:pt x="33" y="130"/>
                </a:lnTo>
                <a:lnTo>
                  <a:pt x="36" y="129"/>
                </a:lnTo>
                <a:lnTo>
                  <a:pt x="48" y="133"/>
                </a:lnTo>
                <a:lnTo>
                  <a:pt x="50" y="135"/>
                </a:lnTo>
                <a:lnTo>
                  <a:pt x="51" y="138"/>
                </a:lnTo>
                <a:lnTo>
                  <a:pt x="53" y="138"/>
                </a:lnTo>
                <a:lnTo>
                  <a:pt x="56" y="139"/>
                </a:lnTo>
                <a:lnTo>
                  <a:pt x="59" y="141"/>
                </a:lnTo>
                <a:lnTo>
                  <a:pt x="66" y="141"/>
                </a:lnTo>
                <a:lnTo>
                  <a:pt x="68" y="139"/>
                </a:lnTo>
                <a:lnTo>
                  <a:pt x="69" y="136"/>
                </a:lnTo>
                <a:lnTo>
                  <a:pt x="69" y="133"/>
                </a:lnTo>
                <a:lnTo>
                  <a:pt x="71" y="130"/>
                </a:lnTo>
                <a:lnTo>
                  <a:pt x="77" y="127"/>
                </a:lnTo>
                <a:lnTo>
                  <a:pt x="80" y="127"/>
                </a:lnTo>
                <a:lnTo>
                  <a:pt x="83" y="126"/>
                </a:lnTo>
                <a:lnTo>
                  <a:pt x="86" y="126"/>
                </a:lnTo>
                <a:lnTo>
                  <a:pt x="89" y="127"/>
                </a:lnTo>
                <a:lnTo>
                  <a:pt x="91" y="130"/>
                </a:lnTo>
                <a:lnTo>
                  <a:pt x="94" y="130"/>
                </a:lnTo>
                <a:lnTo>
                  <a:pt x="95" y="130"/>
                </a:lnTo>
                <a:lnTo>
                  <a:pt x="100" y="130"/>
                </a:lnTo>
                <a:lnTo>
                  <a:pt x="103" y="135"/>
                </a:lnTo>
                <a:lnTo>
                  <a:pt x="106" y="136"/>
                </a:lnTo>
                <a:lnTo>
                  <a:pt x="110" y="138"/>
                </a:lnTo>
                <a:lnTo>
                  <a:pt x="113" y="139"/>
                </a:lnTo>
                <a:lnTo>
                  <a:pt x="115" y="139"/>
                </a:lnTo>
                <a:lnTo>
                  <a:pt x="119" y="135"/>
                </a:lnTo>
                <a:lnTo>
                  <a:pt x="122" y="135"/>
                </a:lnTo>
                <a:lnTo>
                  <a:pt x="125" y="133"/>
                </a:lnTo>
                <a:lnTo>
                  <a:pt x="128" y="130"/>
                </a:lnTo>
                <a:lnTo>
                  <a:pt x="133" y="130"/>
                </a:lnTo>
                <a:lnTo>
                  <a:pt x="133" y="126"/>
                </a:lnTo>
                <a:lnTo>
                  <a:pt x="131" y="124"/>
                </a:lnTo>
                <a:lnTo>
                  <a:pt x="130" y="121"/>
                </a:lnTo>
                <a:lnTo>
                  <a:pt x="128" y="123"/>
                </a:lnTo>
                <a:lnTo>
                  <a:pt x="127" y="121"/>
                </a:lnTo>
                <a:lnTo>
                  <a:pt x="125" y="120"/>
                </a:lnTo>
                <a:lnTo>
                  <a:pt x="125" y="115"/>
                </a:lnTo>
                <a:lnTo>
                  <a:pt x="128" y="111"/>
                </a:lnTo>
                <a:lnTo>
                  <a:pt x="125" y="109"/>
                </a:lnTo>
                <a:lnTo>
                  <a:pt x="125" y="108"/>
                </a:lnTo>
                <a:lnTo>
                  <a:pt x="130" y="103"/>
                </a:lnTo>
                <a:lnTo>
                  <a:pt x="130" y="101"/>
                </a:lnTo>
                <a:lnTo>
                  <a:pt x="128" y="97"/>
                </a:lnTo>
                <a:lnTo>
                  <a:pt x="131" y="94"/>
                </a:lnTo>
                <a:lnTo>
                  <a:pt x="130" y="91"/>
                </a:lnTo>
                <a:lnTo>
                  <a:pt x="130" y="89"/>
                </a:lnTo>
                <a:lnTo>
                  <a:pt x="128" y="86"/>
                </a:lnTo>
                <a:lnTo>
                  <a:pt x="128" y="85"/>
                </a:lnTo>
                <a:lnTo>
                  <a:pt x="125" y="85"/>
                </a:lnTo>
                <a:lnTo>
                  <a:pt x="124" y="85"/>
                </a:lnTo>
                <a:lnTo>
                  <a:pt x="122" y="86"/>
                </a:lnTo>
                <a:lnTo>
                  <a:pt x="121" y="88"/>
                </a:lnTo>
                <a:lnTo>
                  <a:pt x="119" y="88"/>
                </a:lnTo>
                <a:lnTo>
                  <a:pt x="118" y="86"/>
                </a:lnTo>
                <a:lnTo>
                  <a:pt x="119" y="85"/>
                </a:lnTo>
                <a:lnTo>
                  <a:pt x="121" y="83"/>
                </a:lnTo>
                <a:lnTo>
                  <a:pt x="121" y="82"/>
                </a:lnTo>
                <a:lnTo>
                  <a:pt x="124" y="77"/>
                </a:lnTo>
                <a:lnTo>
                  <a:pt x="127" y="77"/>
                </a:lnTo>
                <a:lnTo>
                  <a:pt x="127" y="74"/>
                </a:lnTo>
                <a:lnTo>
                  <a:pt x="128" y="71"/>
                </a:lnTo>
                <a:lnTo>
                  <a:pt x="136" y="67"/>
                </a:lnTo>
                <a:lnTo>
                  <a:pt x="137" y="67"/>
                </a:lnTo>
                <a:lnTo>
                  <a:pt x="139" y="65"/>
                </a:lnTo>
                <a:lnTo>
                  <a:pt x="141" y="64"/>
                </a:lnTo>
                <a:lnTo>
                  <a:pt x="142" y="64"/>
                </a:lnTo>
                <a:lnTo>
                  <a:pt x="144" y="62"/>
                </a:lnTo>
                <a:lnTo>
                  <a:pt x="144" y="61"/>
                </a:lnTo>
                <a:lnTo>
                  <a:pt x="145" y="59"/>
                </a:lnTo>
                <a:lnTo>
                  <a:pt x="147" y="55"/>
                </a:lnTo>
                <a:lnTo>
                  <a:pt x="148" y="53"/>
                </a:lnTo>
                <a:lnTo>
                  <a:pt x="148" y="50"/>
                </a:lnTo>
                <a:lnTo>
                  <a:pt x="150" y="47"/>
                </a:lnTo>
                <a:lnTo>
                  <a:pt x="153" y="45"/>
                </a:lnTo>
                <a:lnTo>
                  <a:pt x="156" y="44"/>
                </a:lnTo>
                <a:lnTo>
                  <a:pt x="156" y="42"/>
                </a:lnTo>
                <a:lnTo>
                  <a:pt x="153" y="41"/>
                </a:lnTo>
                <a:lnTo>
                  <a:pt x="151" y="41"/>
                </a:lnTo>
                <a:lnTo>
                  <a:pt x="147" y="39"/>
                </a:lnTo>
                <a:lnTo>
                  <a:pt x="141" y="39"/>
                </a:lnTo>
                <a:lnTo>
                  <a:pt x="139" y="39"/>
                </a:lnTo>
                <a:lnTo>
                  <a:pt x="137" y="38"/>
                </a:lnTo>
                <a:lnTo>
                  <a:pt x="136" y="36"/>
                </a:lnTo>
                <a:lnTo>
                  <a:pt x="134" y="33"/>
                </a:lnTo>
                <a:lnTo>
                  <a:pt x="133" y="32"/>
                </a:lnTo>
                <a:lnTo>
                  <a:pt x="130" y="32"/>
                </a:lnTo>
                <a:lnTo>
                  <a:pt x="128" y="30"/>
                </a:lnTo>
                <a:lnTo>
                  <a:pt x="127" y="30"/>
                </a:lnTo>
                <a:lnTo>
                  <a:pt x="124" y="27"/>
                </a:lnTo>
                <a:lnTo>
                  <a:pt x="121" y="26"/>
                </a:lnTo>
                <a:lnTo>
                  <a:pt x="118" y="23"/>
                </a:lnTo>
                <a:lnTo>
                  <a:pt x="115" y="21"/>
                </a:lnTo>
                <a:lnTo>
                  <a:pt x="115" y="21"/>
                </a:lnTo>
                <a:lnTo>
                  <a:pt x="113" y="18"/>
                </a:lnTo>
                <a:lnTo>
                  <a:pt x="110" y="14"/>
                </a:lnTo>
                <a:lnTo>
                  <a:pt x="109" y="12"/>
                </a:lnTo>
                <a:lnTo>
                  <a:pt x="106" y="9"/>
                </a:lnTo>
                <a:lnTo>
                  <a:pt x="104" y="8"/>
                </a:lnTo>
                <a:lnTo>
                  <a:pt x="103" y="6"/>
                </a:lnTo>
                <a:lnTo>
                  <a:pt x="101" y="3"/>
                </a:lnTo>
                <a:lnTo>
                  <a:pt x="98" y="2"/>
                </a:lnTo>
                <a:lnTo>
                  <a:pt x="95" y="0"/>
                </a:lnTo>
                <a:lnTo>
                  <a:pt x="91" y="0"/>
                </a:lnTo>
                <a:lnTo>
                  <a:pt x="88" y="0"/>
                </a:lnTo>
                <a:lnTo>
                  <a:pt x="84" y="2"/>
                </a:lnTo>
                <a:lnTo>
                  <a:pt x="86" y="5"/>
                </a:lnTo>
                <a:lnTo>
                  <a:pt x="84" y="6"/>
                </a:lnTo>
                <a:lnTo>
                  <a:pt x="78" y="14"/>
                </a:lnTo>
                <a:lnTo>
                  <a:pt x="75" y="15"/>
                </a:lnTo>
                <a:lnTo>
                  <a:pt x="68" y="15"/>
                </a:lnTo>
                <a:lnTo>
                  <a:pt x="65" y="17"/>
                </a:lnTo>
                <a:lnTo>
                  <a:pt x="63" y="18"/>
                </a:lnTo>
                <a:lnTo>
                  <a:pt x="62" y="20"/>
                </a:lnTo>
                <a:lnTo>
                  <a:pt x="59" y="18"/>
                </a:lnTo>
                <a:lnTo>
                  <a:pt x="54" y="20"/>
                </a:lnTo>
                <a:lnTo>
                  <a:pt x="51" y="20"/>
                </a:lnTo>
                <a:lnTo>
                  <a:pt x="48" y="18"/>
                </a:lnTo>
                <a:lnTo>
                  <a:pt x="47" y="15"/>
                </a:lnTo>
                <a:lnTo>
                  <a:pt x="45" y="15"/>
                </a:lnTo>
                <a:lnTo>
                  <a:pt x="47" y="14"/>
                </a:lnTo>
                <a:lnTo>
                  <a:pt x="44" y="11"/>
                </a:lnTo>
                <a:lnTo>
                  <a:pt x="42" y="11"/>
                </a:lnTo>
                <a:lnTo>
                  <a:pt x="41" y="11"/>
                </a:lnTo>
                <a:lnTo>
                  <a:pt x="41" y="11"/>
                </a:lnTo>
                <a:lnTo>
                  <a:pt x="42" y="12"/>
                </a:lnTo>
                <a:lnTo>
                  <a:pt x="41" y="14"/>
                </a:lnTo>
                <a:lnTo>
                  <a:pt x="42" y="15"/>
                </a:lnTo>
                <a:lnTo>
                  <a:pt x="42" y="18"/>
                </a:lnTo>
                <a:lnTo>
                  <a:pt x="42" y="20"/>
                </a:lnTo>
                <a:lnTo>
                  <a:pt x="42" y="20"/>
                </a:lnTo>
                <a:lnTo>
                  <a:pt x="41" y="21"/>
                </a:lnTo>
                <a:lnTo>
                  <a:pt x="39" y="23"/>
                </a:lnTo>
                <a:lnTo>
                  <a:pt x="39" y="24"/>
                </a:lnTo>
                <a:lnTo>
                  <a:pt x="39" y="26"/>
                </a:lnTo>
                <a:lnTo>
                  <a:pt x="38" y="26"/>
                </a:lnTo>
                <a:lnTo>
                  <a:pt x="35" y="24"/>
                </a:lnTo>
                <a:lnTo>
                  <a:pt x="33" y="26"/>
                </a:lnTo>
                <a:lnTo>
                  <a:pt x="30" y="24"/>
                </a:lnTo>
                <a:lnTo>
                  <a:pt x="28" y="24"/>
                </a:lnTo>
                <a:lnTo>
                  <a:pt x="27" y="26"/>
                </a:lnTo>
                <a:lnTo>
                  <a:pt x="25" y="24"/>
                </a:lnTo>
                <a:lnTo>
                  <a:pt x="25" y="24"/>
                </a:lnTo>
                <a:lnTo>
                  <a:pt x="19" y="18"/>
                </a:lnTo>
                <a:lnTo>
                  <a:pt x="18" y="18"/>
                </a:lnTo>
                <a:lnTo>
                  <a:pt x="16" y="18"/>
                </a:lnTo>
                <a:lnTo>
                  <a:pt x="13" y="20"/>
                </a:lnTo>
                <a:lnTo>
                  <a:pt x="12" y="20"/>
                </a:lnTo>
                <a:lnTo>
                  <a:pt x="10" y="18"/>
                </a:lnTo>
                <a:lnTo>
                  <a:pt x="6" y="18"/>
                </a:lnTo>
                <a:lnTo>
                  <a:pt x="3" y="20"/>
                </a:lnTo>
              </a:path>
            </a:pathLst>
          </a:custGeom>
          <a:solidFill>
            <a:sysClr val="window" lastClr="FFFFFF"/>
          </a:solidFill>
          <a:ln w="12700" cap="rnd">
            <a:solidFill>
              <a:srgbClr val="9F958F">
                <a:lumMod val="60000"/>
                <a:lumOff val="40000"/>
              </a:srgb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5" name="Freeform 35"/>
          <p:cNvSpPr>
            <a:spLocks/>
          </p:cNvSpPr>
          <p:nvPr/>
        </p:nvSpPr>
        <p:spPr bwMode="auto">
          <a:xfrm>
            <a:off x="9421793" y="563109"/>
            <a:ext cx="31098" cy="59803"/>
          </a:xfrm>
          <a:custGeom>
            <a:avLst/>
            <a:gdLst>
              <a:gd name="T0" fmla="*/ 13 w 13"/>
              <a:gd name="T1" fmla="*/ 0 h 25"/>
              <a:gd name="T2" fmla="*/ 9 w 13"/>
              <a:gd name="T3" fmla="*/ 6 h 25"/>
              <a:gd name="T4" fmla="*/ 3 w 13"/>
              <a:gd name="T5" fmla="*/ 6 h 25"/>
              <a:gd name="T6" fmla="*/ 0 w 13"/>
              <a:gd name="T7" fmla="*/ 8 h 25"/>
              <a:gd name="T8" fmla="*/ 0 w 13"/>
              <a:gd name="T9" fmla="*/ 12 h 25"/>
              <a:gd name="T10" fmla="*/ 0 w 13"/>
              <a:gd name="T11" fmla="*/ 20 h 25"/>
              <a:gd name="T12" fmla="*/ 3 w 13"/>
              <a:gd name="T13" fmla="*/ 25 h 25"/>
              <a:gd name="T14" fmla="*/ 7 w 13"/>
              <a:gd name="T15" fmla="*/ 23 h 25"/>
              <a:gd name="T16" fmla="*/ 7 w 13"/>
              <a:gd name="T17" fmla="*/ 20 h 25"/>
              <a:gd name="T18" fmla="*/ 12 w 13"/>
              <a:gd name="T19" fmla="*/ 14 h 25"/>
              <a:gd name="T20" fmla="*/ 12 w 13"/>
              <a:gd name="T21" fmla="*/ 9 h 25"/>
              <a:gd name="T22" fmla="*/ 13 w 13"/>
              <a:gd name="T2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3" h="25">
                <a:moveTo>
                  <a:pt x="13" y="0"/>
                </a:moveTo>
                <a:lnTo>
                  <a:pt x="9" y="6"/>
                </a:lnTo>
                <a:lnTo>
                  <a:pt x="3" y="6"/>
                </a:lnTo>
                <a:lnTo>
                  <a:pt x="0" y="8"/>
                </a:lnTo>
                <a:lnTo>
                  <a:pt x="0" y="12"/>
                </a:lnTo>
                <a:lnTo>
                  <a:pt x="0" y="20"/>
                </a:lnTo>
                <a:lnTo>
                  <a:pt x="3" y="25"/>
                </a:lnTo>
                <a:lnTo>
                  <a:pt x="7" y="23"/>
                </a:lnTo>
                <a:lnTo>
                  <a:pt x="7" y="20"/>
                </a:lnTo>
                <a:lnTo>
                  <a:pt x="12" y="14"/>
                </a:lnTo>
                <a:lnTo>
                  <a:pt x="12" y="9"/>
                </a:lnTo>
                <a:lnTo>
                  <a:pt x="13" y="0"/>
                </a:lnTo>
              </a:path>
            </a:pathLst>
          </a:custGeom>
          <a:solidFill>
            <a:sysClr val="window" lastClr="FFFFFF"/>
          </a:solidFill>
          <a:ln w="12700" cap="rnd">
            <a:solidFill>
              <a:srgbClr val="9F958F">
                <a:lumMod val="40000"/>
                <a:lumOff val="60000"/>
              </a:srgb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6" name="Line 29"/>
          <p:cNvSpPr>
            <a:spLocks noChangeShapeType="1"/>
          </p:cNvSpPr>
          <p:nvPr/>
        </p:nvSpPr>
        <p:spPr bwMode="auto">
          <a:xfrm rot="5400000">
            <a:off x="8705301" y="428971"/>
            <a:ext cx="36000" cy="0"/>
          </a:xfrm>
          <a:prstGeom prst="line">
            <a:avLst/>
          </a:prstGeom>
          <a:noFill/>
          <a:ln w="12700" cap="rnd">
            <a:solidFill>
              <a:srgbClr val="9F958F">
                <a:lumMod val="40000"/>
                <a:lumOff val="6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7" name="Line 29"/>
          <p:cNvSpPr>
            <a:spLocks noChangeShapeType="1"/>
          </p:cNvSpPr>
          <p:nvPr/>
        </p:nvSpPr>
        <p:spPr bwMode="auto">
          <a:xfrm>
            <a:off x="8723302" y="449963"/>
            <a:ext cx="559711" cy="0"/>
          </a:xfrm>
          <a:prstGeom prst="line">
            <a:avLst/>
          </a:prstGeom>
          <a:noFill/>
          <a:ln w="12700" cap="rnd">
            <a:solidFill>
              <a:srgbClr val="9F958F">
                <a:lumMod val="40000"/>
                <a:lumOff val="6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8" name="Freeform 66"/>
          <p:cNvSpPr>
            <a:spLocks/>
          </p:cNvSpPr>
          <p:nvPr/>
        </p:nvSpPr>
        <p:spPr bwMode="auto">
          <a:xfrm>
            <a:off x="9259170" y="432514"/>
            <a:ext cx="45719" cy="45719"/>
          </a:xfrm>
          <a:prstGeom prst="ellipse">
            <a:avLst/>
          </a:prstGeom>
          <a:solidFill>
            <a:srgbClr val="9F958F">
              <a:lumMod val="40000"/>
              <a:lumOff val="60000"/>
            </a:srgbClr>
          </a:solidFill>
          <a:ln w="12700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9" name="Freeform 66"/>
          <p:cNvSpPr>
            <a:spLocks/>
          </p:cNvSpPr>
          <p:nvPr/>
        </p:nvSpPr>
        <p:spPr bwMode="auto">
          <a:xfrm>
            <a:off x="9345283" y="313648"/>
            <a:ext cx="45719" cy="45719"/>
          </a:xfrm>
          <a:prstGeom prst="ellipse">
            <a:avLst/>
          </a:prstGeom>
          <a:solidFill>
            <a:srgbClr val="9F958F">
              <a:lumMod val="40000"/>
              <a:lumOff val="60000"/>
            </a:srgbClr>
          </a:solidFill>
          <a:ln w="12700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0" name="Freeform 66"/>
          <p:cNvSpPr>
            <a:spLocks/>
          </p:cNvSpPr>
          <p:nvPr/>
        </p:nvSpPr>
        <p:spPr bwMode="auto">
          <a:xfrm>
            <a:off x="9234357" y="301544"/>
            <a:ext cx="21600" cy="21600"/>
          </a:xfrm>
          <a:prstGeom prst="ellipse">
            <a:avLst/>
          </a:prstGeom>
          <a:solidFill>
            <a:srgbClr val="9F958F">
              <a:lumMod val="40000"/>
              <a:lumOff val="60000"/>
            </a:srgbClr>
          </a:solidFill>
          <a:ln w="12700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1" name="Freeform 66"/>
          <p:cNvSpPr>
            <a:spLocks/>
          </p:cNvSpPr>
          <p:nvPr/>
        </p:nvSpPr>
        <p:spPr bwMode="auto">
          <a:xfrm>
            <a:off x="9360599" y="394151"/>
            <a:ext cx="21600" cy="21600"/>
          </a:xfrm>
          <a:prstGeom prst="ellipse">
            <a:avLst/>
          </a:prstGeom>
          <a:solidFill>
            <a:srgbClr val="9F958F">
              <a:lumMod val="40000"/>
              <a:lumOff val="60000"/>
            </a:srgbClr>
          </a:solidFill>
          <a:ln w="12700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2" name="Freeform 66"/>
          <p:cNvSpPr>
            <a:spLocks/>
          </p:cNvSpPr>
          <p:nvPr/>
        </p:nvSpPr>
        <p:spPr bwMode="auto">
          <a:xfrm>
            <a:off x="9369402" y="271203"/>
            <a:ext cx="21600" cy="21600"/>
          </a:xfrm>
          <a:prstGeom prst="ellipse">
            <a:avLst/>
          </a:prstGeom>
          <a:solidFill>
            <a:srgbClr val="9F958F">
              <a:lumMod val="40000"/>
              <a:lumOff val="60000"/>
            </a:srgbClr>
          </a:solidFill>
          <a:ln w="12700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3" name="Freeform 66"/>
          <p:cNvSpPr>
            <a:spLocks/>
          </p:cNvSpPr>
          <p:nvPr/>
        </p:nvSpPr>
        <p:spPr bwMode="auto">
          <a:xfrm>
            <a:off x="9401858" y="464112"/>
            <a:ext cx="21600" cy="21600"/>
          </a:xfrm>
          <a:prstGeom prst="ellipse">
            <a:avLst/>
          </a:prstGeom>
          <a:solidFill>
            <a:srgbClr val="9F958F">
              <a:lumMod val="40000"/>
              <a:lumOff val="60000"/>
            </a:srgbClr>
          </a:solidFill>
          <a:ln w="12700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’investissement dans le système de production permet de proposer à nos clients les </a:t>
            </a:r>
            <a:r>
              <a:rPr lang="fr-FR" b="1" dirty="0" smtClean="0"/>
              <a:t>meilleures pratiques ADM</a:t>
            </a:r>
            <a:endParaRPr lang="fr-FR" b="1" dirty="0"/>
          </a:p>
        </p:txBody>
      </p:sp>
      <p:grpSp>
        <p:nvGrpSpPr>
          <p:cNvPr id="45" name="Groupe 3"/>
          <p:cNvGrpSpPr/>
          <p:nvPr/>
        </p:nvGrpSpPr>
        <p:grpSpPr>
          <a:xfrm>
            <a:off x="8923649" y="79025"/>
            <a:ext cx="633930" cy="726152"/>
            <a:chOff x="3948111" y="1654752"/>
            <a:chExt cx="681902" cy="781104"/>
          </a:xfrm>
        </p:grpSpPr>
        <p:grpSp>
          <p:nvGrpSpPr>
            <p:cNvPr id="46" name="Groupe 4"/>
            <p:cNvGrpSpPr/>
            <p:nvPr/>
          </p:nvGrpSpPr>
          <p:grpSpPr>
            <a:xfrm>
              <a:off x="3948111" y="1904043"/>
              <a:ext cx="195262" cy="531813"/>
              <a:chOff x="2281238" y="5010150"/>
              <a:chExt cx="330200" cy="455613"/>
            </a:xfrm>
          </p:grpSpPr>
          <p:sp>
            <p:nvSpPr>
              <p:cNvPr id="62" name="Line 14"/>
              <p:cNvSpPr>
                <a:spLocks noChangeShapeType="1"/>
              </p:cNvSpPr>
              <p:nvPr/>
            </p:nvSpPr>
            <p:spPr bwMode="auto">
              <a:xfrm>
                <a:off x="2281238" y="5046663"/>
                <a:ext cx="1587" cy="379412"/>
              </a:xfrm>
              <a:prstGeom prst="line">
                <a:avLst/>
              </a:pr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63" name="Line 15"/>
              <p:cNvSpPr>
                <a:spLocks noChangeShapeType="1"/>
              </p:cNvSpPr>
              <p:nvPr/>
            </p:nvSpPr>
            <p:spPr bwMode="auto">
              <a:xfrm>
                <a:off x="2609850" y="5046663"/>
                <a:ext cx="1588" cy="73025"/>
              </a:xfrm>
              <a:prstGeom prst="line">
                <a:avLst/>
              </a:pr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64" name="Oval 16"/>
              <p:cNvSpPr>
                <a:spLocks noChangeArrowheads="1"/>
              </p:cNvSpPr>
              <p:nvPr/>
            </p:nvSpPr>
            <p:spPr bwMode="auto">
              <a:xfrm>
                <a:off x="2281238" y="5010150"/>
                <a:ext cx="328612" cy="68263"/>
              </a:xfrm>
              <a:prstGeom prst="ellipse">
                <a:avLst/>
              </a:pr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65" name="Freeform 17"/>
              <p:cNvSpPr>
                <a:spLocks/>
              </p:cNvSpPr>
              <p:nvPr/>
            </p:nvSpPr>
            <p:spPr bwMode="auto">
              <a:xfrm>
                <a:off x="2281238" y="5173663"/>
                <a:ext cx="166687" cy="34925"/>
              </a:xfrm>
              <a:custGeom>
                <a:avLst/>
                <a:gdLst/>
                <a:ahLst/>
                <a:cxnLst>
                  <a:cxn ang="0">
                    <a:pos x="72" y="15"/>
                  </a:cxn>
                  <a:cxn ang="0">
                    <a:pos x="0" y="0"/>
                  </a:cxn>
                </a:cxnLst>
                <a:rect l="0" t="0" r="r" b="b"/>
                <a:pathLst>
                  <a:path w="72" h="15">
                    <a:moveTo>
                      <a:pt x="72" y="15"/>
                    </a:moveTo>
                    <a:cubicBezTo>
                      <a:pt x="32" y="15"/>
                      <a:pt x="0" y="9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66" name="Line 18"/>
              <p:cNvSpPr>
                <a:spLocks noChangeShapeType="1"/>
              </p:cNvSpPr>
              <p:nvPr/>
            </p:nvSpPr>
            <p:spPr bwMode="auto">
              <a:xfrm>
                <a:off x="2609850" y="5173663"/>
                <a:ext cx="1588" cy="0"/>
              </a:xfrm>
              <a:prstGeom prst="line">
                <a:avLst/>
              </a:pr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67" name="Freeform 19"/>
              <p:cNvSpPr>
                <a:spLocks/>
              </p:cNvSpPr>
              <p:nvPr/>
            </p:nvSpPr>
            <p:spPr bwMode="auto">
              <a:xfrm>
                <a:off x="2281238" y="5302250"/>
                <a:ext cx="195262" cy="34925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72" y="15"/>
                  </a:cxn>
                  <a:cxn ang="0">
                    <a:pos x="0" y="0"/>
                  </a:cxn>
                </a:cxnLst>
                <a:rect l="0" t="0" r="r" b="b"/>
                <a:pathLst>
                  <a:path w="85" h="15">
                    <a:moveTo>
                      <a:pt x="85" y="15"/>
                    </a:moveTo>
                    <a:cubicBezTo>
                      <a:pt x="81" y="15"/>
                      <a:pt x="76" y="15"/>
                      <a:pt x="72" y="15"/>
                    </a:cubicBezTo>
                    <a:cubicBezTo>
                      <a:pt x="32" y="15"/>
                      <a:pt x="0" y="9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68" name="Freeform 20"/>
              <p:cNvSpPr>
                <a:spLocks/>
              </p:cNvSpPr>
              <p:nvPr/>
            </p:nvSpPr>
            <p:spPr bwMode="auto">
              <a:xfrm>
                <a:off x="2281238" y="5430838"/>
                <a:ext cx="268287" cy="34925"/>
              </a:xfrm>
              <a:custGeom>
                <a:avLst/>
                <a:gdLst/>
                <a:ahLst/>
                <a:cxnLst>
                  <a:cxn ang="0">
                    <a:pos x="116" y="12"/>
                  </a:cxn>
                  <a:cxn ang="0">
                    <a:pos x="72" y="15"/>
                  </a:cxn>
                  <a:cxn ang="0">
                    <a:pos x="0" y="0"/>
                  </a:cxn>
                </a:cxnLst>
                <a:rect l="0" t="0" r="r" b="b"/>
                <a:pathLst>
                  <a:path w="116" h="15">
                    <a:moveTo>
                      <a:pt x="116" y="12"/>
                    </a:moveTo>
                    <a:cubicBezTo>
                      <a:pt x="104" y="14"/>
                      <a:pt x="88" y="15"/>
                      <a:pt x="72" y="15"/>
                    </a:cubicBezTo>
                    <a:cubicBezTo>
                      <a:pt x="32" y="15"/>
                      <a:pt x="0" y="8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grpSp>
          <p:nvGrpSpPr>
            <p:cNvPr id="47" name="Groupe 5"/>
            <p:cNvGrpSpPr/>
            <p:nvPr/>
          </p:nvGrpSpPr>
          <p:grpSpPr>
            <a:xfrm flipH="1">
              <a:off x="4408278" y="1904043"/>
              <a:ext cx="195262" cy="531813"/>
              <a:chOff x="2281238" y="5010150"/>
              <a:chExt cx="330200" cy="455613"/>
            </a:xfrm>
          </p:grpSpPr>
          <p:sp>
            <p:nvSpPr>
              <p:cNvPr id="55" name="Line 14"/>
              <p:cNvSpPr>
                <a:spLocks noChangeShapeType="1"/>
              </p:cNvSpPr>
              <p:nvPr/>
            </p:nvSpPr>
            <p:spPr bwMode="auto">
              <a:xfrm>
                <a:off x="2281238" y="5046663"/>
                <a:ext cx="1587" cy="379412"/>
              </a:xfrm>
              <a:prstGeom prst="line">
                <a:avLst/>
              </a:pr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6" name="Line 15"/>
              <p:cNvSpPr>
                <a:spLocks noChangeShapeType="1"/>
              </p:cNvSpPr>
              <p:nvPr/>
            </p:nvSpPr>
            <p:spPr bwMode="auto">
              <a:xfrm>
                <a:off x="2609850" y="5046663"/>
                <a:ext cx="1588" cy="73025"/>
              </a:xfrm>
              <a:prstGeom prst="line">
                <a:avLst/>
              </a:pr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7" name="Oval 16"/>
              <p:cNvSpPr>
                <a:spLocks noChangeArrowheads="1"/>
              </p:cNvSpPr>
              <p:nvPr/>
            </p:nvSpPr>
            <p:spPr bwMode="auto">
              <a:xfrm>
                <a:off x="2281238" y="5010150"/>
                <a:ext cx="328612" cy="68263"/>
              </a:xfrm>
              <a:prstGeom prst="ellipse">
                <a:avLst/>
              </a:pr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8" name="Freeform 17"/>
              <p:cNvSpPr>
                <a:spLocks/>
              </p:cNvSpPr>
              <p:nvPr/>
            </p:nvSpPr>
            <p:spPr bwMode="auto">
              <a:xfrm>
                <a:off x="2281238" y="5173663"/>
                <a:ext cx="166687" cy="34925"/>
              </a:xfrm>
              <a:custGeom>
                <a:avLst/>
                <a:gdLst/>
                <a:ahLst/>
                <a:cxnLst>
                  <a:cxn ang="0">
                    <a:pos x="72" y="15"/>
                  </a:cxn>
                  <a:cxn ang="0">
                    <a:pos x="0" y="0"/>
                  </a:cxn>
                </a:cxnLst>
                <a:rect l="0" t="0" r="r" b="b"/>
                <a:pathLst>
                  <a:path w="72" h="15">
                    <a:moveTo>
                      <a:pt x="72" y="15"/>
                    </a:moveTo>
                    <a:cubicBezTo>
                      <a:pt x="32" y="15"/>
                      <a:pt x="0" y="9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9" name="Line 18"/>
              <p:cNvSpPr>
                <a:spLocks noChangeShapeType="1"/>
              </p:cNvSpPr>
              <p:nvPr/>
            </p:nvSpPr>
            <p:spPr bwMode="auto">
              <a:xfrm>
                <a:off x="2609850" y="5173663"/>
                <a:ext cx="1588" cy="0"/>
              </a:xfrm>
              <a:prstGeom prst="line">
                <a:avLst/>
              </a:pr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60" name="Freeform 19"/>
              <p:cNvSpPr>
                <a:spLocks/>
              </p:cNvSpPr>
              <p:nvPr/>
            </p:nvSpPr>
            <p:spPr bwMode="auto">
              <a:xfrm>
                <a:off x="2281238" y="5302250"/>
                <a:ext cx="195262" cy="34925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72" y="15"/>
                  </a:cxn>
                  <a:cxn ang="0">
                    <a:pos x="0" y="0"/>
                  </a:cxn>
                </a:cxnLst>
                <a:rect l="0" t="0" r="r" b="b"/>
                <a:pathLst>
                  <a:path w="85" h="15">
                    <a:moveTo>
                      <a:pt x="85" y="15"/>
                    </a:moveTo>
                    <a:cubicBezTo>
                      <a:pt x="81" y="15"/>
                      <a:pt x="76" y="15"/>
                      <a:pt x="72" y="15"/>
                    </a:cubicBezTo>
                    <a:cubicBezTo>
                      <a:pt x="32" y="15"/>
                      <a:pt x="0" y="9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61" name="Freeform 20"/>
              <p:cNvSpPr>
                <a:spLocks/>
              </p:cNvSpPr>
              <p:nvPr/>
            </p:nvSpPr>
            <p:spPr bwMode="auto">
              <a:xfrm>
                <a:off x="2281238" y="5430838"/>
                <a:ext cx="268287" cy="34925"/>
              </a:xfrm>
              <a:custGeom>
                <a:avLst/>
                <a:gdLst/>
                <a:ahLst/>
                <a:cxnLst>
                  <a:cxn ang="0">
                    <a:pos x="116" y="12"/>
                  </a:cxn>
                  <a:cxn ang="0">
                    <a:pos x="72" y="15"/>
                  </a:cxn>
                  <a:cxn ang="0">
                    <a:pos x="0" y="0"/>
                  </a:cxn>
                </a:cxnLst>
                <a:rect l="0" t="0" r="r" b="b"/>
                <a:pathLst>
                  <a:path w="116" h="15">
                    <a:moveTo>
                      <a:pt x="116" y="12"/>
                    </a:moveTo>
                    <a:cubicBezTo>
                      <a:pt x="104" y="14"/>
                      <a:pt x="88" y="15"/>
                      <a:pt x="72" y="15"/>
                    </a:cubicBezTo>
                    <a:cubicBezTo>
                      <a:pt x="32" y="15"/>
                      <a:pt x="0" y="8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grpSp>
          <p:nvGrpSpPr>
            <p:cNvPr id="48" name="Groupe 6"/>
            <p:cNvGrpSpPr/>
            <p:nvPr/>
          </p:nvGrpSpPr>
          <p:grpSpPr>
            <a:xfrm>
              <a:off x="3981898" y="1971511"/>
              <a:ext cx="495300" cy="433388"/>
              <a:chOff x="2567573" y="4996656"/>
              <a:chExt cx="495300" cy="433388"/>
            </a:xfrm>
          </p:grpSpPr>
          <p:sp>
            <p:nvSpPr>
              <p:cNvPr id="50" name="Freeform 20"/>
              <p:cNvSpPr>
                <a:spLocks/>
              </p:cNvSpPr>
              <p:nvPr/>
            </p:nvSpPr>
            <p:spPr bwMode="auto">
              <a:xfrm>
                <a:off x="2567573" y="4996656"/>
                <a:ext cx="436563" cy="430213"/>
              </a:xfrm>
              <a:custGeom>
                <a:avLst/>
                <a:gdLst/>
                <a:ahLst/>
                <a:cxnLst>
                  <a:cxn ang="0">
                    <a:pos x="113" y="69"/>
                  </a:cxn>
                  <a:cxn ang="0">
                    <a:pos x="118" y="68"/>
                  </a:cxn>
                  <a:cxn ang="0">
                    <a:pos x="136" y="75"/>
                  </a:cxn>
                  <a:cxn ang="0">
                    <a:pos x="133" y="57"/>
                  </a:cxn>
                  <a:cxn ang="0">
                    <a:pos x="151" y="51"/>
                  </a:cxn>
                  <a:cxn ang="0">
                    <a:pos x="137" y="38"/>
                  </a:cxn>
                  <a:cxn ang="0">
                    <a:pos x="147" y="22"/>
                  </a:cxn>
                  <a:cxn ang="0">
                    <a:pos x="129" y="22"/>
                  </a:cxn>
                  <a:cxn ang="0">
                    <a:pos x="126" y="3"/>
                  </a:cxn>
                  <a:cxn ang="0">
                    <a:pos x="111" y="14"/>
                  </a:cxn>
                  <a:cxn ang="0">
                    <a:pos x="97" y="2"/>
                  </a:cxn>
                  <a:cxn ang="0">
                    <a:pos x="93" y="20"/>
                  </a:cxn>
                  <a:cxn ang="0">
                    <a:pos x="74" y="19"/>
                  </a:cxn>
                  <a:cxn ang="0">
                    <a:pos x="83" y="36"/>
                  </a:cxn>
                  <a:cxn ang="0">
                    <a:pos x="68" y="48"/>
                  </a:cxn>
                  <a:cxn ang="0">
                    <a:pos x="86" y="54"/>
                  </a:cxn>
                  <a:cxn ang="0">
                    <a:pos x="81" y="73"/>
                  </a:cxn>
                  <a:cxn ang="0">
                    <a:pos x="99" y="75"/>
                  </a:cxn>
                  <a:cxn ang="0">
                    <a:pos x="89" y="90"/>
                  </a:cxn>
                  <a:cxn ang="0">
                    <a:pos x="104" y="101"/>
                  </a:cxn>
                  <a:cxn ang="0">
                    <a:pos x="87" y="110"/>
                  </a:cxn>
                  <a:cxn ang="0">
                    <a:pos x="95" y="127"/>
                  </a:cxn>
                  <a:cxn ang="0">
                    <a:pos x="76" y="126"/>
                  </a:cxn>
                  <a:cxn ang="0">
                    <a:pos x="74" y="144"/>
                  </a:cxn>
                  <a:cxn ang="0">
                    <a:pos x="59" y="134"/>
                  </a:cxn>
                  <a:cxn ang="0">
                    <a:pos x="48" y="149"/>
                  </a:cxn>
                  <a:cxn ang="0">
                    <a:pos x="39" y="133"/>
                  </a:cxn>
                  <a:cxn ang="0">
                    <a:pos x="22" y="140"/>
                  </a:cxn>
                  <a:cxn ang="0">
                    <a:pos x="23" y="122"/>
                  </a:cxn>
                  <a:cxn ang="0">
                    <a:pos x="5" y="119"/>
                  </a:cxn>
                  <a:cxn ang="0">
                    <a:pos x="15" y="104"/>
                  </a:cxn>
                  <a:cxn ang="0">
                    <a:pos x="0" y="93"/>
                  </a:cxn>
                  <a:cxn ang="0">
                    <a:pos x="16" y="85"/>
                  </a:cxn>
                  <a:cxn ang="0">
                    <a:pos x="9" y="68"/>
                  </a:cxn>
                  <a:cxn ang="0">
                    <a:pos x="27" y="68"/>
                  </a:cxn>
                  <a:cxn ang="0">
                    <a:pos x="30" y="50"/>
                  </a:cxn>
                  <a:cxn ang="0">
                    <a:pos x="45" y="60"/>
                  </a:cxn>
                  <a:cxn ang="0">
                    <a:pos x="56" y="45"/>
                  </a:cxn>
                  <a:cxn ang="0">
                    <a:pos x="65" y="62"/>
                  </a:cxn>
                </a:cxnLst>
                <a:rect l="0" t="0" r="r" b="b"/>
                <a:pathLst>
                  <a:path w="151" h="149">
                    <a:moveTo>
                      <a:pt x="108" y="84"/>
                    </a:moveTo>
                    <a:cubicBezTo>
                      <a:pt x="113" y="69"/>
                      <a:pt x="113" y="69"/>
                      <a:pt x="113" y="69"/>
                    </a:cubicBezTo>
                    <a:cubicBezTo>
                      <a:pt x="114" y="69"/>
                      <a:pt x="115" y="69"/>
                      <a:pt x="116" y="69"/>
                    </a:cubicBezTo>
                    <a:cubicBezTo>
                      <a:pt x="117" y="68"/>
                      <a:pt x="117" y="68"/>
                      <a:pt x="118" y="68"/>
                    </a:cubicBezTo>
                    <a:cubicBezTo>
                      <a:pt x="129" y="80"/>
                      <a:pt x="129" y="80"/>
                      <a:pt x="129" y="80"/>
                    </a:cubicBezTo>
                    <a:cubicBezTo>
                      <a:pt x="136" y="75"/>
                      <a:pt x="136" y="75"/>
                      <a:pt x="136" y="75"/>
                    </a:cubicBezTo>
                    <a:cubicBezTo>
                      <a:pt x="130" y="61"/>
                      <a:pt x="130" y="61"/>
                      <a:pt x="130" y="61"/>
                    </a:cubicBezTo>
                    <a:cubicBezTo>
                      <a:pt x="131" y="59"/>
                      <a:pt x="132" y="58"/>
                      <a:pt x="133" y="57"/>
                    </a:cubicBezTo>
                    <a:cubicBezTo>
                      <a:pt x="149" y="59"/>
                      <a:pt x="149" y="59"/>
                      <a:pt x="149" y="59"/>
                    </a:cubicBezTo>
                    <a:cubicBezTo>
                      <a:pt x="151" y="51"/>
                      <a:pt x="151" y="51"/>
                      <a:pt x="151" y="51"/>
                    </a:cubicBezTo>
                    <a:cubicBezTo>
                      <a:pt x="137" y="43"/>
                      <a:pt x="137" y="43"/>
                      <a:pt x="137" y="43"/>
                    </a:cubicBezTo>
                    <a:cubicBezTo>
                      <a:pt x="138" y="42"/>
                      <a:pt x="137" y="40"/>
                      <a:pt x="137" y="38"/>
                    </a:cubicBezTo>
                    <a:cubicBezTo>
                      <a:pt x="150" y="30"/>
                      <a:pt x="150" y="30"/>
                      <a:pt x="150" y="30"/>
                    </a:cubicBezTo>
                    <a:cubicBezTo>
                      <a:pt x="147" y="22"/>
                      <a:pt x="147" y="22"/>
                      <a:pt x="147" y="22"/>
                    </a:cubicBezTo>
                    <a:cubicBezTo>
                      <a:pt x="132" y="25"/>
                      <a:pt x="132" y="25"/>
                      <a:pt x="132" y="25"/>
                    </a:cubicBezTo>
                    <a:cubicBezTo>
                      <a:pt x="131" y="24"/>
                      <a:pt x="130" y="23"/>
                      <a:pt x="129" y="22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26" y="3"/>
                      <a:pt x="126" y="3"/>
                      <a:pt x="126" y="3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115" y="15"/>
                      <a:pt x="113" y="14"/>
                      <a:pt x="111" y="14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97" y="2"/>
                      <a:pt x="97" y="2"/>
                      <a:pt x="97" y="2"/>
                    </a:cubicBezTo>
                    <a:cubicBezTo>
                      <a:pt x="98" y="17"/>
                      <a:pt x="98" y="17"/>
                      <a:pt x="98" y="17"/>
                    </a:cubicBezTo>
                    <a:cubicBezTo>
                      <a:pt x="96" y="18"/>
                      <a:pt x="95" y="19"/>
                      <a:pt x="93" y="20"/>
                    </a:cubicBezTo>
                    <a:cubicBezTo>
                      <a:pt x="80" y="13"/>
                      <a:pt x="80" y="13"/>
                      <a:pt x="80" y="13"/>
                    </a:cubicBezTo>
                    <a:cubicBezTo>
                      <a:pt x="74" y="19"/>
                      <a:pt x="74" y="19"/>
                      <a:pt x="74" y="19"/>
                    </a:cubicBezTo>
                    <a:cubicBezTo>
                      <a:pt x="85" y="31"/>
                      <a:pt x="85" y="31"/>
                      <a:pt x="85" y="31"/>
                    </a:cubicBezTo>
                    <a:cubicBezTo>
                      <a:pt x="84" y="33"/>
                      <a:pt x="84" y="34"/>
                      <a:pt x="83" y="36"/>
                    </a:cubicBezTo>
                    <a:cubicBezTo>
                      <a:pt x="68" y="39"/>
                      <a:pt x="68" y="39"/>
                      <a:pt x="68" y="39"/>
                    </a:cubicBezTo>
                    <a:cubicBezTo>
                      <a:pt x="68" y="48"/>
                      <a:pt x="68" y="48"/>
                      <a:pt x="68" y="48"/>
                    </a:cubicBezTo>
                    <a:cubicBezTo>
                      <a:pt x="84" y="50"/>
                      <a:pt x="84" y="50"/>
                      <a:pt x="84" y="50"/>
                    </a:cubicBezTo>
                    <a:cubicBezTo>
                      <a:pt x="84" y="51"/>
                      <a:pt x="85" y="53"/>
                      <a:pt x="86" y="54"/>
                    </a:cubicBezTo>
                    <a:cubicBezTo>
                      <a:pt x="77" y="67"/>
                      <a:pt x="77" y="67"/>
                      <a:pt x="77" y="67"/>
                    </a:cubicBezTo>
                    <a:cubicBezTo>
                      <a:pt x="81" y="73"/>
                      <a:pt x="81" y="73"/>
                      <a:pt x="81" y="73"/>
                    </a:cubicBezTo>
                    <a:cubicBezTo>
                      <a:pt x="95" y="68"/>
                      <a:pt x="95" y="68"/>
                      <a:pt x="95" y="68"/>
                    </a:cubicBezTo>
                    <a:cubicBezTo>
                      <a:pt x="99" y="75"/>
                      <a:pt x="99" y="75"/>
                      <a:pt x="99" y="75"/>
                    </a:cubicBezTo>
                    <a:cubicBezTo>
                      <a:pt x="87" y="85"/>
                      <a:pt x="87" y="85"/>
                      <a:pt x="87" y="85"/>
                    </a:cubicBezTo>
                    <a:cubicBezTo>
                      <a:pt x="88" y="86"/>
                      <a:pt x="89" y="88"/>
                      <a:pt x="89" y="90"/>
                    </a:cubicBezTo>
                    <a:cubicBezTo>
                      <a:pt x="104" y="93"/>
                      <a:pt x="104" y="93"/>
                      <a:pt x="104" y="93"/>
                    </a:cubicBezTo>
                    <a:cubicBezTo>
                      <a:pt x="104" y="101"/>
                      <a:pt x="104" y="101"/>
                      <a:pt x="104" y="101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89" y="106"/>
                      <a:pt x="88" y="108"/>
                      <a:pt x="87" y="110"/>
                    </a:cubicBezTo>
                    <a:cubicBezTo>
                      <a:pt x="99" y="119"/>
                      <a:pt x="99" y="119"/>
                      <a:pt x="99" y="119"/>
                    </a:cubicBezTo>
                    <a:cubicBezTo>
                      <a:pt x="95" y="127"/>
                      <a:pt x="95" y="127"/>
                      <a:pt x="95" y="127"/>
                    </a:cubicBezTo>
                    <a:cubicBezTo>
                      <a:pt x="81" y="122"/>
                      <a:pt x="81" y="122"/>
                      <a:pt x="81" y="122"/>
                    </a:cubicBezTo>
                    <a:cubicBezTo>
                      <a:pt x="79" y="123"/>
                      <a:pt x="78" y="125"/>
                      <a:pt x="76" y="126"/>
                    </a:cubicBezTo>
                    <a:cubicBezTo>
                      <a:pt x="82" y="140"/>
                      <a:pt x="82" y="140"/>
                      <a:pt x="82" y="140"/>
                    </a:cubicBezTo>
                    <a:cubicBezTo>
                      <a:pt x="74" y="144"/>
                      <a:pt x="74" y="144"/>
                      <a:pt x="74" y="144"/>
                    </a:cubicBezTo>
                    <a:cubicBezTo>
                      <a:pt x="65" y="133"/>
                      <a:pt x="65" y="133"/>
                      <a:pt x="65" y="133"/>
                    </a:cubicBezTo>
                    <a:cubicBezTo>
                      <a:pt x="63" y="133"/>
                      <a:pt x="61" y="134"/>
                      <a:pt x="59" y="134"/>
                    </a:cubicBezTo>
                    <a:cubicBezTo>
                      <a:pt x="56" y="149"/>
                      <a:pt x="56" y="149"/>
                      <a:pt x="56" y="149"/>
                    </a:cubicBezTo>
                    <a:cubicBezTo>
                      <a:pt x="48" y="149"/>
                      <a:pt x="48" y="149"/>
                      <a:pt x="48" y="149"/>
                    </a:cubicBezTo>
                    <a:cubicBezTo>
                      <a:pt x="45" y="134"/>
                      <a:pt x="45" y="134"/>
                      <a:pt x="45" y="134"/>
                    </a:cubicBezTo>
                    <a:cubicBezTo>
                      <a:pt x="43" y="134"/>
                      <a:pt x="41" y="133"/>
                      <a:pt x="39" y="133"/>
                    </a:cubicBezTo>
                    <a:cubicBezTo>
                      <a:pt x="30" y="144"/>
                      <a:pt x="30" y="144"/>
                      <a:pt x="30" y="144"/>
                    </a:cubicBezTo>
                    <a:cubicBezTo>
                      <a:pt x="22" y="140"/>
                      <a:pt x="22" y="140"/>
                      <a:pt x="22" y="140"/>
                    </a:cubicBezTo>
                    <a:cubicBezTo>
                      <a:pt x="27" y="126"/>
                      <a:pt x="27" y="126"/>
                      <a:pt x="27" y="126"/>
                    </a:cubicBezTo>
                    <a:cubicBezTo>
                      <a:pt x="26" y="125"/>
                      <a:pt x="24" y="123"/>
                      <a:pt x="23" y="122"/>
                    </a:cubicBezTo>
                    <a:cubicBezTo>
                      <a:pt x="9" y="127"/>
                      <a:pt x="9" y="127"/>
                      <a:pt x="9" y="127"/>
                    </a:cubicBezTo>
                    <a:cubicBezTo>
                      <a:pt x="5" y="119"/>
                      <a:pt x="5" y="119"/>
                      <a:pt x="5" y="119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08"/>
                      <a:pt x="15" y="106"/>
                      <a:pt x="15" y="104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15" y="90"/>
                      <a:pt x="15" y="90"/>
                      <a:pt x="15" y="90"/>
                    </a:cubicBezTo>
                    <a:cubicBezTo>
                      <a:pt x="15" y="88"/>
                      <a:pt x="16" y="86"/>
                      <a:pt x="16" y="85"/>
                    </a:cubicBezTo>
                    <a:cubicBezTo>
                      <a:pt x="5" y="75"/>
                      <a:pt x="5" y="75"/>
                      <a:pt x="5" y="75"/>
                    </a:cubicBezTo>
                    <a:cubicBezTo>
                      <a:pt x="9" y="68"/>
                      <a:pt x="9" y="68"/>
                      <a:pt x="9" y="68"/>
                    </a:cubicBezTo>
                    <a:cubicBezTo>
                      <a:pt x="23" y="73"/>
                      <a:pt x="23" y="73"/>
                      <a:pt x="23" y="73"/>
                    </a:cubicBezTo>
                    <a:cubicBezTo>
                      <a:pt x="24" y="71"/>
                      <a:pt x="26" y="70"/>
                      <a:pt x="27" y="68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30" y="50"/>
                      <a:pt x="30" y="50"/>
                      <a:pt x="30" y="50"/>
                    </a:cubicBezTo>
                    <a:cubicBezTo>
                      <a:pt x="39" y="62"/>
                      <a:pt x="39" y="62"/>
                      <a:pt x="39" y="62"/>
                    </a:cubicBezTo>
                    <a:cubicBezTo>
                      <a:pt x="41" y="61"/>
                      <a:pt x="43" y="60"/>
                      <a:pt x="45" y="60"/>
                    </a:cubicBezTo>
                    <a:cubicBezTo>
                      <a:pt x="48" y="45"/>
                      <a:pt x="48" y="45"/>
                      <a:pt x="48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9" y="60"/>
                      <a:pt x="59" y="60"/>
                      <a:pt x="59" y="60"/>
                    </a:cubicBezTo>
                    <a:cubicBezTo>
                      <a:pt x="61" y="60"/>
                      <a:pt x="63" y="61"/>
                      <a:pt x="65" y="62"/>
                    </a:cubicBezTo>
                  </a:path>
                </a:pathLst>
              </a:cu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" name="Oval 21"/>
              <p:cNvSpPr>
                <a:spLocks noChangeArrowheads="1"/>
              </p:cNvSpPr>
              <p:nvPr/>
            </p:nvSpPr>
            <p:spPr bwMode="auto">
              <a:xfrm>
                <a:off x="2673936" y="5233194"/>
                <a:ext cx="87312" cy="87312"/>
              </a:xfrm>
              <a:prstGeom prst="ellipse">
                <a:avLst/>
              </a:pr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" name="Oval 22"/>
              <p:cNvSpPr>
                <a:spLocks noChangeArrowheads="1"/>
              </p:cNvSpPr>
              <p:nvPr/>
            </p:nvSpPr>
            <p:spPr bwMode="auto">
              <a:xfrm>
                <a:off x="2845386" y="5077619"/>
                <a:ext cx="77787" cy="80962"/>
              </a:xfrm>
              <a:prstGeom prst="ellipse">
                <a:avLst/>
              </a:pr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" name="Freeform 23"/>
              <p:cNvSpPr>
                <a:spLocks/>
              </p:cNvSpPr>
              <p:nvPr/>
            </p:nvSpPr>
            <p:spPr bwMode="auto">
              <a:xfrm>
                <a:off x="2872373" y="5239544"/>
                <a:ext cx="190500" cy="190500"/>
              </a:xfrm>
              <a:custGeom>
                <a:avLst/>
                <a:gdLst/>
                <a:ahLst/>
                <a:cxnLst>
                  <a:cxn ang="0">
                    <a:pos x="3" y="2"/>
                  </a:cxn>
                  <a:cxn ang="0">
                    <a:pos x="12" y="8"/>
                  </a:cxn>
                  <a:cxn ang="0">
                    <a:pos x="18" y="0"/>
                  </a:cxn>
                  <a:cxn ang="0">
                    <a:pos x="21" y="1"/>
                  </a:cxn>
                  <a:cxn ang="0">
                    <a:pos x="25" y="10"/>
                  </a:cxn>
                  <a:cxn ang="0">
                    <a:pos x="29" y="10"/>
                  </a:cxn>
                  <a:cxn ang="0">
                    <a:pos x="31" y="0"/>
                  </a:cxn>
                  <a:cxn ang="0">
                    <a:pos x="37" y="0"/>
                  </a:cxn>
                  <a:cxn ang="0">
                    <a:pos x="38" y="10"/>
                  </a:cxn>
                  <a:cxn ang="0">
                    <a:pos x="42" y="11"/>
                  </a:cxn>
                  <a:cxn ang="0">
                    <a:pos x="48" y="4"/>
                  </a:cxn>
                  <a:cxn ang="0">
                    <a:pos x="53" y="7"/>
                  </a:cxn>
                  <a:cxn ang="0">
                    <a:pos x="49" y="15"/>
                  </a:cxn>
                  <a:cxn ang="0">
                    <a:pos x="52" y="18"/>
                  </a:cxn>
                  <a:cxn ang="0">
                    <a:pos x="61" y="15"/>
                  </a:cxn>
                  <a:cxn ang="0">
                    <a:pos x="63" y="20"/>
                  </a:cxn>
                  <a:cxn ang="0">
                    <a:pos x="56" y="26"/>
                  </a:cxn>
                  <a:cxn ang="0">
                    <a:pos x="57" y="30"/>
                  </a:cxn>
                  <a:cxn ang="0">
                    <a:pos x="66" y="31"/>
                  </a:cxn>
                  <a:cxn ang="0">
                    <a:pos x="66" y="37"/>
                  </a:cxn>
                  <a:cxn ang="0">
                    <a:pos x="57" y="38"/>
                  </a:cxn>
                  <a:cxn ang="0">
                    <a:pos x="56" y="42"/>
                  </a:cxn>
                  <a:cxn ang="0">
                    <a:pos x="63" y="48"/>
                  </a:cxn>
                  <a:cxn ang="0">
                    <a:pos x="60" y="53"/>
                  </a:cxn>
                  <a:cxn ang="0">
                    <a:pos x="51" y="49"/>
                  </a:cxn>
                  <a:cxn ang="0">
                    <a:pos x="48" y="52"/>
                  </a:cxn>
                  <a:cxn ang="0">
                    <a:pos x="51" y="61"/>
                  </a:cxn>
                  <a:cxn ang="0">
                    <a:pos x="47" y="64"/>
                  </a:cxn>
                  <a:cxn ang="0">
                    <a:pos x="41" y="56"/>
                  </a:cxn>
                  <a:cxn ang="0">
                    <a:pos x="37" y="57"/>
                  </a:cxn>
                  <a:cxn ang="0">
                    <a:pos x="35" y="66"/>
                  </a:cxn>
                  <a:cxn ang="0">
                    <a:pos x="30" y="66"/>
                  </a:cxn>
                  <a:cxn ang="0">
                    <a:pos x="28" y="57"/>
                  </a:cxn>
                  <a:cxn ang="0">
                    <a:pos x="25" y="56"/>
                  </a:cxn>
                  <a:cxn ang="0">
                    <a:pos x="18" y="63"/>
                  </a:cxn>
                  <a:cxn ang="0">
                    <a:pos x="14" y="60"/>
                  </a:cxn>
                  <a:cxn ang="0">
                    <a:pos x="17" y="51"/>
                  </a:cxn>
                  <a:cxn ang="0">
                    <a:pos x="15" y="48"/>
                  </a:cxn>
                  <a:cxn ang="0">
                    <a:pos x="6" y="51"/>
                  </a:cxn>
                  <a:cxn ang="0">
                    <a:pos x="3" y="47"/>
                  </a:cxn>
                  <a:cxn ang="0">
                    <a:pos x="10" y="41"/>
                  </a:cxn>
                  <a:cxn ang="0">
                    <a:pos x="10" y="37"/>
                  </a:cxn>
                  <a:cxn ang="0">
                    <a:pos x="0" y="35"/>
                  </a:cxn>
                  <a:cxn ang="0">
                    <a:pos x="0" y="30"/>
                  </a:cxn>
                  <a:cxn ang="0">
                    <a:pos x="10" y="28"/>
                  </a:cxn>
                  <a:cxn ang="0">
                    <a:pos x="11" y="25"/>
                  </a:cxn>
                  <a:cxn ang="0">
                    <a:pos x="4" y="18"/>
                  </a:cxn>
                  <a:cxn ang="0">
                    <a:pos x="6" y="14"/>
                  </a:cxn>
                  <a:cxn ang="0">
                    <a:pos x="15" y="17"/>
                  </a:cxn>
                  <a:cxn ang="0">
                    <a:pos x="18" y="15"/>
                  </a:cxn>
                </a:cxnLst>
                <a:rect l="0" t="0" r="r" b="b"/>
                <a:pathLst>
                  <a:path w="66" h="66">
                    <a:moveTo>
                      <a:pt x="3" y="2"/>
                    </a:moveTo>
                    <a:cubicBezTo>
                      <a:pt x="12" y="8"/>
                      <a:pt x="12" y="8"/>
                      <a:pt x="12" y="8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9" y="1"/>
                      <a:pt x="20" y="1"/>
                      <a:pt x="21" y="1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9" y="10"/>
                      <a:pt x="41" y="10"/>
                      <a:pt x="42" y="11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49" y="15"/>
                      <a:pt x="49" y="15"/>
                      <a:pt x="49" y="15"/>
                    </a:cubicBezTo>
                    <a:cubicBezTo>
                      <a:pt x="50" y="16"/>
                      <a:pt x="51" y="17"/>
                      <a:pt x="52" y="18"/>
                    </a:cubicBezTo>
                    <a:cubicBezTo>
                      <a:pt x="61" y="15"/>
                      <a:pt x="61" y="15"/>
                      <a:pt x="61" y="15"/>
                    </a:cubicBezTo>
                    <a:cubicBezTo>
                      <a:pt x="63" y="20"/>
                      <a:pt x="63" y="20"/>
                      <a:pt x="63" y="20"/>
                    </a:cubicBezTo>
                    <a:cubicBezTo>
                      <a:pt x="56" y="26"/>
                      <a:pt x="56" y="26"/>
                      <a:pt x="56" y="26"/>
                    </a:cubicBezTo>
                    <a:cubicBezTo>
                      <a:pt x="56" y="27"/>
                      <a:pt x="57" y="28"/>
                      <a:pt x="57" y="30"/>
                    </a:cubicBezTo>
                    <a:cubicBezTo>
                      <a:pt x="66" y="31"/>
                      <a:pt x="66" y="31"/>
                      <a:pt x="66" y="31"/>
                    </a:cubicBezTo>
                    <a:cubicBezTo>
                      <a:pt x="66" y="37"/>
                      <a:pt x="66" y="37"/>
                      <a:pt x="66" y="37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6" y="39"/>
                      <a:pt x="56" y="41"/>
                      <a:pt x="56" y="42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0" y="53"/>
                      <a:pt x="60" y="53"/>
                      <a:pt x="60" y="5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0" y="50"/>
                      <a:pt x="49" y="51"/>
                      <a:pt x="48" y="52"/>
                    </a:cubicBezTo>
                    <a:cubicBezTo>
                      <a:pt x="51" y="61"/>
                      <a:pt x="51" y="61"/>
                      <a:pt x="51" y="61"/>
                    </a:cubicBezTo>
                    <a:cubicBezTo>
                      <a:pt x="47" y="64"/>
                      <a:pt x="47" y="64"/>
                      <a:pt x="47" y="64"/>
                    </a:cubicBezTo>
                    <a:cubicBezTo>
                      <a:pt x="41" y="56"/>
                      <a:pt x="41" y="56"/>
                      <a:pt x="41" y="56"/>
                    </a:cubicBezTo>
                    <a:cubicBezTo>
                      <a:pt x="39" y="56"/>
                      <a:pt x="38" y="57"/>
                      <a:pt x="37" y="57"/>
                    </a:cubicBezTo>
                    <a:cubicBezTo>
                      <a:pt x="35" y="66"/>
                      <a:pt x="35" y="66"/>
                      <a:pt x="35" y="66"/>
                    </a:cubicBezTo>
                    <a:cubicBezTo>
                      <a:pt x="30" y="66"/>
                      <a:pt x="30" y="66"/>
                      <a:pt x="30" y="66"/>
                    </a:cubicBezTo>
                    <a:cubicBezTo>
                      <a:pt x="28" y="57"/>
                      <a:pt x="28" y="57"/>
                      <a:pt x="28" y="57"/>
                    </a:cubicBezTo>
                    <a:cubicBezTo>
                      <a:pt x="27" y="57"/>
                      <a:pt x="26" y="56"/>
                      <a:pt x="25" y="56"/>
                    </a:cubicBezTo>
                    <a:cubicBezTo>
                      <a:pt x="18" y="63"/>
                      <a:pt x="18" y="63"/>
                      <a:pt x="18" y="63"/>
                    </a:cubicBezTo>
                    <a:cubicBezTo>
                      <a:pt x="14" y="60"/>
                      <a:pt x="14" y="60"/>
                      <a:pt x="14" y="60"/>
                    </a:cubicBezTo>
                    <a:cubicBezTo>
                      <a:pt x="17" y="51"/>
                      <a:pt x="17" y="51"/>
                      <a:pt x="17" y="51"/>
                    </a:cubicBezTo>
                    <a:cubicBezTo>
                      <a:pt x="16" y="50"/>
                      <a:pt x="15" y="49"/>
                      <a:pt x="15" y="48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0" y="40"/>
                      <a:pt x="10" y="38"/>
                      <a:pt x="10" y="37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10" y="27"/>
                      <a:pt x="10" y="26"/>
                      <a:pt x="11" y="25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6" y="16"/>
                      <a:pt x="17" y="16"/>
                      <a:pt x="18" y="15"/>
                    </a:cubicBezTo>
                  </a:path>
                </a:pathLst>
              </a:cu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" name="Freeform 24"/>
              <p:cNvSpPr>
                <a:spLocks/>
              </p:cNvSpPr>
              <p:nvPr/>
            </p:nvSpPr>
            <p:spPr bwMode="auto">
              <a:xfrm>
                <a:off x="2935873" y="5306219"/>
                <a:ext cx="63500" cy="60325"/>
              </a:xfrm>
              <a:custGeom>
                <a:avLst/>
                <a:gdLst/>
                <a:ahLst/>
                <a:cxnLst>
                  <a:cxn ang="0">
                    <a:pos x="16" y="3"/>
                  </a:cxn>
                  <a:cxn ang="0">
                    <a:pos x="19" y="16"/>
                  </a:cxn>
                  <a:cxn ang="0">
                    <a:pos x="6" y="18"/>
                  </a:cxn>
                  <a:cxn ang="0">
                    <a:pos x="3" y="5"/>
                  </a:cxn>
                  <a:cxn ang="0">
                    <a:pos x="16" y="3"/>
                  </a:cxn>
                </a:cxnLst>
                <a:rect l="0" t="0" r="r" b="b"/>
                <a:pathLst>
                  <a:path w="22" h="21">
                    <a:moveTo>
                      <a:pt x="16" y="3"/>
                    </a:moveTo>
                    <a:cubicBezTo>
                      <a:pt x="21" y="6"/>
                      <a:pt x="22" y="11"/>
                      <a:pt x="19" y="16"/>
                    </a:cubicBezTo>
                    <a:cubicBezTo>
                      <a:pt x="16" y="20"/>
                      <a:pt x="10" y="21"/>
                      <a:pt x="6" y="18"/>
                    </a:cubicBezTo>
                    <a:cubicBezTo>
                      <a:pt x="1" y="15"/>
                      <a:pt x="0" y="9"/>
                      <a:pt x="3" y="5"/>
                    </a:cubicBezTo>
                    <a:cubicBezTo>
                      <a:pt x="6" y="1"/>
                      <a:pt x="12" y="0"/>
                      <a:pt x="16" y="3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998C85">
                    <a:lumMod val="40000"/>
                    <a:lumOff val="6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49" name="Triangle isocèle 48"/>
            <p:cNvSpPr/>
            <p:nvPr/>
          </p:nvSpPr>
          <p:spPr>
            <a:xfrm>
              <a:off x="3949049" y="1654752"/>
              <a:ext cx="680964" cy="219919"/>
            </a:xfrm>
            <a:prstGeom prst="triangle">
              <a:avLst/>
            </a:prstGeom>
            <a:noFill/>
            <a:ln w="12700" cap="rnd">
              <a:solidFill>
                <a:srgbClr val="998C85">
                  <a:lumMod val="40000"/>
                  <a:lumOff val="60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9" name="Groupe 228"/>
          <p:cNvGrpSpPr/>
          <p:nvPr/>
        </p:nvGrpSpPr>
        <p:grpSpPr>
          <a:xfrm>
            <a:off x="9536996" y="319771"/>
            <a:ext cx="168532" cy="397593"/>
            <a:chOff x="1645221" y="2838750"/>
            <a:chExt cx="160659" cy="430210"/>
          </a:xfrm>
          <a:solidFill>
            <a:sysClr val="window" lastClr="FFFFFF"/>
          </a:solidFill>
          <a:effectLst/>
        </p:grpSpPr>
        <p:sp>
          <p:nvSpPr>
            <p:cNvPr id="70" name="Freeform 5"/>
            <p:cNvSpPr>
              <a:spLocks/>
            </p:cNvSpPr>
            <p:nvPr/>
          </p:nvSpPr>
          <p:spPr bwMode="auto">
            <a:xfrm>
              <a:off x="1645221" y="2838750"/>
              <a:ext cx="157982" cy="255270"/>
            </a:xfrm>
            <a:custGeom>
              <a:avLst/>
              <a:gdLst/>
              <a:ahLst/>
              <a:cxnLst>
                <a:cxn ang="0">
                  <a:pos x="12" y="121"/>
                </a:cxn>
                <a:cxn ang="0">
                  <a:pos x="0" y="84"/>
                </a:cxn>
                <a:cxn ang="0">
                  <a:pos x="27" y="38"/>
                </a:cxn>
                <a:cxn ang="0">
                  <a:pos x="20" y="20"/>
                </a:cxn>
                <a:cxn ang="0">
                  <a:pos x="34" y="0"/>
                </a:cxn>
                <a:cxn ang="0">
                  <a:pos x="50" y="20"/>
                </a:cxn>
                <a:cxn ang="0">
                  <a:pos x="41" y="38"/>
                </a:cxn>
                <a:cxn ang="0">
                  <a:pos x="68" y="84"/>
                </a:cxn>
                <a:cxn ang="0">
                  <a:pos x="75" y="105"/>
                </a:cxn>
                <a:cxn ang="0">
                  <a:pos x="69" y="107"/>
                </a:cxn>
              </a:cxnLst>
              <a:rect l="0" t="0" r="r" b="b"/>
              <a:pathLst>
                <a:path w="75" h="121">
                  <a:moveTo>
                    <a:pt x="12" y="121"/>
                  </a:moveTo>
                  <a:cubicBezTo>
                    <a:pt x="11" y="117"/>
                    <a:pt x="2" y="103"/>
                    <a:pt x="0" y="84"/>
                  </a:cubicBezTo>
                  <a:cubicBezTo>
                    <a:pt x="0" y="58"/>
                    <a:pt x="8" y="39"/>
                    <a:pt x="27" y="38"/>
                  </a:cubicBezTo>
                  <a:cubicBezTo>
                    <a:pt x="25" y="34"/>
                    <a:pt x="20" y="26"/>
                    <a:pt x="20" y="20"/>
                  </a:cubicBezTo>
                  <a:cubicBezTo>
                    <a:pt x="20" y="9"/>
                    <a:pt x="26" y="0"/>
                    <a:pt x="34" y="0"/>
                  </a:cubicBezTo>
                  <a:cubicBezTo>
                    <a:pt x="43" y="0"/>
                    <a:pt x="50" y="9"/>
                    <a:pt x="50" y="20"/>
                  </a:cubicBezTo>
                  <a:cubicBezTo>
                    <a:pt x="50" y="26"/>
                    <a:pt x="45" y="34"/>
                    <a:pt x="41" y="38"/>
                  </a:cubicBezTo>
                  <a:cubicBezTo>
                    <a:pt x="68" y="40"/>
                    <a:pt x="68" y="58"/>
                    <a:pt x="68" y="84"/>
                  </a:cubicBezTo>
                  <a:cubicBezTo>
                    <a:pt x="73" y="94"/>
                    <a:pt x="75" y="102"/>
                    <a:pt x="75" y="105"/>
                  </a:cubicBezTo>
                  <a:cubicBezTo>
                    <a:pt x="72" y="106"/>
                    <a:pt x="73" y="106"/>
                    <a:pt x="69" y="107"/>
                  </a:cubicBezTo>
                </a:path>
              </a:pathLst>
            </a:custGeom>
            <a:grpFill/>
            <a:ln w="9525" cap="rnd">
              <a:solidFill>
                <a:srgbClr val="998C85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Freeform 6"/>
            <p:cNvSpPr>
              <a:spLocks/>
            </p:cNvSpPr>
            <p:nvPr/>
          </p:nvSpPr>
          <p:spPr bwMode="auto">
            <a:xfrm>
              <a:off x="1664857" y="2971740"/>
              <a:ext cx="102644" cy="297220"/>
            </a:xfrm>
            <a:custGeom>
              <a:avLst/>
              <a:gdLst/>
              <a:ahLst/>
              <a:cxnLst>
                <a:cxn ang="0">
                  <a:pos x="49" y="1"/>
                </a:cxn>
                <a:cxn ang="0">
                  <a:pos x="47" y="28"/>
                </a:cxn>
                <a:cxn ang="0">
                  <a:pos x="49" y="52"/>
                </a:cxn>
                <a:cxn ang="0">
                  <a:pos x="47" y="52"/>
                </a:cxn>
                <a:cxn ang="0">
                  <a:pos x="44" y="141"/>
                </a:cxn>
                <a:cxn ang="0">
                  <a:pos x="31" y="141"/>
                </a:cxn>
                <a:cxn ang="0">
                  <a:pos x="27" y="63"/>
                </a:cxn>
                <a:cxn ang="0">
                  <a:pos x="21" y="141"/>
                </a:cxn>
                <a:cxn ang="0">
                  <a:pos x="8" y="141"/>
                </a:cxn>
                <a:cxn ang="0">
                  <a:pos x="3" y="50"/>
                </a:cxn>
                <a:cxn ang="0">
                  <a:pos x="1" y="50"/>
                </a:cxn>
                <a:cxn ang="0">
                  <a:pos x="4" y="27"/>
                </a:cxn>
                <a:cxn ang="0">
                  <a:pos x="2" y="0"/>
                </a:cxn>
              </a:cxnLst>
              <a:rect l="0" t="0" r="r" b="b"/>
              <a:pathLst>
                <a:path w="49" h="141">
                  <a:moveTo>
                    <a:pt x="49" y="1"/>
                  </a:moveTo>
                  <a:cubicBezTo>
                    <a:pt x="49" y="6"/>
                    <a:pt x="49" y="20"/>
                    <a:pt x="47" y="28"/>
                  </a:cubicBezTo>
                  <a:cubicBezTo>
                    <a:pt x="49" y="38"/>
                    <a:pt x="49" y="48"/>
                    <a:pt x="49" y="52"/>
                  </a:cubicBezTo>
                  <a:cubicBezTo>
                    <a:pt x="47" y="52"/>
                    <a:pt x="48" y="52"/>
                    <a:pt x="47" y="52"/>
                  </a:cubicBezTo>
                  <a:cubicBezTo>
                    <a:pt x="46" y="68"/>
                    <a:pt x="47" y="126"/>
                    <a:pt x="44" y="141"/>
                  </a:cubicBezTo>
                  <a:cubicBezTo>
                    <a:pt x="31" y="141"/>
                    <a:pt x="31" y="141"/>
                    <a:pt x="31" y="141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50"/>
                    <a:pt x="2" y="50"/>
                    <a:pt x="1" y="50"/>
                  </a:cubicBezTo>
                  <a:cubicBezTo>
                    <a:pt x="1" y="45"/>
                    <a:pt x="0" y="36"/>
                    <a:pt x="4" y="27"/>
                  </a:cubicBezTo>
                  <a:cubicBezTo>
                    <a:pt x="1" y="18"/>
                    <a:pt x="2" y="10"/>
                    <a:pt x="2" y="0"/>
                  </a:cubicBezTo>
                </a:path>
              </a:pathLst>
            </a:custGeom>
            <a:grpFill/>
            <a:ln w="9525" cap="rnd">
              <a:solidFill>
                <a:srgbClr val="998C85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Freeform 7"/>
            <p:cNvSpPr>
              <a:spLocks/>
            </p:cNvSpPr>
            <p:nvPr/>
          </p:nvSpPr>
          <p:spPr bwMode="auto">
            <a:xfrm>
              <a:off x="1784459" y="3067243"/>
              <a:ext cx="21421" cy="8568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41"/>
                </a:cxn>
                <a:cxn ang="0">
                  <a:pos x="0" y="41"/>
                </a:cxn>
                <a:cxn ang="0">
                  <a:pos x="0" y="6"/>
                </a:cxn>
                <a:cxn ang="0">
                  <a:pos x="2" y="6"/>
                </a:cxn>
              </a:cxnLst>
              <a:rect l="0" t="0" r="r" b="b"/>
              <a:pathLst>
                <a:path w="10" h="41">
                  <a:moveTo>
                    <a:pt x="6" y="0"/>
                  </a:moveTo>
                  <a:cubicBezTo>
                    <a:pt x="6" y="3"/>
                    <a:pt x="6" y="4"/>
                    <a:pt x="6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8"/>
                    <a:pt x="10" y="29"/>
                    <a:pt x="1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9"/>
                    <a:pt x="0" y="18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</a:path>
              </a:pathLst>
            </a:custGeom>
            <a:grpFill/>
            <a:ln w="9525" cap="rnd">
              <a:solidFill>
                <a:srgbClr val="998C85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Freeform 8"/>
            <p:cNvSpPr>
              <a:spLocks/>
            </p:cNvSpPr>
            <p:nvPr/>
          </p:nvSpPr>
          <p:spPr bwMode="auto">
            <a:xfrm>
              <a:off x="1767501" y="3020830"/>
              <a:ext cx="8926" cy="3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6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cubicBezTo>
                    <a:pt x="1" y="6"/>
                    <a:pt x="2" y="10"/>
                    <a:pt x="4" y="16"/>
                  </a:cubicBezTo>
                </a:path>
              </a:pathLst>
            </a:custGeom>
            <a:grpFill/>
            <a:ln w="9525" cap="rnd">
              <a:solidFill>
                <a:srgbClr val="998C85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 9"/>
            <p:cNvSpPr>
              <a:spLocks/>
            </p:cNvSpPr>
            <p:nvPr/>
          </p:nvSpPr>
          <p:spPr bwMode="auto">
            <a:xfrm>
              <a:off x="1714840" y="2928005"/>
              <a:ext cx="38380" cy="15619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67"/>
                </a:cxn>
                <a:cxn ang="0">
                  <a:pos x="8" y="73"/>
                </a:cxn>
                <a:cxn ang="0">
                  <a:pos x="18" y="73"/>
                </a:cxn>
              </a:cxnLst>
              <a:rect l="0" t="0" r="r" b="b"/>
              <a:pathLst>
                <a:path w="18" h="74">
                  <a:moveTo>
                    <a:pt x="9" y="0"/>
                  </a:moveTo>
                  <a:cubicBezTo>
                    <a:pt x="3" y="18"/>
                    <a:pt x="0" y="45"/>
                    <a:pt x="2" y="67"/>
                  </a:cubicBezTo>
                  <a:cubicBezTo>
                    <a:pt x="3" y="72"/>
                    <a:pt x="5" y="72"/>
                    <a:pt x="8" y="73"/>
                  </a:cubicBezTo>
                  <a:cubicBezTo>
                    <a:pt x="12" y="74"/>
                    <a:pt x="14" y="74"/>
                    <a:pt x="18" y="73"/>
                  </a:cubicBezTo>
                </a:path>
              </a:pathLst>
            </a:custGeom>
            <a:grpFill/>
            <a:ln w="9525" cap="rnd">
              <a:solidFill>
                <a:srgbClr val="998C85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eform 10"/>
            <p:cNvSpPr>
              <a:spLocks/>
            </p:cNvSpPr>
            <p:nvPr/>
          </p:nvSpPr>
          <p:spPr bwMode="auto">
            <a:xfrm>
              <a:off x="1702344" y="2925328"/>
              <a:ext cx="12496" cy="490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3"/>
                </a:cxn>
              </a:cxnLst>
              <a:rect l="0" t="0" r="r" b="b"/>
              <a:pathLst>
                <a:path w="6" h="23">
                  <a:moveTo>
                    <a:pt x="0" y="0"/>
                  </a:moveTo>
                  <a:cubicBezTo>
                    <a:pt x="5" y="9"/>
                    <a:pt x="5" y="15"/>
                    <a:pt x="6" y="23"/>
                  </a:cubicBezTo>
                </a:path>
              </a:pathLst>
            </a:custGeom>
            <a:grpFill/>
            <a:ln w="9525" cap="rnd">
              <a:solidFill>
                <a:srgbClr val="998C85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 11"/>
            <p:cNvSpPr>
              <a:spLocks/>
            </p:cNvSpPr>
            <p:nvPr/>
          </p:nvSpPr>
          <p:spPr bwMode="auto">
            <a:xfrm>
              <a:off x="1679138" y="3064566"/>
              <a:ext cx="38380" cy="2142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7"/>
                </a:cxn>
              </a:cxnLst>
              <a:rect l="0" t="0" r="r" b="b"/>
              <a:pathLst>
                <a:path w="18" h="10">
                  <a:moveTo>
                    <a:pt x="18" y="0"/>
                  </a:moveTo>
                  <a:cubicBezTo>
                    <a:pt x="18" y="10"/>
                    <a:pt x="3" y="8"/>
                    <a:pt x="0" y="7"/>
                  </a:cubicBezTo>
                </a:path>
              </a:pathLst>
            </a:custGeom>
            <a:grpFill/>
            <a:ln w="9525" cap="rnd">
              <a:solidFill>
                <a:srgbClr val="998C85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12"/>
            <p:cNvSpPr>
              <a:spLocks/>
            </p:cNvSpPr>
            <p:nvPr/>
          </p:nvSpPr>
          <p:spPr bwMode="auto">
            <a:xfrm>
              <a:off x="1713055" y="2921757"/>
              <a:ext cx="12496" cy="2945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4" y="5"/>
                </a:cxn>
                <a:cxn ang="0">
                  <a:pos x="6" y="14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0" y="11"/>
                    <a:pt x="0" y="8"/>
                    <a:pt x="2" y="5"/>
                  </a:cubicBezTo>
                  <a:cubicBezTo>
                    <a:pt x="1" y="3"/>
                    <a:pt x="0" y="3"/>
                    <a:pt x="0" y="0"/>
                  </a:cubicBezTo>
                  <a:cubicBezTo>
                    <a:pt x="2" y="1"/>
                    <a:pt x="4" y="1"/>
                    <a:pt x="6" y="0"/>
                  </a:cubicBezTo>
                  <a:cubicBezTo>
                    <a:pt x="6" y="2"/>
                    <a:pt x="5" y="3"/>
                    <a:pt x="4" y="5"/>
                  </a:cubicBezTo>
                  <a:cubicBezTo>
                    <a:pt x="6" y="7"/>
                    <a:pt x="6" y="11"/>
                    <a:pt x="6" y="14"/>
                  </a:cubicBezTo>
                </a:path>
              </a:pathLst>
            </a:custGeom>
            <a:grpFill/>
            <a:ln w="9525" cap="rnd">
              <a:solidFill>
                <a:srgbClr val="998C85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8" name="Groupe 228"/>
          <p:cNvGrpSpPr/>
          <p:nvPr/>
        </p:nvGrpSpPr>
        <p:grpSpPr>
          <a:xfrm flipH="1">
            <a:off x="8711281" y="319771"/>
            <a:ext cx="168532" cy="397593"/>
            <a:chOff x="1645221" y="2838750"/>
            <a:chExt cx="160659" cy="430210"/>
          </a:xfrm>
          <a:solidFill>
            <a:sysClr val="window" lastClr="FFFFFF"/>
          </a:solidFill>
          <a:effectLst/>
        </p:grpSpPr>
        <p:sp>
          <p:nvSpPr>
            <p:cNvPr id="79" name="Freeform 5"/>
            <p:cNvSpPr>
              <a:spLocks/>
            </p:cNvSpPr>
            <p:nvPr/>
          </p:nvSpPr>
          <p:spPr bwMode="auto">
            <a:xfrm>
              <a:off x="1645221" y="2838750"/>
              <a:ext cx="157982" cy="255270"/>
            </a:xfrm>
            <a:custGeom>
              <a:avLst/>
              <a:gdLst/>
              <a:ahLst/>
              <a:cxnLst>
                <a:cxn ang="0">
                  <a:pos x="12" y="121"/>
                </a:cxn>
                <a:cxn ang="0">
                  <a:pos x="0" y="84"/>
                </a:cxn>
                <a:cxn ang="0">
                  <a:pos x="27" y="38"/>
                </a:cxn>
                <a:cxn ang="0">
                  <a:pos x="20" y="20"/>
                </a:cxn>
                <a:cxn ang="0">
                  <a:pos x="34" y="0"/>
                </a:cxn>
                <a:cxn ang="0">
                  <a:pos x="50" y="20"/>
                </a:cxn>
                <a:cxn ang="0">
                  <a:pos x="41" y="38"/>
                </a:cxn>
                <a:cxn ang="0">
                  <a:pos x="68" y="84"/>
                </a:cxn>
                <a:cxn ang="0">
                  <a:pos x="75" y="105"/>
                </a:cxn>
                <a:cxn ang="0">
                  <a:pos x="69" y="107"/>
                </a:cxn>
              </a:cxnLst>
              <a:rect l="0" t="0" r="r" b="b"/>
              <a:pathLst>
                <a:path w="75" h="121">
                  <a:moveTo>
                    <a:pt x="12" y="121"/>
                  </a:moveTo>
                  <a:cubicBezTo>
                    <a:pt x="11" y="117"/>
                    <a:pt x="2" y="103"/>
                    <a:pt x="0" y="84"/>
                  </a:cubicBezTo>
                  <a:cubicBezTo>
                    <a:pt x="0" y="58"/>
                    <a:pt x="8" y="39"/>
                    <a:pt x="27" y="38"/>
                  </a:cubicBezTo>
                  <a:cubicBezTo>
                    <a:pt x="25" y="34"/>
                    <a:pt x="20" y="26"/>
                    <a:pt x="20" y="20"/>
                  </a:cubicBezTo>
                  <a:cubicBezTo>
                    <a:pt x="20" y="9"/>
                    <a:pt x="26" y="0"/>
                    <a:pt x="34" y="0"/>
                  </a:cubicBezTo>
                  <a:cubicBezTo>
                    <a:pt x="43" y="0"/>
                    <a:pt x="50" y="9"/>
                    <a:pt x="50" y="20"/>
                  </a:cubicBezTo>
                  <a:cubicBezTo>
                    <a:pt x="50" y="26"/>
                    <a:pt x="45" y="34"/>
                    <a:pt x="41" y="38"/>
                  </a:cubicBezTo>
                  <a:cubicBezTo>
                    <a:pt x="68" y="40"/>
                    <a:pt x="68" y="58"/>
                    <a:pt x="68" y="84"/>
                  </a:cubicBezTo>
                  <a:cubicBezTo>
                    <a:pt x="73" y="94"/>
                    <a:pt x="75" y="102"/>
                    <a:pt x="75" y="105"/>
                  </a:cubicBezTo>
                  <a:cubicBezTo>
                    <a:pt x="72" y="106"/>
                    <a:pt x="73" y="106"/>
                    <a:pt x="69" y="107"/>
                  </a:cubicBezTo>
                </a:path>
              </a:pathLst>
            </a:custGeom>
            <a:grpFill/>
            <a:ln w="9525" cap="rnd">
              <a:solidFill>
                <a:srgbClr val="998C85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 6"/>
            <p:cNvSpPr>
              <a:spLocks/>
            </p:cNvSpPr>
            <p:nvPr/>
          </p:nvSpPr>
          <p:spPr bwMode="auto">
            <a:xfrm>
              <a:off x="1664857" y="2971740"/>
              <a:ext cx="102644" cy="297220"/>
            </a:xfrm>
            <a:custGeom>
              <a:avLst/>
              <a:gdLst/>
              <a:ahLst/>
              <a:cxnLst>
                <a:cxn ang="0">
                  <a:pos x="49" y="1"/>
                </a:cxn>
                <a:cxn ang="0">
                  <a:pos x="47" y="28"/>
                </a:cxn>
                <a:cxn ang="0">
                  <a:pos x="49" y="52"/>
                </a:cxn>
                <a:cxn ang="0">
                  <a:pos x="47" y="52"/>
                </a:cxn>
                <a:cxn ang="0">
                  <a:pos x="44" y="141"/>
                </a:cxn>
                <a:cxn ang="0">
                  <a:pos x="31" y="141"/>
                </a:cxn>
                <a:cxn ang="0">
                  <a:pos x="27" y="63"/>
                </a:cxn>
                <a:cxn ang="0">
                  <a:pos x="21" y="141"/>
                </a:cxn>
                <a:cxn ang="0">
                  <a:pos x="8" y="141"/>
                </a:cxn>
                <a:cxn ang="0">
                  <a:pos x="3" y="50"/>
                </a:cxn>
                <a:cxn ang="0">
                  <a:pos x="1" y="50"/>
                </a:cxn>
                <a:cxn ang="0">
                  <a:pos x="4" y="27"/>
                </a:cxn>
                <a:cxn ang="0">
                  <a:pos x="2" y="0"/>
                </a:cxn>
              </a:cxnLst>
              <a:rect l="0" t="0" r="r" b="b"/>
              <a:pathLst>
                <a:path w="49" h="141">
                  <a:moveTo>
                    <a:pt x="49" y="1"/>
                  </a:moveTo>
                  <a:cubicBezTo>
                    <a:pt x="49" y="6"/>
                    <a:pt x="49" y="20"/>
                    <a:pt x="47" y="28"/>
                  </a:cubicBezTo>
                  <a:cubicBezTo>
                    <a:pt x="49" y="38"/>
                    <a:pt x="49" y="48"/>
                    <a:pt x="49" y="52"/>
                  </a:cubicBezTo>
                  <a:cubicBezTo>
                    <a:pt x="47" y="52"/>
                    <a:pt x="48" y="52"/>
                    <a:pt x="47" y="52"/>
                  </a:cubicBezTo>
                  <a:cubicBezTo>
                    <a:pt x="46" y="68"/>
                    <a:pt x="47" y="126"/>
                    <a:pt x="44" y="141"/>
                  </a:cubicBezTo>
                  <a:cubicBezTo>
                    <a:pt x="31" y="141"/>
                    <a:pt x="31" y="141"/>
                    <a:pt x="31" y="141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50"/>
                    <a:pt x="2" y="50"/>
                    <a:pt x="1" y="50"/>
                  </a:cubicBezTo>
                  <a:cubicBezTo>
                    <a:pt x="1" y="45"/>
                    <a:pt x="0" y="36"/>
                    <a:pt x="4" y="27"/>
                  </a:cubicBezTo>
                  <a:cubicBezTo>
                    <a:pt x="1" y="18"/>
                    <a:pt x="2" y="10"/>
                    <a:pt x="2" y="0"/>
                  </a:cubicBezTo>
                </a:path>
              </a:pathLst>
            </a:custGeom>
            <a:grpFill/>
            <a:ln w="9525" cap="rnd">
              <a:solidFill>
                <a:srgbClr val="998C85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 7"/>
            <p:cNvSpPr>
              <a:spLocks/>
            </p:cNvSpPr>
            <p:nvPr/>
          </p:nvSpPr>
          <p:spPr bwMode="auto">
            <a:xfrm>
              <a:off x="1784459" y="3067243"/>
              <a:ext cx="21421" cy="8568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41"/>
                </a:cxn>
                <a:cxn ang="0">
                  <a:pos x="0" y="41"/>
                </a:cxn>
                <a:cxn ang="0">
                  <a:pos x="0" y="6"/>
                </a:cxn>
                <a:cxn ang="0">
                  <a:pos x="2" y="6"/>
                </a:cxn>
              </a:cxnLst>
              <a:rect l="0" t="0" r="r" b="b"/>
              <a:pathLst>
                <a:path w="10" h="41">
                  <a:moveTo>
                    <a:pt x="6" y="0"/>
                  </a:moveTo>
                  <a:cubicBezTo>
                    <a:pt x="6" y="3"/>
                    <a:pt x="6" y="4"/>
                    <a:pt x="6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8"/>
                    <a:pt x="10" y="29"/>
                    <a:pt x="1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9"/>
                    <a:pt x="0" y="18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</a:path>
              </a:pathLst>
            </a:custGeom>
            <a:grpFill/>
            <a:ln w="9525" cap="rnd">
              <a:solidFill>
                <a:srgbClr val="998C85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 8"/>
            <p:cNvSpPr>
              <a:spLocks/>
            </p:cNvSpPr>
            <p:nvPr/>
          </p:nvSpPr>
          <p:spPr bwMode="auto">
            <a:xfrm>
              <a:off x="1767501" y="3020830"/>
              <a:ext cx="8926" cy="3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6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cubicBezTo>
                    <a:pt x="1" y="6"/>
                    <a:pt x="2" y="10"/>
                    <a:pt x="4" y="16"/>
                  </a:cubicBezTo>
                </a:path>
              </a:pathLst>
            </a:custGeom>
            <a:grpFill/>
            <a:ln w="9525" cap="rnd">
              <a:solidFill>
                <a:srgbClr val="998C85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 9"/>
            <p:cNvSpPr>
              <a:spLocks/>
            </p:cNvSpPr>
            <p:nvPr/>
          </p:nvSpPr>
          <p:spPr bwMode="auto">
            <a:xfrm>
              <a:off x="1714840" y="2928005"/>
              <a:ext cx="38380" cy="15619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67"/>
                </a:cxn>
                <a:cxn ang="0">
                  <a:pos x="8" y="73"/>
                </a:cxn>
                <a:cxn ang="0">
                  <a:pos x="18" y="73"/>
                </a:cxn>
              </a:cxnLst>
              <a:rect l="0" t="0" r="r" b="b"/>
              <a:pathLst>
                <a:path w="18" h="74">
                  <a:moveTo>
                    <a:pt x="9" y="0"/>
                  </a:moveTo>
                  <a:cubicBezTo>
                    <a:pt x="3" y="18"/>
                    <a:pt x="0" y="45"/>
                    <a:pt x="2" y="67"/>
                  </a:cubicBezTo>
                  <a:cubicBezTo>
                    <a:pt x="3" y="72"/>
                    <a:pt x="5" y="72"/>
                    <a:pt x="8" y="73"/>
                  </a:cubicBezTo>
                  <a:cubicBezTo>
                    <a:pt x="12" y="74"/>
                    <a:pt x="14" y="74"/>
                    <a:pt x="18" y="73"/>
                  </a:cubicBezTo>
                </a:path>
              </a:pathLst>
            </a:custGeom>
            <a:grpFill/>
            <a:ln w="9525" cap="rnd">
              <a:solidFill>
                <a:srgbClr val="998C85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 10"/>
            <p:cNvSpPr>
              <a:spLocks/>
            </p:cNvSpPr>
            <p:nvPr/>
          </p:nvSpPr>
          <p:spPr bwMode="auto">
            <a:xfrm>
              <a:off x="1702344" y="2925328"/>
              <a:ext cx="12496" cy="490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3"/>
                </a:cxn>
              </a:cxnLst>
              <a:rect l="0" t="0" r="r" b="b"/>
              <a:pathLst>
                <a:path w="6" h="23">
                  <a:moveTo>
                    <a:pt x="0" y="0"/>
                  </a:moveTo>
                  <a:cubicBezTo>
                    <a:pt x="5" y="9"/>
                    <a:pt x="5" y="15"/>
                    <a:pt x="6" y="23"/>
                  </a:cubicBezTo>
                </a:path>
              </a:pathLst>
            </a:custGeom>
            <a:grpFill/>
            <a:ln w="9525" cap="rnd">
              <a:solidFill>
                <a:srgbClr val="998C85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 11"/>
            <p:cNvSpPr>
              <a:spLocks/>
            </p:cNvSpPr>
            <p:nvPr/>
          </p:nvSpPr>
          <p:spPr bwMode="auto">
            <a:xfrm>
              <a:off x="1679138" y="3064566"/>
              <a:ext cx="38380" cy="2142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7"/>
                </a:cxn>
              </a:cxnLst>
              <a:rect l="0" t="0" r="r" b="b"/>
              <a:pathLst>
                <a:path w="18" h="10">
                  <a:moveTo>
                    <a:pt x="18" y="0"/>
                  </a:moveTo>
                  <a:cubicBezTo>
                    <a:pt x="18" y="10"/>
                    <a:pt x="3" y="8"/>
                    <a:pt x="0" y="7"/>
                  </a:cubicBezTo>
                </a:path>
              </a:pathLst>
            </a:custGeom>
            <a:grpFill/>
            <a:ln w="9525" cap="rnd">
              <a:solidFill>
                <a:srgbClr val="998C85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 12"/>
            <p:cNvSpPr>
              <a:spLocks/>
            </p:cNvSpPr>
            <p:nvPr/>
          </p:nvSpPr>
          <p:spPr bwMode="auto">
            <a:xfrm>
              <a:off x="1713055" y="2921757"/>
              <a:ext cx="12496" cy="2945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4" y="5"/>
                </a:cxn>
                <a:cxn ang="0">
                  <a:pos x="6" y="14"/>
                </a:cxn>
              </a:cxnLst>
              <a:rect l="0" t="0" r="r" b="b"/>
              <a:pathLst>
                <a:path w="6" h="14">
                  <a:moveTo>
                    <a:pt x="0" y="14"/>
                  </a:moveTo>
                  <a:cubicBezTo>
                    <a:pt x="0" y="11"/>
                    <a:pt x="0" y="8"/>
                    <a:pt x="2" y="5"/>
                  </a:cubicBezTo>
                  <a:cubicBezTo>
                    <a:pt x="1" y="3"/>
                    <a:pt x="0" y="3"/>
                    <a:pt x="0" y="0"/>
                  </a:cubicBezTo>
                  <a:cubicBezTo>
                    <a:pt x="2" y="1"/>
                    <a:pt x="4" y="1"/>
                    <a:pt x="6" y="0"/>
                  </a:cubicBezTo>
                  <a:cubicBezTo>
                    <a:pt x="6" y="2"/>
                    <a:pt x="5" y="3"/>
                    <a:pt x="4" y="5"/>
                  </a:cubicBezTo>
                  <a:cubicBezTo>
                    <a:pt x="6" y="7"/>
                    <a:pt x="6" y="11"/>
                    <a:pt x="6" y="14"/>
                  </a:cubicBezTo>
                </a:path>
              </a:pathLst>
            </a:custGeom>
            <a:grpFill/>
            <a:ln w="9525" cap="rnd">
              <a:solidFill>
                <a:srgbClr val="998C85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626" name="Connecteur droit 625"/>
          <p:cNvCxnSpPr/>
          <p:nvPr/>
        </p:nvCxnSpPr>
        <p:spPr>
          <a:xfrm flipV="1">
            <a:off x="4847084" y="1412776"/>
            <a:ext cx="0" cy="4824536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Connecteur droit 626"/>
          <p:cNvCxnSpPr/>
          <p:nvPr/>
        </p:nvCxnSpPr>
        <p:spPr>
          <a:xfrm>
            <a:off x="72008" y="3611116"/>
            <a:ext cx="970552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8" name="Connecteur droit 627"/>
          <p:cNvCxnSpPr/>
          <p:nvPr/>
        </p:nvCxnSpPr>
        <p:spPr>
          <a:xfrm flipH="1">
            <a:off x="1963097" y="1916641"/>
            <a:ext cx="3865455" cy="0"/>
          </a:xfrm>
          <a:prstGeom prst="line">
            <a:avLst/>
          </a:prstGeom>
          <a:ln w="63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9" name="Image 6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47" r="18924" b="69690"/>
          <a:stretch>
            <a:fillRect/>
          </a:stretch>
        </p:blipFill>
        <p:spPr>
          <a:xfrm>
            <a:off x="2864768" y="4592206"/>
            <a:ext cx="1296144" cy="348962"/>
          </a:xfrm>
          <a:prstGeom prst="rect">
            <a:avLst/>
          </a:prstGeom>
        </p:spPr>
      </p:pic>
      <p:pic>
        <p:nvPicPr>
          <p:cNvPr id="630" name="Picture 3"/>
          <p:cNvPicPr>
            <a:picLocks noChangeAspect="1" noChangeArrowheads="1"/>
          </p:cNvPicPr>
          <p:nvPr/>
        </p:nvPicPr>
        <p:blipFill>
          <a:blip r:embed="rId4" cstate="print"/>
          <a:srcRect l="18458" r="32582"/>
          <a:stretch>
            <a:fillRect/>
          </a:stretch>
        </p:blipFill>
        <p:spPr bwMode="auto">
          <a:xfrm>
            <a:off x="4953000" y="1268760"/>
            <a:ext cx="651268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31" name="ZoneTexte 630"/>
          <p:cNvSpPr txBox="1"/>
          <p:nvPr/>
        </p:nvSpPr>
        <p:spPr>
          <a:xfrm>
            <a:off x="7113240" y="1455628"/>
            <a:ext cx="2792760" cy="184754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228600" indent="-228600" defTabSz="914342">
              <a:spcAft>
                <a:spcPts val="400"/>
              </a:spcAft>
              <a:buClr>
                <a:schemeClr val="accent5"/>
              </a:buClr>
              <a:buSzPct val="115000"/>
              <a:buFont typeface="Wingdings" pitchFamily="2" charset="2"/>
              <a:buChar char="§"/>
              <a:defRPr/>
            </a:pPr>
            <a:r>
              <a:rPr lang="fr-FR" sz="1400" dirty="0" smtClean="0"/>
              <a:t>Un réseau de centres</a:t>
            </a:r>
            <a:br>
              <a:rPr lang="fr-FR" sz="1400" dirty="0" smtClean="0"/>
            </a:br>
            <a:r>
              <a:rPr lang="fr-FR" sz="1400" dirty="0" smtClean="0"/>
              <a:t>de services familiers du</a:t>
            </a:r>
            <a:br>
              <a:rPr lang="fr-FR" sz="1400" dirty="0" smtClean="0"/>
            </a:br>
            <a:r>
              <a:rPr lang="fr-FR" sz="1400" dirty="0" smtClean="0"/>
              <a:t>modèle de </a:t>
            </a:r>
            <a:r>
              <a:rPr lang="fr-FR" sz="1400" dirty="0" err="1" smtClean="0"/>
              <a:t>delivery</a:t>
            </a:r>
            <a:r>
              <a:rPr lang="fr-FR" sz="1400" dirty="0" smtClean="0"/>
              <a:t> distribué</a:t>
            </a:r>
            <a:endParaRPr lang="fr-FR" sz="1400" b="1" dirty="0" smtClean="0"/>
          </a:p>
          <a:p>
            <a:pPr marL="228600" indent="-228600" defTabSz="914342">
              <a:spcAft>
                <a:spcPts val="400"/>
              </a:spcAft>
              <a:buClr>
                <a:schemeClr val="accent5"/>
              </a:buClr>
              <a:buSzPct val="115000"/>
              <a:buFont typeface="Wingdings" pitchFamily="2" charset="2"/>
              <a:buChar char="§"/>
              <a:defRPr/>
            </a:pPr>
            <a:r>
              <a:rPr lang="fr-FR" sz="1400" b="1" dirty="0" smtClean="0"/>
              <a:t>«</a:t>
            </a:r>
            <a:r>
              <a:rPr lang="fr-FR" sz="1400" b="1" dirty="0"/>
              <a:t> People </a:t>
            </a:r>
            <a:r>
              <a:rPr lang="fr-FR" sz="1400" b="1" dirty="0" err="1"/>
              <a:t>Matter</a:t>
            </a:r>
            <a:r>
              <a:rPr lang="fr-FR" sz="1400" b="1" dirty="0"/>
              <a:t> » </a:t>
            </a:r>
            <a:r>
              <a:rPr lang="fr-FR" sz="1400" dirty="0"/>
              <a:t>: Une gestion des compétences</a:t>
            </a:r>
            <a:br>
              <a:rPr lang="fr-FR" sz="1400" dirty="0"/>
            </a:br>
            <a:r>
              <a:rPr lang="fr-FR" sz="1400" dirty="0"/>
              <a:t>et de la motivation de nos collaborateurs animée dans la </a:t>
            </a:r>
            <a:r>
              <a:rPr lang="fr-FR" sz="1400" dirty="0" smtClean="0"/>
              <a:t>durée</a:t>
            </a:r>
          </a:p>
        </p:txBody>
      </p:sp>
      <p:sp>
        <p:nvSpPr>
          <p:cNvPr id="632" name="ZoneTexte 631"/>
          <p:cNvSpPr txBox="1"/>
          <p:nvPr/>
        </p:nvSpPr>
        <p:spPr>
          <a:xfrm>
            <a:off x="0" y="3810620"/>
            <a:ext cx="2720752" cy="2062992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228600" indent="-228600" defTabSz="914342">
              <a:spcAft>
                <a:spcPts val="400"/>
              </a:spcAft>
              <a:buClr>
                <a:schemeClr val="accent5"/>
              </a:buClr>
              <a:buSzPct val="115000"/>
              <a:buFont typeface="Wingdings" pitchFamily="2" charset="2"/>
              <a:buChar char="§"/>
              <a:defRPr/>
            </a:pPr>
            <a:r>
              <a:rPr lang="fr-FR" sz="1400" dirty="0" smtClean="0"/>
              <a:t>Un service commun de déploiement des </a:t>
            </a:r>
            <a:r>
              <a:rPr lang="fr-FR" sz="1400" b="1" dirty="0" smtClean="0"/>
              <a:t>outils</a:t>
            </a:r>
            <a:r>
              <a:rPr lang="fr-FR" sz="1400" dirty="0" smtClean="0"/>
              <a:t> : (planification, </a:t>
            </a:r>
            <a:r>
              <a:rPr lang="fr-FR" sz="1400" dirty="0" err="1" smtClean="0"/>
              <a:t>ticketing</a:t>
            </a:r>
            <a:r>
              <a:rPr lang="fr-FR" sz="1400" dirty="0" smtClean="0"/>
              <a:t>, </a:t>
            </a:r>
            <a:r>
              <a:rPr lang="fr-FR" sz="1400" dirty="0" err="1" smtClean="0"/>
              <a:t>testing</a:t>
            </a:r>
            <a:r>
              <a:rPr lang="fr-FR" sz="1400" dirty="0" smtClean="0"/>
              <a:t>, intégration continue, </a:t>
            </a:r>
            <a:r>
              <a:rPr lang="fr-FR" sz="1400" dirty="0" err="1" smtClean="0"/>
              <a:t>qualimétrie</a:t>
            </a:r>
            <a:r>
              <a:rPr lang="fr-FR" sz="1400" dirty="0" smtClean="0"/>
              <a:t>, …)</a:t>
            </a:r>
          </a:p>
          <a:p>
            <a:pPr marL="228600" indent="-228600" defTabSz="914342">
              <a:spcAft>
                <a:spcPts val="400"/>
              </a:spcAft>
              <a:buClr>
                <a:schemeClr val="accent5"/>
              </a:buClr>
              <a:buSzPct val="115000"/>
              <a:buFont typeface="Wingdings" pitchFamily="2" charset="2"/>
              <a:buChar char="§"/>
              <a:defRPr/>
            </a:pPr>
            <a:r>
              <a:rPr lang="fr-FR" sz="1400" dirty="0" smtClean="0"/>
              <a:t>Un investissement sur la </a:t>
            </a:r>
            <a:r>
              <a:rPr lang="fr-FR" sz="1400" b="1" dirty="0" smtClean="0"/>
              <a:t>capitalisation </a:t>
            </a:r>
            <a:r>
              <a:rPr lang="fr-FR" sz="1400" dirty="0" smtClean="0"/>
              <a:t>et la </a:t>
            </a:r>
            <a:r>
              <a:rPr lang="fr-FR" sz="1400" b="1" dirty="0" smtClean="0"/>
              <a:t>standardisation</a:t>
            </a:r>
            <a:r>
              <a:rPr lang="fr-FR" sz="1400" dirty="0" smtClean="0"/>
              <a:t> des meilleures pratiques d’ADM</a:t>
            </a:r>
          </a:p>
        </p:txBody>
      </p:sp>
      <p:sp>
        <p:nvSpPr>
          <p:cNvPr id="633" name="ZoneTexte 632"/>
          <p:cNvSpPr txBox="1"/>
          <p:nvPr/>
        </p:nvSpPr>
        <p:spPr>
          <a:xfrm>
            <a:off x="7113240" y="3725297"/>
            <a:ext cx="2792760" cy="2647767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228600" indent="-228600" defTabSz="914342">
              <a:spcAft>
                <a:spcPts val="400"/>
              </a:spcAft>
              <a:buClr>
                <a:schemeClr val="accent5"/>
              </a:buClr>
              <a:buSzPct val="115000"/>
              <a:buFont typeface="Wingdings" pitchFamily="2" charset="2"/>
              <a:buChar char="§"/>
              <a:defRPr/>
            </a:pPr>
            <a:r>
              <a:rPr lang="fr-FR" sz="1400" dirty="0" smtClean="0"/>
              <a:t>OTACE pour mesurer et suivre la satisfaction  client</a:t>
            </a:r>
          </a:p>
          <a:p>
            <a:pPr marL="228600" indent="-228600" defTabSz="914342">
              <a:spcAft>
                <a:spcPts val="400"/>
              </a:spcAft>
              <a:buClr>
                <a:schemeClr val="accent5"/>
              </a:buClr>
              <a:buSzPct val="115000"/>
              <a:buFont typeface="Wingdings" pitchFamily="2" charset="2"/>
              <a:buChar char="§"/>
              <a:defRPr/>
            </a:pPr>
            <a:r>
              <a:rPr lang="fr-FR" sz="1400" dirty="0" smtClean="0"/>
              <a:t>KPI opérationnels standards</a:t>
            </a:r>
          </a:p>
          <a:p>
            <a:pPr marL="228600" indent="-228600" defTabSz="914342">
              <a:spcAft>
                <a:spcPts val="400"/>
              </a:spcAft>
              <a:buClr>
                <a:schemeClr val="accent5"/>
              </a:buClr>
              <a:buSzPct val="115000"/>
              <a:buFont typeface="Wingdings" pitchFamily="2" charset="2"/>
              <a:buChar char="§"/>
              <a:defRPr/>
            </a:pPr>
            <a:r>
              <a:rPr lang="fr-FR" sz="1400" dirty="0" smtClean="0"/>
              <a:t>SLA spécifiques par contrat</a:t>
            </a:r>
          </a:p>
          <a:p>
            <a:pPr marL="228600" indent="-228600" defTabSz="914342">
              <a:spcAft>
                <a:spcPts val="400"/>
              </a:spcAft>
              <a:buClr>
                <a:schemeClr val="accent5"/>
              </a:buClr>
              <a:buSzPct val="115000"/>
              <a:buFont typeface="Wingdings" pitchFamily="2" charset="2"/>
              <a:buChar char="§"/>
              <a:defRPr/>
            </a:pPr>
            <a:r>
              <a:rPr lang="fr-FR" sz="1400" dirty="0" smtClean="0"/>
              <a:t>Un focus sur la création de relations charnières avec nos clients pour assurer un processus de pilotage et d’escalade efficace</a:t>
            </a:r>
          </a:p>
          <a:p>
            <a:pPr marL="228600" indent="-228600" defTabSz="914342">
              <a:spcAft>
                <a:spcPts val="400"/>
              </a:spcAft>
              <a:buClr>
                <a:schemeClr val="accent5"/>
              </a:buClr>
              <a:buSzPct val="115000"/>
              <a:buFont typeface="Wingdings" pitchFamily="2" charset="2"/>
              <a:buChar char="§"/>
              <a:defRPr/>
            </a:pPr>
            <a:r>
              <a:rPr lang="fr-FR" sz="1400" dirty="0" smtClean="0"/>
              <a:t>Une organisation dédiée au pilotage des risques</a:t>
            </a:r>
            <a:endParaRPr lang="fr-FR" sz="1400" dirty="0"/>
          </a:p>
        </p:txBody>
      </p:sp>
      <p:pic>
        <p:nvPicPr>
          <p:cNvPr id="634" name="Picture 1" descr="image00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626190" y="5229200"/>
            <a:ext cx="1373636" cy="1036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35" name="Groupe 633"/>
          <p:cNvGrpSpPr/>
          <p:nvPr/>
        </p:nvGrpSpPr>
        <p:grpSpPr>
          <a:xfrm>
            <a:off x="5529064" y="1358688"/>
            <a:ext cx="1449512" cy="715963"/>
            <a:chOff x="6350684" y="3130154"/>
            <a:chExt cx="1233488" cy="715963"/>
          </a:xfrm>
        </p:grpSpPr>
        <p:sp>
          <p:nvSpPr>
            <p:cNvPr id="636" name="Freeform 4"/>
            <p:cNvSpPr>
              <a:spLocks/>
            </p:cNvSpPr>
            <p:nvPr/>
          </p:nvSpPr>
          <p:spPr bwMode="auto">
            <a:xfrm>
              <a:off x="7025324" y="3325638"/>
              <a:ext cx="142220" cy="44883"/>
            </a:xfrm>
            <a:custGeom>
              <a:avLst/>
              <a:gdLst>
                <a:gd name="T0" fmla="*/ 533681 w 592"/>
                <a:gd name="T1" fmla="*/ 161958 h 192"/>
                <a:gd name="T2" fmla="*/ 681166 w 592"/>
                <a:gd name="T3" fmla="*/ 222349 h 192"/>
                <a:gd name="T4" fmla="*/ 865141 w 592"/>
                <a:gd name="T5" fmla="*/ 234702 h 192"/>
                <a:gd name="T6" fmla="*/ 827130 w 592"/>
                <a:gd name="T7" fmla="*/ 156468 h 192"/>
                <a:gd name="T8" fmla="*/ 900112 w 592"/>
                <a:gd name="T9" fmla="*/ 24705 h 192"/>
                <a:gd name="T10" fmla="*/ 249355 w 592"/>
                <a:gd name="T11" fmla="*/ 0 h 192"/>
                <a:gd name="T12" fmla="*/ 36491 w 592"/>
                <a:gd name="T13" fmla="*/ 50783 h 192"/>
                <a:gd name="T14" fmla="*/ 50175 w 592"/>
                <a:gd name="T15" fmla="*/ 75489 h 192"/>
                <a:gd name="T16" fmla="*/ 0 w 592"/>
                <a:gd name="T17" fmla="*/ 146860 h 192"/>
                <a:gd name="T18" fmla="*/ 53216 w 592"/>
                <a:gd name="T19" fmla="*/ 174311 h 192"/>
                <a:gd name="T20" fmla="*/ 118596 w 592"/>
                <a:gd name="T21" fmla="*/ 153723 h 192"/>
                <a:gd name="T22" fmla="*/ 167251 w 592"/>
                <a:gd name="T23" fmla="*/ 248427 h 192"/>
                <a:gd name="T24" fmla="*/ 200701 w 592"/>
                <a:gd name="T25" fmla="*/ 253917 h 192"/>
                <a:gd name="T26" fmla="*/ 243274 w 592"/>
                <a:gd name="T27" fmla="*/ 240192 h 192"/>
                <a:gd name="T28" fmla="*/ 264560 w 592"/>
                <a:gd name="T29" fmla="*/ 244310 h 192"/>
                <a:gd name="T30" fmla="*/ 319296 w 592"/>
                <a:gd name="T31" fmla="*/ 241565 h 192"/>
                <a:gd name="T32" fmla="*/ 497190 w 592"/>
                <a:gd name="T33" fmla="*/ 263525 h 192"/>
                <a:gd name="T34" fmla="*/ 533681 w 592"/>
                <a:gd name="T35" fmla="*/ 161958 h 1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92"/>
                <a:gd name="T55" fmla="*/ 0 h 192"/>
                <a:gd name="T56" fmla="*/ 592 w 592"/>
                <a:gd name="T57" fmla="*/ 192 h 19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92" h="192">
                  <a:moveTo>
                    <a:pt x="351" y="118"/>
                  </a:moveTo>
                  <a:lnTo>
                    <a:pt x="448" y="162"/>
                  </a:lnTo>
                  <a:lnTo>
                    <a:pt x="569" y="171"/>
                  </a:lnTo>
                  <a:lnTo>
                    <a:pt x="544" y="114"/>
                  </a:lnTo>
                  <a:lnTo>
                    <a:pt x="592" y="18"/>
                  </a:lnTo>
                  <a:lnTo>
                    <a:pt x="164" y="0"/>
                  </a:lnTo>
                  <a:lnTo>
                    <a:pt x="24" y="37"/>
                  </a:lnTo>
                  <a:lnTo>
                    <a:pt x="33" y="55"/>
                  </a:lnTo>
                  <a:lnTo>
                    <a:pt x="0" y="107"/>
                  </a:lnTo>
                  <a:lnTo>
                    <a:pt x="35" y="127"/>
                  </a:lnTo>
                  <a:lnTo>
                    <a:pt x="78" y="112"/>
                  </a:lnTo>
                  <a:lnTo>
                    <a:pt x="110" y="181"/>
                  </a:lnTo>
                  <a:lnTo>
                    <a:pt x="132" y="185"/>
                  </a:lnTo>
                  <a:lnTo>
                    <a:pt x="160" y="175"/>
                  </a:lnTo>
                  <a:lnTo>
                    <a:pt x="174" y="178"/>
                  </a:lnTo>
                  <a:lnTo>
                    <a:pt x="210" y="176"/>
                  </a:lnTo>
                  <a:lnTo>
                    <a:pt x="327" y="192"/>
                  </a:lnTo>
                  <a:lnTo>
                    <a:pt x="351" y="118"/>
                  </a:lnTo>
                  <a:close/>
                </a:path>
              </a:pathLst>
            </a:custGeom>
            <a:solidFill>
              <a:srgbClr val="D3CFB1"/>
            </a:solidFill>
            <a:ln w="9525" cap="flat" cmpd="sng">
              <a:solidFill>
                <a:srgbClr val="D3CFB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637" name="Freeform 5"/>
            <p:cNvSpPr>
              <a:spLocks/>
            </p:cNvSpPr>
            <p:nvPr/>
          </p:nvSpPr>
          <p:spPr bwMode="auto">
            <a:xfrm>
              <a:off x="6600167" y="3500573"/>
              <a:ext cx="14548" cy="18386"/>
            </a:xfrm>
            <a:custGeom>
              <a:avLst/>
              <a:gdLst>
                <a:gd name="T0" fmla="*/ 15128078 w 31"/>
                <a:gd name="T1" fmla="*/ 37200348 h 38"/>
                <a:gd name="T2" fmla="*/ 12593830 w 31"/>
                <a:gd name="T3" fmla="*/ 36383698 h 38"/>
                <a:gd name="T4" fmla="*/ 5348066 w 31"/>
                <a:gd name="T5" fmla="*/ 35106153 h 38"/>
                <a:gd name="T6" fmla="*/ 0 w 31"/>
                <a:gd name="T7" fmla="*/ 31441222 h 38"/>
                <a:gd name="T8" fmla="*/ 813185 w 31"/>
                <a:gd name="T9" fmla="*/ 29374918 h 38"/>
                <a:gd name="T10" fmla="*/ 813185 w 31"/>
                <a:gd name="T11" fmla="*/ 28478632 h 38"/>
                <a:gd name="T12" fmla="*/ 2596311 w 31"/>
                <a:gd name="T13" fmla="*/ 21466005 h 38"/>
                <a:gd name="T14" fmla="*/ 4509328 w 31"/>
                <a:gd name="T15" fmla="*/ 19416389 h 38"/>
                <a:gd name="T16" fmla="*/ 7875316 w 31"/>
                <a:gd name="T17" fmla="*/ 17849252 h 38"/>
                <a:gd name="T18" fmla="*/ 13196932 w 31"/>
                <a:gd name="T19" fmla="*/ 17849252 h 38"/>
                <a:gd name="T20" fmla="*/ 14397231 w 31"/>
                <a:gd name="T21" fmla="*/ 16599778 h 38"/>
                <a:gd name="T22" fmla="*/ 13196932 w 31"/>
                <a:gd name="T23" fmla="*/ 11496685 h 38"/>
                <a:gd name="T24" fmla="*/ 9187257 w 31"/>
                <a:gd name="T25" fmla="*/ 5759327 h 38"/>
                <a:gd name="T26" fmla="*/ 10618742 w 31"/>
                <a:gd name="T27" fmla="*/ 2959271 h 38"/>
                <a:gd name="T28" fmla="*/ 17124821 w 31"/>
                <a:gd name="T29" fmla="*/ 2049534 h 38"/>
                <a:gd name="T30" fmla="*/ 18545099 w 31"/>
                <a:gd name="T31" fmla="*/ 865359 h 38"/>
                <a:gd name="T32" fmla="*/ 23201344 w 31"/>
                <a:gd name="T33" fmla="*/ 0 h 38"/>
                <a:gd name="T34" fmla="*/ 23201344 w 31"/>
                <a:gd name="T35" fmla="*/ 0 h 38"/>
                <a:gd name="T36" fmla="*/ 23201344 w 31"/>
                <a:gd name="T37" fmla="*/ 4854159 h 38"/>
                <a:gd name="T38" fmla="*/ 23201344 w 31"/>
                <a:gd name="T39" fmla="*/ 8696832 h 38"/>
                <a:gd name="T40" fmla="*/ 23201344 w 31"/>
                <a:gd name="T41" fmla="*/ 10840510 h 38"/>
                <a:gd name="T42" fmla="*/ 22384253 w 31"/>
                <a:gd name="T43" fmla="*/ 18666092 h 38"/>
                <a:gd name="T44" fmla="*/ 25817776 w 31"/>
                <a:gd name="T45" fmla="*/ 18666092 h 38"/>
                <a:gd name="T46" fmla="*/ 26893598 w 31"/>
                <a:gd name="T47" fmla="*/ 18666092 h 38"/>
                <a:gd name="T48" fmla="*/ 27741868 w 31"/>
                <a:gd name="T49" fmla="*/ 19416389 h 38"/>
                <a:gd name="T50" fmla="*/ 27741868 w 31"/>
                <a:gd name="T51" fmla="*/ 19416389 h 38"/>
                <a:gd name="T52" fmla="*/ 27741868 w 31"/>
                <a:gd name="T53" fmla="*/ 21466005 h 38"/>
                <a:gd name="T54" fmla="*/ 25817776 w 31"/>
                <a:gd name="T55" fmla="*/ 23608573 h 38"/>
                <a:gd name="T56" fmla="*/ 21634510 w 31"/>
                <a:gd name="T57" fmla="*/ 28478632 h 38"/>
                <a:gd name="T58" fmla="*/ 20469694 w 31"/>
                <a:gd name="T59" fmla="*/ 32306434 h 38"/>
                <a:gd name="T60" fmla="*/ 15964809 w 31"/>
                <a:gd name="T61" fmla="*/ 36383698 h 38"/>
                <a:gd name="T62" fmla="*/ 15128078 w 31"/>
                <a:gd name="T63" fmla="*/ 37200348 h 3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1"/>
                <a:gd name="T97" fmla="*/ 0 h 38"/>
                <a:gd name="T98" fmla="*/ 31 w 31"/>
                <a:gd name="T99" fmla="*/ 38 h 3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1" h="38">
                  <a:moveTo>
                    <a:pt x="17" y="38"/>
                  </a:moveTo>
                  <a:cubicBezTo>
                    <a:pt x="16" y="38"/>
                    <a:pt x="15" y="38"/>
                    <a:pt x="14" y="37"/>
                  </a:cubicBezTo>
                  <a:cubicBezTo>
                    <a:pt x="11" y="36"/>
                    <a:pt x="8" y="38"/>
                    <a:pt x="6" y="36"/>
                  </a:cubicBezTo>
                  <a:cubicBezTo>
                    <a:pt x="3" y="35"/>
                    <a:pt x="2" y="34"/>
                    <a:pt x="0" y="32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30"/>
                    <a:pt x="1" y="30"/>
                    <a:pt x="1" y="29"/>
                  </a:cubicBezTo>
                  <a:cubicBezTo>
                    <a:pt x="2" y="27"/>
                    <a:pt x="2" y="24"/>
                    <a:pt x="3" y="22"/>
                  </a:cubicBezTo>
                  <a:cubicBezTo>
                    <a:pt x="4" y="22"/>
                    <a:pt x="4" y="21"/>
                    <a:pt x="5" y="20"/>
                  </a:cubicBezTo>
                  <a:cubicBezTo>
                    <a:pt x="6" y="19"/>
                    <a:pt x="7" y="19"/>
                    <a:pt x="9" y="18"/>
                  </a:cubicBezTo>
                  <a:cubicBezTo>
                    <a:pt x="11" y="18"/>
                    <a:pt x="13" y="18"/>
                    <a:pt x="15" y="18"/>
                  </a:cubicBezTo>
                  <a:cubicBezTo>
                    <a:pt x="15" y="18"/>
                    <a:pt x="15" y="18"/>
                    <a:pt x="16" y="17"/>
                  </a:cubicBezTo>
                  <a:cubicBezTo>
                    <a:pt x="16" y="16"/>
                    <a:pt x="16" y="13"/>
                    <a:pt x="15" y="12"/>
                  </a:cubicBezTo>
                  <a:cubicBezTo>
                    <a:pt x="13" y="9"/>
                    <a:pt x="11" y="8"/>
                    <a:pt x="10" y="6"/>
                  </a:cubicBezTo>
                  <a:cubicBezTo>
                    <a:pt x="9" y="5"/>
                    <a:pt x="11" y="3"/>
                    <a:pt x="12" y="3"/>
                  </a:cubicBezTo>
                  <a:cubicBezTo>
                    <a:pt x="14" y="1"/>
                    <a:pt x="17" y="3"/>
                    <a:pt x="19" y="2"/>
                  </a:cubicBezTo>
                  <a:cubicBezTo>
                    <a:pt x="20" y="2"/>
                    <a:pt x="21" y="1"/>
                    <a:pt x="21" y="1"/>
                  </a:cubicBezTo>
                  <a:cubicBezTo>
                    <a:pt x="23" y="1"/>
                    <a:pt x="24" y="1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2"/>
                    <a:pt x="26" y="3"/>
                    <a:pt x="26" y="5"/>
                  </a:cubicBezTo>
                  <a:cubicBezTo>
                    <a:pt x="27" y="6"/>
                    <a:pt x="26" y="8"/>
                    <a:pt x="26" y="9"/>
                  </a:cubicBezTo>
                  <a:cubicBezTo>
                    <a:pt x="26" y="10"/>
                    <a:pt x="26" y="10"/>
                    <a:pt x="26" y="11"/>
                  </a:cubicBezTo>
                  <a:cubicBezTo>
                    <a:pt x="25" y="13"/>
                    <a:pt x="25" y="16"/>
                    <a:pt x="25" y="19"/>
                  </a:cubicBezTo>
                  <a:cubicBezTo>
                    <a:pt x="26" y="19"/>
                    <a:pt x="28" y="19"/>
                    <a:pt x="29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1" y="19"/>
                    <a:pt x="31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1"/>
                    <a:pt x="31" y="22"/>
                    <a:pt x="31" y="22"/>
                  </a:cubicBezTo>
                  <a:cubicBezTo>
                    <a:pt x="30" y="23"/>
                    <a:pt x="30" y="24"/>
                    <a:pt x="29" y="24"/>
                  </a:cubicBezTo>
                  <a:cubicBezTo>
                    <a:pt x="27" y="25"/>
                    <a:pt x="25" y="27"/>
                    <a:pt x="24" y="29"/>
                  </a:cubicBezTo>
                  <a:cubicBezTo>
                    <a:pt x="23" y="30"/>
                    <a:pt x="23" y="32"/>
                    <a:pt x="23" y="33"/>
                  </a:cubicBezTo>
                  <a:cubicBezTo>
                    <a:pt x="22" y="34"/>
                    <a:pt x="19" y="36"/>
                    <a:pt x="18" y="37"/>
                  </a:cubicBezTo>
                  <a:lnTo>
                    <a:pt x="17" y="38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8" name="Freeform 6"/>
            <p:cNvSpPr>
              <a:spLocks/>
            </p:cNvSpPr>
            <p:nvPr/>
          </p:nvSpPr>
          <p:spPr bwMode="auto">
            <a:xfrm>
              <a:off x="6611705" y="3498680"/>
              <a:ext cx="4766" cy="11085"/>
            </a:xfrm>
            <a:custGeom>
              <a:avLst/>
              <a:gdLst>
                <a:gd name="T0" fmla="*/ 6131150 w 10"/>
                <a:gd name="T1" fmla="*/ 26432752 h 23"/>
                <a:gd name="T2" fmla="*/ 5085394 w 10"/>
                <a:gd name="T3" fmla="*/ 23980958 h 23"/>
                <a:gd name="T4" fmla="*/ 9650293 w 10"/>
                <a:gd name="T5" fmla="*/ 18220093 h 23"/>
                <a:gd name="T6" fmla="*/ 11140513 w 10"/>
                <a:gd name="T7" fmla="*/ 6610144 h 23"/>
                <a:gd name="T8" fmla="*/ 12204941 w 10"/>
                <a:gd name="T9" fmla="*/ 5778406 h 23"/>
                <a:gd name="T10" fmla="*/ 12204941 w 10"/>
                <a:gd name="T11" fmla="*/ 0 h 23"/>
                <a:gd name="T12" fmla="*/ 11140513 w 10"/>
                <a:gd name="T13" fmla="*/ 1010505 h 23"/>
                <a:gd name="T14" fmla="*/ 7196548 w 10"/>
                <a:gd name="T15" fmla="*/ 2416425 h 23"/>
                <a:gd name="T16" fmla="*/ 5085394 w 10"/>
                <a:gd name="T17" fmla="*/ 4750926 h 23"/>
                <a:gd name="T18" fmla="*/ 1064436 w 10"/>
                <a:gd name="T19" fmla="*/ 4750926 h 23"/>
                <a:gd name="T20" fmla="*/ 1064436 w 10"/>
                <a:gd name="T21" fmla="*/ 10626183 h 23"/>
                <a:gd name="T22" fmla="*/ 1064436 w 10"/>
                <a:gd name="T23" fmla="*/ 14796368 h 23"/>
                <a:gd name="T24" fmla="*/ 1064436 w 10"/>
                <a:gd name="T25" fmla="*/ 17236329 h 23"/>
                <a:gd name="T26" fmla="*/ 0 w 10"/>
                <a:gd name="T27" fmla="*/ 26432752 h 23"/>
                <a:gd name="T28" fmla="*/ 5085394 w 10"/>
                <a:gd name="T29" fmla="*/ 26432752 h 23"/>
                <a:gd name="T30" fmla="*/ 6131150 w 10"/>
                <a:gd name="T31" fmla="*/ 26432752 h 2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"/>
                <a:gd name="T49" fmla="*/ 0 h 23"/>
                <a:gd name="T50" fmla="*/ 10 w 10"/>
                <a:gd name="T51" fmla="*/ 23 h 2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" h="23">
                  <a:moveTo>
                    <a:pt x="5" y="23"/>
                  </a:moveTo>
                  <a:cubicBezTo>
                    <a:pt x="4" y="22"/>
                    <a:pt x="4" y="21"/>
                    <a:pt x="4" y="21"/>
                  </a:cubicBezTo>
                  <a:cubicBezTo>
                    <a:pt x="6" y="19"/>
                    <a:pt x="8" y="18"/>
                    <a:pt x="8" y="16"/>
                  </a:cubicBezTo>
                  <a:cubicBezTo>
                    <a:pt x="9" y="12"/>
                    <a:pt x="8" y="9"/>
                    <a:pt x="9" y="6"/>
                  </a:cubicBezTo>
                  <a:cubicBezTo>
                    <a:pt x="9" y="6"/>
                    <a:pt x="9" y="5"/>
                    <a:pt x="10" y="5"/>
                  </a:cubicBezTo>
                  <a:cubicBezTo>
                    <a:pt x="10" y="3"/>
                    <a:pt x="10" y="2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7" y="2"/>
                    <a:pt x="6" y="2"/>
                  </a:cubicBezTo>
                  <a:cubicBezTo>
                    <a:pt x="6" y="3"/>
                    <a:pt x="5" y="4"/>
                    <a:pt x="4" y="4"/>
                  </a:cubicBezTo>
                  <a:cubicBezTo>
                    <a:pt x="3" y="4"/>
                    <a:pt x="2" y="4"/>
                    <a:pt x="1" y="4"/>
                  </a:cubicBezTo>
                  <a:cubicBezTo>
                    <a:pt x="1" y="6"/>
                    <a:pt x="1" y="7"/>
                    <a:pt x="1" y="9"/>
                  </a:cubicBezTo>
                  <a:cubicBezTo>
                    <a:pt x="2" y="10"/>
                    <a:pt x="1" y="12"/>
                    <a:pt x="1" y="13"/>
                  </a:cubicBezTo>
                  <a:cubicBezTo>
                    <a:pt x="1" y="14"/>
                    <a:pt x="1" y="14"/>
                    <a:pt x="1" y="15"/>
                  </a:cubicBezTo>
                  <a:cubicBezTo>
                    <a:pt x="0" y="17"/>
                    <a:pt x="0" y="20"/>
                    <a:pt x="0" y="23"/>
                  </a:cubicBezTo>
                  <a:cubicBezTo>
                    <a:pt x="1" y="23"/>
                    <a:pt x="3" y="23"/>
                    <a:pt x="4" y="23"/>
                  </a:cubicBezTo>
                  <a:lnTo>
                    <a:pt x="5" y="2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9" name="Freeform 7"/>
            <p:cNvSpPr>
              <a:spLocks/>
            </p:cNvSpPr>
            <p:nvPr/>
          </p:nvSpPr>
          <p:spPr bwMode="auto">
            <a:xfrm>
              <a:off x="6608194" y="3515985"/>
              <a:ext cx="9030" cy="7030"/>
            </a:xfrm>
            <a:custGeom>
              <a:avLst/>
              <a:gdLst>
                <a:gd name="T0" fmla="*/ 16597127 w 20"/>
                <a:gd name="T1" fmla="*/ 19328456 h 14"/>
                <a:gd name="T2" fmla="*/ 14725738 w 20"/>
                <a:gd name="T3" fmla="*/ 19328456 h 14"/>
                <a:gd name="T4" fmla="*/ 12190249 w 20"/>
                <a:gd name="T5" fmla="*/ 17384754 h 14"/>
                <a:gd name="T6" fmla="*/ 11455630 w 20"/>
                <a:gd name="T7" fmla="*/ 17384754 h 14"/>
                <a:gd name="T8" fmla="*/ 9534738 w 20"/>
                <a:gd name="T9" fmla="*/ 16380860 h 14"/>
                <a:gd name="T10" fmla="*/ 0 w 20"/>
                <a:gd name="T11" fmla="*/ 8872004 h 14"/>
                <a:gd name="T12" fmla="*/ 795113 w 20"/>
                <a:gd name="T13" fmla="*/ 7158428 h 14"/>
                <a:gd name="T14" fmla="*/ 5187343 w 20"/>
                <a:gd name="T15" fmla="*/ 1213713 h 14"/>
                <a:gd name="T16" fmla="*/ 8799889 w 20"/>
                <a:gd name="T17" fmla="*/ 2947589 h 14"/>
                <a:gd name="T18" fmla="*/ 10318870 w 20"/>
                <a:gd name="T19" fmla="*/ 7158428 h 14"/>
                <a:gd name="T20" fmla="*/ 12190249 w 20"/>
                <a:gd name="T21" fmla="*/ 8872004 h 14"/>
                <a:gd name="T22" fmla="*/ 15548153 w 20"/>
                <a:gd name="T23" fmla="*/ 10226328 h 14"/>
                <a:gd name="T24" fmla="*/ 16597127 w 20"/>
                <a:gd name="T25" fmla="*/ 10226328 h 14"/>
                <a:gd name="T26" fmla="*/ 16597127 w 20"/>
                <a:gd name="T27" fmla="*/ 17384754 h 14"/>
                <a:gd name="T28" fmla="*/ 16597127 w 20"/>
                <a:gd name="T29" fmla="*/ 19328456 h 1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"/>
                <a:gd name="T46" fmla="*/ 0 h 14"/>
                <a:gd name="T47" fmla="*/ 20 w 20"/>
                <a:gd name="T48" fmla="*/ 14 h 1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" h="14">
                  <a:moveTo>
                    <a:pt x="19" y="13"/>
                  </a:moveTo>
                  <a:cubicBezTo>
                    <a:pt x="19" y="12"/>
                    <a:pt x="18" y="13"/>
                    <a:pt x="17" y="13"/>
                  </a:cubicBezTo>
                  <a:cubicBezTo>
                    <a:pt x="16" y="14"/>
                    <a:pt x="15" y="13"/>
                    <a:pt x="14" y="12"/>
                  </a:cubicBezTo>
                  <a:cubicBezTo>
                    <a:pt x="14" y="12"/>
                    <a:pt x="13" y="12"/>
                    <a:pt x="13" y="12"/>
                  </a:cubicBezTo>
                  <a:cubicBezTo>
                    <a:pt x="12" y="11"/>
                    <a:pt x="12" y="11"/>
                    <a:pt x="11" y="11"/>
                  </a:cubicBezTo>
                  <a:cubicBezTo>
                    <a:pt x="7" y="10"/>
                    <a:pt x="3" y="8"/>
                    <a:pt x="0" y="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4"/>
                    <a:pt x="5" y="2"/>
                    <a:pt x="6" y="1"/>
                  </a:cubicBezTo>
                  <a:cubicBezTo>
                    <a:pt x="8" y="0"/>
                    <a:pt x="8" y="1"/>
                    <a:pt x="10" y="2"/>
                  </a:cubicBezTo>
                  <a:cubicBezTo>
                    <a:pt x="11" y="3"/>
                    <a:pt x="12" y="4"/>
                    <a:pt x="12" y="5"/>
                  </a:cubicBezTo>
                  <a:cubicBezTo>
                    <a:pt x="13" y="6"/>
                    <a:pt x="13" y="6"/>
                    <a:pt x="14" y="6"/>
                  </a:cubicBezTo>
                  <a:cubicBezTo>
                    <a:pt x="15" y="6"/>
                    <a:pt x="17" y="6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9"/>
                    <a:pt x="20" y="10"/>
                    <a:pt x="19" y="12"/>
                  </a:cubicBezTo>
                  <a:lnTo>
                    <a:pt x="19" y="1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0" name="Freeform 8"/>
            <p:cNvSpPr>
              <a:spLocks/>
            </p:cNvSpPr>
            <p:nvPr/>
          </p:nvSpPr>
          <p:spPr bwMode="auto">
            <a:xfrm>
              <a:off x="6610702" y="3509225"/>
              <a:ext cx="22826" cy="14060"/>
            </a:xfrm>
            <a:custGeom>
              <a:avLst/>
              <a:gdLst>
                <a:gd name="T0" fmla="*/ 7839602 w 49"/>
                <a:gd name="T1" fmla="*/ 2268059 h 29"/>
                <a:gd name="T2" fmla="*/ 12710902 w 49"/>
                <a:gd name="T3" fmla="*/ 953242 h 29"/>
                <a:gd name="T4" fmla="*/ 14750295 w 49"/>
                <a:gd name="T5" fmla="*/ 953242 h 29"/>
                <a:gd name="T6" fmla="*/ 18559052 w 49"/>
                <a:gd name="T7" fmla="*/ 3128358 h 29"/>
                <a:gd name="T8" fmla="*/ 24292466 w 49"/>
                <a:gd name="T9" fmla="*/ 3128358 h 29"/>
                <a:gd name="T10" fmla="*/ 26398420 w 49"/>
                <a:gd name="T11" fmla="*/ 953242 h 29"/>
                <a:gd name="T12" fmla="*/ 27078246 w 49"/>
                <a:gd name="T13" fmla="*/ 0 h 29"/>
                <a:gd name="T14" fmla="*/ 32132075 w 49"/>
                <a:gd name="T15" fmla="*/ 953242 h 29"/>
                <a:gd name="T16" fmla="*/ 39906544 w 49"/>
                <a:gd name="T17" fmla="*/ 953242 h 29"/>
                <a:gd name="T18" fmla="*/ 40651671 w 49"/>
                <a:gd name="T19" fmla="*/ 2268059 h 29"/>
                <a:gd name="T20" fmla="*/ 41896289 w 49"/>
                <a:gd name="T21" fmla="*/ 8396477 h 29"/>
                <a:gd name="T22" fmla="*/ 44799603 w 49"/>
                <a:gd name="T23" fmla="*/ 5396415 h 29"/>
                <a:gd name="T24" fmla="*/ 46882375 w 49"/>
                <a:gd name="T25" fmla="*/ 6187297 h 29"/>
                <a:gd name="T26" fmla="*/ 47744506 w 49"/>
                <a:gd name="T27" fmla="*/ 9308542 h 29"/>
                <a:gd name="T28" fmla="*/ 45705406 w 49"/>
                <a:gd name="T29" fmla="*/ 9308542 h 29"/>
                <a:gd name="T30" fmla="*/ 40651671 w 49"/>
                <a:gd name="T31" fmla="*/ 12839740 h 29"/>
                <a:gd name="T32" fmla="*/ 36960079 w 49"/>
                <a:gd name="T33" fmla="*/ 11592554 h 29"/>
                <a:gd name="T34" fmla="*/ 34919048 w 49"/>
                <a:gd name="T35" fmla="*/ 11592554 h 29"/>
                <a:gd name="T36" fmla="*/ 34919048 w 49"/>
                <a:gd name="T37" fmla="*/ 14721498 h 29"/>
                <a:gd name="T38" fmla="*/ 34017278 w 49"/>
                <a:gd name="T39" fmla="*/ 16060441 h 29"/>
                <a:gd name="T40" fmla="*/ 28323261 w 49"/>
                <a:gd name="T41" fmla="*/ 21234112 h 29"/>
                <a:gd name="T42" fmla="*/ 27078246 w 49"/>
                <a:gd name="T43" fmla="*/ 21234112 h 29"/>
                <a:gd name="T44" fmla="*/ 22208899 w 49"/>
                <a:gd name="T45" fmla="*/ 22147900 h 29"/>
                <a:gd name="T46" fmla="*/ 19306603 w 49"/>
                <a:gd name="T47" fmla="*/ 28345583 h 29"/>
                <a:gd name="T48" fmla="*/ 18559052 w 49"/>
                <a:gd name="T49" fmla="*/ 29589619 h 29"/>
                <a:gd name="T50" fmla="*/ 13573033 w 49"/>
                <a:gd name="T51" fmla="*/ 29589619 h 29"/>
                <a:gd name="T52" fmla="*/ 12710902 w 49"/>
                <a:gd name="T53" fmla="*/ 28345583 h 29"/>
                <a:gd name="T54" fmla="*/ 12710902 w 49"/>
                <a:gd name="T55" fmla="*/ 27582281 h 29"/>
                <a:gd name="T56" fmla="*/ 12710902 w 49"/>
                <a:gd name="T57" fmla="*/ 22147900 h 29"/>
                <a:gd name="T58" fmla="*/ 11438226 w 49"/>
                <a:gd name="T59" fmla="*/ 22147900 h 29"/>
                <a:gd name="T60" fmla="*/ 7839602 w 49"/>
                <a:gd name="T61" fmla="*/ 21234112 h 29"/>
                <a:gd name="T62" fmla="*/ 5733436 w 49"/>
                <a:gd name="T63" fmla="*/ 19977817 h 29"/>
                <a:gd name="T64" fmla="*/ 3647911 w 49"/>
                <a:gd name="T65" fmla="*/ 16752030 h 29"/>
                <a:gd name="T66" fmla="*/ 0 w 49"/>
                <a:gd name="T67" fmla="*/ 16060441 h 29"/>
                <a:gd name="T68" fmla="*/ 862131 w 49"/>
                <a:gd name="T69" fmla="*/ 11592554 h 29"/>
                <a:gd name="T70" fmla="*/ 5733436 w 49"/>
                <a:gd name="T71" fmla="*/ 6187297 h 29"/>
                <a:gd name="T72" fmla="*/ 7839602 w 49"/>
                <a:gd name="T73" fmla="*/ 4481981 h 29"/>
                <a:gd name="T74" fmla="*/ 7839602 w 49"/>
                <a:gd name="T75" fmla="*/ 2268059 h 2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9"/>
                <a:gd name="T115" fmla="*/ 0 h 29"/>
                <a:gd name="T116" fmla="*/ 49 w 49"/>
                <a:gd name="T117" fmla="*/ 29 h 2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9" h="29">
                  <a:moveTo>
                    <a:pt x="8" y="2"/>
                  </a:moveTo>
                  <a:cubicBezTo>
                    <a:pt x="10" y="2"/>
                    <a:pt x="12" y="2"/>
                    <a:pt x="13" y="1"/>
                  </a:cubicBezTo>
                  <a:cubicBezTo>
                    <a:pt x="14" y="1"/>
                    <a:pt x="15" y="1"/>
                    <a:pt x="15" y="1"/>
                  </a:cubicBezTo>
                  <a:cubicBezTo>
                    <a:pt x="16" y="2"/>
                    <a:pt x="18" y="3"/>
                    <a:pt x="19" y="3"/>
                  </a:cubicBezTo>
                  <a:cubicBezTo>
                    <a:pt x="21" y="3"/>
                    <a:pt x="23" y="3"/>
                    <a:pt x="25" y="3"/>
                  </a:cubicBezTo>
                  <a:cubicBezTo>
                    <a:pt x="26" y="2"/>
                    <a:pt x="26" y="2"/>
                    <a:pt x="27" y="1"/>
                  </a:cubicBezTo>
                  <a:cubicBezTo>
                    <a:pt x="28" y="1"/>
                    <a:pt x="28" y="1"/>
                    <a:pt x="28" y="0"/>
                  </a:cubicBezTo>
                  <a:cubicBezTo>
                    <a:pt x="30" y="0"/>
                    <a:pt x="31" y="0"/>
                    <a:pt x="33" y="1"/>
                  </a:cubicBezTo>
                  <a:cubicBezTo>
                    <a:pt x="35" y="2"/>
                    <a:pt x="38" y="1"/>
                    <a:pt x="41" y="1"/>
                  </a:cubicBezTo>
                  <a:cubicBezTo>
                    <a:pt x="41" y="1"/>
                    <a:pt x="41" y="2"/>
                    <a:pt x="42" y="2"/>
                  </a:cubicBezTo>
                  <a:cubicBezTo>
                    <a:pt x="42" y="4"/>
                    <a:pt x="41" y="7"/>
                    <a:pt x="43" y="8"/>
                  </a:cubicBezTo>
                  <a:cubicBezTo>
                    <a:pt x="45" y="8"/>
                    <a:pt x="45" y="6"/>
                    <a:pt x="46" y="5"/>
                  </a:cubicBezTo>
                  <a:cubicBezTo>
                    <a:pt x="47" y="4"/>
                    <a:pt x="48" y="5"/>
                    <a:pt x="48" y="6"/>
                  </a:cubicBezTo>
                  <a:cubicBezTo>
                    <a:pt x="49" y="7"/>
                    <a:pt x="49" y="8"/>
                    <a:pt x="49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5" y="10"/>
                    <a:pt x="44" y="11"/>
                    <a:pt x="42" y="12"/>
                  </a:cubicBezTo>
                  <a:cubicBezTo>
                    <a:pt x="41" y="13"/>
                    <a:pt x="40" y="12"/>
                    <a:pt x="38" y="11"/>
                  </a:cubicBezTo>
                  <a:cubicBezTo>
                    <a:pt x="38" y="11"/>
                    <a:pt x="37" y="11"/>
                    <a:pt x="36" y="11"/>
                  </a:cubicBezTo>
                  <a:cubicBezTo>
                    <a:pt x="36" y="12"/>
                    <a:pt x="36" y="13"/>
                    <a:pt x="36" y="14"/>
                  </a:cubicBezTo>
                  <a:cubicBezTo>
                    <a:pt x="35" y="14"/>
                    <a:pt x="35" y="14"/>
                    <a:pt x="35" y="15"/>
                  </a:cubicBezTo>
                  <a:cubicBezTo>
                    <a:pt x="33" y="17"/>
                    <a:pt x="31" y="19"/>
                    <a:pt x="29" y="20"/>
                  </a:cubicBezTo>
                  <a:cubicBezTo>
                    <a:pt x="29" y="21"/>
                    <a:pt x="28" y="21"/>
                    <a:pt x="28" y="20"/>
                  </a:cubicBezTo>
                  <a:cubicBezTo>
                    <a:pt x="26" y="19"/>
                    <a:pt x="24" y="19"/>
                    <a:pt x="23" y="21"/>
                  </a:cubicBezTo>
                  <a:cubicBezTo>
                    <a:pt x="21" y="23"/>
                    <a:pt x="21" y="25"/>
                    <a:pt x="20" y="27"/>
                  </a:cubicBezTo>
                  <a:cubicBezTo>
                    <a:pt x="19" y="27"/>
                    <a:pt x="19" y="28"/>
                    <a:pt x="19" y="28"/>
                  </a:cubicBezTo>
                  <a:cubicBezTo>
                    <a:pt x="17" y="29"/>
                    <a:pt x="16" y="28"/>
                    <a:pt x="14" y="28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4" y="24"/>
                    <a:pt x="13" y="23"/>
                    <a:pt x="13" y="21"/>
                  </a:cubicBezTo>
                  <a:cubicBezTo>
                    <a:pt x="13" y="21"/>
                    <a:pt x="13" y="21"/>
                    <a:pt x="12" y="21"/>
                  </a:cubicBezTo>
                  <a:cubicBezTo>
                    <a:pt x="11" y="20"/>
                    <a:pt x="9" y="20"/>
                    <a:pt x="8" y="20"/>
                  </a:cubicBezTo>
                  <a:cubicBezTo>
                    <a:pt x="7" y="20"/>
                    <a:pt x="7" y="20"/>
                    <a:pt x="6" y="19"/>
                  </a:cubicBezTo>
                  <a:cubicBezTo>
                    <a:pt x="6" y="18"/>
                    <a:pt x="5" y="17"/>
                    <a:pt x="4" y="16"/>
                  </a:cubicBezTo>
                  <a:cubicBezTo>
                    <a:pt x="2" y="15"/>
                    <a:pt x="2" y="14"/>
                    <a:pt x="0" y="15"/>
                  </a:cubicBezTo>
                  <a:cubicBezTo>
                    <a:pt x="0" y="14"/>
                    <a:pt x="0" y="12"/>
                    <a:pt x="1" y="11"/>
                  </a:cubicBezTo>
                  <a:cubicBezTo>
                    <a:pt x="2" y="9"/>
                    <a:pt x="4" y="7"/>
                    <a:pt x="6" y="6"/>
                  </a:cubicBezTo>
                  <a:cubicBezTo>
                    <a:pt x="7" y="6"/>
                    <a:pt x="7" y="5"/>
                    <a:pt x="8" y="4"/>
                  </a:cubicBezTo>
                  <a:cubicBezTo>
                    <a:pt x="8" y="4"/>
                    <a:pt x="8" y="3"/>
                    <a:pt x="8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1" name="Freeform 9"/>
            <p:cNvSpPr>
              <a:spLocks/>
            </p:cNvSpPr>
            <p:nvPr/>
          </p:nvSpPr>
          <p:spPr bwMode="auto">
            <a:xfrm>
              <a:off x="6616973" y="3513551"/>
              <a:ext cx="16555" cy="20008"/>
            </a:xfrm>
            <a:custGeom>
              <a:avLst/>
              <a:gdLst>
                <a:gd name="T0" fmla="*/ 29992152 w 36"/>
                <a:gd name="T1" fmla="*/ 37551430 h 41"/>
                <a:gd name="T2" fmla="*/ 28785776 w 36"/>
                <a:gd name="T3" fmla="*/ 35798050 h 41"/>
                <a:gd name="T4" fmla="*/ 28785776 w 36"/>
                <a:gd name="T5" fmla="*/ 24073773 h 41"/>
                <a:gd name="T6" fmla="*/ 29992152 w 36"/>
                <a:gd name="T7" fmla="*/ 18261455 h 41"/>
                <a:gd name="T8" fmla="*/ 32815247 w 36"/>
                <a:gd name="T9" fmla="*/ 7718763 h 41"/>
                <a:gd name="T10" fmla="*/ 33681736 w 36"/>
                <a:gd name="T11" fmla="*/ 0 h 41"/>
                <a:gd name="T12" fmla="*/ 31608852 w 36"/>
                <a:gd name="T13" fmla="*/ 0 h 41"/>
                <a:gd name="T14" fmla="*/ 26929207 w 36"/>
                <a:gd name="T15" fmla="*/ 2924127 h 41"/>
                <a:gd name="T16" fmla="*/ 23229971 w 36"/>
                <a:gd name="T17" fmla="*/ 2026602 h 41"/>
                <a:gd name="T18" fmla="*/ 21259350 w 36"/>
                <a:gd name="T19" fmla="*/ 2026602 h 41"/>
                <a:gd name="T20" fmla="*/ 21259350 w 36"/>
                <a:gd name="T21" fmla="*/ 4794643 h 41"/>
                <a:gd name="T22" fmla="*/ 20558989 w 36"/>
                <a:gd name="T23" fmla="*/ 5692164 h 41"/>
                <a:gd name="T24" fmla="*/ 15040843 w 36"/>
                <a:gd name="T25" fmla="*/ 10695836 h 41"/>
                <a:gd name="T26" fmla="*/ 13898226 w 36"/>
                <a:gd name="T27" fmla="*/ 10695836 h 41"/>
                <a:gd name="T28" fmla="*/ 9573822 w 36"/>
                <a:gd name="T29" fmla="*/ 11343417 h 41"/>
                <a:gd name="T30" fmla="*/ 6662007 w 36"/>
                <a:gd name="T31" fmla="*/ 17537106 h 41"/>
                <a:gd name="T32" fmla="*/ 5519055 w 36"/>
                <a:gd name="T33" fmla="*/ 18261455 h 41"/>
                <a:gd name="T34" fmla="*/ 839472 w 36"/>
                <a:gd name="T35" fmla="*/ 18261455 h 41"/>
                <a:gd name="T36" fmla="*/ 0 w 36"/>
                <a:gd name="T37" fmla="*/ 17537106 h 41"/>
                <a:gd name="T38" fmla="*/ 0 w 36"/>
                <a:gd name="T39" fmla="*/ 19134776 h 41"/>
                <a:gd name="T40" fmla="*/ 2821556 w 36"/>
                <a:gd name="T41" fmla="*/ 22042224 h 41"/>
                <a:gd name="T42" fmla="*/ 2821556 w 36"/>
                <a:gd name="T43" fmla="*/ 23212072 h 41"/>
                <a:gd name="T44" fmla="*/ 7500980 w 36"/>
                <a:gd name="T45" fmla="*/ 28074865 h 41"/>
                <a:gd name="T46" fmla="*/ 11049821 w 36"/>
                <a:gd name="T47" fmla="*/ 32535444 h 41"/>
                <a:gd name="T48" fmla="*/ 13031094 w 36"/>
                <a:gd name="T49" fmla="*/ 33766539 h 41"/>
                <a:gd name="T50" fmla="*/ 13031094 w 36"/>
                <a:gd name="T51" fmla="*/ 34628202 h 41"/>
                <a:gd name="T52" fmla="*/ 15040843 w 36"/>
                <a:gd name="T53" fmla="*/ 34628202 h 41"/>
                <a:gd name="T54" fmla="*/ 19784540 w 36"/>
                <a:gd name="T55" fmla="*/ 35798050 h 41"/>
                <a:gd name="T56" fmla="*/ 22604843 w 36"/>
                <a:gd name="T57" fmla="*/ 35798050 h 41"/>
                <a:gd name="T58" fmla="*/ 24107926 w 36"/>
                <a:gd name="T59" fmla="*/ 38722149 h 41"/>
                <a:gd name="T60" fmla="*/ 26929207 w 36"/>
                <a:gd name="T61" fmla="*/ 38722149 h 41"/>
                <a:gd name="T62" fmla="*/ 28785776 w 36"/>
                <a:gd name="T63" fmla="*/ 37551430 h 41"/>
                <a:gd name="T64" fmla="*/ 29992152 w 36"/>
                <a:gd name="T65" fmla="*/ 37551430 h 4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6"/>
                <a:gd name="T100" fmla="*/ 0 h 41"/>
                <a:gd name="T101" fmla="*/ 36 w 36"/>
                <a:gd name="T102" fmla="*/ 41 h 4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6" h="41">
                  <a:moveTo>
                    <a:pt x="32" y="39"/>
                  </a:moveTo>
                  <a:cubicBezTo>
                    <a:pt x="31" y="39"/>
                    <a:pt x="31" y="38"/>
                    <a:pt x="31" y="37"/>
                  </a:cubicBezTo>
                  <a:cubicBezTo>
                    <a:pt x="30" y="33"/>
                    <a:pt x="30" y="29"/>
                    <a:pt x="31" y="25"/>
                  </a:cubicBezTo>
                  <a:cubicBezTo>
                    <a:pt x="31" y="23"/>
                    <a:pt x="32" y="21"/>
                    <a:pt x="32" y="19"/>
                  </a:cubicBezTo>
                  <a:cubicBezTo>
                    <a:pt x="33" y="15"/>
                    <a:pt x="34" y="12"/>
                    <a:pt x="35" y="8"/>
                  </a:cubicBezTo>
                  <a:cubicBezTo>
                    <a:pt x="35" y="5"/>
                    <a:pt x="36" y="2"/>
                    <a:pt x="36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2" y="1"/>
                    <a:pt x="31" y="2"/>
                    <a:pt x="29" y="3"/>
                  </a:cubicBezTo>
                  <a:cubicBezTo>
                    <a:pt x="28" y="4"/>
                    <a:pt x="27" y="3"/>
                    <a:pt x="25" y="2"/>
                  </a:cubicBezTo>
                  <a:cubicBezTo>
                    <a:pt x="25" y="2"/>
                    <a:pt x="24" y="2"/>
                    <a:pt x="23" y="2"/>
                  </a:cubicBezTo>
                  <a:cubicBezTo>
                    <a:pt x="23" y="3"/>
                    <a:pt x="23" y="4"/>
                    <a:pt x="23" y="5"/>
                  </a:cubicBezTo>
                  <a:cubicBezTo>
                    <a:pt x="22" y="5"/>
                    <a:pt x="22" y="5"/>
                    <a:pt x="22" y="6"/>
                  </a:cubicBezTo>
                  <a:cubicBezTo>
                    <a:pt x="20" y="8"/>
                    <a:pt x="18" y="10"/>
                    <a:pt x="16" y="11"/>
                  </a:cubicBezTo>
                  <a:cubicBezTo>
                    <a:pt x="16" y="12"/>
                    <a:pt x="15" y="12"/>
                    <a:pt x="15" y="11"/>
                  </a:cubicBezTo>
                  <a:cubicBezTo>
                    <a:pt x="13" y="10"/>
                    <a:pt x="11" y="10"/>
                    <a:pt x="10" y="12"/>
                  </a:cubicBezTo>
                  <a:cubicBezTo>
                    <a:pt x="8" y="14"/>
                    <a:pt x="8" y="16"/>
                    <a:pt x="7" y="18"/>
                  </a:cubicBezTo>
                  <a:cubicBezTo>
                    <a:pt x="6" y="18"/>
                    <a:pt x="6" y="19"/>
                    <a:pt x="6" y="19"/>
                  </a:cubicBezTo>
                  <a:cubicBezTo>
                    <a:pt x="4" y="20"/>
                    <a:pt x="3" y="19"/>
                    <a:pt x="1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20"/>
                    <a:pt x="0" y="20"/>
                  </a:cubicBezTo>
                  <a:cubicBezTo>
                    <a:pt x="1" y="21"/>
                    <a:pt x="2" y="22"/>
                    <a:pt x="3" y="23"/>
                  </a:cubicBezTo>
                  <a:cubicBezTo>
                    <a:pt x="3" y="23"/>
                    <a:pt x="3" y="24"/>
                    <a:pt x="3" y="24"/>
                  </a:cubicBezTo>
                  <a:cubicBezTo>
                    <a:pt x="5" y="26"/>
                    <a:pt x="6" y="28"/>
                    <a:pt x="8" y="29"/>
                  </a:cubicBezTo>
                  <a:cubicBezTo>
                    <a:pt x="9" y="31"/>
                    <a:pt x="10" y="33"/>
                    <a:pt x="12" y="34"/>
                  </a:cubicBezTo>
                  <a:cubicBezTo>
                    <a:pt x="12" y="35"/>
                    <a:pt x="13" y="35"/>
                    <a:pt x="14" y="35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7" y="36"/>
                    <a:pt x="19" y="36"/>
                    <a:pt x="21" y="37"/>
                  </a:cubicBezTo>
                  <a:cubicBezTo>
                    <a:pt x="22" y="37"/>
                    <a:pt x="23" y="37"/>
                    <a:pt x="24" y="37"/>
                  </a:cubicBezTo>
                  <a:cubicBezTo>
                    <a:pt x="25" y="38"/>
                    <a:pt x="25" y="40"/>
                    <a:pt x="26" y="40"/>
                  </a:cubicBezTo>
                  <a:cubicBezTo>
                    <a:pt x="27" y="41"/>
                    <a:pt x="28" y="41"/>
                    <a:pt x="29" y="40"/>
                  </a:cubicBezTo>
                  <a:cubicBezTo>
                    <a:pt x="29" y="40"/>
                    <a:pt x="30" y="39"/>
                    <a:pt x="31" y="39"/>
                  </a:cubicBezTo>
                  <a:lnTo>
                    <a:pt x="32" y="39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2" name="Freeform 10"/>
            <p:cNvSpPr>
              <a:spLocks/>
            </p:cNvSpPr>
            <p:nvPr/>
          </p:nvSpPr>
          <p:spPr bwMode="auto">
            <a:xfrm>
              <a:off x="6622993" y="3531126"/>
              <a:ext cx="12040" cy="12978"/>
            </a:xfrm>
            <a:custGeom>
              <a:avLst/>
              <a:gdLst>
                <a:gd name="T0" fmla="*/ 2476837 w 26"/>
                <a:gd name="T1" fmla="*/ 0 h 27"/>
                <a:gd name="T2" fmla="*/ 6922623 w 26"/>
                <a:gd name="T3" fmla="*/ 727531 h 27"/>
                <a:gd name="T4" fmla="*/ 9343585 w 26"/>
                <a:gd name="T5" fmla="*/ 727531 h 27"/>
                <a:gd name="T6" fmla="*/ 11156751 w 26"/>
                <a:gd name="T7" fmla="*/ 2970751 h 27"/>
                <a:gd name="T8" fmla="*/ 13633585 w 26"/>
                <a:gd name="T9" fmla="*/ 2970751 h 27"/>
                <a:gd name="T10" fmla="*/ 15127963 w 26"/>
                <a:gd name="T11" fmla="*/ 2243220 h 27"/>
                <a:gd name="T12" fmla="*/ 16241531 w 26"/>
                <a:gd name="T13" fmla="*/ 2243220 h 27"/>
                <a:gd name="T14" fmla="*/ 16241531 w 26"/>
                <a:gd name="T15" fmla="*/ 4688532 h 27"/>
                <a:gd name="T16" fmla="*/ 16821088 w 26"/>
                <a:gd name="T17" fmla="*/ 6253185 h 27"/>
                <a:gd name="T18" fmla="*/ 21921488 w 26"/>
                <a:gd name="T19" fmla="*/ 10939910 h 27"/>
                <a:gd name="T20" fmla="*/ 21137273 w 26"/>
                <a:gd name="T21" fmla="*/ 10939910 h 27"/>
                <a:gd name="T22" fmla="*/ 20026566 w 26"/>
                <a:gd name="T23" fmla="*/ 13184930 h 27"/>
                <a:gd name="T24" fmla="*/ 20026566 w 26"/>
                <a:gd name="T25" fmla="*/ 16901612 h 27"/>
                <a:gd name="T26" fmla="*/ 20026566 w 26"/>
                <a:gd name="T27" fmla="*/ 19144831 h 27"/>
                <a:gd name="T28" fmla="*/ 20026566 w 26"/>
                <a:gd name="T29" fmla="*/ 20837921 h 27"/>
                <a:gd name="T30" fmla="*/ 17604740 w 26"/>
                <a:gd name="T31" fmla="*/ 19144831 h 27"/>
                <a:gd name="T32" fmla="*/ 14406455 w 26"/>
                <a:gd name="T33" fmla="*/ 18594715 h 27"/>
                <a:gd name="T34" fmla="*/ 13633585 w 26"/>
                <a:gd name="T35" fmla="*/ 16174079 h 27"/>
                <a:gd name="T36" fmla="*/ 14406455 w 26"/>
                <a:gd name="T37" fmla="*/ 16174079 h 27"/>
                <a:gd name="T38" fmla="*/ 13633585 w 26"/>
                <a:gd name="T39" fmla="*/ 13184930 h 27"/>
                <a:gd name="T40" fmla="*/ 9343585 w 26"/>
                <a:gd name="T41" fmla="*/ 11620011 h 27"/>
                <a:gd name="T42" fmla="*/ 6922623 w 26"/>
                <a:gd name="T43" fmla="*/ 8614989 h 27"/>
                <a:gd name="T44" fmla="*/ 5038211 w 26"/>
                <a:gd name="T45" fmla="*/ 8614989 h 27"/>
                <a:gd name="T46" fmla="*/ 5038211 w 26"/>
                <a:gd name="T47" fmla="*/ 10939910 h 27"/>
                <a:gd name="T48" fmla="*/ 0 w 26"/>
                <a:gd name="T49" fmla="*/ 8614989 h 27"/>
                <a:gd name="T50" fmla="*/ 784235 w 26"/>
                <a:gd name="T51" fmla="*/ 4688532 h 27"/>
                <a:gd name="T52" fmla="*/ 784235 w 26"/>
                <a:gd name="T53" fmla="*/ 2970751 h 27"/>
                <a:gd name="T54" fmla="*/ 784235 w 26"/>
                <a:gd name="T55" fmla="*/ 0 h 27"/>
                <a:gd name="T56" fmla="*/ 2476837 w 26"/>
                <a:gd name="T57" fmla="*/ 0 h 2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6"/>
                <a:gd name="T88" fmla="*/ 0 h 27"/>
                <a:gd name="T89" fmla="*/ 26 w 26"/>
                <a:gd name="T90" fmla="*/ 27 h 2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6" h="27">
                  <a:moveTo>
                    <a:pt x="3" y="0"/>
                  </a:moveTo>
                  <a:cubicBezTo>
                    <a:pt x="4" y="0"/>
                    <a:pt x="6" y="0"/>
                    <a:pt x="8" y="1"/>
                  </a:cubicBezTo>
                  <a:cubicBezTo>
                    <a:pt x="9" y="1"/>
                    <a:pt x="10" y="1"/>
                    <a:pt x="11" y="1"/>
                  </a:cubicBezTo>
                  <a:cubicBezTo>
                    <a:pt x="12" y="2"/>
                    <a:pt x="12" y="4"/>
                    <a:pt x="13" y="4"/>
                  </a:cubicBezTo>
                  <a:cubicBezTo>
                    <a:pt x="14" y="5"/>
                    <a:pt x="15" y="5"/>
                    <a:pt x="16" y="4"/>
                  </a:cubicBezTo>
                  <a:cubicBezTo>
                    <a:pt x="16" y="4"/>
                    <a:pt x="17" y="3"/>
                    <a:pt x="18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4"/>
                    <a:pt x="19" y="5"/>
                    <a:pt x="19" y="6"/>
                  </a:cubicBezTo>
                  <a:cubicBezTo>
                    <a:pt x="19" y="7"/>
                    <a:pt x="20" y="8"/>
                    <a:pt x="20" y="8"/>
                  </a:cubicBezTo>
                  <a:cubicBezTo>
                    <a:pt x="22" y="10"/>
                    <a:pt x="24" y="12"/>
                    <a:pt x="26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5"/>
                    <a:pt x="24" y="16"/>
                    <a:pt x="24" y="17"/>
                  </a:cubicBezTo>
                  <a:cubicBezTo>
                    <a:pt x="23" y="19"/>
                    <a:pt x="24" y="20"/>
                    <a:pt x="24" y="22"/>
                  </a:cubicBezTo>
                  <a:cubicBezTo>
                    <a:pt x="24" y="23"/>
                    <a:pt x="24" y="24"/>
                    <a:pt x="24" y="25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3" y="26"/>
                    <a:pt x="23" y="25"/>
                    <a:pt x="21" y="25"/>
                  </a:cubicBezTo>
                  <a:cubicBezTo>
                    <a:pt x="20" y="25"/>
                    <a:pt x="19" y="25"/>
                    <a:pt x="17" y="24"/>
                  </a:cubicBezTo>
                  <a:cubicBezTo>
                    <a:pt x="16" y="24"/>
                    <a:pt x="16" y="22"/>
                    <a:pt x="16" y="21"/>
                  </a:cubicBezTo>
                  <a:cubicBezTo>
                    <a:pt x="17" y="21"/>
                    <a:pt x="17" y="20"/>
                    <a:pt x="17" y="21"/>
                  </a:cubicBezTo>
                  <a:cubicBezTo>
                    <a:pt x="17" y="19"/>
                    <a:pt x="17" y="17"/>
                    <a:pt x="16" y="17"/>
                  </a:cubicBezTo>
                  <a:cubicBezTo>
                    <a:pt x="14" y="16"/>
                    <a:pt x="12" y="16"/>
                    <a:pt x="11" y="15"/>
                  </a:cubicBezTo>
                  <a:cubicBezTo>
                    <a:pt x="10" y="14"/>
                    <a:pt x="9" y="13"/>
                    <a:pt x="8" y="11"/>
                  </a:cubicBezTo>
                  <a:cubicBezTo>
                    <a:pt x="8" y="11"/>
                    <a:pt x="7" y="11"/>
                    <a:pt x="6" y="11"/>
                  </a:cubicBezTo>
                  <a:cubicBezTo>
                    <a:pt x="6" y="12"/>
                    <a:pt x="6" y="14"/>
                    <a:pt x="6" y="14"/>
                  </a:cubicBezTo>
                  <a:cubicBezTo>
                    <a:pt x="4" y="14"/>
                    <a:pt x="2" y="12"/>
                    <a:pt x="0" y="11"/>
                  </a:cubicBezTo>
                  <a:cubicBezTo>
                    <a:pt x="0" y="9"/>
                    <a:pt x="0" y="8"/>
                    <a:pt x="1" y="6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1" y="3"/>
                    <a:pt x="1" y="2"/>
                    <a:pt x="1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3" name="Freeform 11"/>
            <p:cNvSpPr>
              <a:spLocks/>
            </p:cNvSpPr>
            <p:nvPr/>
          </p:nvSpPr>
          <p:spPr bwMode="auto">
            <a:xfrm>
              <a:off x="6633528" y="3537885"/>
              <a:ext cx="21070" cy="11086"/>
            </a:xfrm>
            <a:custGeom>
              <a:avLst/>
              <a:gdLst>
                <a:gd name="T0" fmla="*/ 40475761 w 45"/>
                <a:gd name="T1" fmla="*/ 8361068 h 23"/>
                <a:gd name="T2" fmla="*/ 35806326 w 45"/>
                <a:gd name="T3" fmla="*/ 5078724 h 23"/>
                <a:gd name="T4" fmla="*/ 34290894 w 45"/>
                <a:gd name="T5" fmla="*/ 3227747 h 23"/>
                <a:gd name="T6" fmla="*/ 32360998 w 45"/>
                <a:gd name="T7" fmla="*/ 2499531 h 23"/>
                <a:gd name="T8" fmla="*/ 28653034 w 45"/>
                <a:gd name="T9" fmla="*/ 1852956 h 23"/>
                <a:gd name="T10" fmla="*/ 28653034 w 45"/>
                <a:gd name="T11" fmla="*/ 789222 h 23"/>
                <a:gd name="T12" fmla="*/ 24482571 w 45"/>
                <a:gd name="T13" fmla="*/ 789222 h 23"/>
                <a:gd name="T14" fmla="*/ 16019765 w 45"/>
                <a:gd name="T15" fmla="*/ 4350418 h 23"/>
                <a:gd name="T16" fmla="*/ 14557456 w 45"/>
                <a:gd name="T17" fmla="*/ 5868462 h 23"/>
                <a:gd name="T18" fmla="*/ 10655055 w 45"/>
                <a:gd name="T19" fmla="*/ 5868462 h 23"/>
                <a:gd name="T20" fmla="*/ 7904269 w 45"/>
                <a:gd name="T21" fmla="*/ 3227747 h 23"/>
                <a:gd name="T22" fmla="*/ 2623609 w 45"/>
                <a:gd name="T23" fmla="*/ 0 h 23"/>
                <a:gd name="T24" fmla="*/ 1920301 w 45"/>
                <a:gd name="T25" fmla="*/ 0 h 23"/>
                <a:gd name="T26" fmla="*/ 815222 w 45"/>
                <a:gd name="T27" fmla="*/ 2499531 h 23"/>
                <a:gd name="T28" fmla="*/ 815222 w 45"/>
                <a:gd name="T29" fmla="*/ 6988262 h 23"/>
                <a:gd name="T30" fmla="*/ 815222 w 45"/>
                <a:gd name="T31" fmla="*/ 9424793 h 23"/>
                <a:gd name="T32" fmla="*/ 815222 w 45"/>
                <a:gd name="T33" fmla="*/ 11241599 h 23"/>
                <a:gd name="T34" fmla="*/ 7294717 w 45"/>
                <a:gd name="T35" fmla="*/ 11923961 h 23"/>
                <a:gd name="T36" fmla="*/ 9218928 w 45"/>
                <a:gd name="T37" fmla="*/ 13778124 h 23"/>
                <a:gd name="T38" fmla="*/ 9897810 w 45"/>
                <a:gd name="T39" fmla="*/ 14564485 h 23"/>
                <a:gd name="T40" fmla="*/ 10655055 w 45"/>
                <a:gd name="T41" fmla="*/ 15292894 h 23"/>
                <a:gd name="T42" fmla="*/ 13280707 w 45"/>
                <a:gd name="T43" fmla="*/ 15292894 h 23"/>
                <a:gd name="T44" fmla="*/ 15200805 w 45"/>
                <a:gd name="T45" fmla="*/ 18819769 h 23"/>
                <a:gd name="T46" fmla="*/ 16019765 w 45"/>
                <a:gd name="T47" fmla="*/ 18819769 h 23"/>
                <a:gd name="T48" fmla="*/ 18618941 w 45"/>
                <a:gd name="T49" fmla="*/ 17003040 h 23"/>
                <a:gd name="T50" fmla="*/ 18618941 w 45"/>
                <a:gd name="T51" fmla="*/ 15292894 h 23"/>
                <a:gd name="T52" fmla="*/ 17951678 w 45"/>
                <a:gd name="T53" fmla="*/ 14564485 h 23"/>
                <a:gd name="T54" fmla="*/ 17951678 w 45"/>
                <a:gd name="T55" fmla="*/ 11241599 h 23"/>
                <a:gd name="T56" fmla="*/ 19722141 w 45"/>
                <a:gd name="T57" fmla="*/ 10214021 h 23"/>
                <a:gd name="T58" fmla="*/ 22472963 w 45"/>
                <a:gd name="T59" fmla="*/ 8361068 h 23"/>
                <a:gd name="T60" fmla="*/ 22472963 w 45"/>
                <a:gd name="T61" fmla="*/ 6988262 h 23"/>
                <a:gd name="T62" fmla="*/ 25917575 w 45"/>
                <a:gd name="T63" fmla="*/ 5078724 h 23"/>
                <a:gd name="T64" fmla="*/ 30461384 w 45"/>
                <a:gd name="T65" fmla="*/ 6988262 h 23"/>
                <a:gd name="T66" fmla="*/ 30461384 w 45"/>
                <a:gd name="T67" fmla="*/ 6988262 h 23"/>
                <a:gd name="T68" fmla="*/ 32360998 w 45"/>
                <a:gd name="T69" fmla="*/ 8361068 h 23"/>
                <a:gd name="T70" fmla="*/ 32360998 w 45"/>
                <a:gd name="T71" fmla="*/ 16407218 h 23"/>
                <a:gd name="T72" fmla="*/ 35132694 w 45"/>
                <a:gd name="T73" fmla="*/ 17792257 h 23"/>
                <a:gd name="T74" fmla="*/ 35132694 w 45"/>
                <a:gd name="T75" fmla="*/ 17003040 h 23"/>
                <a:gd name="T76" fmla="*/ 38550679 w 45"/>
                <a:gd name="T77" fmla="*/ 15292894 h 23"/>
                <a:gd name="T78" fmla="*/ 39655764 w 45"/>
                <a:gd name="T79" fmla="*/ 12713535 h 23"/>
                <a:gd name="T80" fmla="*/ 38550679 w 45"/>
                <a:gd name="T81" fmla="*/ 11241599 h 23"/>
                <a:gd name="T82" fmla="*/ 38550679 w 45"/>
                <a:gd name="T83" fmla="*/ 9424793 h 23"/>
                <a:gd name="T84" fmla="*/ 40475761 w 45"/>
                <a:gd name="T85" fmla="*/ 8361068 h 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5"/>
                <a:gd name="T130" fmla="*/ 0 h 23"/>
                <a:gd name="T131" fmla="*/ 45 w 45"/>
                <a:gd name="T132" fmla="*/ 23 h 2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5" h="23">
                  <a:moveTo>
                    <a:pt x="45" y="10"/>
                  </a:moveTo>
                  <a:cubicBezTo>
                    <a:pt x="43" y="8"/>
                    <a:pt x="42" y="7"/>
                    <a:pt x="40" y="6"/>
                  </a:cubicBezTo>
                  <a:cubicBezTo>
                    <a:pt x="40" y="5"/>
                    <a:pt x="39" y="5"/>
                    <a:pt x="38" y="4"/>
                  </a:cubicBezTo>
                  <a:cubicBezTo>
                    <a:pt x="38" y="3"/>
                    <a:pt x="37" y="3"/>
                    <a:pt x="36" y="3"/>
                  </a:cubicBezTo>
                  <a:cubicBezTo>
                    <a:pt x="35" y="2"/>
                    <a:pt x="34" y="2"/>
                    <a:pt x="32" y="2"/>
                  </a:cubicBezTo>
                  <a:cubicBezTo>
                    <a:pt x="32" y="2"/>
                    <a:pt x="32" y="1"/>
                    <a:pt x="32" y="1"/>
                  </a:cubicBezTo>
                  <a:cubicBezTo>
                    <a:pt x="30" y="1"/>
                    <a:pt x="28" y="0"/>
                    <a:pt x="27" y="1"/>
                  </a:cubicBezTo>
                  <a:cubicBezTo>
                    <a:pt x="24" y="2"/>
                    <a:pt x="21" y="4"/>
                    <a:pt x="18" y="5"/>
                  </a:cubicBezTo>
                  <a:cubicBezTo>
                    <a:pt x="17" y="6"/>
                    <a:pt x="17" y="7"/>
                    <a:pt x="16" y="7"/>
                  </a:cubicBezTo>
                  <a:cubicBezTo>
                    <a:pt x="14" y="8"/>
                    <a:pt x="13" y="8"/>
                    <a:pt x="12" y="7"/>
                  </a:cubicBezTo>
                  <a:cubicBezTo>
                    <a:pt x="10" y="6"/>
                    <a:pt x="10" y="5"/>
                    <a:pt x="9" y="4"/>
                  </a:cubicBezTo>
                  <a:cubicBezTo>
                    <a:pt x="7" y="2"/>
                    <a:pt x="5" y="1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1" y="2"/>
                    <a:pt x="1" y="3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0"/>
                    <a:pt x="1" y="11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3" y="14"/>
                    <a:pt x="5" y="12"/>
                    <a:pt x="8" y="14"/>
                  </a:cubicBezTo>
                  <a:cubicBezTo>
                    <a:pt x="9" y="14"/>
                    <a:pt x="9" y="15"/>
                    <a:pt x="10" y="16"/>
                  </a:cubicBezTo>
                  <a:cubicBezTo>
                    <a:pt x="10" y="16"/>
                    <a:pt x="11" y="17"/>
                    <a:pt x="11" y="17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3" y="18"/>
                    <a:pt x="14" y="18"/>
                    <a:pt x="15" y="18"/>
                  </a:cubicBezTo>
                  <a:cubicBezTo>
                    <a:pt x="15" y="20"/>
                    <a:pt x="16" y="21"/>
                    <a:pt x="17" y="22"/>
                  </a:cubicBezTo>
                  <a:cubicBezTo>
                    <a:pt x="17" y="23"/>
                    <a:pt x="18" y="23"/>
                    <a:pt x="18" y="22"/>
                  </a:cubicBezTo>
                  <a:cubicBezTo>
                    <a:pt x="19" y="21"/>
                    <a:pt x="20" y="21"/>
                    <a:pt x="21" y="20"/>
                  </a:cubicBezTo>
                  <a:cubicBezTo>
                    <a:pt x="22" y="20"/>
                    <a:pt x="22" y="19"/>
                    <a:pt x="21" y="18"/>
                  </a:cubicBezTo>
                  <a:cubicBezTo>
                    <a:pt x="21" y="18"/>
                    <a:pt x="21" y="17"/>
                    <a:pt x="20" y="17"/>
                  </a:cubicBezTo>
                  <a:cubicBezTo>
                    <a:pt x="20" y="16"/>
                    <a:pt x="20" y="14"/>
                    <a:pt x="20" y="13"/>
                  </a:cubicBezTo>
                  <a:cubicBezTo>
                    <a:pt x="20" y="13"/>
                    <a:pt x="22" y="13"/>
                    <a:pt x="22" y="12"/>
                  </a:cubicBezTo>
                  <a:cubicBezTo>
                    <a:pt x="23" y="12"/>
                    <a:pt x="24" y="11"/>
                    <a:pt x="25" y="10"/>
                  </a:cubicBezTo>
                  <a:cubicBezTo>
                    <a:pt x="25" y="10"/>
                    <a:pt x="25" y="9"/>
                    <a:pt x="25" y="8"/>
                  </a:cubicBezTo>
                  <a:cubicBezTo>
                    <a:pt x="26" y="7"/>
                    <a:pt x="28" y="7"/>
                    <a:pt x="29" y="6"/>
                  </a:cubicBezTo>
                  <a:cubicBezTo>
                    <a:pt x="31" y="6"/>
                    <a:pt x="32" y="7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5" y="9"/>
                    <a:pt x="36" y="10"/>
                    <a:pt x="36" y="10"/>
                  </a:cubicBezTo>
                  <a:cubicBezTo>
                    <a:pt x="37" y="13"/>
                    <a:pt x="36" y="16"/>
                    <a:pt x="36" y="19"/>
                  </a:cubicBezTo>
                  <a:cubicBezTo>
                    <a:pt x="37" y="19"/>
                    <a:pt x="38" y="20"/>
                    <a:pt x="39" y="21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41" y="20"/>
                    <a:pt x="43" y="19"/>
                    <a:pt x="43" y="18"/>
                  </a:cubicBezTo>
                  <a:cubicBezTo>
                    <a:pt x="44" y="15"/>
                    <a:pt x="43" y="17"/>
                    <a:pt x="44" y="15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2" y="12"/>
                    <a:pt x="43" y="11"/>
                  </a:cubicBezTo>
                  <a:lnTo>
                    <a:pt x="45" y="1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4" name="Freeform 12"/>
            <p:cNvSpPr>
              <a:spLocks/>
            </p:cNvSpPr>
            <p:nvPr/>
          </p:nvSpPr>
          <p:spPr bwMode="auto">
            <a:xfrm>
              <a:off x="6676169" y="3491921"/>
              <a:ext cx="13043" cy="10545"/>
            </a:xfrm>
            <a:custGeom>
              <a:avLst/>
              <a:gdLst>
                <a:gd name="T0" fmla="*/ 1947959 w 28"/>
                <a:gd name="T1" fmla="*/ 15293852 h 22"/>
                <a:gd name="T2" fmla="*/ 1947959 w 28"/>
                <a:gd name="T3" fmla="*/ 18819602 h 22"/>
                <a:gd name="T4" fmla="*/ 3468116 w 28"/>
                <a:gd name="T5" fmla="*/ 20915083 h 22"/>
                <a:gd name="T6" fmla="*/ 4591618 w 28"/>
                <a:gd name="T7" fmla="*/ 16168539 h 22"/>
                <a:gd name="T8" fmla="*/ 5415918 w 28"/>
                <a:gd name="T9" fmla="*/ 14073923 h 22"/>
                <a:gd name="T10" fmla="*/ 8174845 w 28"/>
                <a:gd name="T11" fmla="*/ 14073923 h 22"/>
                <a:gd name="T12" fmla="*/ 9297269 w 28"/>
                <a:gd name="T13" fmla="*/ 15293852 h 22"/>
                <a:gd name="T14" fmla="*/ 12766089 w 28"/>
                <a:gd name="T15" fmla="*/ 15293852 h 22"/>
                <a:gd name="T16" fmla="*/ 20744539 w 28"/>
                <a:gd name="T17" fmla="*/ 14073923 h 22"/>
                <a:gd name="T18" fmla="*/ 24685191 w 28"/>
                <a:gd name="T19" fmla="*/ 13226484 h 22"/>
                <a:gd name="T20" fmla="*/ 24685191 w 28"/>
                <a:gd name="T21" fmla="*/ 11216146 h 22"/>
                <a:gd name="T22" fmla="*/ 20744539 w 28"/>
                <a:gd name="T23" fmla="*/ 9698926 h 22"/>
                <a:gd name="T24" fmla="*/ 20120368 w 28"/>
                <a:gd name="T25" fmla="*/ 8480159 h 22"/>
                <a:gd name="T26" fmla="*/ 19269275 w 28"/>
                <a:gd name="T27" fmla="*/ 5595820 h 22"/>
                <a:gd name="T28" fmla="*/ 15386779 w 28"/>
                <a:gd name="T29" fmla="*/ 2894074 h 22"/>
                <a:gd name="T30" fmla="*/ 15386779 w 28"/>
                <a:gd name="T31" fmla="*/ 2894074 h 22"/>
                <a:gd name="T32" fmla="*/ 13592494 w 28"/>
                <a:gd name="T33" fmla="*/ 2007625 h 22"/>
                <a:gd name="T34" fmla="*/ 7350477 w 28"/>
                <a:gd name="T35" fmla="*/ 849380 h 22"/>
                <a:gd name="T36" fmla="*/ 3468116 w 28"/>
                <a:gd name="T37" fmla="*/ 849380 h 22"/>
                <a:gd name="T38" fmla="*/ 1947959 w 28"/>
                <a:gd name="T39" fmla="*/ 2007625 h 22"/>
                <a:gd name="T40" fmla="*/ 0 w 28"/>
                <a:gd name="T41" fmla="*/ 2007625 h 22"/>
                <a:gd name="T42" fmla="*/ 826407 w 28"/>
                <a:gd name="T43" fmla="*/ 3587761 h 22"/>
                <a:gd name="T44" fmla="*/ 1947959 w 28"/>
                <a:gd name="T45" fmla="*/ 13226484 h 22"/>
                <a:gd name="T46" fmla="*/ 1947959 w 28"/>
                <a:gd name="T47" fmla="*/ 15293852 h 2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8"/>
                <a:gd name="T73" fmla="*/ 0 h 22"/>
                <a:gd name="T74" fmla="*/ 28 w 28"/>
                <a:gd name="T75" fmla="*/ 22 h 2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8" h="22">
                  <a:moveTo>
                    <a:pt x="2" y="16"/>
                  </a:moveTo>
                  <a:cubicBezTo>
                    <a:pt x="2" y="18"/>
                    <a:pt x="2" y="19"/>
                    <a:pt x="2" y="20"/>
                  </a:cubicBezTo>
                  <a:cubicBezTo>
                    <a:pt x="3" y="21"/>
                    <a:pt x="4" y="22"/>
                    <a:pt x="4" y="22"/>
                  </a:cubicBezTo>
                  <a:cubicBezTo>
                    <a:pt x="5" y="20"/>
                    <a:pt x="5" y="19"/>
                    <a:pt x="5" y="17"/>
                  </a:cubicBezTo>
                  <a:cubicBezTo>
                    <a:pt x="5" y="16"/>
                    <a:pt x="6" y="16"/>
                    <a:pt x="6" y="15"/>
                  </a:cubicBezTo>
                  <a:cubicBezTo>
                    <a:pt x="7" y="14"/>
                    <a:pt x="8" y="14"/>
                    <a:pt x="9" y="15"/>
                  </a:cubicBezTo>
                  <a:cubicBezTo>
                    <a:pt x="9" y="15"/>
                    <a:pt x="9" y="16"/>
                    <a:pt x="10" y="16"/>
                  </a:cubicBezTo>
                  <a:cubicBezTo>
                    <a:pt x="12" y="17"/>
                    <a:pt x="13" y="16"/>
                    <a:pt x="14" y="16"/>
                  </a:cubicBezTo>
                  <a:cubicBezTo>
                    <a:pt x="17" y="14"/>
                    <a:pt x="20" y="16"/>
                    <a:pt x="23" y="15"/>
                  </a:cubicBezTo>
                  <a:cubicBezTo>
                    <a:pt x="25" y="15"/>
                    <a:pt x="26" y="15"/>
                    <a:pt x="27" y="14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1"/>
                    <a:pt x="23" y="10"/>
                  </a:cubicBezTo>
                  <a:cubicBezTo>
                    <a:pt x="23" y="9"/>
                    <a:pt x="23" y="9"/>
                    <a:pt x="22" y="9"/>
                  </a:cubicBezTo>
                  <a:cubicBezTo>
                    <a:pt x="21" y="9"/>
                    <a:pt x="21" y="7"/>
                    <a:pt x="21" y="6"/>
                  </a:cubicBezTo>
                  <a:cubicBezTo>
                    <a:pt x="20" y="4"/>
                    <a:pt x="18" y="4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2"/>
                    <a:pt x="15" y="2"/>
                  </a:cubicBezTo>
                  <a:cubicBezTo>
                    <a:pt x="13" y="1"/>
                    <a:pt x="10" y="2"/>
                    <a:pt x="8" y="1"/>
                  </a:cubicBezTo>
                  <a:cubicBezTo>
                    <a:pt x="6" y="0"/>
                    <a:pt x="5" y="0"/>
                    <a:pt x="4" y="1"/>
                  </a:cubicBezTo>
                  <a:cubicBezTo>
                    <a:pt x="3" y="1"/>
                    <a:pt x="3" y="2"/>
                    <a:pt x="2" y="2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14"/>
                    <a:pt x="2" y="14"/>
                    <a:pt x="2" y="14"/>
                  </a:cubicBezTo>
                  <a:lnTo>
                    <a:pt x="2" y="1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5" name="Freeform 13"/>
            <p:cNvSpPr>
              <a:spLocks/>
            </p:cNvSpPr>
            <p:nvPr/>
          </p:nvSpPr>
          <p:spPr bwMode="auto">
            <a:xfrm>
              <a:off x="6666386" y="3491921"/>
              <a:ext cx="10786" cy="8652"/>
            </a:xfrm>
            <a:custGeom>
              <a:avLst/>
              <a:gdLst>
                <a:gd name="T0" fmla="*/ 26432752 w 23"/>
                <a:gd name="T1" fmla="*/ 17885570 h 18"/>
                <a:gd name="T2" fmla="*/ 26432752 w 23"/>
                <a:gd name="T3" fmla="*/ 16931056 h 18"/>
                <a:gd name="T4" fmla="*/ 23001672 w 23"/>
                <a:gd name="T5" fmla="*/ 16931056 h 18"/>
                <a:gd name="T6" fmla="*/ 18220093 w 23"/>
                <a:gd name="T7" fmla="*/ 17885570 h 18"/>
                <a:gd name="T8" fmla="*/ 15806866 w 23"/>
                <a:gd name="T9" fmla="*/ 19302400 h 18"/>
                <a:gd name="T10" fmla="*/ 8187175 w 23"/>
                <a:gd name="T11" fmla="*/ 19302400 h 18"/>
                <a:gd name="T12" fmla="*/ 4750926 w 23"/>
                <a:gd name="T13" fmla="*/ 20313258 h 18"/>
                <a:gd name="T14" fmla="*/ 2416425 w 23"/>
                <a:gd name="T15" fmla="*/ 17885570 h 18"/>
                <a:gd name="T16" fmla="*/ 1010505 w 23"/>
                <a:gd name="T17" fmla="*/ 16931056 h 18"/>
                <a:gd name="T18" fmla="*/ 0 w 23"/>
                <a:gd name="T19" fmla="*/ 13605887 h 18"/>
                <a:gd name="T20" fmla="*/ 8187175 w 23"/>
                <a:gd name="T21" fmla="*/ 13605887 h 18"/>
                <a:gd name="T22" fmla="*/ 10626183 w 23"/>
                <a:gd name="T23" fmla="*/ 14605101 h 18"/>
                <a:gd name="T24" fmla="*/ 13817923 w 23"/>
                <a:gd name="T25" fmla="*/ 14605101 h 18"/>
                <a:gd name="T26" fmla="*/ 18220093 w 23"/>
                <a:gd name="T27" fmla="*/ 13605887 h 18"/>
                <a:gd name="T28" fmla="*/ 14796368 w 23"/>
                <a:gd name="T29" fmla="*/ 10471513 h 18"/>
                <a:gd name="T30" fmla="*/ 13817923 w 23"/>
                <a:gd name="T31" fmla="*/ 3382358 h 18"/>
                <a:gd name="T32" fmla="*/ 10626183 w 23"/>
                <a:gd name="T33" fmla="*/ 2384158 h 18"/>
                <a:gd name="T34" fmla="*/ 12380864 w 23"/>
                <a:gd name="T35" fmla="*/ 0 h 18"/>
                <a:gd name="T36" fmla="*/ 20557243 w 23"/>
                <a:gd name="T37" fmla="*/ 998020 h 18"/>
                <a:gd name="T38" fmla="*/ 23001672 w 23"/>
                <a:gd name="T39" fmla="*/ 2384158 h 18"/>
                <a:gd name="T40" fmla="*/ 23980958 w 23"/>
                <a:gd name="T41" fmla="*/ 2384158 h 18"/>
                <a:gd name="T42" fmla="*/ 25410422 w 23"/>
                <a:gd name="T43" fmla="*/ 4697331 h 18"/>
                <a:gd name="T44" fmla="*/ 26432752 w 23"/>
                <a:gd name="T45" fmla="*/ 15574178 h 18"/>
                <a:gd name="T46" fmla="*/ 26432752 w 23"/>
                <a:gd name="T47" fmla="*/ 17885570 h 1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3"/>
                <a:gd name="T73" fmla="*/ 0 h 18"/>
                <a:gd name="T74" fmla="*/ 23 w 23"/>
                <a:gd name="T75" fmla="*/ 18 h 1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3" h="18">
                  <a:moveTo>
                    <a:pt x="23" y="16"/>
                  </a:moveTo>
                  <a:cubicBezTo>
                    <a:pt x="23" y="16"/>
                    <a:pt x="23" y="15"/>
                    <a:pt x="23" y="15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19" y="16"/>
                    <a:pt x="17" y="15"/>
                    <a:pt x="16" y="16"/>
                  </a:cubicBezTo>
                  <a:cubicBezTo>
                    <a:pt x="15" y="16"/>
                    <a:pt x="15" y="16"/>
                    <a:pt x="14" y="17"/>
                  </a:cubicBezTo>
                  <a:cubicBezTo>
                    <a:pt x="12" y="17"/>
                    <a:pt x="9" y="16"/>
                    <a:pt x="7" y="17"/>
                  </a:cubicBezTo>
                  <a:cubicBezTo>
                    <a:pt x="6" y="17"/>
                    <a:pt x="5" y="18"/>
                    <a:pt x="4" y="18"/>
                  </a:cubicBezTo>
                  <a:cubicBezTo>
                    <a:pt x="3" y="18"/>
                    <a:pt x="2" y="17"/>
                    <a:pt x="2" y="16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3" y="12"/>
                    <a:pt x="5" y="11"/>
                    <a:pt x="7" y="12"/>
                  </a:cubicBezTo>
                  <a:cubicBezTo>
                    <a:pt x="8" y="12"/>
                    <a:pt x="9" y="13"/>
                    <a:pt x="9" y="13"/>
                  </a:cubicBezTo>
                  <a:cubicBezTo>
                    <a:pt x="10" y="13"/>
                    <a:pt x="11" y="13"/>
                    <a:pt x="12" y="13"/>
                  </a:cubicBezTo>
                  <a:cubicBezTo>
                    <a:pt x="14" y="13"/>
                    <a:pt x="15" y="13"/>
                    <a:pt x="16" y="12"/>
                  </a:cubicBezTo>
                  <a:cubicBezTo>
                    <a:pt x="17" y="11"/>
                    <a:pt x="15" y="9"/>
                    <a:pt x="13" y="9"/>
                  </a:cubicBezTo>
                  <a:cubicBezTo>
                    <a:pt x="13" y="7"/>
                    <a:pt x="14" y="5"/>
                    <a:pt x="12" y="3"/>
                  </a:cubicBezTo>
                  <a:cubicBezTo>
                    <a:pt x="12" y="3"/>
                    <a:pt x="10" y="3"/>
                    <a:pt x="9" y="2"/>
                  </a:cubicBezTo>
                  <a:cubicBezTo>
                    <a:pt x="9" y="2"/>
                    <a:pt x="10" y="1"/>
                    <a:pt x="11" y="0"/>
                  </a:cubicBezTo>
                  <a:cubicBezTo>
                    <a:pt x="13" y="0"/>
                    <a:pt x="16" y="0"/>
                    <a:pt x="18" y="1"/>
                  </a:cubicBezTo>
                  <a:cubicBezTo>
                    <a:pt x="19" y="1"/>
                    <a:pt x="19" y="1"/>
                    <a:pt x="20" y="2"/>
                  </a:cubicBezTo>
                  <a:cubicBezTo>
                    <a:pt x="20" y="2"/>
                    <a:pt x="21" y="2"/>
                    <a:pt x="21" y="2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14"/>
                    <a:pt x="23" y="14"/>
                    <a:pt x="23" y="14"/>
                  </a:cubicBezTo>
                  <a:lnTo>
                    <a:pt x="23" y="1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6" name="Freeform 14"/>
            <p:cNvSpPr>
              <a:spLocks/>
            </p:cNvSpPr>
            <p:nvPr/>
          </p:nvSpPr>
          <p:spPr bwMode="auto">
            <a:xfrm>
              <a:off x="6516641" y="3432437"/>
              <a:ext cx="106352" cy="83547"/>
            </a:xfrm>
            <a:custGeom>
              <a:avLst/>
              <a:gdLst>
                <a:gd name="T0" fmla="*/ 153408475 w 228"/>
                <a:gd name="T1" fmla="*/ 143757641 h 173"/>
                <a:gd name="T2" fmla="*/ 136927410 w 228"/>
                <a:gd name="T3" fmla="*/ 148377878 h 173"/>
                <a:gd name="T4" fmla="*/ 111511203 w 228"/>
                <a:gd name="T5" fmla="*/ 137483443 h 173"/>
                <a:gd name="T6" fmla="*/ 85795122 w 228"/>
                <a:gd name="T7" fmla="*/ 122679982 h 173"/>
                <a:gd name="T8" fmla="*/ 73245031 w 228"/>
                <a:gd name="T9" fmla="*/ 107993798 h 173"/>
                <a:gd name="T10" fmla="*/ 76144169 w 228"/>
                <a:gd name="T11" fmla="*/ 96370641 h 173"/>
                <a:gd name="T12" fmla="*/ 71167366 w 228"/>
                <a:gd name="T13" fmla="*/ 84972908 h 173"/>
                <a:gd name="T14" fmla="*/ 62793464 w 228"/>
                <a:gd name="T15" fmla="*/ 74929395 h 173"/>
                <a:gd name="T16" fmla="*/ 55172006 w 228"/>
                <a:gd name="T17" fmla="*/ 64863449 h 173"/>
                <a:gd name="T18" fmla="*/ 49540082 w 228"/>
                <a:gd name="T19" fmla="*/ 60606666 h 173"/>
                <a:gd name="T20" fmla="*/ 46683080 w 228"/>
                <a:gd name="T21" fmla="*/ 52018727 h 173"/>
                <a:gd name="T22" fmla="*/ 36963163 w 228"/>
                <a:gd name="T23" fmla="*/ 40348290 h 173"/>
                <a:gd name="T24" fmla="*/ 29461325 w 228"/>
                <a:gd name="T25" fmla="*/ 32271883 h 173"/>
                <a:gd name="T26" fmla="*/ 23698320 w 228"/>
                <a:gd name="T27" fmla="*/ 10065583 h 173"/>
                <a:gd name="T28" fmla="*/ 15351647 w 228"/>
                <a:gd name="T29" fmla="*/ 20247179 h 173"/>
                <a:gd name="T30" fmla="*/ 20955738 w 228"/>
                <a:gd name="T31" fmla="*/ 32954493 h 173"/>
                <a:gd name="T32" fmla="*/ 30687749 w 228"/>
                <a:gd name="T33" fmla="*/ 50540003 h 173"/>
                <a:gd name="T34" fmla="*/ 36291815 w 228"/>
                <a:gd name="T35" fmla="*/ 59412458 h 173"/>
                <a:gd name="T36" fmla="*/ 38973481 w 228"/>
                <a:gd name="T37" fmla="*/ 73448634 h 173"/>
                <a:gd name="T38" fmla="*/ 45456657 w 228"/>
                <a:gd name="T39" fmla="*/ 81470279 h 173"/>
                <a:gd name="T40" fmla="*/ 41074720 w 228"/>
                <a:gd name="T41" fmla="*/ 81470279 h 173"/>
                <a:gd name="T42" fmla="*/ 25711626 w 228"/>
                <a:gd name="T43" fmla="*/ 69483008 h 173"/>
                <a:gd name="T44" fmla="*/ 27721888 w 228"/>
                <a:gd name="T45" fmla="*/ 58648041 h 173"/>
                <a:gd name="T46" fmla="*/ 12462305 w 228"/>
                <a:gd name="T47" fmla="*/ 48581265 h 173"/>
                <a:gd name="T48" fmla="*/ 14113716 w 228"/>
                <a:gd name="T49" fmla="*/ 41187458 h 173"/>
                <a:gd name="T50" fmla="*/ 11235873 w 228"/>
                <a:gd name="T51" fmla="*/ 30313106 h 173"/>
                <a:gd name="T52" fmla="*/ 2901404 w 228"/>
                <a:gd name="T53" fmla="*/ 16281350 h 173"/>
                <a:gd name="T54" fmla="*/ 0 w 228"/>
                <a:gd name="T55" fmla="*/ 0 h 173"/>
                <a:gd name="T56" fmla="*/ 26561998 w 228"/>
                <a:gd name="T57" fmla="*/ 5450079 h 173"/>
                <a:gd name="T58" fmla="*/ 44579732 w 228"/>
                <a:gd name="T59" fmla="*/ 12853359 h 173"/>
                <a:gd name="T60" fmla="*/ 65535517 w 228"/>
                <a:gd name="T61" fmla="*/ 8232977 h 173"/>
                <a:gd name="T62" fmla="*/ 80011219 w 228"/>
                <a:gd name="T63" fmla="*/ 12024718 h 173"/>
                <a:gd name="T64" fmla="*/ 94148448 w 228"/>
                <a:gd name="T65" fmla="*/ 29099389 h 173"/>
                <a:gd name="T66" fmla="*/ 103868147 w 228"/>
                <a:gd name="T67" fmla="*/ 27503388 h 173"/>
                <a:gd name="T68" fmla="*/ 117976931 w 228"/>
                <a:gd name="T69" fmla="*/ 32271883 h 173"/>
                <a:gd name="T70" fmla="*/ 126355750 w 228"/>
                <a:gd name="T71" fmla="*/ 53201502 h 173"/>
                <a:gd name="T72" fmla="*/ 138932792 w 228"/>
                <a:gd name="T73" fmla="*/ 66056865 h 173"/>
                <a:gd name="T74" fmla="*/ 136071894 w 228"/>
                <a:gd name="T75" fmla="*/ 97135738 h 173"/>
                <a:gd name="T76" fmla="*/ 142841808 w 228"/>
                <a:gd name="T77" fmla="*/ 119192597 h 173"/>
                <a:gd name="T78" fmla="*/ 161051266 w 228"/>
                <a:gd name="T79" fmla="*/ 125469361 h 173"/>
                <a:gd name="T80" fmla="*/ 180007418 w 228"/>
                <a:gd name="T81" fmla="*/ 122029899 h 173"/>
                <a:gd name="T82" fmla="*/ 185615740 w 228"/>
                <a:gd name="T83" fmla="*/ 106403080 h 173"/>
                <a:gd name="T84" fmla="*/ 201611137 w 228"/>
                <a:gd name="T85" fmla="*/ 98945087 h 173"/>
                <a:gd name="T86" fmla="*/ 211327357 w 228"/>
                <a:gd name="T87" fmla="*/ 109842316 h 173"/>
                <a:gd name="T88" fmla="*/ 206574475 w 228"/>
                <a:gd name="T89" fmla="*/ 125469361 h 173"/>
                <a:gd name="T90" fmla="*/ 202822582 w 228"/>
                <a:gd name="T91" fmla="*/ 126171743 h 173"/>
                <a:gd name="T92" fmla="*/ 195331808 w 228"/>
                <a:gd name="T93" fmla="*/ 129220809 h 173"/>
                <a:gd name="T94" fmla="*/ 180007418 w 228"/>
                <a:gd name="T95" fmla="*/ 134670819 h 173"/>
                <a:gd name="T96" fmla="*/ 178785231 w 228"/>
                <a:gd name="T97" fmla="*/ 145568424 h 173"/>
                <a:gd name="T98" fmla="*/ 171503400 w 228"/>
                <a:gd name="T99" fmla="*/ 156398788 h 17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28"/>
                <a:gd name="T151" fmla="*/ 0 h 173"/>
                <a:gd name="T152" fmla="*/ 228 w 228"/>
                <a:gd name="T153" fmla="*/ 173 h 17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28" h="173">
                  <a:moveTo>
                    <a:pt x="179" y="173"/>
                  </a:moveTo>
                  <a:cubicBezTo>
                    <a:pt x="175" y="169"/>
                    <a:pt x="172" y="165"/>
                    <a:pt x="168" y="161"/>
                  </a:cubicBezTo>
                  <a:cubicBezTo>
                    <a:pt x="168" y="160"/>
                    <a:pt x="167" y="159"/>
                    <a:pt x="166" y="159"/>
                  </a:cubicBezTo>
                  <a:cubicBezTo>
                    <a:pt x="165" y="158"/>
                    <a:pt x="163" y="158"/>
                    <a:pt x="161" y="157"/>
                  </a:cubicBezTo>
                  <a:cubicBezTo>
                    <a:pt x="161" y="157"/>
                    <a:pt x="159" y="157"/>
                    <a:pt x="158" y="158"/>
                  </a:cubicBezTo>
                  <a:cubicBezTo>
                    <a:pt x="156" y="159"/>
                    <a:pt x="154" y="159"/>
                    <a:pt x="152" y="160"/>
                  </a:cubicBezTo>
                  <a:cubicBezTo>
                    <a:pt x="151" y="160"/>
                    <a:pt x="150" y="161"/>
                    <a:pt x="149" y="162"/>
                  </a:cubicBezTo>
                  <a:cubicBezTo>
                    <a:pt x="147" y="162"/>
                    <a:pt x="146" y="162"/>
                    <a:pt x="144" y="162"/>
                  </a:cubicBezTo>
                  <a:cubicBezTo>
                    <a:pt x="142" y="161"/>
                    <a:pt x="139" y="160"/>
                    <a:pt x="137" y="160"/>
                  </a:cubicBezTo>
                  <a:cubicBezTo>
                    <a:pt x="134" y="157"/>
                    <a:pt x="130" y="155"/>
                    <a:pt x="127" y="153"/>
                  </a:cubicBezTo>
                  <a:cubicBezTo>
                    <a:pt x="125" y="152"/>
                    <a:pt x="124" y="152"/>
                    <a:pt x="122" y="152"/>
                  </a:cubicBezTo>
                  <a:cubicBezTo>
                    <a:pt x="120" y="152"/>
                    <a:pt x="118" y="151"/>
                    <a:pt x="117" y="150"/>
                  </a:cubicBezTo>
                  <a:cubicBezTo>
                    <a:pt x="113" y="147"/>
                    <a:pt x="109" y="146"/>
                    <a:pt x="106" y="142"/>
                  </a:cubicBezTo>
                  <a:cubicBezTo>
                    <a:pt x="105" y="141"/>
                    <a:pt x="105" y="140"/>
                    <a:pt x="104" y="140"/>
                  </a:cubicBezTo>
                  <a:cubicBezTo>
                    <a:pt x="100" y="138"/>
                    <a:pt x="97" y="136"/>
                    <a:pt x="93" y="136"/>
                  </a:cubicBezTo>
                  <a:cubicBezTo>
                    <a:pt x="92" y="136"/>
                    <a:pt x="91" y="135"/>
                    <a:pt x="90" y="134"/>
                  </a:cubicBezTo>
                  <a:cubicBezTo>
                    <a:pt x="89" y="132"/>
                    <a:pt x="87" y="131"/>
                    <a:pt x="86" y="130"/>
                  </a:cubicBezTo>
                  <a:cubicBezTo>
                    <a:pt x="84" y="129"/>
                    <a:pt x="82" y="127"/>
                    <a:pt x="80" y="126"/>
                  </a:cubicBezTo>
                  <a:cubicBezTo>
                    <a:pt x="79" y="125"/>
                    <a:pt x="77" y="123"/>
                    <a:pt x="77" y="121"/>
                  </a:cubicBezTo>
                  <a:cubicBezTo>
                    <a:pt x="76" y="120"/>
                    <a:pt x="76" y="119"/>
                    <a:pt x="77" y="118"/>
                  </a:cubicBezTo>
                  <a:cubicBezTo>
                    <a:pt x="77" y="117"/>
                    <a:pt x="78" y="117"/>
                    <a:pt x="78" y="117"/>
                  </a:cubicBezTo>
                  <a:cubicBezTo>
                    <a:pt x="79" y="116"/>
                    <a:pt x="78" y="114"/>
                    <a:pt x="79" y="113"/>
                  </a:cubicBezTo>
                  <a:cubicBezTo>
                    <a:pt x="79" y="112"/>
                    <a:pt x="80" y="111"/>
                    <a:pt x="80" y="111"/>
                  </a:cubicBezTo>
                  <a:cubicBezTo>
                    <a:pt x="81" y="109"/>
                    <a:pt x="81" y="107"/>
                    <a:pt x="80" y="105"/>
                  </a:cubicBezTo>
                  <a:cubicBezTo>
                    <a:pt x="80" y="104"/>
                    <a:pt x="79" y="104"/>
                    <a:pt x="79" y="104"/>
                  </a:cubicBezTo>
                  <a:cubicBezTo>
                    <a:pt x="78" y="102"/>
                    <a:pt x="77" y="101"/>
                    <a:pt x="77" y="99"/>
                  </a:cubicBezTo>
                  <a:cubicBezTo>
                    <a:pt x="77" y="98"/>
                    <a:pt x="76" y="97"/>
                    <a:pt x="76" y="96"/>
                  </a:cubicBezTo>
                  <a:cubicBezTo>
                    <a:pt x="75" y="95"/>
                    <a:pt x="75" y="94"/>
                    <a:pt x="75" y="93"/>
                  </a:cubicBezTo>
                  <a:cubicBezTo>
                    <a:pt x="74" y="92"/>
                    <a:pt x="73" y="92"/>
                    <a:pt x="73" y="91"/>
                  </a:cubicBezTo>
                  <a:cubicBezTo>
                    <a:pt x="71" y="89"/>
                    <a:pt x="69" y="86"/>
                    <a:pt x="68" y="84"/>
                  </a:cubicBezTo>
                  <a:cubicBezTo>
                    <a:pt x="67" y="83"/>
                    <a:pt x="66" y="82"/>
                    <a:pt x="66" y="82"/>
                  </a:cubicBezTo>
                  <a:cubicBezTo>
                    <a:pt x="66" y="82"/>
                    <a:pt x="66" y="82"/>
                    <a:pt x="66" y="82"/>
                  </a:cubicBezTo>
                  <a:cubicBezTo>
                    <a:pt x="65" y="81"/>
                    <a:pt x="65" y="80"/>
                    <a:pt x="64" y="79"/>
                  </a:cubicBezTo>
                  <a:cubicBezTo>
                    <a:pt x="63" y="78"/>
                    <a:pt x="63" y="78"/>
                    <a:pt x="62" y="77"/>
                  </a:cubicBezTo>
                  <a:cubicBezTo>
                    <a:pt x="61" y="76"/>
                    <a:pt x="61" y="74"/>
                    <a:pt x="60" y="73"/>
                  </a:cubicBezTo>
                  <a:cubicBezTo>
                    <a:pt x="60" y="72"/>
                    <a:pt x="59" y="71"/>
                    <a:pt x="58" y="71"/>
                  </a:cubicBezTo>
                  <a:cubicBezTo>
                    <a:pt x="57" y="70"/>
                    <a:pt x="57" y="69"/>
                    <a:pt x="56" y="69"/>
                  </a:cubicBezTo>
                  <a:cubicBezTo>
                    <a:pt x="56" y="68"/>
                    <a:pt x="56" y="67"/>
                    <a:pt x="55" y="67"/>
                  </a:cubicBezTo>
                  <a:cubicBezTo>
                    <a:pt x="54" y="67"/>
                    <a:pt x="54" y="67"/>
                    <a:pt x="53" y="67"/>
                  </a:cubicBezTo>
                  <a:cubicBezTo>
                    <a:pt x="53" y="67"/>
                    <a:pt x="52" y="66"/>
                    <a:pt x="52" y="66"/>
                  </a:cubicBezTo>
                  <a:cubicBezTo>
                    <a:pt x="52" y="65"/>
                    <a:pt x="52" y="65"/>
                    <a:pt x="53" y="64"/>
                  </a:cubicBezTo>
                  <a:cubicBezTo>
                    <a:pt x="54" y="63"/>
                    <a:pt x="54" y="61"/>
                    <a:pt x="53" y="60"/>
                  </a:cubicBezTo>
                  <a:cubicBezTo>
                    <a:pt x="53" y="59"/>
                    <a:pt x="52" y="59"/>
                    <a:pt x="51" y="58"/>
                  </a:cubicBezTo>
                  <a:cubicBezTo>
                    <a:pt x="50" y="58"/>
                    <a:pt x="50" y="57"/>
                    <a:pt x="49" y="57"/>
                  </a:cubicBezTo>
                  <a:cubicBezTo>
                    <a:pt x="48" y="56"/>
                    <a:pt x="49" y="54"/>
                    <a:pt x="48" y="53"/>
                  </a:cubicBezTo>
                  <a:cubicBezTo>
                    <a:pt x="47" y="52"/>
                    <a:pt x="45" y="53"/>
                    <a:pt x="44" y="51"/>
                  </a:cubicBezTo>
                  <a:cubicBezTo>
                    <a:pt x="44" y="50"/>
                    <a:pt x="45" y="48"/>
                    <a:pt x="44" y="47"/>
                  </a:cubicBezTo>
                  <a:cubicBezTo>
                    <a:pt x="43" y="45"/>
                    <a:pt x="41" y="45"/>
                    <a:pt x="39" y="44"/>
                  </a:cubicBezTo>
                  <a:cubicBezTo>
                    <a:pt x="38" y="43"/>
                    <a:pt x="38" y="42"/>
                    <a:pt x="37" y="41"/>
                  </a:cubicBezTo>
                  <a:cubicBezTo>
                    <a:pt x="37" y="40"/>
                    <a:pt x="36" y="40"/>
                    <a:pt x="35" y="39"/>
                  </a:cubicBezTo>
                  <a:cubicBezTo>
                    <a:pt x="33" y="38"/>
                    <a:pt x="32" y="38"/>
                    <a:pt x="31" y="37"/>
                  </a:cubicBezTo>
                  <a:cubicBezTo>
                    <a:pt x="31" y="36"/>
                    <a:pt x="31" y="35"/>
                    <a:pt x="31" y="35"/>
                  </a:cubicBezTo>
                  <a:cubicBezTo>
                    <a:pt x="32" y="34"/>
                    <a:pt x="32" y="33"/>
                    <a:pt x="31" y="32"/>
                  </a:cubicBezTo>
                  <a:cubicBezTo>
                    <a:pt x="31" y="30"/>
                    <a:pt x="29" y="28"/>
                    <a:pt x="29" y="26"/>
                  </a:cubicBezTo>
                  <a:cubicBezTo>
                    <a:pt x="28" y="23"/>
                    <a:pt x="29" y="19"/>
                    <a:pt x="29" y="16"/>
                  </a:cubicBezTo>
                  <a:cubicBezTo>
                    <a:pt x="27" y="14"/>
                    <a:pt x="26" y="13"/>
                    <a:pt x="25" y="11"/>
                  </a:cubicBezTo>
                  <a:cubicBezTo>
                    <a:pt x="23" y="11"/>
                    <a:pt x="21" y="12"/>
                    <a:pt x="20" y="11"/>
                  </a:cubicBezTo>
                  <a:cubicBezTo>
                    <a:pt x="18" y="11"/>
                    <a:pt x="18" y="8"/>
                    <a:pt x="16" y="9"/>
                  </a:cubicBezTo>
                  <a:cubicBezTo>
                    <a:pt x="16" y="9"/>
                    <a:pt x="15" y="10"/>
                    <a:pt x="15" y="10"/>
                  </a:cubicBezTo>
                  <a:cubicBezTo>
                    <a:pt x="15" y="14"/>
                    <a:pt x="15" y="18"/>
                    <a:pt x="16" y="22"/>
                  </a:cubicBezTo>
                  <a:cubicBezTo>
                    <a:pt x="16" y="24"/>
                    <a:pt x="16" y="25"/>
                    <a:pt x="17" y="26"/>
                  </a:cubicBezTo>
                  <a:cubicBezTo>
                    <a:pt x="17" y="27"/>
                    <a:pt x="18" y="29"/>
                    <a:pt x="18" y="30"/>
                  </a:cubicBezTo>
                  <a:cubicBezTo>
                    <a:pt x="19" y="32"/>
                    <a:pt x="20" y="33"/>
                    <a:pt x="21" y="34"/>
                  </a:cubicBezTo>
                  <a:cubicBezTo>
                    <a:pt x="22" y="35"/>
                    <a:pt x="22" y="35"/>
                    <a:pt x="22" y="36"/>
                  </a:cubicBezTo>
                  <a:cubicBezTo>
                    <a:pt x="23" y="38"/>
                    <a:pt x="25" y="39"/>
                    <a:pt x="26" y="42"/>
                  </a:cubicBezTo>
                  <a:cubicBezTo>
                    <a:pt x="27" y="43"/>
                    <a:pt x="28" y="45"/>
                    <a:pt x="29" y="47"/>
                  </a:cubicBezTo>
                  <a:cubicBezTo>
                    <a:pt x="29" y="49"/>
                    <a:pt x="30" y="50"/>
                    <a:pt x="31" y="51"/>
                  </a:cubicBezTo>
                  <a:cubicBezTo>
                    <a:pt x="31" y="52"/>
                    <a:pt x="31" y="54"/>
                    <a:pt x="32" y="55"/>
                  </a:cubicBezTo>
                  <a:cubicBezTo>
                    <a:pt x="32" y="55"/>
                    <a:pt x="32" y="56"/>
                    <a:pt x="33" y="56"/>
                  </a:cubicBezTo>
                  <a:cubicBezTo>
                    <a:pt x="33" y="56"/>
                    <a:pt x="34" y="56"/>
                    <a:pt x="35" y="57"/>
                  </a:cubicBezTo>
                  <a:cubicBezTo>
                    <a:pt x="36" y="57"/>
                    <a:pt x="38" y="58"/>
                    <a:pt x="38" y="60"/>
                  </a:cubicBezTo>
                  <a:cubicBezTo>
                    <a:pt x="39" y="61"/>
                    <a:pt x="38" y="63"/>
                    <a:pt x="38" y="65"/>
                  </a:cubicBezTo>
                  <a:cubicBezTo>
                    <a:pt x="37" y="66"/>
                    <a:pt x="38" y="68"/>
                    <a:pt x="39" y="70"/>
                  </a:cubicBezTo>
                  <a:cubicBezTo>
                    <a:pt x="39" y="71"/>
                    <a:pt x="41" y="72"/>
                    <a:pt x="41" y="73"/>
                  </a:cubicBezTo>
                  <a:cubicBezTo>
                    <a:pt x="41" y="74"/>
                    <a:pt x="41" y="75"/>
                    <a:pt x="41" y="76"/>
                  </a:cubicBezTo>
                  <a:cubicBezTo>
                    <a:pt x="42" y="78"/>
                    <a:pt x="41" y="79"/>
                    <a:pt x="41" y="80"/>
                  </a:cubicBezTo>
                  <a:cubicBezTo>
                    <a:pt x="42" y="80"/>
                    <a:pt x="42" y="81"/>
                    <a:pt x="42" y="81"/>
                  </a:cubicBezTo>
                  <a:cubicBezTo>
                    <a:pt x="43" y="81"/>
                    <a:pt x="45" y="80"/>
                    <a:pt x="46" y="82"/>
                  </a:cubicBezTo>
                  <a:cubicBezTo>
                    <a:pt x="47" y="83"/>
                    <a:pt x="46" y="84"/>
                    <a:pt x="47" y="85"/>
                  </a:cubicBezTo>
                  <a:cubicBezTo>
                    <a:pt x="47" y="87"/>
                    <a:pt x="48" y="88"/>
                    <a:pt x="48" y="89"/>
                  </a:cubicBezTo>
                  <a:cubicBezTo>
                    <a:pt x="49" y="91"/>
                    <a:pt x="47" y="93"/>
                    <a:pt x="46" y="94"/>
                  </a:cubicBezTo>
                  <a:cubicBezTo>
                    <a:pt x="46" y="95"/>
                    <a:pt x="45" y="95"/>
                    <a:pt x="45" y="94"/>
                  </a:cubicBezTo>
                  <a:cubicBezTo>
                    <a:pt x="44" y="94"/>
                    <a:pt x="43" y="93"/>
                    <a:pt x="43" y="92"/>
                  </a:cubicBezTo>
                  <a:cubicBezTo>
                    <a:pt x="43" y="91"/>
                    <a:pt x="43" y="90"/>
                    <a:pt x="43" y="89"/>
                  </a:cubicBezTo>
                  <a:cubicBezTo>
                    <a:pt x="43" y="88"/>
                    <a:pt x="42" y="87"/>
                    <a:pt x="42" y="87"/>
                  </a:cubicBezTo>
                  <a:cubicBezTo>
                    <a:pt x="39" y="84"/>
                    <a:pt x="36" y="83"/>
                    <a:pt x="33" y="80"/>
                  </a:cubicBezTo>
                  <a:cubicBezTo>
                    <a:pt x="32" y="79"/>
                    <a:pt x="31" y="78"/>
                    <a:pt x="30" y="77"/>
                  </a:cubicBezTo>
                  <a:cubicBezTo>
                    <a:pt x="29" y="76"/>
                    <a:pt x="27" y="77"/>
                    <a:pt x="27" y="76"/>
                  </a:cubicBezTo>
                  <a:cubicBezTo>
                    <a:pt x="26" y="74"/>
                    <a:pt x="28" y="73"/>
                    <a:pt x="30" y="73"/>
                  </a:cubicBezTo>
                  <a:cubicBezTo>
                    <a:pt x="31" y="72"/>
                    <a:pt x="31" y="70"/>
                    <a:pt x="31" y="68"/>
                  </a:cubicBezTo>
                  <a:cubicBezTo>
                    <a:pt x="31" y="68"/>
                    <a:pt x="30" y="68"/>
                    <a:pt x="30" y="67"/>
                  </a:cubicBezTo>
                  <a:cubicBezTo>
                    <a:pt x="30" y="66"/>
                    <a:pt x="30" y="65"/>
                    <a:pt x="29" y="64"/>
                  </a:cubicBezTo>
                  <a:cubicBezTo>
                    <a:pt x="28" y="62"/>
                    <a:pt x="27" y="61"/>
                    <a:pt x="26" y="60"/>
                  </a:cubicBezTo>
                  <a:cubicBezTo>
                    <a:pt x="24" y="59"/>
                    <a:pt x="23" y="57"/>
                    <a:pt x="22" y="57"/>
                  </a:cubicBezTo>
                  <a:cubicBezTo>
                    <a:pt x="21" y="56"/>
                    <a:pt x="19" y="57"/>
                    <a:pt x="19" y="56"/>
                  </a:cubicBezTo>
                  <a:cubicBezTo>
                    <a:pt x="17" y="55"/>
                    <a:pt x="15" y="54"/>
                    <a:pt x="13" y="53"/>
                  </a:cubicBezTo>
                  <a:cubicBezTo>
                    <a:pt x="12" y="53"/>
                    <a:pt x="12" y="52"/>
                    <a:pt x="12" y="51"/>
                  </a:cubicBezTo>
                  <a:cubicBezTo>
                    <a:pt x="11" y="49"/>
                    <a:pt x="8" y="48"/>
                    <a:pt x="9" y="46"/>
                  </a:cubicBezTo>
                  <a:cubicBezTo>
                    <a:pt x="10" y="46"/>
                    <a:pt x="11" y="47"/>
                    <a:pt x="12" y="47"/>
                  </a:cubicBezTo>
                  <a:cubicBezTo>
                    <a:pt x="13" y="48"/>
                    <a:pt x="14" y="46"/>
                    <a:pt x="15" y="45"/>
                  </a:cubicBezTo>
                  <a:cubicBezTo>
                    <a:pt x="16" y="44"/>
                    <a:pt x="16" y="44"/>
                    <a:pt x="17" y="43"/>
                  </a:cubicBezTo>
                  <a:cubicBezTo>
                    <a:pt x="17" y="42"/>
                    <a:pt x="17" y="41"/>
                    <a:pt x="17" y="41"/>
                  </a:cubicBezTo>
                  <a:cubicBezTo>
                    <a:pt x="16" y="39"/>
                    <a:pt x="14" y="38"/>
                    <a:pt x="13" y="36"/>
                  </a:cubicBezTo>
                  <a:cubicBezTo>
                    <a:pt x="12" y="35"/>
                    <a:pt x="12" y="34"/>
                    <a:pt x="12" y="33"/>
                  </a:cubicBezTo>
                  <a:cubicBezTo>
                    <a:pt x="11" y="33"/>
                    <a:pt x="11" y="32"/>
                    <a:pt x="11" y="32"/>
                  </a:cubicBezTo>
                  <a:cubicBezTo>
                    <a:pt x="9" y="32"/>
                    <a:pt x="7" y="30"/>
                    <a:pt x="6" y="29"/>
                  </a:cubicBezTo>
                  <a:cubicBezTo>
                    <a:pt x="5" y="27"/>
                    <a:pt x="6" y="26"/>
                    <a:pt x="6" y="23"/>
                  </a:cubicBezTo>
                  <a:cubicBezTo>
                    <a:pt x="5" y="21"/>
                    <a:pt x="4" y="20"/>
                    <a:pt x="3" y="18"/>
                  </a:cubicBezTo>
                  <a:cubicBezTo>
                    <a:pt x="3" y="16"/>
                    <a:pt x="3" y="14"/>
                    <a:pt x="3" y="12"/>
                  </a:cubicBezTo>
                  <a:cubicBezTo>
                    <a:pt x="2" y="9"/>
                    <a:pt x="1" y="7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7" y="0"/>
                    <a:pt x="11" y="0"/>
                    <a:pt x="16" y="0"/>
                  </a:cubicBezTo>
                  <a:cubicBezTo>
                    <a:pt x="17" y="0"/>
                    <a:pt x="17" y="0"/>
                    <a:pt x="18" y="0"/>
                  </a:cubicBezTo>
                  <a:cubicBezTo>
                    <a:pt x="21" y="3"/>
                    <a:pt x="24" y="4"/>
                    <a:pt x="28" y="6"/>
                  </a:cubicBezTo>
                  <a:cubicBezTo>
                    <a:pt x="28" y="6"/>
                    <a:pt x="29" y="6"/>
                    <a:pt x="30" y="7"/>
                  </a:cubicBezTo>
                  <a:cubicBezTo>
                    <a:pt x="30" y="7"/>
                    <a:pt x="30" y="7"/>
                    <a:pt x="31" y="7"/>
                  </a:cubicBezTo>
                  <a:cubicBezTo>
                    <a:pt x="33" y="9"/>
                    <a:pt x="36" y="9"/>
                    <a:pt x="38" y="10"/>
                  </a:cubicBezTo>
                  <a:cubicBezTo>
                    <a:pt x="41" y="12"/>
                    <a:pt x="44" y="13"/>
                    <a:pt x="47" y="14"/>
                  </a:cubicBezTo>
                  <a:cubicBezTo>
                    <a:pt x="49" y="15"/>
                    <a:pt x="52" y="15"/>
                    <a:pt x="54" y="15"/>
                  </a:cubicBezTo>
                  <a:cubicBezTo>
                    <a:pt x="55" y="14"/>
                    <a:pt x="55" y="14"/>
                    <a:pt x="56" y="14"/>
                  </a:cubicBezTo>
                  <a:cubicBezTo>
                    <a:pt x="59" y="13"/>
                    <a:pt x="63" y="15"/>
                    <a:pt x="67" y="14"/>
                  </a:cubicBezTo>
                  <a:cubicBezTo>
                    <a:pt x="67" y="12"/>
                    <a:pt x="67" y="10"/>
                    <a:pt x="69" y="9"/>
                  </a:cubicBezTo>
                  <a:cubicBezTo>
                    <a:pt x="70" y="9"/>
                    <a:pt x="71" y="9"/>
                    <a:pt x="73" y="9"/>
                  </a:cubicBezTo>
                  <a:cubicBezTo>
                    <a:pt x="74" y="10"/>
                    <a:pt x="77" y="10"/>
                    <a:pt x="77" y="9"/>
                  </a:cubicBezTo>
                  <a:cubicBezTo>
                    <a:pt x="79" y="9"/>
                    <a:pt x="81" y="8"/>
                    <a:pt x="83" y="9"/>
                  </a:cubicBezTo>
                  <a:cubicBezTo>
                    <a:pt x="84" y="10"/>
                    <a:pt x="84" y="12"/>
                    <a:pt x="84" y="13"/>
                  </a:cubicBezTo>
                  <a:cubicBezTo>
                    <a:pt x="86" y="15"/>
                    <a:pt x="88" y="16"/>
                    <a:pt x="89" y="18"/>
                  </a:cubicBezTo>
                  <a:cubicBezTo>
                    <a:pt x="90" y="20"/>
                    <a:pt x="92" y="21"/>
                    <a:pt x="93" y="23"/>
                  </a:cubicBezTo>
                  <a:cubicBezTo>
                    <a:pt x="93" y="26"/>
                    <a:pt x="93" y="28"/>
                    <a:pt x="96" y="30"/>
                  </a:cubicBezTo>
                  <a:cubicBezTo>
                    <a:pt x="97" y="31"/>
                    <a:pt x="98" y="31"/>
                    <a:pt x="99" y="32"/>
                  </a:cubicBezTo>
                  <a:cubicBezTo>
                    <a:pt x="101" y="33"/>
                    <a:pt x="102" y="35"/>
                    <a:pt x="104" y="36"/>
                  </a:cubicBezTo>
                  <a:cubicBezTo>
                    <a:pt x="104" y="36"/>
                    <a:pt x="105" y="36"/>
                    <a:pt x="106" y="36"/>
                  </a:cubicBezTo>
                  <a:cubicBezTo>
                    <a:pt x="107" y="36"/>
                    <a:pt x="108" y="35"/>
                    <a:pt x="108" y="34"/>
                  </a:cubicBezTo>
                  <a:cubicBezTo>
                    <a:pt x="108" y="33"/>
                    <a:pt x="109" y="31"/>
                    <a:pt x="109" y="30"/>
                  </a:cubicBezTo>
                  <a:cubicBezTo>
                    <a:pt x="109" y="29"/>
                    <a:pt x="110" y="29"/>
                    <a:pt x="111" y="29"/>
                  </a:cubicBezTo>
                  <a:cubicBezTo>
                    <a:pt x="113" y="28"/>
                    <a:pt x="116" y="28"/>
                    <a:pt x="118" y="29"/>
                  </a:cubicBezTo>
                  <a:cubicBezTo>
                    <a:pt x="120" y="30"/>
                    <a:pt x="121" y="32"/>
                    <a:pt x="123" y="33"/>
                  </a:cubicBezTo>
                  <a:cubicBezTo>
                    <a:pt x="124" y="34"/>
                    <a:pt x="124" y="35"/>
                    <a:pt x="124" y="35"/>
                  </a:cubicBezTo>
                  <a:cubicBezTo>
                    <a:pt x="125" y="38"/>
                    <a:pt x="126" y="41"/>
                    <a:pt x="127" y="44"/>
                  </a:cubicBezTo>
                  <a:cubicBezTo>
                    <a:pt x="127" y="45"/>
                    <a:pt x="127" y="46"/>
                    <a:pt x="128" y="46"/>
                  </a:cubicBezTo>
                  <a:cubicBezTo>
                    <a:pt x="129" y="49"/>
                    <a:pt x="131" y="52"/>
                    <a:pt x="132" y="54"/>
                  </a:cubicBezTo>
                  <a:cubicBezTo>
                    <a:pt x="133" y="55"/>
                    <a:pt x="132" y="57"/>
                    <a:pt x="133" y="58"/>
                  </a:cubicBezTo>
                  <a:cubicBezTo>
                    <a:pt x="135" y="62"/>
                    <a:pt x="139" y="63"/>
                    <a:pt x="142" y="65"/>
                  </a:cubicBezTo>
                  <a:cubicBezTo>
                    <a:pt x="143" y="66"/>
                    <a:pt x="144" y="65"/>
                    <a:pt x="145" y="65"/>
                  </a:cubicBezTo>
                  <a:cubicBezTo>
                    <a:pt x="147" y="66"/>
                    <a:pt x="147" y="66"/>
                    <a:pt x="147" y="66"/>
                  </a:cubicBezTo>
                  <a:cubicBezTo>
                    <a:pt x="147" y="67"/>
                    <a:pt x="148" y="71"/>
                    <a:pt x="146" y="72"/>
                  </a:cubicBezTo>
                  <a:cubicBezTo>
                    <a:pt x="145" y="72"/>
                    <a:pt x="144" y="72"/>
                    <a:pt x="143" y="73"/>
                  </a:cubicBezTo>
                  <a:cubicBezTo>
                    <a:pt x="141" y="74"/>
                    <a:pt x="141" y="76"/>
                    <a:pt x="141" y="78"/>
                  </a:cubicBezTo>
                  <a:cubicBezTo>
                    <a:pt x="140" y="85"/>
                    <a:pt x="140" y="92"/>
                    <a:pt x="140" y="99"/>
                  </a:cubicBezTo>
                  <a:cubicBezTo>
                    <a:pt x="140" y="101"/>
                    <a:pt x="140" y="104"/>
                    <a:pt x="143" y="106"/>
                  </a:cubicBezTo>
                  <a:cubicBezTo>
                    <a:pt x="143" y="109"/>
                    <a:pt x="142" y="112"/>
                    <a:pt x="143" y="115"/>
                  </a:cubicBezTo>
                  <a:cubicBezTo>
                    <a:pt x="144" y="118"/>
                    <a:pt x="145" y="120"/>
                    <a:pt x="147" y="122"/>
                  </a:cubicBezTo>
                  <a:cubicBezTo>
                    <a:pt x="148" y="124"/>
                    <a:pt x="150" y="126"/>
                    <a:pt x="150" y="129"/>
                  </a:cubicBezTo>
                  <a:cubicBezTo>
                    <a:pt x="150" y="130"/>
                    <a:pt x="150" y="130"/>
                    <a:pt x="150" y="130"/>
                  </a:cubicBezTo>
                  <a:cubicBezTo>
                    <a:pt x="152" y="132"/>
                    <a:pt x="155" y="133"/>
                    <a:pt x="157" y="134"/>
                  </a:cubicBezTo>
                  <a:cubicBezTo>
                    <a:pt x="158" y="134"/>
                    <a:pt x="159" y="134"/>
                    <a:pt x="160" y="135"/>
                  </a:cubicBezTo>
                  <a:cubicBezTo>
                    <a:pt x="161" y="135"/>
                    <a:pt x="161" y="137"/>
                    <a:pt x="162" y="137"/>
                  </a:cubicBezTo>
                  <a:cubicBezTo>
                    <a:pt x="164" y="138"/>
                    <a:pt x="167" y="137"/>
                    <a:pt x="169" y="137"/>
                  </a:cubicBezTo>
                  <a:cubicBezTo>
                    <a:pt x="173" y="135"/>
                    <a:pt x="177" y="137"/>
                    <a:pt x="180" y="133"/>
                  </a:cubicBezTo>
                  <a:cubicBezTo>
                    <a:pt x="182" y="133"/>
                    <a:pt x="184" y="134"/>
                    <a:pt x="186" y="135"/>
                  </a:cubicBezTo>
                  <a:cubicBezTo>
                    <a:pt x="186" y="136"/>
                    <a:pt x="188" y="136"/>
                    <a:pt x="188" y="135"/>
                  </a:cubicBezTo>
                  <a:cubicBezTo>
                    <a:pt x="189" y="134"/>
                    <a:pt x="188" y="133"/>
                    <a:pt x="189" y="133"/>
                  </a:cubicBezTo>
                  <a:cubicBezTo>
                    <a:pt x="189" y="132"/>
                    <a:pt x="190" y="132"/>
                    <a:pt x="190" y="132"/>
                  </a:cubicBezTo>
                  <a:cubicBezTo>
                    <a:pt x="192" y="130"/>
                    <a:pt x="193" y="127"/>
                    <a:pt x="194" y="125"/>
                  </a:cubicBezTo>
                  <a:cubicBezTo>
                    <a:pt x="195" y="123"/>
                    <a:pt x="194" y="120"/>
                    <a:pt x="195" y="117"/>
                  </a:cubicBezTo>
                  <a:cubicBezTo>
                    <a:pt x="195" y="117"/>
                    <a:pt x="195" y="117"/>
                    <a:pt x="195" y="116"/>
                  </a:cubicBezTo>
                  <a:cubicBezTo>
                    <a:pt x="196" y="116"/>
                    <a:pt x="196" y="115"/>
                    <a:pt x="196" y="114"/>
                  </a:cubicBezTo>
                  <a:cubicBezTo>
                    <a:pt x="197" y="113"/>
                    <a:pt x="198" y="113"/>
                    <a:pt x="199" y="112"/>
                  </a:cubicBezTo>
                  <a:cubicBezTo>
                    <a:pt x="199" y="111"/>
                    <a:pt x="201" y="110"/>
                    <a:pt x="202" y="110"/>
                  </a:cubicBezTo>
                  <a:cubicBezTo>
                    <a:pt x="205" y="110"/>
                    <a:pt x="209" y="110"/>
                    <a:pt x="212" y="108"/>
                  </a:cubicBezTo>
                  <a:cubicBezTo>
                    <a:pt x="215" y="108"/>
                    <a:pt x="217" y="108"/>
                    <a:pt x="220" y="108"/>
                  </a:cubicBezTo>
                  <a:cubicBezTo>
                    <a:pt x="223" y="109"/>
                    <a:pt x="225" y="109"/>
                    <a:pt x="227" y="110"/>
                  </a:cubicBezTo>
                  <a:cubicBezTo>
                    <a:pt x="228" y="111"/>
                    <a:pt x="227" y="113"/>
                    <a:pt x="226" y="114"/>
                  </a:cubicBezTo>
                  <a:cubicBezTo>
                    <a:pt x="225" y="116"/>
                    <a:pt x="223" y="118"/>
                    <a:pt x="222" y="120"/>
                  </a:cubicBezTo>
                  <a:cubicBezTo>
                    <a:pt x="221" y="121"/>
                    <a:pt x="221" y="123"/>
                    <a:pt x="220" y="124"/>
                  </a:cubicBezTo>
                  <a:cubicBezTo>
                    <a:pt x="219" y="125"/>
                    <a:pt x="219" y="126"/>
                    <a:pt x="220" y="127"/>
                  </a:cubicBezTo>
                  <a:cubicBezTo>
                    <a:pt x="220" y="128"/>
                    <a:pt x="220" y="130"/>
                    <a:pt x="220" y="131"/>
                  </a:cubicBezTo>
                  <a:cubicBezTo>
                    <a:pt x="220" y="133"/>
                    <a:pt x="218" y="134"/>
                    <a:pt x="217" y="137"/>
                  </a:cubicBezTo>
                  <a:cubicBezTo>
                    <a:pt x="217" y="137"/>
                    <a:pt x="217" y="137"/>
                    <a:pt x="217" y="137"/>
                  </a:cubicBezTo>
                  <a:cubicBezTo>
                    <a:pt x="216" y="136"/>
                    <a:pt x="216" y="134"/>
                    <a:pt x="215" y="135"/>
                  </a:cubicBezTo>
                  <a:cubicBezTo>
                    <a:pt x="214" y="135"/>
                    <a:pt x="214" y="136"/>
                    <a:pt x="214" y="137"/>
                  </a:cubicBezTo>
                  <a:cubicBezTo>
                    <a:pt x="213" y="138"/>
                    <a:pt x="213" y="138"/>
                    <a:pt x="213" y="138"/>
                  </a:cubicBezTo>
                  <a:cubicBezTo>
                    <a:pt x="212" y="138"/>
                    <a:pt x="211" y="139"/>
                    <a:pt x="210" y="139"/>
                  </a:cubicBezTo>
                  <a:cubicBezTo>
                    <a:pt x="210" y="140"/>
                    <a:pt x="209" y="141"/>
                    <a:pt x="208" y="141"/>
                  </a:cubicBezTo>
                  <a:cubicBezTo>
                    <a:pt x="207" y="141"/>
                    <a:pt x="206" y="141"/>
                    <a:pt x="205" y="141"/>
                  </a:cubicBezTo>
                  <a:cubicBezTo>
                    <a:pt x="205" y="141"/>
                    <a:pt x="205" y="141"/>
                    <a:pt x="205" y="141"/>
                  </a:cubicBezTo>
                  <a:cubicBezTo>
                    <a:pt x="203" y="142"/>
                    <a:pt x="202" y="142"/>
                    <a:pt x="200" y="142"/>
                  </a:cubicBezTo>
                  <a:cubicBezTo>
                    <a:pt x="200" y="142"/>
                    <a:pt x="199" y="143"/>
                    <a:pt x="198" y="143"/>
                  </a:cubicBezTo>
                  <a:cubicBezTo>
                    <a:pt x="196" y="144"/>
                    <a:pt x="193" y="142"/>
                    <a:pt x="191" y="144"/>
                  </a:cubicBezTo>
                  <a:cubicBezTo>
                    <a:pt x="190" y="144"/>
                    <a:pt x="188" y="146"/>
                    <a:pt x="189" y="147"/>
                  </a:cubicBezTo>
                  <a:cubicBezTo>
                    <a:pt x="190" y="149"/>
                    <a:pt x="192" y="150"/>
                    <a:pt x="194" y="153"/>
                  </a:cubicBezTo>
                  <a:cubicBezTo>
                    <a:pt x="195" y="154"/>
                    <a:pt x="195" y="157"/>
                    <a:pt x="195" y="158"/>
                  </a:cubicBezTo>
                  <a:cubicBezTo>
                    <a:pt x="194" y="159"/>
                    <a:pt x="194" y="159"/>
                    <a:pt x="194" y="159"/>
                  </a:cubicBezTo>
                  <a:cubicBezTo>
                    <a:pt x="192" y="159"/>
                    <a:pt x="190" y="159"/>
                    <a:pt x="188" y="159"/>
                  </a:cubicBezTo>
                  <a:cubicBezTo>
                    <a:pt x="186" y="160"/>
                    <a:pt x="185" y="160"/>
                    <a:pt x="184" y="161"/>
                  </a:cubicBezTo>
                  <a:cubicBezTo>
                    <a:pt x="183" y="162"/>
                    <a:pt x="183" y="163"/>
                    <a:pt x="182" y="163"/>
                  </a:cubicBezTo>
                  <a:cubicBezTo>
                    <a:pt x="181" y="165"/>
                    <a:pt x="181" y="168"/>
                    <a:pt x="180" y="170"/>
                  </a:cubicBezTo>
                  <a:cubicBezTo>
                    <a:pt x="180" y="171"/>
                    <a:pt x="180" y="171"/>
                    <a:pt x="180" y="171"/>
                  </a:cubicBezTo>
                  <a:lnTo>
                    <a:pt x="179" y="17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7" name="Freeform 15"/>
            <p:cNvSpPr>
              <a:spLocks/>
            </p:cNvSpPr>
            <p:nvPr/>
          </p:nvSpPr>
          <p:spPr bwMode="auto">
            <a:xfrm>
              <a:off x="6509869" y="3448390"/>
              <a:ext cx="1003" cy="2163"/>
            </a:xfrm>
            <a:custGeom>
              <a:avLst/>
              <a:gdLst>
                <a:gd name="T0" fmla="*/ 2497529 w 2"/>
                <a:gd name="T1" fmla="*/ 2554647 h 5"/>
                <a:gd name="T2" fmla="*/ 0 w 2"/>
                <a:gd name="T3" fmla="*/ 1064436 h 5"/>
                <a:gd name="T4" fmla="*/ 0 w 2"/>
                <a:gd name="T5" fmla="*/ 5085394 h 5"/>
                <a:gd name="T6" fmla="*/ 2497529 w 2"/>
                <a:gd name="T7" fmla="*/ 2554647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5"/>
                <a:gd name="T14" fmla="*/ 2 w 2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5">
                  <a:moveTo>
                    <a:pt x="1" y="2"/>
                  </a:moveTo>
                  <a:cubicBezTo>
                    <a:pt x="2" y="1"/>
                    <a:pt x="1" y="0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5"/>
                    <a:pt x="1" y="3"/>
                    <a:pt x="1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8" name="Freeform 16"/>
            <p:cNvSpPr>
              <a:spLocks/>
            </p:cNvSpPr>
            <p:nvPr/>
          </p:nvSpPr>
          <p:spPr bwMode="auto">
            <a:xfrm>
              <a:off x="6520403" y="3451634"/>
              <a:ext cx="502" cy="1352"/>
            </a:xfrm>
            <a:custGeom>
              <a:avLst/>
              <a:gdLst>
                <a:gd name="T0" fmla="*/ 43046679 w 1"/>
                <a:gd name="T1" fmla="*/ 727531 h 3"/>
                <a:gd name="T2" fmla="*/ 43046679 w 1"/>
                <a:gd name="T3" fmla="*/ 727531 h 3"/>
                <a:gd name="T4" fmla="*/ 43046679 w 1"/>
                <a:gd name="T5" fmla="*/ 727531 h 3"/>
                <a:gd name="T6" fmla="*/ 43046679 w 1"/>
                <a:gd name="T7" fmla="*/ 0 h 3"/>
                <a:gd name="T8" fmla="*/ 0 w 1"/>
                <a:gd name="T9" fmla="*/ 0 h 3"/>
                <a:gd name="T10" fmla="*/ 0 w 1"/>
                <a:gd name="T11" fmla="*/ 1697572 h 3"/>
                <a:gd name="T12" fmla="*/ 43046679 w 1"/>
                <a:gd name="T13" fmla="*/ 727531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3"/>
                <a:gd name="T23" fmla="*/ 1 w 1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3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1" y="2"/>
                    <a:pt x="1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9" name="Freeform 17"/>
            <p:cNvSpPr>
              <a:spLocks/>
            </p:cNvSpPr>
            <p:nvPr/>
          </p:nvSpPr>
          <p:spPr bwMode="auto">
            <a:xfrm>
              <a:off x="6630518" y="3476239"/>
              <a:ext cx="38126" cy="15952"/>
            </a:xfrm>
            <a:custGeom>
              <a:avLst/>
              <a:gdLst>
                <a:gd name="T0" fmla="*/ 53120829 w 82"/>
                <a:gd name="T1" fmla="*/ 16168527 h 33"/>
                <a:gd name="T2" fmla="*/ 51560260 w 82"/>
                <a:gd name="T3" fmla="*/ 14073912 h 33"/>
                <a:gd name="T4" fmla="*/ 47887387 w 82"/>
                <a:gd name="T5" fmla="*/ 13226473 h 33"/>
                <a:gd name="T6" fmla="*/ 47887387 w 82"/>
                <a:gd name="T7" fmla="*/ 12441453 h 33"/>
                <a:gd name="T8" fmla="*/ 45174957 w 82"/>
                <a:gd name="T9" fmla="*/ 12441453 h 33"/>
                <a:gd name="T10" fmla="*/ 38090193 w 82"/>
                <a:gd name="T11" fmla="*/ 8480158 h 33"/>
                <a:gd name="T12" fmla="*/ 32050613 w 82"/>
                <a:gd name="T13" fmla="*/ 3587761 h 33"/>
                <a:gd name="T14" fmla="*/ 27541043 w 82"/>
                <a:gd name="T15" fmla="*/ 849380 h 33"/>
                <a:gd name="T16" fmla="*/ 16934816 w 82"/>
                <a:gd name="T17" fmla="*/ 0 h 33"/>
                <a:gd name="T18" fmla="*/ 14221934 w 82"/>
                <a:gd name="T19" fmla="*/ 849380 h 33"/>
                <a:gd name="T20" fmla="*/ 9797197 w 82"/>
                <a:gd name="T21" fmla="*/ 2007625 h 33"/>
                <a:gd name="T22" fmla="*/ 7835352 w 82"/>
                <a:gd name="T23" fmla="*/ 2894072 h 33"/>
                <a:gd name="T24" fmla="*/ 2567272 w 82"/>
                <a:gd name="T25" fmla="*/ 6840533 h 33"/>
                <a:gd name="T26" fmla="*/ 0 w 82"/>
                <a:gd name="T27" fmla="*/ 13226473 h 33"/>
                <a:gd name="T28" fmla="*/ 1904180 w 82"/>
                <a:gd name="T29" fmla="*/ 13226473 h 33"/>
                <a:gd name="T30" fmla="*/ 6042482 w 82"/>
                <a:gd name="T31" fmla="*/ 9698924 h 33"/>
                <a:gd name="T32" fmla="*/ 9797197 w 82"/>
                <a:gd name="T33" fmla="*/ 8480158 h 33"/>
                <a:gd name="T34" fmla="*/ 13126410 w 82"/>
                <a:gd name="T35" fmla="*/ 6840533 h 33"/>
                <a:gd name="T36" fmla="*/ 16934816 w 82"/>
                <a:gd name="T37" fmla="*/ 6840533 h 33"/>
                <a:gd name="T38" fmla="*/ 19537246 w 82"/>
                <a:gd name="T39" fmla="*/ 9698924 h 33"/>
                <a:gd name="T40" fmla="*/ 24165973 w 82"/>
                <a:gd name="T41" fmla="*/ 10341117 h 33"/>
                <a:gd name="T42" fmla="*/ 25636839 w 82"/>
                <a:gd name="T43" fmla="*/ 11216144 h 33"/>
                <a:gd name="T44" fmla="*/ 29445284 w 82"/>
                <a:gd name="T45" fmla="*/ 11216144 h 33"/>
                <a:gd name="T46" fmla="*/ 33473559 w 82"/>
                <a:gd name="T47" fmla="*/ 14073912 h 33"/>
                <a:gd name="T48" fmla="*/ 39858778 w 82"/>
                <a:gd name="T49" fmla="*/ 15293841 h 33"/>
                <a:gd name="T50" fmla="*/ 40668587 w 82"/>
                <a:gd name="T51" fmla="*/ 16168527 h 33"/>
                <a:gd name="T52" fmla="*/ 40668587 w 82"/>
                <a:gd name="T53" fmla="*/ 20915062 h 33"/>
                <a:gd name="T54" fmla="*/ 44476429 w 82"/>
                <a:gd name="T55" fmla="*/ 22924719 h 33"/>
                <a:gd name="T56" fmla="*/ 48700849 w 82"/>
                <a:gd name="T57" fmla="*/ 24442627 h 33"/>
                <a:gd name="T58" fmla="*/ 49791778 w 82"/>
                <a:gd name="T59" fmla="*/ 25663075 h 33"/>
                <a:gd name="T60" fmla="*/ 49791778 w 82"/>
                <a:gd name="T61" fmla="*/ 27670974 h 33"/>
                <a:gd name="T62" fmla="*/ 47887387 w 82"/>
                <a:gd name="T63" fmla="*/ 29407055 h 33"/>
                <a:gd name="T64" fmla="*/ 47887387 w 82"/>
                <a:gd name="T65" fmla="*/ 30553758 h 33"/>
                <a:gd name="T66" fmla="*/ 54273557 w 82"/>
                <a:gd name="T67" fmla="*/ 31262565 h 33"/>
                <a:gd name="T68" fmla="*/ 65631179 w 82"/>
                <a:gd name="T69" fmla="*/ 30553758 h 33"/>
                <a:gd name="T70" fmla="*/ 67401167 w 82"/>
                <a:gd name="T71" fmla="*/ 29407055 h 33"/>
                <a:gd name="T72" fmla="*/ 72053463 w 82"/>
                <a:gd name="T73" fmla="*/ 28518479 h 33"/>
                <a:gd name="T74" fmla="*/ 72053463 w 82"/>
                <a:gd name="T75" fmla="*/ 27670974 h 33"/>
                <a:gd name="T76" fmla="*/ 69304128 w 82"/>
                <a:gd name="T77" fmla="*/ 23659148 h 33"/>
                <a:gd name="T78" fmla="*/ 62110069 w 82"/>
                <a:gd name="T79" fmla="*/ 22924719 h 33"/>
                <a:gd name="T80" fmla="*/ 61014583 w 82"/>
                <a:gd name="T81" fmla="*/ 21764401 h 33"/>
                <a:gd name="T82" fmla="*/ 60340345 w 82"/>
                <a:gd name="T83" fmla="*/ 20915062 h 33"/>
                <a:gd name="T84" fmla="*/ 57629835 w 82"/>
                <a:gd name="T85" fmla="*/ 18819581 h 33"/>
                <a:gd name="T86" fmla="*/ 56878435 w 82"/>
                <a:gd name="T87" fmla="*/ 18819581 h 33"/>
                <a:gd name="T88" fmla="*/ 54273557 w 82"/>
                <a:gd name="T89" fmla="*/ 17330084 h 33"/>
                <a:gd name="T90" fmla="*/ 53120829 w 82"/>
                <a:gd name="T91" fmla="*/ 16168527 h 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2"/>
                <a:gd name="T139" fmla="*/ 0 h 33"/>
                <a:gd name="T140" fmla="*/ 82 w 82"/>
                <a:gd name="T141" fmla="*/ 33 h 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2" h="33">
                  <a:moveTo>
                    <a:pt x="60" y="17"/>
                  </a:moveTo>
                  <a:cubicBezTo>
                    <a:pt x="59" y="16"/>
                    <a:pt x="58" y="15"/>
                    <a:pt x="58" y="15"/>
                  </a:cubicBezTo>
                  <a:cubicBezTo>
                    <a:pt x="57" y="15"/>
                    <a:pt x="56" y="14"/>
                    <a:pt x="54" y="14"/>
                  </a:cubicBezTo>
                  <a:cubicBezTo>
                    <a:pt x="54" y="14"/>
                    <a:pt x="54" y="13"/>
                    <a:pt x="54" y="13"/>
                  </a:cubicBezTo>
                  <a:cubicBezTo>
                    <a:pt x="53" y="12"/>
                    <a:pt x="51" y="13"/>
                    <a:pt x="51" y="13"/>
                  </a:cubicBezTo>
                  <a:cubicBezTo>
                    <a:pt x="48" y="11"/>
                    <a:pt x="46" y="9"/>
                    <a:pt x="43" y="9"/>
                  </a:cubicBezTo>
                  <a:cubicBezTo>
                    <a:pt x="40" y="9"/>
                    <a:pt x="38" y="5"/>
                    <a:pt x="36" y="4"/>
                  </a:cubicBezTo>
                  <a:cubicBezTo>
                    <a:pt x="34" y="4"/>
                    <a:pt x="32" y="2"/>
                    <a:pt x="31" y="1"/>
                  </a:cubicBezTo>
                  <a:cubicBezTo>
                    <a:pt x="27" y="0"/>
                    <a:pt x="23" y="0"/>
                    <a:pt x="19" y="0"/>
                  </a:cubicBezTo>
                  <a:cubicBezTo>
                    <a:pt x="18" y="0"/>
                    <a:pt x="17" y="1"/>
                    <a:pt x="16" y="1"/>
                  </a:cubicBezTo>
                  <a:cubicBezTo>
                    <a:pt x="15" y="2"/>
                    <a:pt x="13" y="2"/>
                    <a:pt x="11" y="2"/>
                  </a:cubicBezTo>
                  <a:cubicBezTo>
                    <a:pt x="10" y="2"/>
                    <a:pt x="9" y="3"/>
                    <a:pt x="9" y="3"/>
                  </a:cubicBezTo>
                  <a:cubicBezTo>
                    <a:pt x="7" y="4"/>
                    <a:pt x="4" y="5"/>
                    <a:pt x="3" y="7"/>
                  </a:cubicBezTo>
                  <a:cubicBezTo>
                    <a:pt x="2" y="9"/>
                    <a:pt x="0" y="11"/>
                    <a:pt x="0" y="14"/>
                  </a:cubicBezTo>
                  <a:cubicBezTo>
                    <a:pt x="0" y="14"/>
                    <a:pt x="1" y="14"/>
                    <a:pt x="2" y="14"/>
                  </a:cubicBezTo>
                  <a:cubicBezTo>
                    <a:pt x="4" y="13"/>
                    <a:pt x="5" y="10"/>
                    <a:pt x="7" y="10"/>
                  </a:cubicBezTo>
                  <a:cubicBezTo>
                    <a:pt x="8" y="9"/>
                    <a:pt x="10" y="9"/>
                    <a:pt x="11" y="9"/>
                  </a:cubicBezTo>
                  <a:cubicBezTo>
                    <a:pt x="12" y="8"/>
                    <a:pt x="14" y="7"/>
                    <a:pt x="15" y="7"/>
                  </a:cubicBezTo>
                  <a:cubicBezTo>
                    <a:pt x="16" y="6"/>
                    <a:pt x="18" y="6"/>
                    <a:pt x="19" y="7"/>
                  </a:cubicBezTo>
                  <a:cubicBezTo>
                    <a:pt x="20" y="8"/>
                    <a:pt x="21" y="10"/>
                    <a:pt x="22" y="10"/>
                  </a:cubicBezTo>
                  <a:cubicBezTo>
                    <a:pt x="24" y="10"/>
                    <a:pt x="26" y="10"/>
                    <a:pt x="27" y="11"/>
                  </a:cubicBezTo>
                  <a:cubicBezTo>
                    <a:pt x="28" y="11"/>
                    <a:pt x="29" y="12"/>
                    <a:pt x="29" y="12"/>
                  </a:cubicBezTo>
                  <a:cubicBezTo>
                    <a:pt x="31" y="12"/>
                    <a:pt x="32" y="12"/>
                    <a:pt x="33" y="12"/>
                  </a:cubicBezTo>
                  <a:cubicBezTo>
                    <a:pt x="35" y="13"/>
                    <a:pt x="36" y="15"/>
                    <a:pt x="38" y="15"/>
                  </a:cubicBezTo>
                  <a:cubicBezTo>
                    <a:pt x="40" y="16"/>
                    <a:pt x="43" y="16"/>
                    <a:pt x="45" y="16"/>
                  </a:cubicBezTo>
                  <a:cubicBezTo>
                    <a:pt x="45" y="16"/>
                    <a:pt x="46" y="16"/>
                    <a:pt x="46" y="17"/>
                  </a:cubicBezTo>
                  <a:cubicBezTo>
                    <a:pt x="47" y="18"/>
                    <a:pt x="46" y="20"/>
                    <a:pt x="46" y="22"/>
                  </a:cubicBezTo>
                  <a:cubicBezTo>
                    <a:pt x="47" y="23"/>
                    <a:pt x="49" y="24"/>
                    <a:pt x="50" y="24"/>
                  </a:cubicBezTo>
                  <a:cubicBezTo>
                    <a:pt x="52" y="25"/>
                    <a:pt x="54" y="25"/>
                    <a:pt x="55" y="26"/>
                  </a:cubicBezTo>
                  <a:cubicBezTo>
                    <a:pt x="56" y="26"/>
                    <a:pt x="56" y="26"/>
                    <a:pt x="56" y="27"/>
                  </a:cubicBezTo>
                  <a:cubicBezTo>
                    <a:pt x="56" y="28"/>
                    <a:pt x="56" y="28"/>
                    <a:pt x="56" y="29"/>
                  </a:cubicBezTo>
                  <a:cubicBezTo>
                    <a:pt x="56" y="30"/>
                    <a:pt x="55" y="30"/>
                    <a:pt x="54" y="31"/>
                  </a:cubicBezTo>
                  <a:cubicBezTo>
                    <a:pt x="54" y="31"/>
                    <a:pt x="54" y="32"/>
                    <a:pt x="54" y="32"/>
                  </a:cubicBezTo>
                  <a:cubicBezTo>
                    <a:pt x="56" y="33"/>
                    <a:pt x="59" y="33"/>
                    <a:pt x="61" y="33"/>
                  </a:cubicBezTo>
                  <a:cubicBezTo>
                    <a:pt x="65" y="32"/>
                    <a:pt x="70" y="33"/>
                    <a:pt x="74" y="32"/>
                  </a:cubicBezTo>
                  <a:cubicBezTo>
                    <a:pt x="75" y="32"/>
                    <a:pt x="75" y="32"/>
                    <a:pt x="76" y="31"/>
                  </a:cubicBezTo>
                  <a:cubicBezTo>
                    <a:pt x="78" y="31"/>
                    <a:pt x="80" y="32"/>
                    <a:pt x="81" y="30"/>
                  </a:cubicBezTo>
                  <a:cubicBezTo>
                    <a:pt x="82" y="30"/>
                    <a:pt x="82" y="29"/>
                    <a:pt x="81" y="29"/>
                  </a:cubicBezTo>
                  <a:cubicBezTo>
                    <a:pt x="80" y="27"/>
                    <a:pt x="79" y="26"/>
                    <a:pt x="78" y="25"/>
                  </a:cubicBezTo>
                  <a:cubicBezTo>
                    <a:pt x="75" y="24"/>
                    <a:pt x="73" y="25"/>
                    <a:pt x="70" y="24"/>
                  </a:cubicBezTo>
                  <a:cubicBezTo>
                    <a:pt x="70" y="24"/>
                    <a:pt x="69" y="24"/>
                    <a:pt x="69" y="23"/>
                  </a:cubicBezTo>
                  <a:cubicBezTo>
                    <a:pt x="69" y="23"/>
                    <a:pt x="69" y="22"/>
                    <a:pt x="68" y="22"/>
                  </a:cubicBezTo>
                  <a:cubicBezTo>
                    <a:pt x="67" y="21"/>
                    <a:pt x="66" y="21"/>
                    <a:pt x="65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3" y="19"/>
                    <a:pt x="62" y="18"/>
                    <a:pt x="61" y="18"/>
                  </a:cubicBezTo>
                  <a:lnTo>
                    <a:pt x="60" y="17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0" name="Freeform 18"/>
            <p:cNvSpPr>
              <a:spLocks/>
            </p:cNvSpPr>
            <p:nvPr/>
          </p:nvSpPr>
          <p:spPr bwMode="auto">
            <a:xfrm>
              <a:off x="6651838" y="3497058"/>
              <a:ext cx="8528" cy="4596"/>
            </a:xfrm>
            <a:custGeom>
              <a:avLst/>
              <a:gdLst>
                <a:gd name="T0" fmla="*/ 16931056 w 18"/>
                <a:gd name="T1" fmla="*/ 6550065 h 9"/>
                <a:gd name="T2" fmla="*/ 15574178 w 18"/>
                <a:gd name="T3" fmla="*/ 6550065 h 9"/>
                <a:gd name="T4" fmla="*/ 12233175 w 18"/>
                <a:gd name="T5" fmla="*/ 3238158 h 9"/>
                <a:gd name="T6" fmla="*/ 2384158 w 18"/>
                <a:gd name="T7" fmla="*/ 1324701 h 9"/>
                <a:gd name="T8" fmla="*/ 998020 w 18"/>
                <a:gd name="T9" fmla="*/ 3238158 h 9"/>
                <a:gd name="T10" fmla="*/ 4697331 w 18"/>
                <a:gd name="T11" fmla="*/ 7915496 h 9"/>
                <a:gd name="T12" fmla="*/ 6519426 w 18"/>
                <a:gd name="T13" fmla="*/ 13330806 h 9"/>
                <a:gd name="T14" fmla="*/ 8080076 w 18"/>
                <a:gd name="T15" fmla="*/ 14708563 h 9"/>
                <a:gd name="T16" fmla="*/ 10471513 w 18"/>
                <a:gd name="T17" fmla="*/ 14708563 h 9"/>
                <a:gd name="T18" fmla="*/ 12233175 w 18"/>
                <a:gd name="T19" fmla="*/ 13330806 h 9"/>
                <a:gd name="T20" fmla="*/ 20313258 w 18"/>
                <a:gd name="T21" fmla="*/ 11470653 h 9"/>
                <a:gd name="T22" fmla="*/ 20313258 w 18"/>
                <a:gd name="T23" fmla="*/ 10015063 h 9"/>
                <a:gd name="T24" fmla="*/ 20313258 w 18"/>
                <a:gd name="T25" fmla="*/ 10015063 h 9"/>
                <a:gd name="T26" fmla="*/ 16931056 w 18"/>
                <a:gd name="T27" fmla="*/ 6550065 h 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8"/>
                <a:gd name="T43" fmla="*/ 0 h 9"/>
                <a:gd name="T44" fmla="*/ 18 w 18"/>
                <a:gd name="T45" fmla="*/ 9 h 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8" h="9">
                  <a:moveTo>
                    <a:pt x="15" y="4"/>
                  </a:moveTo>
                  <a:cubicBezTo>
                    <a:pt x="15" y="4"/>
                    <a:pt x="14" y="4"/>
                    <a:pt x="14" y="4"/>
                  </a:cubicBezTo>
                  <a:cubicBezTo>
                    <a:pt x="13" y="3"/>
                    <a:pt x="13" y="2"/>
                    <a:pt x="11" y="2"/>
                  </a:cubicBezTo>
                  <a:cubicBezTo>
                    <a:pt x="8" y="1"/>
                    <a:pt x="5" y="0"/>
                    <a:pt x="2" y="1"/>
                  </a:cubicBezTo>
                  <a:cubicBezTo>
                    <a:pt x="2" y="1"/>
                    <a:pt x="1" y="1"/>
                    <a:pt x="1" y="2"/>
                  </a:cubicBezTo>
                  <a:cubicBezTo>
                    <a:pt x="0" y="4"/>
                    <a:pt x="2" y="4"/>
                    <a:pt x="4" y="5"/>
                  </a:cubicBezTo>
                  <a:cubicBezTo>
                    <a:pt x="5" y="5"/>
                    <a:pt x="5" y="6"/>
                    <a:pt x="6" y="8"/>
                  </a:cubicBezTo>
                  <a:cubicBezTo>
                    <a:pt x="6" y="8"/>
                    <a:pt x="6" y="8"/>
                    <a:pt x="7" y="9"/>
                  </a:cubicBezTo>
                  <a:cubicBezTo>
                    <a:pt x="8" y="9"/>
                    <a:pt x="8" y="9"/>
                    <a:pt x="9" y="9"/>
                  </a:cubicBezTo>
                  <a:cubicBezTo>
                    <a:pt x="10" y="9"/>
                    <a:pt x="10" y="8"/>
                    <a:pt x="11" y="8"/>
                  </a:cubicBezTo>
                  <a:cubicBezTo>
                    <a:pt x="13" y="7"/>
                    <a:pt x="16" y="8"/>
                    <a:pt x="18" y="7"/>
                  </a:cubicBezTo>
                  <a:cubicBezTo>
                    <a:pt x="18" y="7"/>
                    <a:pt x="18" y="6"/>
                    <a:pt x="18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6" y="5"/>
                    <a:pt x="16" y="4"/>
                    <a:pt x="15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1" name="Freeform 19"/>
            <p:cNvSpPr>
              <a:spLocks/>
            </p:cNvSpPr>
            <p:nvPr/>
          </p:nvSpPr>
          <p:spPr bwMode="auto">
            <a:xfrm>
              <a:off x="6693225" y="3497599"/>
              <a:ext cx="5769" cy="3245"/>
            </a:xfrm>
            <a:custGeom>
              <a:avLst/>
              <a:gdLst>
                <a:gd name="T0" fmla="*/ 9492531 w 12"/>
                <a:gd name="T1" fmla="*/ 505778 h 7"/>
                <a:gd name="T2" fmla="*/ 1147259 w 12"/>
                <a:gd name="T3" fmla="*/ 505778 h 7"/>
                <a:gd name="T4" fmla="*/ 1147259 w 12"/>
                <a:gd name="T5" fmla="*/ 2234466 h 7"/>
                <a:gd name="T6" fmla="*/ 3927944 w 12"/>
                <a:gd name="T7" fmla="*/ 3397424 h 7"/>
                <a:gd name="T8" fmla="*/ 10639125 w 12"/>
                <a:gd name="T9" fmla="*/ 3397424 h 7"/>
                <a:gd name="T10" fmla="*/ 10639125 w 12"/>
                <a:gd name="T11" fmla="*/ 3942014 h 7"/>
                <a:gd name="T12" fmla="*/ 13411727 w 12"/>
                <a:gd name="T13" fmla="*/ 3942014 h 7"/>
                <a:gd name="T14" fmla="*/ 16192411 w 12"/>
                <a:gd name="T15" fmla="*/ 1724631 h 7"/>
                <a:gd name="T16" fmla="*/ 16192411 w 12"/>
                <a:gd name="T17" fmla="*/ 1156064 h 7"/>
                <a:gd name="T18" fmla="*/ 13411727 w 12"/>
                <a:gd name="T19" fmla="*/ 505778 h 7"/>
                <a:gd name="T20" fmla="*/ 9492531 w 12"/>
                <a:gd name="T21" fmla="*/ 505778 h 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7"/>
                <a:gd name="T35" fmla="*/ 12 w 12"/>
                <a:gd name="T36" fmla="*/ 7 h 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7">
                  <a:moveTo>
                    <a:pt x="7" y="1"/>
                  </a:moveTo>
                  <a:cubicBezTo>
                    <a:pt x="5" y="1"/>
                    <a:pt x="3" y="0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1" y="5"/>
                    <a:pt x="2" y="6"/>
                    <a:pt x="3" y="6"/>
                  </a:cubicBezTo>
                  <a:cubicBezTo>
                    <a:pt x="4" y="6"/>
                    <a:pt x="6" y="6"/>
                    <a:pt x="8" y="6"/>
                  </a:cubicBezTo>
                  <a:cubicBezTo>
                    <a:pt x="8" y="6"/>
                    <a:pt x="8" y="7"/>
                    <a:pt x="8" y="7"/>
                  </a:cubicBezTo>
                  <a:cubicBezTo>
                    <a:pt x="9" y="7"/>
                    <a:pt x="9" y="7"/>
                    <a:pt x="10" y="7"/>
                  </a:cubicBezTo>
                  <a:cubicBezTo>
                    <a:pt x="11" y="6"/>
                    <a:pt x="11" y="4"/>
                    <a:pt x="12" y="3"/>
                  </a:cubicBezTo>
                  <a:cubicBezTo>
                    <a:pt x="12" y="3"/>
                    <a:pt x="12" y="2"/>
                    <a:pt x="12" y="2"/>
                  </a:cubicBezTo>
                  <a:cubicBezTo>
                    <a:pt x="11" y="1"/>
                    <a:pt x="11" y="1"/>
                    <a:pt x="10" y="1"/>
                  </a:cubicBezTo>
                  <a:lnTo>
                    <a:pt x="7" y="1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2" name="Freeform 21"/>
            <p:cNvSpPr>
              <a:spLocks/>
            </p:cNvSpPr>
            <p:nvPr/>
          </p:nvSpPr>
          <p:spPr bwMode="auto">
            <a:xfrm>
              <a:off x="6708275" y="3162329"/>
              <a:ext cx="3762" cy="2704"/>
            </a:xfrm>
            <a:custGeom>
              <a:avLst/>
              <a:gdLst>
                <a:gd name="T0" fmla="*/ 7279645 w 8"/>
                <a:gd name="T1" fmla="*/ 2554647 h 5"/>
                <a:gd name="T2" fmla="*/ 5058432 w 8"/>
                <a:gd name="T3" fmla="*/ 0 h 5"/>
                <a:gd name="T4" fmla="*/ 0 w 8"/>
                <a:gd name="T5" fmla="*/ 1064436 h 5"/>
                <a:gd name="T6" fmla="*/ 0 w 8"/>
                <a:gd name="T7" fmla="*/ 3577445 h 5"/>
                <a:gd name="T8" fmla="*/ 5058432 w 8"/>
                <a:gd name="T9" fmla="*/ 6131150 h 5"/>
                <a:gd name="T10" fmla="*/ 7279645 w 8"/>
                <a:gd name="T11" fmla="*/ 6131150 h 5"/>
                <a:gd name="T12" fmla="*/ 8176458 w 8"/>
                <a:gd name="T13" fmla="*/ 3577445 h 5"/>
                <a:gd name="T14" fmla="*/ 7279645 w 8"/>
                <a:gd name="T15" fmla="*/ 2554647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5"/>
                <a:gd name="T26" fmla="*/ 8 w 8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5">
                  <a:moveTo>
                    <a:pt x="7" y="2"/>
                  </a:moveTo>
                  <a:cubicBezTo>
                    <a:pt x="7" y="1"/>
                    <a:pt x="6" y="0"/>
                    <a:pt x="5" y="0"/>
                  </a:cubicBezTo>
                  <a:cubicBezTo>
                    <a:pt x="4" y="0"/>
                    <a:pt x="2" y="0"/>
                    <a:pt x="0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4"/>
                    <a:pt x="3" y="4"/>
                    <a:pt x="5" y="5"/>
                  </a:cubicBezTo>
                  <a:cubicBezTo>
                    <a:pt x="5" y="5"/>
                    <a:pt x="7" y="5"/>
                    <a:pt x="7" y="5"/>
                  </a:cubicBezTo>
                  <a:cubicBezTo>
                    <a:pt x="8" y="5"/>
                    <a:pt x="8" y="4"/>
                    <a:pt x="8" y="3"/>
                  </a:cubicBezTo>
                  <a:lnTo>
                    <a:pt x="7" y="2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3" name="Freeform 23"/>
            <p:cNvSpPr>
              <a:spLocks/>
            </p:cNvSpPr>
            <p:nvPr/>
          </p:nvSpPr>
          <p:spPr bwMode="auto">
            <a:xfrm>
              <a:off x="6661119" y="3132858"/>
              <a:ext cx="95817" cy="52724"/>
            </a:xfrm>
            <a:custGeom>
              <a:avLst/>
              <a:gdLst>
                <a:gd name="T0" fmla="*/ 117704894 w 205"/>
                <a:gd name="T1" fmla="*/ 6546201 h 109"/>
                <a:gd name="T2" fmla="*/ 100186453 w 205"/>
                <a:gd name="T3" fmla="*/ 5431840 h 109"/>
                <a:gd name="T4" fmla="*/ 104334683 w 205"/>
                <a:gd name="T5" fmla="*/ 10041261 h 109"/>
                <a:gd name="T6" fmla="*/ 87577858 w 205"/>
                <a:gd name="T7" fmla="*/ 4609370 h 109"/>
                <a:gd name="T8" fmla="*/ 73349448 w 205"/>
                <a:gd name="T9" fmla="*/ 4609370 h 109"/>
                <a:gd name="T10" fmla="*/ 65559016 w 205"/>
                <a:gd name="T11" fmla="*/ 9329435 h 109"/>
                <a:gd name="T12" fmla="*/ 69184184 w 205"/>
                <a:gd name="T13" fmla="*/ 15434619 h 109"/>
                <a:gd name="T14" fmla="*/ 60740625 w 205"/>
                <a:gd name="T15" fmla="*/ 16200535 h 109"/>
                <a:gd name="T16" fmla="*/ 50922751 w 205"/>
                <a:gd name="T17" fmla="*/ 12807184 h 109"/>
                <a:gd name="T18" fmla="*/ 44373957 w 205"/>
                <a:gd name="T19" fmla="*/ 16200535 h 109"/>
                <a:gd name="T20" fmla="*/ 35798052 w 205"/>
                <a:gd name="T21" fmla="*/ 18238993 h 109"/>
                <a:gd name="T22" fmla="*/ 9811355 w 205"/>
                <a:gd name="T23" fmla="*/ 20193074 h 109"/>
                <a:gd name="T24" fmla="*/ 12581459 w 205"/>
                <a:gd name="T25" fmla="*/ 22821264 h 109"/>
                <a:gd name="T26" fmla="*/ 18261484 w 205"/>
                <a:gd name="T27" fmla="*/ 26239844 h 109"/>
                <a:gd name="T28" fmla="*/ 19134777 w 205"/>
                <a:gd name="T29" fmla="*/ 28241708 h 109"/>
                <a:gd name="T30" fmla="*/ 17537107 w 205"/>
                <a:gd name="T31" fmla="*/ 32149144 h 109"/>
                <a:gd name="T32" fmla="*/ 36655172 w 205"/>
                <a:gd name="T33" fmla="*/ 33626465 h 109"/>
                <a:gd name="T34" fmla="*/ 34628204 w 205"/>
                <a:gd name="T35" fmla="*/ 37572022 h 109"/>
                <a:gd name="T36" fmla="*/ 37551452 w 205"/>
                <a:gd name="T37" fmla="*/ 37572022 h 109"/>
                <a:gd name="T38" fmla="*/ 47141967 w 205"/>
                <a:gd name="T39" fmla="*/ 41001061 h 109"/>
                <a:gd name="T40" fmla="*/ 56954995 w 205"/>
                <a:gd name="T41" fmla="*/ 38197574 h 109"/>
                <a:gd name="T42" fmla="*/ 74206681 w 205"/>
                <a:gd name="T43" fmla="*/ 36391709 h 109"/>
                <a:gd name="T44" fmla="*/ 83796808 w 205"/>
                <a:gd name="T45" fmla="*/ 26239844 h 109"/>
                <a:gd name="T46" fmla="*/ 93269532 w 205"/>
                <a:gd name="T47" fmla="*/ 35628329 h 109"/>
                <a:gd name="T48" fmla="*/ 69184184 w 205"/>
                <a:gd name="T49" fmla="*/ 41823348 h 109"/>
                <a:gd name="T50" fmla="*/ 60740625 w 205"/>
                <a:gd name="T51" fmla="*/ 49061069 h 109"/>
                <a:gd name="T52" fmla="*/ 67650846 w 205"/>
                <a:gd name="T53" fmla="*/ 53043069 h 109"/>
                <a:gd name="T54" fmla="*/ 44373957 w 205"/>
                <a:gd name="T55" fmla="*/ 43629232 h 109"/>
                <a:gd name="T56" fmla="*/ 43203976 w 205"/>
                <a:gd name="T57" fmla="*/ 54481514 h 109"/>
                <a:gd name="T58" fmla="*/ 46493875 w 205"/>
                <a:gd name="T59" fmla="*/ 60417278 h 109"/>
                <a:gd name="T60" fmla="*/ 58697474 w 205"/>
                <a:gd name="T61" fmla="*/ 61868248 h 109"/>
                <a:gd name="T62" fmla="*/ 33766542 w 205"/>
                <a:gd name="T63" fmla="*/ 63822315 h 109"/>
                <a:gd name="T64" fmla="*/ 25980103 w 205"/>
                <a:gd name="T65" fmla="*/ 72020094 h 109"/>
                <a:gd name="T66" fmla="*/ 36655172 w 205"/>
                <a:gd name="T67" fmla="*/ 69243590 h 109"/>
                <a:gd name="T68" fmla="*/ 50065593 w 205"/>
                <a:gd name="T69" fmla="*/ 75801172 h 109"/>
                <a:gd name="T70" fmla="*/ 34628204 w 205"/>
                <a:gd name="T71" fmla="*/ 84004402 h 109"/>
                <a:gd name="T72" fmla="*/ 15493427 w 205"/>
                <a:gd name="T73" fmla="*/ 84004402 h 109"/>
                <a:gd name="T74" fmla="*/ 0 w 205"/>
                <a:gd name="T75" fmla="*/ 92064900 h 109"/>
                <a:gd name="T76" fmla="*/ 14272457 w 205"/>
                <a:gd name="T77" fmla="*/ 97500284 h 109"/>
                <a:gd name="T78" fmla="*/ 25980103 w 205"/>
                <a:gd name="T79" fmla="*/ 99438884 h 109"/>
                <a:gd name="T80" fmla="*/ 34628204 w 205"/>
                <a:gd name="T81" fmla="*/ 95960585 h 109"/>
                <a:gd name="T82" fmla="*/ 46493875 w 205"/>
                <a:gd name="T83" fmla="*/ 96672225 h 109"/>
                <a:gd name="T84" fmla="*/ 55812761 w 205"/>
                <a:gd name="T85" fmla="*/ 98610976 h 109"/>
                <a:gd name="T86" fmla="*/ 71217833 w 205"/>
                <a:gd name="T87" fmla="*/ 95960585 h 109"/>
                <a:gd name="T88" fmla="*/ 69184184 w 205"/>
                <a:gd name="T89" fmla="*/ 86633063 h 109"/>
                <a:gd name="T90" fmla="*/ 54916728 w 205"/>
                <a:gd name="T91" fmla="*/ 84004402 h 109"/>
                <a:gd name="T92" fmla="*/ 82649540 w 205"/>
                <a:gd name="T93" fmla="*/ 76629494 h 109"/>
                <a:gd name="T94" fmla="*/ 88841185 w 205"/>
                <a:gd name="T95" fmla="*/ 72020094 h 109"/>
                <a:gd name="T96" fmla="*/ 93269532 w 205"/>
                <a:gd name="T97" fmla="*/ 68414324 h 109"/>
                <a:gd name="T98" fmla="*/ 95389639 w 205"/>
                <a:gd name="T99" fmla="*/ 61868248 h 109"/>
                <a:gd name="T100" fmla="*/ 107102315 w 205"/>
                <a:gd name="T101" fmla="*/ 54481514 h 109"/>
                <a:gd name="T102" fmla="*/ 123376128 w 205"/>
                <a:gd name="T103" fmla="*/ 51864283 h 109"/>
                <a:gd name="T104" fmla="*/ 148186316 w 205"/>
                <a:gd name="T105" fmla="*/ 36391709 h 109"/>
                <a:gd name="T106" fmla="*/ 173534065 w 205"/>
                <a:gd name="T107" fmla="*/ 25624458 h 109"/>
                <a:gd name="T108" fmla="*/ 139609513 w 205"/>
                <a:gd name="T109" fmla="*/ 30196756 h 109"/>
                <a:gd name="T110" fmla="*/ 160927438 w 205"/>
                <a:gd name="T111" fmla="*/ 23675258 h 109"/>
                <a:gd name="T112" fmla="*/ 193823166 w 205"/>
                <a:gd name="T113" fmla="*/ 16200535 h 109"/>
                <a:gd name="T114" fmla="*/ 187764160 w 205"/>
                <a:gd name="T115" fmla="*/ 11978003 h 109"/>
                <a:gd name="T116" fmla="*/ 179188794 w 205"/>
                <a:gd name="T117" fmla="*/ 5431840 h 109"/>
                <a:gd name="T118" fmla="*/ 157142565 w 205"/>
                <a:gd name="T119" fmla="*/ 5431840 h 109"/>
                <a:gd name="T120" fmla="*/ 151109072 w 205"/>
                <a:gd name="T121" fmla="*/ 2776404 h 109"/>
                <a:gd name="T122" fmla="*/ 131188060 w 205"/>
                <a:gd name="T123" fmla="*/ 2776404 h 10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05"/>
                <a:gd name="T187" fmla="*/ 0 h 109"/>
                <a:gd name="T188" fmla="*/ 205 w 205"/>
                <a:gd name="T189" fmla="*/ 109 h 10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05" h="109">
                  <a:moveTo>
                    <a:pt x="124" y="3"/>
                  </a:moveTo>
                  <a:cubicBezTo>
                    <a:pt x="124" y="3"/>
                    <a:pt x="124" y="3"/>
                    <a:pt x="124" y="3"/>
                  </a:cubicBezTo>
                  <a:cubicBezTo>
                    <a:pt x="124" y="4"/>
                    <a:pt x="123" y="4"/>
                    <a:pt x="124" y="4"/>
                  </a:cubicBezTo>
                  <a:cubicBezTo>
                    <a:pt x="124" y="6"/>
                    <a:pt x="126" y="7"/>
                    <a:pt x="125" y="8"/>
                  </a:cubicBezTo>
                  <a:cubicBezTo>
                    <a:pt x="124" y="8"/>
                    <a:pt x="123" y="7"/>
                    <a:pt x="122" y="7"/>
                  </a:cubicBezTo>
                  <a:cubicBezTo>
                    <a:pt x="120" y="7"/>
                    <a:pt x="120" y="5"/>
                    <a:pt x="119" y="4"/>
                  </a:cubicBezTo>
                  <a:cubicBezTo>
                    <a:pt x="118" y="1"/>
                    <a:pt x="114" y="2"/>
                    <a:pt x="112" y="2"/>
                  </a:cubicBezTo>
                  <a:cubicBezTo>
                    <a:pt x="108" y="3"/>
                    <a:pt x="105" y="1"/>
                    <a:pt x="101" y="2"/>
                  </a:cubicBezTo>
                  <a:cubicBezTo>
                    <a:pt x="101" y="2"/>
                    <a:pt x="101" y="3"/>
                    <a:pt x="101" y="3"/>
                  </a:cubicBezTo>
                  <a:cubicBezTo>
                    <a:pt x="102" y="4"/>
                    <a:pt x="103" y="5"/>
                    <a:pt x="104" y="6"/>
                  </a:cubicBezTo>
                  <a:cubicBezTo>
                    <a:pt x="104" y="6"/>
                    <a:pt x="105" y="6"/>
                    <a:pt x="105" y="7"/>
                  </a:cubicBezTo>
                  <a:cubicBezTo>
                    <a:pt x="105" y="7"/>
                    <a:pt x="106" y="8"/>
                    <a:pt x="106" y="8"/>
                  </a:cubicBezTo>
                  <a:cubicBezTo>
                    <a:pt x="107" y="9"/>
                    <a:pt x="108" y="10"/>
                    <a:pt x="110" y="11"/>
                  </a:cubicBezTo>
                  <a:cubicBezTo>
                    <a:pt x="110" y="11"/>
                    <a:pt x="110" y="11"/>
                    <a:pt x="110" y="11"/>
                  </a:cubicBezTo>
                  <a:cubicBezTo>
                    <a:pt x="109" y="11"/>
                    <a:pt x="109" y="12"/>
                    <a:pt x="108" y="11"/>
                  </a:cubicBezTo>
                  <a:cubicBezTo>
                    <a:pt x="106" y="11"/>
                    <a:pt x="105" y="9"/>
                    <a:pt x="103" y="8"/>
                  </a:cubicBezTo>
                  <a:cubicBezTo>
                    <a:pt x="102" y="7"/>
                    <a:pt x="101" y="7"/>
                    <a:pt x="101" y="6"/>
                  </a:cubicBezTo>
                  <a:cubicBezTo>
                    <a:pt x="100" y="6"/>
                    <a:pt x="99" y="5"/>
                    <a:pt x="98" y="5"/>
                  </a:cubicBezTo>
                  <a:cubicBezTo>
                    <a:pt x="97" y="5"/>
                    <a:pt x="95" y="5"/>
                    <a:pt x="94" y="5"/>
                  </a:cubicBezTo>
                  <a:cubicBezTo>
                    <a:pt x="93" y="5"/>
                    <a:pt x="92" y="5"/>
                    <a:pt x="91" y="5"/>
                  </a:cubicBezTo>
                  <a:cubicBezTo>
                    <a:pt x="90" y="4"/>
                    <a:pt x="89" y="4"/>
                    <a:pt x="89" y="4"/>
                  </a:cubicBezTo>
                  <a:cubicBezTo>
                    <a:pt x="86" y="3"/>
                    <a:pt x="84" y="3"/>
                    <a:pt x="81" y="3"/>
                  </a:cubicBezTo>
                  <a:cubicBezTo>
                    <a:pt x="81" y="5"/>
                    <a:pt x="81" y="7"/>
                    <a:pt x="82" y="9"/>
                  </a:cubicBezTo>
                  <a:cubicBezTo>
                    <a:pt x="83" y="9"/>
                    <a:pt x="82" y="9"/>
                    <a:pt x="82" y="9"/>
                  </a:cubicBezTo>
                  <a:cubicBezTo>
                    <a:pt x="79" y="10"/>
                    <a:pt x="78" y="7"/>
                    <a:pt x="76" y="5"/>
                  </a:cubicBezTo>
                  <a:cubicBezTo>
                    <a:pt x="76" y="5"/>
                    <a:pt x="75" y="5"/>
                    <a:pt x="75" y="5"/>
                  </a:cubicBezTo>
                  <a:cubicBezTo>
                    <a:pt x="75" y="6"/>
                    <a:pt x="75" y="7"/>
                    <a:pt x="75" y="8"/>
                  </a:cubicBezTo>
                  <a:cubicBezTo>
                    <a:pt x="76" y="10"/>
                    <a:pt x="77" y="11"/>
                    <a:pt x="77" y="12"/>
                  </a:cubicBezTo>
                  <a:cubicBezTo>
                    <a:pt x="75" y="13"/>
                    <a:pt x="74" y="10"/>
                    <a:pt x="72" y="9"/>
                  </a:cubicBezTo>
                  <a:cubicBezTo>
                    <a:pt x="71" y="9"/>
                    <a:pt x="69" y="9"/>
                    <a:pt x="68" y="10"/>
                  </a:cubicBezTo>
                  <a:cubicBezTo>
                    <a:pt x="67" y="10"/>
                    <a:pt x="68" y="12"/>
                    <a:pt x="68" y="12"/>
                  </a:cubicBezTo>
                  <a:cubicBezTo>
                    <a:pt x="67" y="13"/>
                    <a:pt x="66" y="12"/>
                    <a:pt x="66" y="13"/>
                  </a:cubicBezTo>
                  <a:cubicBezTo>
                    <a:pt x="65" y="13"/>
                    <a:pt x="65" y="14"/>
                    <a:pt x="66" y="15"/>
                  </a:cubicBezTo>
                  <a:cubicBezTo>
                    <a:pt x="68" y="16"/>
                    <a:pt x="69" y="15"/>
                    <a:pt x="71" y="16"/>
                  </a:cubicBezTo>
                  <a:cubicBezTo>
                    <a:pt x="71" y="16"/>
                    <a:pt x="72" y="16"/>
                    <a:pt x="72" y="17"/>
                  </a:cubicBezTo>
                  <a:cubicBezTo>
                    <a:pt x="74" y="17"/>
                    <a:pt x="76" y="18"/>
                    <a:pt x="77" y="19"/>
                  </a:cubicBezTo>
                  <a:cubicBezTo>
                    <a:pt x="77" y="19"/>
                    <a:pt x="77" y="20"/>
                    <a:pt x="77" y="20"/>
                  </a:cubicBezTo>
                  <a:cubicBezTo>
                    <a:pt x="74" y="20"/>
                    <a:pt x="71" y="19"/>
                    <a:pt x="68" y="18"/>
                  </a:cubicBezTo>
                  <a:cubicBezTo>
                    <a:pt x="68" y="17"/>
                    <a:pt x="67" y="17"/>
                    <a:pt x="66" y="17"/>
                  </a:cubicBezTo>
                  <a:cubicBezTo>
                    <a:pt x="65" y="16"/>
                    <a:pt x="63" y="17"/>
                    <a:pt x="63" y="18"/>
                  </a:cubicBezTo>
                  <a:cubicBezTo>
                    <a:pt x="63" y="19"/>
                    <a:pt x="62" y="19"/>
                    <a:pt x="62" y="18"/>
                  </a:cubicBezTo>
                  <a:cubicBezTo>
                    <a:pt x="61" y="18"/>
                    <a:pt x="61" y="17"/>
                    <a:pt x="60" y="16"/>
                  </a:cubicBezTo>
                  <a:cubicBezTo>
                    <a:pt x="60" y="15"/>
                    <a:pt x="59" y="15"/>
                    <a:pt x="58" y="14"/>
                  </a:cubicBezTo>
                  <a:cubicBezTo>
                    <a:pt x="57" y="14"/>
                    <a:pt x="55" y="14"/>
                    <a:pt x="54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0" y="12"/>
                    <a:pt x="47" y="9"/>
                    <a:pt x="45" y="12"/>
                  </a:cubicBezTo>
                  <a:cubicBezTo>
                    <a:pt x="44" y="14"/>
                    <a:pt x="42" y="15"/>
                    <a:pt x="40" y="15"/>
                  </a:cubicBezTo>
                  <a:cubicBezTo>
                    <a:pt x="40" y="15"/>
                    <a:pt x="40" y="16"/>
                    <a:pt x="40" y="16"/>
                  </a:cubicBezTo>
                  <a:cubicBezTo>
                    <a:pt x="40" y="17"/>
                    <a:pt x="41" y="17"/>
                    <a:pt x="41" y="17"/>
                  </a:cubicBezTo>
                  <a:cubicBezTo>
                    <a:pt x="43" y="17"/>
                    <a:pt x="45" y="18"/>
                    <a:pt x="46" y="18"/>
                  </a:cubicBezTo>
                  <a:cubicBezTo>
                    <a:pt x="47" y="19"/>
                    <a:pt x="48" y="18"/>
                    <a:pt x="48" y="19"/>
                  </a:cubicBezTo>
                  <a:cubicBezTo>
                    <a:pt x="48" y="20"/>
                    <a:pt x="46" y="19"/>
                    <a:pt x="45" y="19"/>
                  </a:cubicBezTo>
                  <a:cubicBezTo>
                    <a:pt x="42" y="18"/>
                    <a:pt x="40" y="17"/>
                    <a:pt x="38" y="18"/>
                  </a:cubicBezTo>
                  <a:cubicBezTo>
                    <a:pt x="38" y="18"/>
                    <a:pt x="38" y="20"/>
                    <a:pt x="38" y="20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6" y="19"/>
                    <a:pt x="36" y="18"/>
                    <a:pt x="34" y="18"/>
                  </a:cubicBezTo>
                  <a:cubicBezTo>
                    <a:pt x="33" y="17"/>
                    <a:pt x="29" y="16"/>
                    <a:pt x="27" y="17"/>
                  </a:cubicBezTo>
                  <a:cubicBezTo>
                    <a:pt x="26" y="19"/>
                    <a:pt x="25" y="21"/>
                    <a:pt x="22" y="22"/>
                  </a:cubicBezTo>
                  <a:cubicBezTo>
                    <a:pt x="21" y="22"/>
                    <a:pt x="20" y="22"/>
                    <a:pt x="18" y="22"/>
                  </a:cubicBezTo>
                  <a:cubicBezTo>
                    <a:pt x="16" y="21"/>
                    <a:pt x="13" y="21"/>
                    <a:pt x="10" y="22"/>
                  </a:cubicBezTo>
                  <a:cubicBezTo>
                    <a:pt x="9" y="22"/>
                    <a:pt x="7" y="23"/>
                    <a:pt x="6" y="23"/>
                  </a:cubicBezTo>
                  <a:cubicBezTo>
                    <a:pt x="6" y="23"/>
                    <a:pt x="5" y="24"/>
                    <a:pt x="6" y="24"/>
                  </a:cubicBezTo>
                  <a:cubicBezTo>
                    <a:pt x="7" y="25"/>
                    <a:pt x="8" y="26"/>
                    <a:pt x="10" y="27"/>
                  </a:cubicBezTo>
                  <a:cubicBezTo>
                    <a:pt x="10" y="27"/>
                    <a:pt x="11" y="27"/>
                    <a:pt x="11" y="27"/>
                  </a:cubicBezTo>
                  <a:cubicBezTo>
                    <a:pt x="12" y="27"/>
                    <a:pt x="12" y="26"/>
                    <a:pt x="13" y="25"/>
                  </a:cubicBezTo>
                  <a:cubicBezTo>
                    <a:pt x="15" y="24"/>
                    <a:pt x="17" y="25"/>
                    <a:pt x="19" y="25"/>
                  </a:cubicBezTo>
                  <a:cubicBezTo>
                    <a:pt x="19" y="25"/>
                    <a:pt x="19" y="25"/>
                    <a:pt x="19" y="26"/>
                  </a:cubicBezTo>
                  <a:cubicBezTo>
                    <a:pt x="18" y="27"/>
                    <a:pt x="17" y="27"/>
                    <a:pt x="15" y="28"/>
                  </a:cubicBezTo>
                  <a:cubicBezTo>
                    <a:pt x="15" y="28"/>
                    <a:pt x="15" y="29"/>
                    <a:pt x="15" y="29"/>
                  </a:cubicBezTo>
                  <a:cubicBezTo>
                    <a:pt x="17" y="29"/>
                    <a:pt x="18" y="29"/>
                    <a:pt x="19" y="29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1" y="28"/>
                    <a:pt x="23" y="27"/>
                    <a:pt x="24" y="27"/>
                  </a:cubicBezTo>
                  <a:cubicBezTo>
                    <a:pt x="25" y="26"/>
                    <a:pt x="27" y="26"/>
                    <a:pt x="27" y="28"/>
                  </a:cubicBezTo>
                  <a:cubicBezTo>
                    <a:pt x="25" y="28"/>
                    <a:pt x="24" y="29"/>
                    <a:pt x="22" y="29"/>
                  </a:cubicBezTo>
                  <a:cubicBezTo>
                    <a:pt x="21" y="29"/>
                    <a:pt x="21" y="31"/>
                    <a:pt x="20" y="31"/>
                  </a:cubicBezTo>
                  <a:cubicBezTo>
                    <a:pt x="20" y="32"/>
                    <a:pt x="19" y="31"/>
                    <a:pt x="18" y="30"/>
                  </a:cubicBezTo>
                  <a:cubicBezTo>
                    <a:pt x="17" y="30"/>
                    <a:pt x="16" y="30"/>
                    <a:pt x="16" y="31"/>
                  </a:cubicBezTo>
                  <a:cubicBezTo>
                    <a:pt x="15" y="31"/>
                    <a:pt x="16" y="31"/>
                    <a:pt x="16" y="3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4"/>
                    <a:pt x="17" y="35"/>
                    <a:pt x="18" y="35"/>
                  </a:cubicBezTo>
                  <a:cubicBezTo>
                    <a:pt x="24" y="35"/>
                    <a:pt x="29" y="35"/>
                    <a:pt x="35" y="34"/>
                  </a:cubicBezTo>
                  <a:cubicBezTo>
                    <a:pt x="38" y="34"/>
                    <a:pt x="41" y="33"/>
                    <a:pt x="43" y="31"/>
                  </a:cubicBezTo>
                  <a:cubicBezTo>
                    <a:pt x="43" y="31"/>
                    <a:pt x="44" y="31"/>
                    <a:pt x="44" y="31"/>
                  </a:cubicBezTo>
                  <a:cubicBezTo>
                    <a:pt x="45" y="31"/>
                    <a:pt x="45" y="32"/>
                    <a:pt x="44" y="32"/>
                  </a:cubicBezTo>
                  <a:cubicBezTo>
                    <a:pt x="42" y="34"/>
                    <a:pt x="40" y="36"/>
                    <a:pt x="38" y="37"/>
                  </a:cubicBezTo>
                  <a:cubicBezTo>
                    <a:pt x="36" y="37"/>
                    <a:pt x="33" y="37"/>
                    <a:pt x="31" y="37"/>
                  </a:cubicBezTo>
                  <a:cubicBezTo>
                    <a:pt x="28" y="36"/>
                    <a:pt x="26" y="36"/>
                    <a:pt x="23" y="36"/>
                  </a:cubicBezTo>
                  <a:cubicBezTo>
                    <a:pt x="23" y="36"/>
                    <a:pt x="22" y="36"/>
                    <a:pt x="22" y="37"/>
                  </a:cubicBezTo>
                  <a:cubicBezTo>
                    <a:pt x="20" y="38"/>
                    <a:pt x="22" y="39"/>
                    <a:pt x="23" y="40"/>
                  </a:cubicBezTo>
                  <a:cubicBezTo>
                    <a:pt x="27" y="42"/>
                    <a:pt x="32" y="43"/>
                    <a:pt x="36" y="41"/>
                  </a:cubicBezTo>
                  <a:cubicBezTo>
                    <a:pt x="38" y="40"/>
                    <a:pt x="39" y="38"/>
                    <a:pt x="40" y="37"/>
                  </a:cubicBezTo>
                  <a:cubicBezTo>
                    <a:pt x="43" y="36"/>
                    <a:pt x="45" y="36"/>
                    <a:pt x="47" y="35"/>
                  </a:cubicBezTo>
                  <a:cubicBezTo>
                    <a:pt x="48" y="34"/>
                    <a:pt x="48" y="35"/>
                    <a:pt x="49" y="35"/>
                  </a:cubicBezTo>
                  <a:cubicBezTo>
                    <a:pt x="49" y="37"/>
                    <a:pt x="45" y="37"/>
                    <a:pt x="43" y="38"/>
                  </a:cubicBezTo>
                  <a:cubicBezTo>
                    <a:pt x="41" y="38"/>
                    <a:pt x="39" y="39"/>
                    <a:pt x="39" y="41"/>
                  </a:cubicBezTo>
                  <a:cubicBezTo>
                    <a:pt x="39" y="42"/>
                    <a:pt x="37" y="43"/>
                    <a:pt x="38" y="43"/>
                  </a:cubicBezTo>
                  <a:cubicBezTo>
                    <a:pt x="39" y="44"/>
                    <a:pt x="40" y="44"/>
                    <a:pt x="40" y="43"/>
                  </a:cubicBezTo>
                  <a:cubicBezTo>
                    <a:pt x="41" y="43"/>
                    <a:pt x="42" y="43"/>
                    <a:pt x="43" y="43"/>
                  </a:cubicBezTo>
                  <a:cubicBezTo>
                    <a:pt x="44" y="44"/>
                    <a:pt x="45" y="44"/>
                    <a:pt x="46" y="45"/>
                  </a:cubicBezTo>
                  <a:cubicBezTo>
                    <a:pt x="47" y="46"/>
                    <a:pt x="48" y="45"/>
                    <a:pt x="49" y="45"/>
                  </a:cubicBezTo>
                  <a:cubicBezTo>
                    <a:pt x="51" y="44"/>
                    <a:pt x="51" y="42"/>
                    <a:pt x="52" y="41"/>
                  </a:cubicBezTo>
                  <a:cubicBezTo>
                    <a:pt x="53" y="41"/>
                    <a:pt x="54" y="41"/>
                    <a:pt x="55" y="42"/>
                  </a:cubicBezTo>
                  <a:cubicBezTo>
                    <a:pt x="56" y="42"/>
                    <a:pt x="57" y="42"/>
                    <a:pt x="58" y="41"/>
                  </a:cubicBezTo>
                  <a:cubicBezTo>
                    <a:pt x="59" y="41"/>
                    <a:pt x="59" y="41"/>
                    <a:pt x="59" y="41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8" y="43"/>
                    <a:pt x="57" y="43"/>
                    <a:pt x="55" y="44"/>
                  </a:cubicBezTo>
                  <a:cubicBezTo>
                    <a:pt x="55" y="44"/>
                    <a:pt x="55" y="45"/>
                    <a:pt x="56" y="45"/>
                  </a:cubicBezTo>
                  <a:cubicBezTo>
                    <a:pt x="57" y="45"/>
                    <a:pt x="59" y="45"/>
                    <a:pt x="61" y="45"/>
                  </a:cubicBezTo>
                  <a:cubicBezTo>
                    <a:pt x="63" y="44"/>
                    <a:pt x="65" y="44"/>
                    <a:pt x="67" y="44"/>
                  </a:cubicBezTo>
                  <a:cubicBezTo>
                    <a:pt x="70" y="42"/>
                    <a:pt x="73" y="41"/>
                    <a:pt x="77" y="40"/>
                  </a:cubicBezTo>
                  <a:cubicBezTo>
                    <a:pt x="77" y="39"/>
                    <a:pt x="78" y="39"/>
                    <a:pt x="78" y="39"/>
                  </a:cubicBezTo>
                  <a:cubicBezTo>
                    <a:pt x="79" y="39"/>
                    <a:pt x="79" y="38"/>
                    <a:pt x="80" y="38"/>
                  </a:cubicBezTo>
                  <a:cubicBezTo>
                    <a:pt x="80" y="38"/>
                    <a:pt x="80" y="38"/>
                    <a:pt x="80" y="38"/>
                  </a:cubicBezTo>
                  <a:cubicBezTo>
                    <a:pt x="80" y="36"/>
                    <a:pt x="81" y="34"/>
                    <a:pt x="83" y="34"/>
                  </a:cubicBezTo>
                  <a:cubicBezTo>
                    <a:pt x="84" y="33"/>
                    <a:pt x="85" y="31"/>
                    <a:pt x="87" y="29"/>
                  </a:cubicBezTo>
                  <a:cubicBezTo>
                    <a:pt x="87" y="29"/>
                    <a:pt x="88" y="29"/>
                    <a:pt x="88" y="29"/>
                  </a:cubicBezTo>
                  <a:cubicBezTo>
                    <a:pt x="88" y="32"/>
                    <a:pt x="85" y="34"/>
                    <a:pt x="84" y="36"/>
                  </a:cubicBezTo>
                  <a:cubicBezTo>
                    <a:pt x="83" y="37"/>
                    <a:pt x="84" y="37"/>
                    <a:pt x="84" y="38"/>
                  </a:cubicBezTo>
                  <a:cubicBezTo>
                    <a:pt x="88" y="38"/>
                    <a:pt x="93" y="37"/>
                    <a:pt x="98" y="38"/>
                  </a:cubicBezTo>
                  <a:cubicBezTo>
                    <a:pt x="98" y="38"/>
                    <a:pt x="97" y="39"/>
                    <a:pt x="97" y="39"/>
                  </a:cubicBezTo>
                  <a:cubicBezTo>
                    <a:pt x="92" y="39"/>
                    <a:pt x="87" y="40"/>
                    <a:pt x="82" y="40"/>
                  </a:cubicBezTo>
                  <a:cubicBezTo>
                    <a:pt x="81" y="41"/>
                    <a:pt x="79" y="41"/>
                    <a:pt x="78" y="42"/>
                  </a:cubicBezTo>
                  <a:cubicBezTo>
                    <a:pt x="77" y="43"/>
                    <a:pt x="80" y="43"/>
                    <a:pt x="81" y="43"/>
                  </a:cubicBezTo>
                  <a:cubicBezTo>
                    <a:pt x="81" y="43"/>
                    <a:pt x="81" y="44"/>
                    <a:pt x="80" y="44"/>
                  </a:cubicBezTo>
                  <a:cubicBezTo>
                    <a:pt x="77" y="44"/>
                    <a:pt x="75" y="45"/>
                    <a:pt x="72" y="46"/>
                  </a:cubicBezTo>
                  <a:cubicBezTo>
                    <a:pt x="70" y="47"/>
                    <a:pt x="68" y="46"/>
                    <a:pt x="67" y="47"/>
                  </a:cubicBezTo>
                  <a:cubicBezTo>
                    <a:pt x="64" y="47"/>
                    <a:pt x="60" y="47"/>
                    <a:pt x="58" y="47"/>
                  </a:cubicBezTo>
                  <a:cubicBezTo>
                    <a:pt x="57" y="48"/>
                    <a:pt x="58" y="49"/>
                    <a:pt x="58" y="49"/>
                  </a:cubicBezTo>
                  <a:cubicBezTo>
                    <a:pt x="59" y="50"/>
                    <a:pt x="60" y="50"/>
                    <a:pt x="61" y="51"/>
                  </a:cubicBezTo>
                  <a:cubicBezTo>
                    <a:pt x="62" y="52"/>
                    <a:pt x="62" y="53"/>
                    <a:pt x="63" y="54"/>
                  </a:cubicBezTo>
                  <a:cubicBezTo>
                    <a:pt x="64" y="54"/>
                    <a:pt x="64" y="55"/>
                    <a:pt x="65" y="55"/>
                  </a:cubicBezTo>
                  <a:cubicBezTo>
                    <a:pt x="69" y="56"/>
                    <a:pt x="73" y="55"/>
                    <a:pt x="77" y="55"/>
                  </a:cubicBezTo>
                  <a:cubicBezTo>
                    <a:pt x="77" y="55"/>
                    <a:pt x="78" y="56"/>
                    <a:pt x="77" y="56"/>
                  </a:cubicBezTo>
                  <a:cubicBezTo>
                    <a:pt x="76" y="57"/>
                    <a:pt x="73" y="57"/>
                    <a:pt x="71" y="58"/>
                  </a:cubicBezTo>
                  <a:cubicBezTo>
                    <a:pt x="71" y="58"/>
                    <a:pt x="70" y="58"/>
                    <a:pt x="70" y="58"/>
                  </a:cubicBezTo>
                  <a:cubicBezTo>
                    <a:pt x="67" y="58"/>
                    <a:pt x="64" y="59"/>
                    <a:pt x="62" y="57"/>
                  </a:cubicBezTo>
                  <a:cubicBezTo>
                    <a:pt x="61" y="56"/>
                    <a:pt x="61" y="55"/>
                    <a:pt x="61" y="54"/>
                  </a:cubicBezTo>
                  <a:cubicBezTo>
                    <a:pt x="60" y="53"/>
                    <a:pt x="60" y="52"/>
                    <a:pt x="58" y="51"/>
                  </a:cubicBezTo>
                  <a:cubicBezTo>
                    <a:pt x="58" y="51"/>
                    <a:pt x="57" y="51"/>
                    <a:pt x="56" y="50"/>
                  </a:cubicBezTo>
                  <a:cubicBezTo>
                    <a:pt x="53" y="48"/>
                    <a:pt x="50" y="48"/>
                    <a:pt x="46" y="48"/>
                  </a:cubicBezTo>
                  <a:cubicBezTo>
                    <a:pt x="43" y="47"/>
                    <a:pt x="41" y="47"/>
                    <a:pt x="38" y="48"/>
                  </a:cubicBezTo>
                  <a:cubicBezTo>
                    <a:pt x="36" y="48"/>
                    <a:pt x="37" y="50"/>
                    <a:pt x="36" y="52"/>
                  </a:cubicBezTo>
                  <a:cubicBezTo>
                    <a:pt x="36" y="52"/>
                    <a:pt x="35" y="52"/>
                    <a:pt x="35" y="53"/>
                  </a:cubicBezTo>
                  <a:cubicBezTo>
                    <a:pt x="35" y="53"/>
                    <a:pt x="35" y="54"/>
                    <a:pt x="35" y="54"/>
                  </a:cubicBezTo>
                  <a:cubicBezTo>
                    <a:pt x="38" y="56"/>
                    <a:pt x="44" y="55"/>
                    <a:pt x="45" y="60"/>
                  </a:cubicBezTo>
                  <a:cubicBezTo>
                    <a:pt x="45" y="62"/>
                    <a:pt x="47" y="62"/>
                    <a:pt x="48" y="64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49" y="64"/>
                    <a:pt x="50" y="65"/>
                    <a:pt x="51" y="65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0" y="67"/>
                    <a:pt x="49" y="67"/>
                    <a:pt x="48" y="66"/>
                  </a:cubicBezTo>
                  <a:cubicBezTo>
                    <a:pt x="45" y="66"/>
                    <a:pt x="43" y="64"/>
                    <a:pt x="40" y="66"/>
                  </a:cubicBezTo>
                  <a:cubicBezTo>
                    <a:pt x="39" y="66"/>
                    <a:pt x="41" y="68"/>
                    <a:pt x="43" y="68"/>
                  </a:cubicBezTo>
                  <a:cubicBezTo>
                    <a:pt x="46" y="69"/>
                    <a:pt x="48" y="68"/>
                    <a:pt x="52" y="69"/>
                  </a:cubicBezTo>
                  <a:cubicBezTo>
                    <a:pt x="53" y="70"/>
                    <a:pt x="54" y="70"/>
                    <a:pt x="56" y="70"/>
                  </a:cubicBezTo>
                  <a:cubicBezTo>
                    <a:pt x="57" y="69"/>
                    <a:pt x="59" y="67"/>
                    <a:pt x="61" y="68"/>
                  </a:cubicBezTo>
                  <a:cubicBezTo>
                    <a:pt x="61" y="68"/>
                    <a:pt x="60" y="69"/>
                    <a:pt x="59" y="70"/>
                  </a:cubicBezTo>
                  <a:cubicBezTo>
                    <a:pt x="57" y="70"/>
                    <a:pt x="56" y="71"/>
                    <a:pt x="54" y="72"/>
                  </a:cubicBezTo>
                  <a:cubicBezTo>
                    <a:pt x="53" y="72"/>
                    <a:pt x="52" y="72"/>
                    <a:pt x="51" y="72"/>
                  </a:cubicBezTo>
                  <a:cubicBezTo>
                    <a:pt x="47" y="71"/>
                    <a:pt x="44" y="70"/>
                    <a:pt x="40" y="69"/>
                  </a:cubicBezTo>
                  <a:cubicBezTo>
                    <a:pt x="38" y="68"/>
                    <a:pt x="36" y="69"/>
                    <a:pt x="35" y="70"/>
                  </a:cubicBezTo>
                  <a:cubicBezTo>
                    <a:pt x="32" y="71"/>
                    <a:pt x="29" y="70"/>
                    <a:pt x="27" y="71"/>
                  </a:cubicBezTo>
                  <a:cubicBezTo>
                    <a:pt x="25" y="73"/>
                    <a:pt x="22" y="75"/>
                    <a:pt x="21" y="77"/>
                  </a:cubicBezTo>
                  <a:cubicBezTo>
                    <a:pt x="20" y="78"/>
                    <a:pt x="20" y="80"/>
                    <a:pt x="22" y="81"/>
                  </a:cubicBezTo>
                  <a:cubicBezTo>
                    <a:pt x="22" y="81"/>
                    <a:pt x="23" y="81"/>
                    <a:pt x="24" y="81"/>
                  </a:cubicBezTo>
                  <a:cubicBezTo>
                    <a:pt x="25" y="81"/>
                    <a:pt x="26" y="79"/>
                    <a:pt x="27" y="79"/>
                  </a:cubicBezTo>
                  <a:cubicBezTo>
                    <a:pt x="27" y="78"/>
                    <a:pt x="28" y="78"/>
                    <a:pt x="29" y="79"/>
                  </a:cubicBezTo>
                  <a:cubicBezTo>
                    <a:pt x="29" y="79"/>
                    <a:pt x="29" y="80"/>
                    <a:pt x="30" y="80"/>
                  </a:cubicBezTo>
                  <a:cubicBezTo>
                    <a:pt x="31" y="81"/>
                    <a:pt x="33" y="80"/>
                    <a:pt x="34" y="80"/>
                  </a:cubicBezTo>
                  <a:cubicBezTo>
                    <a:pt x="36" y="79"/>
                    <a:pt x="36" y="77"/>
                    <a:pt x="37" y="76"/>
                  </a:cubicBezTo>
                  <a:cubicBezTo>
                    <a:pt x="37" y="76"/>
                    <a:pt x="38" y="76"/>
                    <a:pt x="38" y="76"/>
                  </a:cubicBezTo>
                  <a:cubicBezTo>
                    <a:pt x="38" y="76"/>
                    <a:pt x="38" y="77"/>
                    <a:pt x="38" y="78"/>
                  </a:cubicBezTo>
                  <a:cubicBezTo>
                    <a:pt x="37" y="80"/>
                    <a:pt x="34" y="81"/>
                    <a:pt x="33" y="83"/>
                  </a:cubicBezTo>
                  <a:cubicBezTo>
                    <a:pt x="32" y="85"/>
                    <a:pt x="33" y="88"/>
                    <a:pt x="36" y="89"/>
                  </a:cubicBezTo>
                  <a:cubicBezTo>
                    <a:pt x="37" y="89"/>
                    <a:pt x="38" y="90"/>
                    <a:pt x="39" y="90"/>
                  </a:cubicBezTo>
                  <a:cubicBezTo>
                    <a:pt x="45" y="92"/>
                    <a:pt x="48" y="86"/>
                    <a:pt x="52" y="83"/>
                  </a:cubicBezTo>
                  <a:cubicBezTo>
                    <a:pt x="52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4"/>
                  </a:cubicBezTo>
                  <a:cubicBezTo>
                    <a:pt x="51" y="86"/>
                    <a:pt x="49" y="88"/>
                    <a:pt x="47" y="90"/>
                  </a:cubicBezTo>
                  <a:cubicBezTo>
                    <a:pt x="46" y="91"/>
                    <a:pt x="44" y="91"/>
                    <a:pt x="43" y="92"/>
                  </a:cubicBezTo>
                  <a:cubicBezTo>
                    <a:pt x="40" y="93"/>
                    <a:pt x="38" y="93"/>
                    <a:pt x="36" y="92"/>
                  </a:cubicBezTo>
                  <a:cubicBezTo>
                    <a:pt x="34" y="92"/>
                    <a:pt x="32" y="91"/>
                    <a:pt x="30" y="90"/>
                  </a:cubicBezTo>
                  <a:cubicBezTo>
                    <a:pt x="28" y="89"/>
                    <a:pt x="28" y="87"/>
                    <a:pt x="28" y="86"/>
                  </a:cubicBezTo>
                  <a:cubicBezTo>
                    <a:pt x="26" y="83"/>
                    <a:pt x="23" y="84"/>
                    <a:pt x="20" y="84"/>
                  </a:cubicBezTo>
                  <a:cubicBezTo>
                    <a:pt x="18" y="85"/>
                    <a:pt x="16" y="85"/>
                    <a:pt x="14" y="86"/>
                  </a:cubicBezTo>
                  <a:cubicBezTo>
                    <a:pt x="14" y="88"/>
                    <a:pt x="15" y="90"/>
                    <a:pt x="16" y="92"/>
                  </a:cubicBezTo>
                  <a:cubicBezTo>
                    <a:pt x="18" y="92"/>
                    <a:pt x="19" y="92"/>
                    <a:pt x="20" y="93"/>
                  </a:cubicBezTo>
                  <a:cubicBezTo>
                    <a:pt x="21" y="93"/>
                    <a:pt x="21" y="95"/>
                    <a:pt x="20" y="95"/>
                  </a:cubicBezTo>
                  <a:cubicBezTo>
                    <a:pt x="18" y="95"/>
                    <a:pt x="16" y="95"/>
                    <a:pt x="15" y="95"/>
                  </a:cubicBezTo>
                  <a:cubicBezTo>
                    <a:pt x="11" y="97"/>
                    <a:pt x="7" y="96"/>
                    <a:pt x="3" y="98"/>
                  </a:cubicBezTo>
                  <a:cubicBezTo>
                    <a:pt x="1" y="98"/>
                    <a:pt x="0" y="99"/>
                    <a:pt x="0" y="101"/>
                  </a:cubicBezTo>
                  <a:cubicBezTo>
                    <a:pt x="0" y="102"/>
                    <a:pt x="0" y="104"/>
                    <a:pt x="0" y="105"/>
                  </a:cubicBezTo>
                  <a:cubicBezTo>
                    <a:pt x="1" y="105"/>
                    <a:pt x="2" y="105"/>
                    <a:pt x="3" y="105"/>
                  </a:cubicBezTo>
                  <a:cubicBezTo>
                    <a:pt x="5" y="104"/>
                    <a:pt x="7" y="105"/>
                    <a:pt x="7" y="107"/>
                  </a:cubicBezTo>
                  <a:cubicBezTo>
                    <a:pt x="9" y="108"/>
                    <a:pt x="10" y="106"/>
                    <a:pt x="12" y="105"/>
                  </a:cubicBezTo>
                  <a:cubicBezTo>
                    <a:pt x="13" y="105"/>
                    <a:pt x="14" y="106"/>
                    <a:pt x="15" y="107"/>
                  </a:cubicBezTo>
                  <a:cubicBezTo>
                    <a:pt x="15" y="108"/>
                    <a:pt x="16" y="108"/>
                    <a:pt x="16" y="107"/>
                  </a:cubicBezTo>
                  <a:cubicBezTo>
                    <a:pt x="17" y="107"/>
                    <a:pt x="17" y="106"/>
                    <a:pt x="18" y="106"/>
                  </a:cubicBezTo>
                  <a:cubicBezTo>
                    <a:pt x="19" y="106"/>
                    <a:pt x="20" y="106"/>
                    <a:pt x="21" y="106"/>
                  </a:cubicBezTo>
                  <a:cubicBezTo>
                    <a:pt x="23" y="107"/>
                    <a:pt x="24" y="108"/>
                    <a:pt x="26" y="109"/>
                  </a:cubicBezTo>
                  <a:cubicBezTo>
                    <a:pt x="26" y="109"/>
                    <a:pt x="27" y="109"/>
                    <a:pt x="27" y="109"/>
                  </a:cubicBezTo>
                  <a:cubicBezTo>
                    <a:pt x="29" y="108"/>
                    <a:pt x="30" y="109"/>
                    <a:pt x="31" y="108"/>
                  </a:cubicBezTo>
                  <a:cubicBezTo>
                    <a:pt x="31" y="107"/>
                    <a:pt x="31" y="106"/>
                    <a:pt x="31" y="105"/>
                  </a:cubicBezTo>
                  <a:cubicBezTo>
                    <a:pt x="32" y="104"/>
                    <a:pt x="33" y="105"/>
                    <a:pt x="34" y="106"/>
                  </a:cubicBezTo>
                  <a:cubicBezTo>
                    <a:pt x="34" y="106"/>
                    <a:pt x="35" y="107"/>
                    <a:pt x="36" y="106"/>
                  </a:cubicBezTo>
                  <a:cubicBezTo>
                    <a:pt x="36" y="106"/>
                    <a:pt x="36" y="105"/>
                    <a:pt x="36" y="105"/>
                  </a:cubicBezTo>
                  <a:cubicBezTo>
                    <a:pt x="37" y="105"/>
                    <a:pt x="38" y="106"/>
                    <a:pt x="38" y="106"/>
                  </a:cubicBezTo>
                  <a:cubicBezTo>
                    <a:pt x="39" y="107"/>
                    <a:pt x="40" y="107"/>
                    <a:pt x="41" y="106"/>
                  </a:cubicBezTo>
                  <a:cubicBezTo>
                    <a:pt x="41" y="106"/>
                    <a:pt x="42" y="105"/>
                    <a:pt x="42" y="105"/>
                  </a:cubicBezTo>
                  <a:cubicBezTo>
                    <a:pt x="43" y="105"/>
                    <a:pt x="44" y="105"/>
                    <a:pt x="45" y="106"/>
                  </a:cubicBezTo>
                  <a:cubicBezTo>
                    <a:pt x="46" y="106"/>
                    <a:pt x="47" y="106"/>
                    <a:pt x="48" y="106"/>
                  </a:cubicBezTo>
                  <a:cubicBezTo>
                    <a:pt x="49" y="105"/>
                    <a:pt x="50" y="104"/>
                    <a:pt x="50" y="103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1" y="104"/>
                    <a:pt x="52" y="105"/>
                    <a:pt x="52" y="106"/>
                  </a:cubicBezTo>
                  <a:cubicBezTo>
                    <a:pt x="53" y="107"/>
                    <a:pt x="55" y="105"/>
                    <a:pt x="56" y="106"/>
                  </a:cubicBezTo>
                  <a:cubicBezTo>
                    <a:pt x="57" y="107"/>
                    <a:pt x="57" y="108"/>
                    <a:pt x="58" y="108"/>
                  </a:cubicBezTo>
                  <a:cubicBezTo>
                    <a:pt x="60" y="108"/>
                    <a:pt x="63" y="109"/>
                    <a:pt x="65" y="108"/>
                  </a:cubicBezTo>
                  <a:cubicBezTo>
                    <a:pt x="66" y="107"/>
                    <a:pt x="68" y="107"/>
                    <a:pt x="69" y="106"/>
                  </a:cubicBezTo>
                  <a:cubicBezTo>
                    <a:pt x="70" y="105"/>
                    <a:pt x="71" y="106"/>
                    <a:pt x="72" y="107"/>
                  </a:cubicBezTo>
                  <a:cubicBezTo>
                    <a:pt x="72" y="107"/>
                    <a:pt x="73" y="107"/>
                    <a:pt x="73" y="107"/>
                  </a:cubicBezTo>
                  <a:cubicBezTo>
                    <a:pt x="74" y="107"/>
                    <a:pt x="74" y="106"/>
                    <a:pt x="74" y="105"/>
                  </a:cubicBezTo>
                  <a:cubicBezTo>
                    <a:pt x="78" y="104"/>
                    <a:pt x="80" y="101"/>
                    <a:pt x="80" y="97"/>
                  </a:cubicBezTo>
                  <a:cubicBezTo>
                    <a:pt x="78" y="97"/>
                    <a:pt x="76" y="99"/>
                    <a:pt x="75" y="100"/>
                  </a:cubicBezTo>
                  <a:cubicBezTo>
                    <a:pt x="74" y="100"/>
                    <a:pt x="72" y="100"/>
                    <a:pt x="72" y="99"/>
                  </a:cubicBezTo>
                  <a:cubicBezTo>
                    <a:pt x="71" y="98"/>
                    <a:pt x="72" y="97"/>
                    <a:pt x="72" y="96"/>
                  </a:cubicBezTo>
                  <a:cubicBezTo>
                    <a:pt x="73" y="96"/>
                    <a:pt x="73" y="95"/>
                    <a:pt x="72" y="95"/>
                  </a:cubicBezTo>
                  <a:cubicBezTo>
                    <a:pt x="71" y="94"/>
                    <a:pt x="70" y="94"/>
                    <a:pt x="69" y="93"/>
                  </a:cubicBezTo>
                  <a:cubicBezTo>
                    <a:pt x="66" y="93"/>
                    <a:pt x="63" y="93"/>
                    <a:pt x="60" y="93"/>
                  </a:cubicBezTo>
                  <a:cubicBezTo>
                    <a:pt x="58" y="94"/>
                    <a:pt x="56" y="94"/>
                    <a:pt x="55" y="94"/>
                  </a:cubicBezTo>
                  <a:cubicBezTo>
                    <a:pt x="55" y="94"/>
                    <a:pt x="55" y="93"/>
                    <a:pt x="55" y="93"/>
                  </a:cubicBezTo>
                  <a:cubicBezTo>
                    <a:pt x="55" y="93"/>
                    <a:pt x="56" y="92"/>
                    <a:pt x="57" y="92"/>
                  </a:cubicBezTo>
                  <a:cubicBezTo>
                    <a:pt x="63" y="92"/>
                    <a:pt x="70" y="93"/>
                    <a:pt x="76" y="92"/>
                  </a:cubicBezTo>
                  <a:cubicBezTo>
                    <a:pt x="78" y="92"/>
                    <a:pt x="80" y="91"/>
                    <a:pt x="81" y="89"/>
                  </a:cubicBezTo>
                  <a:cubicBezTo>
                    <a:pt x="81" y="88"/>
                    <a:pt x="81" y="87"/>
                    <a:pt x="82" y="85"/>
                  </a:cubicBezTo>
                  <a:cubicBezTo>
                    <a:pt x="82" y="85"/>
                    <a:pt x="82" y="84"/>
                    <a:pt x="83" y="84"/>
                  </a:cubicBezTo>
                  <a:cubicBezTo>
                    <a:pt x="84" y="84"/>
                    <a:pt x="85" y="84"/>
                    <a:pt x="86" y="84"/>
                  </a:cubicBezTo>
                  <a:cubicBezTo>
                    <a:pt x="88" y="84"/>
                    <a:pt x="89" y="84"/>
                    <a:pt x="91" y="83"/>
                  </a:cubicBezTo>
                  <a:cubicBezTo>
                    <a:pt x="92" y="82"/>
                    <a:pt x="94" y="83"/>
                    <a:pt x="96" y="83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6" y="81"/>
                    <a:pt x="95" y="80"/>
                    <a:pt x="94" y="80"/>
                  </a:cubicBezTo>
                  <a:cubicBezTo>
                    <a:pt x="94" y="79"/>
                    <a:pt x="93" y="79"/>
                    <a:pt x="92" y="79"/>
                  </a:cubicBezTo>
                  <a:cubicBezTo>
                    <a:pt x="92" y="79"/>
                    <a:pt x="92" y="79"/>
                    <a:pt x="92" y="79"/>
                  </a:cubicBezTo>
                  <a:cubicBezTo>
                    <a:pt x="96" y="78"/>
                    <a:pt x="98" y="79"/>
                    <a:pt x="101" y="78"/>
                  </a:cubicBezTo>
                  <a:cubicBezTo>
                    <a:pt x="101" y="78"/>
                    <a:pt x="102" y="77"/>
                    <a:pt x="101" y="77"/>
                  </a:cubicBezTo>
                  <a:cubicBezTo>
                    <a:pt x="101" y="77"/>
                    <a:pt x="101" y="77"/>
                    <a:pt x="100" y="77"/>
                  </a:cubicBezTo>
                  <a:cubicBezTo>
                    <a:pt x="99" y="76"/>
                    <a:pt x="98" y="76"/>
                    <a:pt x="97" y="75"/>
                  </a:cubicBezTo>
                  <a:cubicBezTo>
                    <a:pt x="96" y="75"/>
                    <a:pt x="96" y="74"/>
                    <a:pt x="97" y="74"/>
                  </a:cubicBezTo>
                  <a:cubicBezTo>
                    <a:pt x="99" y="74"/>
                    <a:pt x="101" y="74"/>
                    <a:pt x="103" y="73"/>
                  </a:cubicBezTo>
                  <a:cubicBezTo>
                    <a:pt x="104" y="73"/>
                    <a:pt x="104" y="73"/>
                    <a:pt x="104" y="72"/>
                  </a:cubicBezTo>
                  <a:cubicBezTo>
                    <a:pt x="105" y="71"/>
                    <a:pt x="105" y="69"/>
                    <a:pt x="104" y="68"/>
                  </a:cubicBezTo>
                  <a:cubicBezTo>
                    <a:pt x="103" y="68"/>
                    <a:pt x="101" y="69"/>
                    <a:pt x="99" y="68"/>
                  </a:cubicBezTo>
                  <a:cubicBezTo>
                    <a:pt x="98" y="67"/>
                    <a:pt x="96" y="66"/>
                    <a:pt x="96" y="64"/>
                  </a:cubicBezTo>
                  <a:cubicBezTo>
                    <a:pt x="95" y="63"/>
                    <a:pt x="95" y="63"/>
                    <a:pt x="96" y="62"/>
                  </a:cubicBezTo>
                  <a:cubicBezTo>
                    <a:pt x="97" y="61"/>
                    <a:pt x="99" y="61"/>
                    <a:pt x="100" y="60"/>
                  </a:cubicBezTo>
                  <a:cubicBezTo>
                    <a:pt x="101" y="59"/>
                    <a:pt x="102" y="60"/>
                    <a:pt x="103" y="60"/>
                  </a:cubicBezTo>
                  <a:cubicBezTo>
                    <a:pt x="106" y="61"/>
                    <a:pt x="108" y="61"/>
                    <a:pt x="111" y="60"/>
                  </a:cubicBezTo>
                  <a:cubicBezTo>
                    <a:pt x="113" y="60"/>
                    <a:pt x="115" y="60"/>
                    <a:pt x="116" y="59"/>
                  </a:cubicBezTo>
                  <a:cubicBezTo>
                    <a:pt x="116" y="58"/>
                    <a:pt x="115" y="56"/>
                    <a:pt x="116" y="55"/>
                  </a:cubicBezTo>
                  <a:cubicBezTo>
                    <a:pt x="116" y="55"/>
                    <a:pt x="117" y="55"/>
                    <a:pt x="118" y="55"/>
                  </a:cubicBezTo>
                  <a:cubicBezTo>
                    <a:pt x="119" y="56"/>
                    <a:pt x="120" y="57"/>
                    <a:pt x="121" y="57"/>
                  </a:cubicBezTo>
                  <a:cubicBezTo>
                    <a:pt x="123" y="58"/>
                    <a:pt x="126" y="58"/>
                    <a:pt x="128" y="57"/>
                  </a:cubicBezTo>
                  <a:cubicBezTo>
                    <a:pt x="131" y="56"/>
                    <a:pt x="133" y="54"/>
                    <a:pt x="135" y="51"/>
                  </a:cubicBezTo>
                  <a:cubicBezTo>
                    <a:pt x="135" y="50"/>
                    <a:pt x="136" y="49"/>
                    <a:pt x="136" y="49"/>
                  </a:cubicBezTo>
                  <a:cubicBezTo>
                    <a:pt x="139" y="47"/>
                    <a:pt x="143" y="47"/>
                    <a:pt x="146" y="46"/>
                  </a:cubicBezTo>
                  <a:cubicBezTo>
                    <a:pt x="147" y="46"/>
                    <a:pt x="147" y="45"/>
                    <a:pt x="148" y="45"/>
                  </a:cubicBezTo>
                  <a:cubicBezTo>
                    <a:pt x="150" y="43"/>
                    <a:pt x="152" y="41"/>
                    <a:pt x="154" y="40"/>
                  </a:cubicBezTo>
                  <a:cubicBezTo>
                    <a:pt x="157" y="38"/>
                    <a:pt x="160" y="38"/>
                    <a:pt x="162" y="37"/>
                  </a:cubicBezTo>
                  <a:cubicBezTo>
                    <a:pt x="165" y="36"/>
                    <a:pt x="167" y="34"/>
                    <a:pt x="170" y="33"/>
                  </a:cubicBezTo>
                  <a:cubicBezTo>
                    <a:pt x="172" y="32"/>
                    <a:pt x="174" y="33"/>
                    <a:pt x="176" y="32"/>
                  </a:cubicBezTo>
                  <a:cubicBezTo>
                    <a:pt x="177" y="31"/>
                    <a:pt x="179" y="30"/>
                    <a:pt x="180" y="29"/>
                  </a:cubicBezTo>
                  <a:cubicBezTo>
                    <a:pt x="181" y="29"/>
                    <a:pt x="181" y="28"/>
                    <a:pt x="180" y="28"/>
                  </a:cubicBezTo>
                  <a:cubicBezTo>
                    <a:pt x="179" y="26"/>
                    <a:pt x="177" y="27"/>
                    <a:pt x="175" y="27"/>
                  </a:cubicBezTo>
                  <a:cubicBezTo>
                    <a:pt x="175" y="28"/>
                    <a:pt x="174" y="28"/>
                    <a:pt x="174" y="28"/>
                  </a:cubicBezTo>
                  <a:cubicBezTo>
                    <a:pt x="168" y="29"/>
                    <a:pt x="164" y="30"/>
                    <a:pt x="159" y="32"/>
                  </a:cubicBezTo>
                  <a:cubicBezTo>
                    <a:pt x="157" y="33"/>
                    <a:pt x="155" y="33"/>
                    <a:pt x="153" y="33"/>
                  </a:cubicBezTo>
                  <a:cubicBezTo>
                    <a:pt x="151" y="34"/>
                    <a:pt x="148" y="33"/>
                    <a:pt x="145" y="33"/>
                  </a:cubicBezTo>
                  <a:cubicBezTo>
                    <a:pt x="145" y="33"/>
                    <a:pt x="145" y="32"/>
                    <a:pt x="145" y="32"/>
                  </a:cubicBezTo>
                  <a:cubicBezTo>
                    <a:pt x="150" y="32"/>
                    <a:pt x="154" y="32"/>
                    <a:pt x="158" y="30"/>
                  </a:cubicBezTo>
                  <a:cubicBezTo>
                    <a:pt x="159" y="30"/>
                    <a:pt x="159" y="28"/>
                    <a:pt x="160" y="27"/>
                  </a:cubicBezTo>
                  <a:cubicBezTo>
                    <a:pt x="162" y="26"/>
                    <a:pt x="164" y="27"/>
                    <a:pt x="166" y="27"/>
                  </a:cubicBezTo>
                  <a:cubicBezTo>
                    <a:pt x="166" y="26"/>
                    <a:pt x="166" y="26"/>
                    <a:pt x="167" y="26"/>
                  </a:cubicBezTo>
                  <a:cubicBezTo>
                    <a:pt x="169" y="25"/>
                    <a:pt x="171" y="26"/>
                    <a:pt x="173" y="25"/>
                  </a:cubicBezTo>
                  <a:cubicBezTo>
                    <a:pt x="176" y="24"/>
                    <a:pt x="179" y="25"/>
                    <a:pt x="182" y="25"/>
                  </a:cubicBezTo>
                  <a:cubicBezTo>
                    <a:pt x="184" y="25"/>
                    <a:pt x="185" y="24"/>
                    <a:pt x="187" y="23"/>
                  </a:cubicBezTo>
                  <a:cubicBezTo>
                    <a:pt x="189" y="23"/>
                    <a:pt x="192" y="22"/>
                    <a:pt x="194" y="21"/>
                  </a:cubicBezTo>
                  <a:cubicBezTo>
                    <a:pt x="197" y="21"/>
                    <a:pt x="198" y="19"/>
                    <a:pt x="201" y="18"/>
                  </a:cubicBezTo>
                  <a:cubicBezTo>
                    <a:pt x="202" y="17"/>
                    <a:pt x="204" y="17"/>
                    <a:pt x="205" y="16"/>
                  </a:cubicBezTo>
                  <a:cubicBezTo>
                    <a:pt x="205" y="15"/>
                    <a:pt x="205" y="14"/>
                    <a:pt x="205" y="13"/>
                  </a:cubicBezTo>
                  <a:cubicBezTo>
                    <a:pt x="204" y="13"/>
                    <a:pt x="202" y="12"/>
                    <a:pt x="201" y="12"/>
                  </a:cubicBezTo>
                  <a:cubicBezTo>
                    <a:pt x="199" y="12"/>
                    <a:pt x="197" y="11"/>
                    <a:pt x="196" y="12"/>
                  </a:cubicBezTo>
                  <a:cubicBezTo>
                    <a:pt x="195" y="12"/>
                    <a:pt x="195" y="13"/>
                    <a:pt x="195" y="13"/>
                  </a:cubicBezTo>
                  <a:cubicBezTo>
                    <a:pt x="194" y="13"/>
                    <a:pt x="193" y="13"/>
                    <a:pt x="192" y="12"/>
                  </a:cubicBezTo>
                  <a:cubicBezTo>
                    <a:pt x="192" y="12"/>
                    <a:pt x="192" y="11"/>
                    <a:pt x="192" y="10"/>
                  </a:cubicBezTo>
                  <a:cubicBezTo>
                    <a:pt x="192" y="9"/>
                    <a:pt x="191" y="9"/>
                    <a:pt x="191" y="8"/>
                  </a:cubicBezTo>
                  <a:cubicBezTo>
                    <a:pt x="190" y="7"/>
                    <a:pt x="190" y="7"/>
                    <a:pt x="189" y="7"/>
                  </a:cubicBezTo>
                  <a:cubicBezTo>
                    <a:pt x="188" y="6"/>
                    <a:pt x="187" y="7"/>
                    <a:pt x="186" y="6"/>
                  </a:cubicBezTo>
                  <a:cubicBezTo>
                    <a:pt x="185" y="6"/>
                    <a:pt x="185" y="4"/>
                    <a:pt x="184" y="4"/>
                  </a:cubicBezTo>
                  <a:cubicBezTo>
                    <a:pt x="183" y="4"/>
                    <a:pt x="181" y="4"/>
                    <a:pt x="180" y="4"/>
                  </a:cubicBezTo>
                  <a:cubicBezTo>
                    <a:pt x="177" y="7"/>
                    <a:pt x="173" y="8"/>
                    <a:pt x="169" y="8"/>
                  </a:cubicBezTo>
                  <a:cubicBezTo>
                    <a:pt x="165" y="10"/>
                    <a:pt x="161" y="10"/>
                    <a:pt x="157" y="9"/>
                  </a:cubicBezTo>
                  <a:cubicBezTo>
                    <a:pt x="158" y="7"/>
                    <a:pt x="161" y="7"/>
                    <a:pt x="163" y="6"/>
                  </a:cubicBezTo>
                  <a:cubicBezTo>
                    <a:pt x="164" y="6"/>
                    <a:pt x="164" y="6"/>
                    <a:pt x="165" y="6"/>
                  </a:cubicBezTo>
                  <a:cubicBezTo>
                    <a:pt x="166" y="5"/>
                    <a:pt x="167" y="5"/>
                    <a:pt x="169" y="5"/>
                  </a:cubicBezTo>
                  <a:cubicBezTo>
                    <a:pt x="169" y="5"/>
                    <a:pt x="170" y="4"/>
                    <a:pt x="169" y="4"/>
                  </a:cubicBezTo>
                  <a:cubicBezTo>
                    <a:pt x="165" y="3"/>
                    <a:pt x="162" y="3"/>
                    <a:pt x="158" y="3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5" y="2"/>
                    <a:pt x="152" y="3"/>
                    <a:pt x="150" y="2"/>
                  </a:cubicBezTo>
                  <a:cubicBezTo>
                    <a:pt x="149" y="1"/>
                    <a:pt x="149" y="1"/>
                    <a:pt x="148" y="0"/>
                  </a:cubicBezTo>
                  <a:cubicBezTo>
                    <a:pt x="148" y="0"/>
                    <a:pt x="147" y="0"/>
                    <a:pt x="147" y="0"/>
                  </a:cubicBezTo>
                  <a:cubicBezTo>
                    <a:pt x="144" y="1"/>
                    <a:pt x="142" y="1"/>
                    <a:pt x="140" y="2"/>
                  </a:cubicBezTo>
                  <a:cubicBezTo>
                    <a:pt x="139" y="2"/>
                    <a:pt x="138" y="3"/>
                    <a:pt x="136" y="3"/>
                  </a:cubicBezTo>
                  <a:cubicBezTo>
                    <a:pt x="136" y="3"/>
                    <a:pt x="136" y="2"/>
                    <a:pt x="135" y="2"/>
                  </a:cubicBezTo>
                  <a:cubicBezTo>
                    <a:pt x="134" y="1"/>
                    <a:pt x="132" y="1"/>
                    <a:pt x="130" y="2"/>
                  </a:cubicBezTo>
                  <a:cubicBezTo>
                    <a:pt x="128" y="2"/>
                    <a:pt x="126" y="3"/>
                    <a:pt x="125" y="3"/>
                  </a:cubicBezTo>
                  <a:lnTo>
                    <a:pt x="124" y="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4" name="Freeform 24"/>
            <p:cNvSpPr>
              <a:spLocks/>
            </p:cNvSpPr>
            <p:nvPr/>
          </p:nvSpPr>
          <p:spPr bwMode="auto">
            <a:xfrm>
              <a:off x="6647825" y="3146917"/>
              <a:ext cx="32357" cy="25686"/>
            </a:xfrm>
            <a:custGeom>
              <a:avLst/>
              <a:gdLst>
                <a:gd name="T0" fmla="*/ 56252775 w 70"/>
                <a:gd name="T1" fmla="*/ 31159019 h 53"/>
                <a:gd name="T2" fmla="*/ 62755092 w 70"/>
                <a:gd name="T3" fmla="*/ 28373247 h 53"/>
                <a:gd name="T4" fmla="*/ 59010782 w 70"/>
                <a:gd name="T5" fmla="*/ 24879587 h 53"/>
                <a:gd name="T6" fmla="*/ 57074267 w 70"/>
                <a:gd name="T7" fmla="*/ 28373247 h 53"/>
                <a:gd name="T8" fmla="*/ 52779479 w 70"/>
                <a:gd name="T9" fmla="*/ 24879587 h 53"/>
                <a:gd name="T10" fmla="*/ 53606553 w 70"/>
                <a:gd name="T11" fmla="*/ 22068928 h 53"/>
                <a:gd name="T12" fmla="*/ 50835950 w 70"/>
                <a:gd name="T13" fmla="*/ 19431358 h 53"/>
                <a:gd name="T14" fmla="*/ 51656725 w 70"/>
                <a:gd name="T15" fmla="*/ 15523547 h 53"/>
                <a:gd name="T16" fmla="*/ 48187729 w 70"/>
                <a:gd name="T17" fmla="*/ 18314169 h 53"/>
                <a:gd name="T18" fmla="*/ 45420332 w 70"/>
                <a:gd name="T19" fmla="*/ 17483434 h 53"/>
                <a:gd name="T20" fmla="*/ 43481667 w 70"/>
                <a:gd name="T21" fmla="*/ 13691982 h 53"/>
                <a:gd name="T22" fmla="*/ 32648159 w 70"/>
                <a:gd name="T23" fmla="*/ 3493293 h 53"/>
                <a:gd name="T24" fmla="*/ 16148472 w 70"/>
                <a:gd name="T25" fmla="*/ 0 h 53"/>
                <a:gd name="T26" fmla="*/ 17326119 w 70"/>
                <a:gd name="T27" fmla="*/ 3493293 h 53"/>
                <a:gd name="T28" fmla="*/ 24685149 w 70"/>
                <a:gd name="T29" fmla="*/ 3493293 h 53"/>
                <a:gd name="T30" fmla="*/ 18797730 w 70"/>
                <a:gd name="T31" fmla="*/ 5453100 h 53"/>
                <a:gd name="T32" fmla="*/ 10823095 w 70"/>
                <a:gd name="T33" fmla="*/ 6581986 h 53"/>
                <a:gd name="T34" fmla="*/ 9969093 w 70"/>
                <a:gd name="T35" fmla="*/ 10075275 h 53"/>
                <a:gd name="T36" fmla="*/ 16148472 w 70"/>
                <a:gd name="T37" fmla="*/ 12861086 h 53"/>
                <a:gd name="T38" fmla="*/ 14713180 w 70"/>
                <a:gd name="T39" fmla="*/ 13691982 h 53"/>
                <a:gd name="T40" fmla="*/ 6241959 w 70"/>
                <a:gd name="T41" fmla="*/ 12861086 h 53"/>
                <a:gd name="T42" fmla="*/ 3383249 w 70"/>
                <a:gd name="T43" fmla="*/ 14809151 h 53"/>
                <a:gd name="T44" fmla="*/ 1947959 w 70"/>
                <a:gd name="T45" fmla="*/ 17483434 h 53"/>
                <a:gd name="T46" fmla="*/ 9969093 w 70"/>
                <a:gd name="T47" fmla="*/ 19431358 h 53"/>
                <a:gd name="T48" fmla="*/ 1947959 w 70"/>
                <a:gd name="T49" fmla="*/ 19431358 h 53"/>
                <a:gd name="T50" fmla="*/ 0 w 70"/>
                <a:gd name="T51" fmla="*/ 20975834 h 53"/>
                <a:gd name="T52" fmla="*/ 9969093 w 70"/>
                <a:gd name="T53" fmla="*/ 24879587 h 53"/>
                <a:gd name="T54" fmla="*/ 3383249 w 70"/>
                <a:gd name="T55" fmla="*/ 28373247 h 53"/>
                <a:gd name="T56" fmla="*/ 12766087 w 70"/>
                <a:gd name="T57" fmla="*/ 28373247 h 53"/>
                <a:gd name="T58" fmla="*/ 23498564 w 70"/>
                <a:gd name="T59" fmla="*/ 28373247 h 53"/>
                <a:gd name="T60" fmla="*/ 18797730 w 70"/>
                <a:gd name="T61" fmla="*/ 31159019 h 53"/>
                <a:gd name="T62" fmla="*/ 13592425 w 70"/>
                <a:gd name="T63" fmla="*/ 33735471 h 53"/>
                <a:gd name="T64" fmla="*/ 10823095 w 70"/>
                <a:gd name="T65" fmla="*/ 36612131 h 53"/>
                <a:gd name="T66" fmla="*/ 13592425 w 70"/>
                <a:gd name="T67" fmla="*/ 40380309 h 53"/>
                <a:gd name="T68" fmla="*/ 18181997 w 70"/>
                <a:gd name="T69" fmla="*/ 41234498 h 53"/>
                <a:gd name="T70" fmla="*/ 17326119 w 70"/>
                <a:gd name="T71" fmla="*/ 45138081 h 53"/>
                <a:gd name="T72" fmla="*/ 23498564 w 70"/>
                <a:gd name="T73" fmla="*/ 46596156 h 53"/>
                <a:gd name="T74" fmla="*/ 28094990 w 70"/>
                <a:gd name="T75" fmla="*/ 45138081 h 53"/>
                <a:gd name="T76" fmla="*/ 30864538 w 70"/>
                <a:gd name="T77" fmla="*/ 45828647 h 53"/>
                <a:gd name="T78" fmla="*/ 32039281 w 70"/>
                <a:gd name="T79" fmla="*/ 41974346 h 53"/>
                <a:gd name="T80" fmla="*/ 37455333 w 70"/>
                <a:gd name="T81" fmla="*/ 45828647 h 53"/>
                <a:gd name="T82" fmla="*/ 38890643 w 70"/>
                <a:gd name="T83" fmla="*/ 43193780 h 53"/>
                <a:gd name="T84" fmla="*/ 38890643 w 70"/>
                <a:gd name="T85" fmla="*/ 41234498 h 53"/>
                <a:gd name="T86" fmla="*/ 42857534 w 70"/>
                <a:gd name="T87" fmla="*/ 35781395 h 53"/>
                <a:gd name="T88" fmla="*/ 44308930 w 70"/>
                <a:gd name="T89" fmla="*/ 39183621 h 53"/>
                <a:gd name="T90" fmla="*/ 49983306 w 70"/>
                <a:gd name="T91" fmla="*/ 35781395 h 5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0"/>
                <a:gd name="T139" fmla="*/ 0 h 53"/>
                <a:gd name="T140" fmla="*/ 70 w 70"/>
                <a:gd name="T141" fmla="*/ 53 h 5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0" h="53">
                  <a:moveTo>
                    <a:pt x="57" y="38"/>
                  </a:moveTo>
                  <a:cubicBezTo>
                    <a:pt x="58" y="37"/>
                    <a:pt x="60" y="35"/>
                    <a:pt x="62" y="34"/>
                  </a:cubicBezTo>
                  <a:cubicBezTo>
                    <a:pt x="64" y="33"/>
                    <a:pt x="67" y="35"/>
                    <a:pt x="69" y="32"/>
                  </a:cubicBezTo>
                  <a:cubicBezTo>
                    <a:pt x="70" y="32"/>
                    <a:pt x="70" y="31"/>
                    <a:pt x="69" y="31"/>
                  </a:cubicBezTo>
                  <a:cubicBezTo>
                    <a:pt x="68" y="30"/>
                    <a:pt x="68" y="28"/>
                    <a:pt x="66" y="27"/>
                  </a:cubicBezTo>
                  <a:cubicBezTo>
                    <a:pt x="66" y="27"/>
                    <a:pt x="65" y="27"/>
                    <a:pt x="65" y="27"/>
                  </a:cubicBezTo>
                  <a:cubicBezTo>
                    <a:pt x="65" y="28"/>
                    <a:pt x="65" y="30"/>
                    <a:pt x="64" y="31"/>
                  </a:cubicBezTo>
                  <a:cubicBezTo>
                    <a:pt x="64" y="31"/>
                    <a:pt x="64" y="31"/>
                    <a:pt x="63" y="31"/>
                  </a:cubicBezTo>
                  <a:cubicBezTo>
                    <a:pt x="62" y="29"/>
                    <a:pt x="62" y="27"/>
                    <a:pt x="61" y="26"/>
                  </a:cubicBezTo>
                  <a:cubicBezTo>
                    <a:pt x="60" y="26"/>
                    <a:pt x="59" y="27"/>
                    <a:pt x="58" y="27"/>
                  </a:cubicBezTo>
                  <a:cubicBezTo>
                    <a:pt x="57" y="28"/>
                    <a:pt x="57" y="26"/>
                    <a:pt x="57" y="25"/>
                  </a:cubicBezTo>
                  <a:cubicBezTo>
                    <a:pt x="58" y="24"/>
                    <a:pt x="58" y="24"/>
                    <a:pt x="59" y="24"/>
                  </a:cubicBezTo>
                  <a:cubicBezTo>
                    <a:pt x="59" y="23"/>
                    <a:pt x="59" y="22"/>
                    <a:pt x="59" y="22"/>
                  </a:cubicBezTo>
                  <a:cubicBezTo>
                    <a:pt x="58" y="21"/>
                    <a:pt x="57" y="22"/>
                    <a:pt x="56" y="21"/>
                  </a:cubicBezTo>
                  <a:cubicBezTo>
                    <a:pt x="56" y="20"/>
                    <a:pt x="56" y="20"/>
                    <a:pt x="56" y="19"/>
                  </a:cubicBezTo>
                  <a:cubicBezTo>
                    <a:pt x="57" y="18"/>
                    <a:pt x="58" y="17"/>
                    <a:pt x="57" y="17"/>
                  </a:cubicBezTo>
                  <a:cubicBezTo>
                    <a:pt x="57" y="16"/>
                    <a:pt x="56" y="16"/>
                    <a:pt x="56" y="16"/>
                  </a:cubicBezTo>
                  <a:cubicBezTo>
                    <a:pt x="54" y="17"/>
                    <a:pt x="53" y="18"/>
                    <a:pt x="53" y="20"/>
                  </a:cubicBezTo>
                  <a:cubicBezTo>
                    <a:pt x="53" y="21"/>
                    <a:pt x="52" y="21"/>
                    <a:pt x="51" y="21"/>
                  </a:cubicBezTo>
                  <a:cubicBezTo>
                    <a:pt x="51" y="21"/>
                    <a:pt x="51" y="20"/>
                    <a:pt x="50" y="19"/>
                  </a:cubicBezTo>
                  <a:cubicBezTo>
                    <a:pt x="49" y="19"/>
                    <a:pt x="46" y="18"/>
                    <a:pt x="47" y="17"/>
                  </a:cubicBezTo>
                  <a:cubicBezTo>
                    <a:pt x="48" y="16"/>
                    <a:pt x="48" y="15"/>
                    <a:pt x="48" y="15"/>
                  </a:cubicBezTo>
                  <a:cubicBezTo>
                    <a:pt x="46" y="14"/>
                    <a:pt x="44" y="15"/>
                    <a:pt x="42" y="14"/>
                  </a:cubicBezTo>
                  <a:cubicBezTo>
                    <a:pt x="38" y="12"/>
                    <a:pt x="38" y="8"/>
                    <a:pt x="36" y="4"/>
                  </a:cubicBezTo>
                  <a:cubicBezTo>
                    <a:pt x="36" y="2"/>
                    <a:pt x="34" y="0"/>
                    <a:pt x="31" y="0"/>
                  </a:cubicBezTo>
                  <a:cubicBezTo>
                    <a:pt x="27" y="0"/>
                    <a:pt x="23" y="0"/>
                    <a:pt x="18" y="0"/>
                  </a:cubicBezTo>
                  <a:cubicBezTo>
                    <a:pt x="17" y="0"/>
                    <a:pt x="16" y="1"/>
                    <a:pt x="17" y="3"/>
                  </a:cubicBezTo>
                  <a:cubicBezTo>
                    <a:pt x="17" y="4"/>
                    <a:pt x="18" y="4"/>
                    <a:pt x="19" y="4"/>
                  </a:cubicBezTo>
                  <a:cubicBezTo>
                    <a:pt x="21" y="4"/>
                    <a:pt x="22" y="4"/>
                    <a:pt x="24" y="4"/>
                  </a:cubicBezTo>
                  <a:cubicBezTo>
                    <a:pt x="25" y="3"/>
                    <a:pt x="26" y="3"/>
                    <a:pt x="27" y="4"/>
                  </a:cubicBezTo>
                  <a:cubicBezTo>
                    <a:pt x="28" y="4"/>
                    <a:pt x="28" y="5"/>
                    <a:pt x="27" y="5"/>
                  </a:cubicBezTo>
                  <a:cubicBezTo>
                    <a:pt x="25" y="6"/>
                    <a:pt x="23" y="5"/>
                    <a:pt x="21" y="6"/>
                  </a:cubicBezTo>
                  <a:cubicBezTo>
                    <a:pt x="20" y="6"/>
                    <a:pt x="20" y="6"/>
                    <a:pt x="19" y="7"/>
                  </a:cubicBezTo>
                  <a:cubicBezTo>
                    <a:pt x="17" y="7"/>
                    <a:pt x="15" y="6"/>
                    <a:pt x="12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11" y="10"/>
                    <a:pt x="11" y="11"/>
                  </a:cubicBezTo>
                  <a:cubicBezTo>
                    <a:pt x="12" y="11"/>
                    <a:pt x="14" y="12"/>
                    <a:pt x="15" y="12"/>
                  </a:cubicBezTo>
                  <a:cubicBezTo>
                    <a:pt x="16" y="13"/>
                    <a:pt x="17" y="14"/>
                    <a:pt x="18" y="14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7" y="15"/>
                    <a:pt x="17" y="15"/>
                    <a:pt x="16" y="15"/>
                  </a:cubicBezTo>
                  <a:cubicBezTo>
                    <a:pt x="14" y="14"/>
                    <a:pt x="11" y="13"/>
                    <a:pt x="8" y="13"/>
                  </a:cubicBezTo>
                  <a:cubicBezTo>
                    <a:pt x="8" y="13"/>
                    <a:pt x="7" y="13"/>
                    <a:pt x="7" y="14"/>
                  </a:cubicBezTo>
                  <a:cubicBezTo>
                    <a:pt x="7" y="14"/>
                    <a:pt x="7" y="15"/>
                    <a:pt x="6" y="15"/>
                  </a:cubicBezTo>
                  <a:cubicBezTo>
                    <a:pt x="6" y="16"/>
                    <a:pt x="5" y="15"/>
                    <a:pt x="4" y="16"/>
                  </a:cubicBezTo>
                  <a:cubicBezTo>
                    <a:pt x="4" y="16"/>
                    <a:pt x="3" y="17"/>
                    <a:pt x="2" y="17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4" y="19"/>
                    <a:pt x="6" y="19"/>
                    <a:pt x="8" y="19"/>
                  </a:cubicBezTo>
                  <a:cubicBezTo>
                    <a:pt x="9" y="20"/>
                    <a:pt x="10" y="20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8" y="22"/>
                    <a:pt x="5" y="22"/>
                    <a:pt x="2" y="21"/>
                  </a:cubicBezTo>
                  <a:cubicBezTo>
                    <a:pt x="2" y="21"/>
                    <a:pt x="1" y="20"/>
                    <a:pt x="0" y="21"/>
                  </a:cubicBezTo>
                  <a:cubicBezTo>
                    <a:pt x="0" y="21"/>
                    <a:pt x="0" y="22"/>
                    <a:pt x="0" y="23"/>
                  </a:cubicBezTo>
                  <a:cubicBezTo>
                    <a:pt x="1" y="24"/>
                    <a:pt x="2" y="25"/>
                    <a:pt x="3" y="26"/>
                  </a:cubicBezTo>
                  <a:cubicBezTo>
                    <a:pt x="5" y="28"/>
                    <a:pt x="8" y="26"/>
                    <a:pt x="11" y="27"/>
                  </a:cubicBezTo>
                  <a:cubicBezTo>
                    <a:pt x="11" y="27"/>
                    <a:pt x="11" y="28"/>
                    <a:pt x="10" y="28"/>
                  </a:cubicBezTo>
                  <a:cubicBezTo>
                    <a:pt x="8" y="28"/>
                    <a:pt x="4" y="28"/>
                    <a:pt x="4" y="31"/>
                  </a:cubicBezTo>
                  <a:cubicBezTo>
                    <a:pt x="5" y="32"/>
                    <a:pt x="6" y="32"/>
                    <a:pt x="6" y="32"/>
                  </a:cubicBezTo>
                  <a:cubicBezTo>
                    <a:pt x="9" y="33"/>
                    <a:pt x="11" y="30"/>
                    <a:pt x="14" y="31"/>
                  </a:cubicBezTo>
                  <a:cubicBezTo>
                    <a:pt x="16" y="32"/>
                    <a:pt x="18" y="33"/>
                    <a:pt x="19" y="32"/>
                  </a:cubicBezTo>
                  <a:cubicBezTo>
                    <a:pt x="21" y="31"/>
                    <a:pt x="24" y="31"/>
                    <a:pt x="26" y="31"/>
                  </a:cubicBezTo>
                  <a:cubicBezTo>
                    <a:pt x="27" y="32"/>
                    <a:pt x="26" y="33"/>
                    <a:pt x="26" y="34"/>
                  </a:cubicBezTo>
                  <a:cubicBezTo>
                    <a:pt x="24" y="34"/>
                    <a:pt x="22" y="35"/>
                    <a:pt x="21" y="34"/>
                  </a:cubicBezTo>
                  <a:cubicBezTo>
                    <a:pt x="20" y="34"/>
                    <a:pt x="18" y="33"/>
                    <a:pt x="18" y="34"/>
                  </a:cubicBezTo>
                  <a:cubicBezTo>
                    <a:pt x="17" y="34"/>
                    <a:pt x="17" y="36"/>
                    <a:pt x="15" y="37"/>
                  </a:cubicBezTo>
                  <a:cubicBezTo>
                    <a:pt x="15" y="37"/>
                    <a:pt x="14" y="37"/>
                    <a:pt x="13" y="37"/>
                  </a:cubicBezTo>
                  <a:cubicBezTo>
                    <a:pt x="12" y="38"/>
                    <a:pt x="12" y="39"/>
                    <a:pt x="12" y="40"/>
                  </a:cubicBezTo>
                  <a:cubicBezTo>
                    <a:pt x="13" y="40"/>
                    <a:pt x="14" y="40"/>
                    <a:pt x="15" y="41"/>
                  </a:cubicBezTo>
                  <a:cubicBezTo>
                    <a:pt x="16" y="42"/>
                    <a:pt x="15" y="43"/>
                    <a:pt x="15" y="44"/>
                  </a:cubicBezTo>
                  <a:cubicBezTo>
                    <a:pt x="16" y="44"/>
                    <a:pt x="16" y="45"/>
                    <a:pt x="17" y="45"/>
                  </a:cubicBezTo>
                  <a:cubicBezTo>
                    <a:pt x="18" y="45"/>
                    <a:pt x="19" y="45"/>
                    <a:pt x="20" y="45"/>
                  </a:cubicBezTo>
                  <a:cubicBezTo>
                    <a:pt x="20" y="45"/>
                    <a:pt x="20" y="46"/>
                    <a:pt x="20" y="47"/>
                  </a:cubicBezTo>
                  <a:cubicBezTo>
                    <a:pt x="19" y="47"/>
                    <a:pt x="18" y="48"/>
                    <a:pt x="19" y="49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3" y="51"/>
                    <a:pt x="25" y="50"/>
                    <a:pt x="26" y="51"/>
                  </a:cubicBezTo>
                  <a:cubicBezTo>
                    <a:pt x="27" y="51"/>
                    <a:pt x="29" y="53"/>
                    <a:pt x="30" y="53"/>
                  </a:cubicBezTo>
                  <a:cubicBezTo>
                    <a:pt x="30" y="51"/>
                    <a:pt x="30" y="50"/>
                    <a:pt x="31" y="49"/>
                  </a:cubicBezTo>
                  <a:cubicBezTo>
                    <a:pt x="31" y="49"/>
                    <a:pt x="32" y="49"/>
                    <a:pt x="32" y="49"/>
                  </a:cubicBezTo>
                  <a:cubicBezTo>
                    <a:pt x="33" y="50"/>
                    <a:pt x="34" y="50"/>
                    <a:pt x="34" y="50"/>
                  </a:cubicBezTo>
                  <a:cubicBezTo>
                    <a:pt x="35" y="49"/>
                    <a:pt x="34" y="47"/>
                    <a:pt x="34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6" y="47"/>
                    <a:pt x="36" y="47"/>
                    <a:pt x="37" y="48"/>
                  </a:cubicBezTo>
                  <a:cubicBezTo>
                    <a:pt x="39" y="48"/>
                    <a:pt x="40" y="49"/>
                    <a:pt x="41" y="50"/>
                  </a:cubicBezTo>
                  <a:cubicBezTo>
                    <a:pt x="41" y="50"/>
                    <a:pt x="42" y="50"/>
                    <a:pt x="42" y="50"/>
                  </a:cubicBezTo>
                  <a:cubicBezTo>
                    <a:pt x="43" y="49"/>
                    <a:pt x="43" y="48"/>
                    <a:pt x="43" y="47"/>
                  </a:cubicBezTo>
                  <a:cubicBezTo>
                    <a:pt x="43" y="46"/>
                    <a:pt x="42" y="45"/>
                    <a:pt x="42" y="45"/>
                  </a:cubicBezTo>
                  <a:cubicBezTo>
                    <a:pt x="42" y="45"/>
                    <a:pt x="43" y="45"/>
                    <a:pt x="43" y="45"/>
                  </a:cubicBezTo>
                  <a:cubicBezTo>
                    <a:pt x="44" y="46"/>
                    <a:pt x="45" y="47"/>
                    <a:pt x="47" y="47"/>
                  </a:cubicBezTo>
                  <a:cubicBezTo>
                    <a:pt x="47" y="44"/>
                    <a:pt x="47" y="41"/>
                    <a:pt x="47" y="39"/>
                  </a:cubicBezTo>
                  <a:cubicBezTo>
                    <a:pt x="47" y="38"/>
                    <a:pt x="48" y="37"/>
                    <a:pt x="48" y="38"/>
                  </a:cubicBezTo>
                  <a:cubicBezTo>
                    <a:pt x="49" y="39"/>
                    <a:pt x="48" y="41"/>
                    <a:pt x="49" y="43"/>
                  </a:cubicBezTo>
                  <a:cubicBezTo>
                    <a:pt x="49" y="44"/>
                    <a:pt x="50" y="44"/>
                    <a:pt x="50" y="43"/>
                  </a:cubicBezTo>
                  <a:cubicBezTo>
                    <a:pt x="52" y="42"/>
                    <a:pt x="53" y="40"/>
                    <a:pt x="55" y="39"/>
                  </a:cubicBezTo>
                  <a:lnTo>
                    <a:pt x="57" y="38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5" name="Freeform 25"/>
            <p:cNvSpPr>
              <a:spLocks/>
            </p:cNvSpPr>
            <p:nvPr/>
          </p:nvSpPr>
          <p:spPr bwMode="auto">
            <a:xfrm>
              <a:off x="6636538" y="3157192"/>
              <a:ext cx="4766" cy="3785"/>
            </a:xfrm>
            <a:custGeom>
              <a:avLst/>
              <a:gdLst>
                <a:gd name="T0" fmla="*/ 8585865 w 10"/>
                <a:gd name="T1" fmla="*/ 0 h 8"/>
                <a:gd name="T2" fmla="*/ 3577445 w 10"/>
                <a:gd name="T3" fmla="*/ 0 h 8"/>
                <a:gd name="T4" fmla="*/ 1064436 w 10"/>
                <a:gd name="T5" fmla="*/ 3065115 h 8"/>
                <a:gd name="T6" fmla="*/ 6131150 w 10"/>
                <a:gd name="T7" fmla="*/ 4351847 h 8"/>
                <a:gd name="T8" fmla="*/ 8585865 w 10"/>
                <a:gd name="T9" fmla="*/ 8176458 h 8"/>
                <a:gd name="T10" fmla="*/ 9650293 w 10"/>
                <a:gd name="T11" fmla="*/ 8176458 h 8"/>
                <a:gd name="T12" fmla="*/ 12204941 w 10"/>
                <a:gd name="T13" fmla="*/ 4351847 h 8"/>
                <a:gd name="T14" fmla="*/ 12204941 w 10"/>
                <a:gd name="T15" fmla="*/ 0 h 8"/>
                <a:gd name="T16" fmla="*/ 11140513 w 10"/>
                <a:gd name="T17" fmla="*/ 0 h 8"/>
                <a:gd name="T18" fmla="*/ 8585865 w 10"/>
                <a:gd name="T19" fmla="*/ 0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8"/>
                <a:gd name="T32" fmla="*/ 10 w 10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8">
                  <a:moveTo>
                    <a:pt x="7" y="0"/>
                  </a:moveTo>
                  <a:cubicBezTo>
                    <a:pt x="6" y="0"/>
                    <a:pt x="4" y="0"/>
                    <a:pt x="3" y="0"/>
                  </a:cubicBezTo>
                  <a:cubicBezTo>
                    <a:pt x="2" y="1"/>
                    <a:pt x="0" y="2"/>
                    <a:pt x="1" y="3"/>
                  </a:cubicBezTo>
                  <a:cubicBezTo>
                    <a:pt x="2" y="4"/>
                    <a:pt x="4" y="3"/>
                    <a:pt x="5" y="4"/>
                  </a:cubicBezTo>
                  <a:cubicBezTo>
                    <a:pt x="6" y="5"/>
                    <a:pt x="6" y="7"/>
                    <a:pt x="7" y="8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9" y="7"/>
                    <a:pt x="9" y="5"/>
                    <a:pt x="10" y="4"/>
                  </a:cubicBezTo>
                  <a:cubicBezTo>
                    <a:pt x="10" y="3"/>
                    <a:pt x="10" y="1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6" name="Freeform 26"/>
            <p:cNvSpPr>
              <a:spLocks/>
            </p:cNvSpPr>
            <p:nvPr/>
          </p:nvSpPr>
          <p:spPr bwMode="auto">
            <a:xfrm>
              <a:off x="6638043" y="3165303"/>
              <a:ext cx="10033" cy="9193"/>
            </a:xfrm>
            <a:custGeom>
              <a:avLst/>
              <a:gdLst>
                <a:gd name="T0" fmla="*/ 17330086 w 22"/>
                <a:gd name="T1" fmla="*/ 7008797 h 19"/>
                <a:gd name="T2" fmla="*/ 14073923 w 22"/>
                <a:gd name="T3" fmla="*/ 5759327 h 19"/>
                <a:gd name="T4" fmla="*/ 14073923 w 22"/>
                <a:gd name="T5" fmla="*/ 3671997 h 19"/>
                <a:gd name="T6" fmla="*/ 12441464 w 22"/>
                <a:gd name="T7" fmla="*/ 2959271 h 19"/>
                <a:gd name="T8" fmla="*/ 9698926 w 22"/>
                <a:gd name="T9" fmla="*/ 2959271 h 19"/>
                <a:gd name="T10" fmla="*/ 6840539 w 22"/>
                <a:gd name="T11" fmla="*/ 865359 h 19"/>
                <a:gd name="T12" fmla="*/ 3587761 w 22"/>
                <a:gd name="T13" fmla="*/ 865359 h 19"/>
                <a:gd name="T14" fmla="*/ 849380 w 22"/>
                <a:gd name="T15" fmla="*/ 2959271 h 19"/>
                <a:gd name="T16" fmla="*/ 849380 w 22"/>
                <a:gd name="T17" fmla="*/ 3671997 h 19"/>
                <a:gd name="T18" fmla="*/ 0 w 22"/>
                <a:gd name="T19" fmla="*/ 5759327 h 19"/>
                <a:gd name="T20" fmla="*/ 0 w 22"/>
                <a:gd name="T21" fmla="*/ 8696832 h 19"/>
                <a:gd name="T22" fmla="*/ 2894074 w 22"/>
                <a:gd name="T23" fmla="*/ 10840510 h 19"/>
                <a:gd name="T24" fmla="*/ 5595820 w 22"/>
                <a:gd name="T25" fmla="*/ 10840510 h 19"/>
                <a:gd name="T26" fmla="*/ 6840539 w 22"/>
                <a:gd name="T27" fmla="*/ 12773055 h 19"/>
                <a:gd name="T28" fmla="*/ 4745295 w 22"/>
                <a:gd name="T29" fmla="*/ 12773055 h 19"/>
                <a:gd name="T30" fmla="*/ 2894074 w 22"/>
                <a:gd name="T31" fmla="*/ 11496685 h 19"/>
                <a:gd name="T32" fmla="*/ 2894074 w 22"/>
                <a:gd name="T33" fmla="*/ 13640503 h 19"/>
                <a:gd name="T34" fmla="*/ 4745295 w 22"/>
                <a:gd name="T35" fmla="*/ 16599778 h 19"/>
                <a:gd name="T36" fmla="*/ 8480159 w 22"/>
                <a:gd name="T37" fmla="*/ 16599778 h 19"/>
                <a:gd name="T38" fmla="*/ 17330086 w 22"/>
                <a:gd name="T39" fmla="*/ 15706817 h 19"/>
                <a:gd name="T40" fmla="*/ 18819602 w 22"/>
                <a:gd name="T41" fmla="*/ 13640503 h 19"/>
                <a:gd name="T42" fmla="*/ 18819602 w 22"/>
                <a:gd name="T43" fmla="*/ 10840510 h 19"/>
                <a:gd name="T44" fmla="*/ 20043998 w 22"/>
                <a:gd name="T45" fmla="*/ 8696832 h 19"/>
                <a:gd name="T46" fmla="*/ 20043998 w 22"/>
                <a:gd name="T47" fmla="*/ 7008797 h 19"/>
                <a:gd name="T48" fmla="*/ 18819602 w 22"/>
                <a:gd name="T49" fmla="*/ 7008797 h 19"/>
                <a:gd name="T50" fmla="*/ 17330086 w 22"/>
                <a:gd name="T51" fmla="*/ 7008797 h 1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2"/>
                <a:gd name="T79" fmla="*/ 0 h 19"/>
                <a:gd name="T80" fmla="*/ 22 w 22"/>
                <a:gd name="T81" fmla="*/ 19 h 1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2" h="19">
                  <a:moveTo>
                    <a:pt x="18" y="7"/>
                  </a:moveTo>
                  <a:cubicBezTo>
                    <a:pt x="17" y="7"/>
                    <a:pt x="15" y="7"/>
                    <a:pt x="15" y="6"/>
                  </a:cubicBezTo>
                  <a:cubicBezTo>
                    <a:pt x="14" y="5"/>
                    <a:pt x="15" y="5"/>
                    <a:pt x="15" y="4"/>
                  </a:cubicBezTo>
                  <a:cubicBezTo>
                    <a:pt x="14" y="3"/>
                    <a:pt x="14" y="3"/>
                    <a:pt x="13" y="3"/>
                  </a:cubicBezTo>
                  <a:cubicBezTo>
                    <a:pt x="12" y="2"/>
                    <a:pt x="11" y="3"/>
                    <a:pt x="10" y="3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6" y="0"/>
                    <a:pt x="5" y="0"/>
                    <a:pt x="4" y="1"/>
                  </a:cubicBezTo>
                  <a:cubicBezTo>
                    <a:pt x="3" y="1"/>
                    <a:pt x="2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1" y="5"/>
                    <a:pt x="0" y="6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1" y="10"/>
                    <a:pt x="2" y="10"/>
                    <a:pt x="3" y="11"/>
                  </a:cubicBezTo>
                  <a:cubicBezTo>
                    <a:pt x="4" y="11"/>
                    <a:pt x="5" y="11"/>
                    <a:pt x="6" y="11"/>
                  </a:cubicBezTo>
                  <a:cubicBezTo>
                    <a:pt x="6" y="12"/>
                    <a:pt x="8" y="13"/>
                    <a:pt x="7" y="13"/>
                  </a:cubicBezTo>
                  <a:cubicBezTo>
                    <a:pt x="7" y="14"/>
                    <a:pt x="6" y="14"/>
                    <a:pt x="5" y="13"/>
                  </a:cubicBezTo>
                  <a:cubicBezTo>
                    <a:pt x="4" y="13"/>
                    <a:pt x="3" y="12"/>
                    <a:pt x="3" y="12"/>
                  </a:cubicBezTo>
                  <a:cubicBezTo>
                    <a:pt x="3" y="13"/>
                    <a:pt x="2" y="14"/>
                    <a:pt x="3" y="14"/>
                  </a:cubicBezTo>
                  <a:cubicBezTo>
                    <a:pt x="4" y="15"/>
                    <a:pt x="5" y="16"/>
                    <a:pt x="5" y="17"/>
                  </a:cubicBezTo>
                  <a:cubicBezTo>
                    <a:pt x="6" y="19"/>
                    <a:pt x="8" y="18"/>
                    <a:pt x="9" y="17"/>
                  </a:cubicBezTo>
                  <a:cubicBezTo>
                    <a:pt x="12" y="16"/>
                    <a:pt x="15" y="17"/>
                    <a:pt x="18" y="16"/>
                  </a:cubicBezTo>
                  <a:cubicBezTo>
                    <a:pt x="19" y="16"/>
                    <a:pt x="20" y="15"/>
                    <a:pt x="20" y="14"/>
                  </a:cubicBezTo>
                  <a:cubicBezTo>
                    <a:pt x="20" y="13"/>
                    <a:pt x="20" y="12"/>
                    <a:pt x="20" y="11"/>
                  </a:cubicBezTo>
                  <a:cubicBezTo>
                    <a:pt x="21" y="10"/>
                    <a:pt x="21" y="10"/>
                    <a:pt x="21" y="9"/>
                  </a:cubicBezTo>
                  <a:cubicBezTo>
                    <a:pt x="22" y="9"/>
                    <a:pt x="22" y="7"/>
                    <a:pt x="21" y="7"/>
                  </a:cubicBezTo>
                  <a:cubicBezTo>
                    <a:pt x="21" y="6"/>
                    <a:pt x="20" y="7"/>
                    <a:pt x="20" y="7"/>
                  </a:cubicBezTo>
                  <a:lnTo>
                    <a:pt x="18" y="7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7" name="Freeform 27"/>
            <p:cNvSpPr>
              <a:spLocks/>
            </p:cNvSpPr>
            <p:nvPr/>
          </p:nvSpPr>
          <p:spPr bwMode="auto">
            <a:xfrm>
              <a:off x="6642557" y="3174496"/>
              <a:ext cx="9281" cy="2433"/>
            </a:xfrm>
            <a:custGeom>
              <a:avLst/>
              <a:gdLst>
                <a:gd name="T0" fmla="*/ 12190249 w 20"/>
                <a:gd name="T1" fmla="*/ 0 h 5"/>
                <a:gd name="T2" fmla="*/ 4391010 w 20"/>
                <a:gd name="T3" fmla="*/ 0 h 5"/>
                <a:gd name="T4" fmla="*/ 0 w 20"/>
                <a:gd name="T5" fmla="*/ 3577445 h 5"/>
                <a:gd name="T6" fmla="*/ 795113 w 20"/>
                <a:gd name="T7" fmla="*/ 5085394 h 5"/>
                <a:gd name="T8" fmla="*/ 2522523 w 20"/>
                <a:gd name="T9" fmla="*/ 6131150 h 5"/>
                <a:gd name="T10" fmla="*/ 7062610 w 20"/>
                <a:gd name="T11" fmla="*/ 6131150 h 5"/>
                <a:gd name="T12" fmla="*/ 12190249 w 20"/>
                <a:gd name="T13" fmla="*/ 6131150 h 5"/>
                <a:gd name="T14" fmla="*/ 15548153 w 20"/>
                <a:gd name="T15" fmla="*/ 6131150 h 5"/>
                <a:gd name="T16" fmla="*/ 16597127 w 20"/>
                <a:gd name="T17" fmla="*/ 0 h 5"/>
                <a:gd name="T18" fmla="*/ 14725738 w 20"/>
                <a:gd name="T19" fmla="*/ 0 h 5"/>
                <a:gd name="T20" fmla="*/ 12190249 w 20"/>
                <a:gd name="T21" fmla="*/ 0 h 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5"/>
                <a:gd name="T35" fmla="*/ 20 w 20"/>
                <a:gd name="T36" fmla="*/ 5 h 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5">
                  <a:moveTo>
                    <a:pt x="14" y="0"/>
                  </a:moveTo>
                  <a:cubicBezTo>
                    <a:pt x="11" y="0"/>
                    <a:pt x="8" y="0"/>
                    <a:pt x="5" y="0"/>
                  </a:cubicBezTo>
                  <a:cubicBezTo>
                    <a:pt x="3" y="1"/>
                    <a:pt x="2" y="2"/>
                    <a:pt x="0" y="3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2" y="4"/>
                    <a:pt x="2" y="4"/>
                    <a:pt x="3" y="5"/>
                  </a:cubicBezTo>
                  <a:cubicBezTo>
                    <a:pt x="5" y="5"/>
                    <a:pt x="6" y="5"/>
                    <a:pt x="8" y="5"/>
                  </a:cubicBezTo>
                  <a:cubicBezTo>
                    <a:pt x="10" y="4"/>
                    <a:pt x="12" y="4"/>
                    <a:pt x="14" y="5"/>
                  </a:cubicBezTo>
                  <a:cubicBezTo>
                    <a:pt x="15" y="5"/>
                    <a:pt x="17" y="5"/>
                    <a:pt x="18" y="5"/>
                  </a:cubicBezTo>
                  <a:cubicBezTo>
                    <a:pt x="20" y="4"/>
                    <a:pt x="20" y="2"/>
                    <a:pt x="19" y="0"/>
                  </a:cubicBezTo>
                  <a:cubicBezTo>
                    <a:pt x="19" y="0"/>
                    <a:pt x="18" y="0"/>
                    <a:pt x="17" y="0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8" name="Freeform 28"/>
            <p:cNvSpPr>
              <a:spLocks/>
            </p:cNvSpPr>
            <p:nvPr/>
          </p:nvSpPr>
          <p:spPr bwMode="auto">
            <a:xfrm>
              <a:off x="6657858" y="3175578"/>
              <a:ext cx="4766" cy="3245"/>
            </a:xfrm>
            <a:custGeom>
              <a:avLst/>
              <a:gdLst>
                <a:gd name="T0" fmla="*/ 8585865 w 10"/>
                <a:gd name="T1" fmla="*/ 505778 h 7"/>
                <a:gd name="T2" fmla="*/ 2554647 w 10"/>
                <a:gd name="T3" fmla="*/ 505778 h 7"/>
                <a:gd name="T4" fmla="*/ 1064436 w 10"/>
                <a:gd name="T5" fmla="*/ 2234466 h 7"/>
                <a:gd name="T6" fmla="*/ 0 w 10"/>
                <a:gd name="T7" fmla="*/ 2642432 h 7"/>
                <a:gd name="T8" fmla="*/ 5085394 w 10"/>
                <a:gd name="T9" fmla="*/ 2642432 h 7"/>
                <a:gd name="T10" fmla="*/ 8585865 w 10"/>
                <a:gd name="T11" fmla="*/ 3397424 h 7"/>
                <a:gd name="T12" fmla="*/ 9650293 w 10"/>
                <a:gd name="T13" fmla="*/ 2234466 h 7"/>
                <a:gd name="T14" fmla="*/ 11140513 w 10"/>
                <a:gd name="T15" fmla="*/ 1724631 h 7"/>
                <a:gd name="T16" fmla="*/ 11140513 w 10"/>
                <a:gd name="T17" fmla="*/ 1156064 h 7"/>
                <a:gd name="T18" fmla="*/ 8585865 w 10"/>
                <a:gd name="T19" fmla="*/ 505778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7"/>
                <a:gd name="T32" fmla="*/ 10 w 1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7">
                  <a:moveTo>
                    <a:pt x="7" y="1"/>
                  </a:moveTo>
                  <a:cubicBezTo>
                    <a:pt x="4" y="1"/>
                    <a:pt x="4" y="0"/>
                    <a:pt x="2" y="1"/>
                  </a:cubicBezTo>
                  <a:cubicBezTo>
                    <a:pt x="1" y="1"/>
                    <a:pt x="1" y="3"/>
                    <a:pt x="1" y="4"/>
                  </a:cubicBezTo>
                  <a:cubicBezTo>
                    <a:pt x="1" y="4"/>
                    <a:pt x="0" y="5"/>
                    <a:pt x="0" y="5"/>
                  </a:cubicBezTo>
                  <a:cubicBezTo>
                    <a:pt x="2" y="5"/>
                    <a:pt x="3" y="5"/>
                    <a:pt x="4" y="5"/>
                  </a:cubicBezTo>
                  <a:cubicBezTo>
                    <a:pt x="5" y="5"/>
                    <a:pt x="6" y="7"/>
                    <a:pt x="7" y="6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4"/>
                    <a:pt x="9" y="4"/>
                    <a:pt x="9" y="3"/>
                  </a:cubicBezTo>
                  <a:cubicBezTo>
                    <a:pt x="10" y="3"/>
                    <a:pt x="10" y="2"/>
                    <a:pt x="9" y="2"/>
                  </a:cubicBezTo>
                  <a:lnTo>
                    <a:pt x="7" y="1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9" name="Freeform 29"/>
            <p:cNvSpPr>
              <a:spLocks/>
            </p:cNvSpPr>
            <p:nvPr/>
          </p:nvSpPr>
          <p:spPr bwMode="auto">
            <a:xfrm>
              <a:off x="6615217" y="3162329"/>
              <a:ext cx="19816" cy="12167"/>
            </a:xfrm>
            <a:custGeom>
              <a:avLst/>
              <a:gdLst>
                <a:gd name="T0" fmla="*/ 31133610 w 43"/>
                <a:gd name="T1" fmla="*/ 9524393 h 25"/>
                <a:gd name="T2" fmla="*/ 27351777 w 43"/>
                <a:gd name="T3" fmla="*/ 7460446 h 25"/>
                <a:gd name="T4" fmla="*/ 25490446 w 43"/>
                <a:gd name="T5" fmla="*/ 8295957 h 25"/>
                <a:gd name="T6" fmla="*/ 24896472 w 43"/>
                <a:gd name="T7" fmla="*/ 5488568 h 25"/>
                <a:gd name="T8" fmla="*/ 20531245 w 43"/>
                <a:gd name="T9" fmla="*/ 4650620 h 25"/>
                <a:gd name="T10" fmla="*/ 17874011 w 43"/>
                <a:gd name="T11" fmla="*/ 5488568 h 25"/>
                <a:gd name="T12" fmla="*/ 17081927 w 43"/>
                <a:gd name="T13" fmla="*/ 835001 h 25"/>
                <a:gd name="T14" fmla="*/ 16494699 w 43"/>
                <a:gd name="T15" fmla="*/ 0 h 25"/>
                <a:gd name="T16" fmla="*/ 5161223 w 43"/>
                <a:gd name="T17" fmla="*/ 0 h 25"/>
                <a:gd name="T18" fmla="*/ 2508984 w 43"/>
                <a:gd name="T19" fmla="*/ 0 h 25"/>
                <a:gd name="T20" fmla="*/ 0 w 43"/>
                <a:gd name="T21" fmla="*/ 3515237 h 25"/>
                <a:gd name="T22" fmla="*/ 2508984 w 43"/>
                <a:gd name="T23" fmla="*/ 4650620 h 25"/>
                <a:gd name="T24" fmla="*/ 5161223 w 43"/>
                <a:gd name="T25" fmla="*/ 5488568 h 25"/>
                <a:gd name="T26" fmla="*/ 5893195 w 43"/>
                <a:gd name="T27" fmla="*/ 7460446 h 25"/>
                <a:gd name="T28" fmla="*/ 8402175 w 43"/>
                <a:gd name="T29" fmla="*/ 6629066 h 25"/>
                <a:gd name="T30" fmla="*/ 9470346 w 43"/>
                <a:gd name="T31" fmla="*/ 6629066 h 25"/>
                <a:gd name="T32" fmla="*/ 10262278 w 43"/>
                <a:gd name="T33" fmla="*/ 8295957 h 25"/>
                <a:gd name="T34" fmla="*/ 11330453 w 43"/>
                <a:gd name="T35" fmla="*/ 10144084 h 25"/>
                <a:gd name="T36" fmla="*/ 11330453 w 43"/>
                <a:gd name="T37" fmla="*/ 12117629 h 25"/>
                <a:gd name="T38" fmla="*/ 4369091 w 43"/>
                <a:gd name="T39" fmla="*/ 12117629 h 25"/>
                <a:gd name="T40" fmla="*/ 7022497 w 43"/>
                <a:gd name="T41" fmla="*/ 15644591 h 25"/>
                <a:gd name="T42" fmla="*/ 10262278 w 43"/>
                <a:gd name="T43" fmla="*/ 15644591 h 25"/>
                <a:gd name="T44" fmla="*/ 11330453 w 43"/>
                <a:gd name="T45" fmla="*/ 15644591 h 25"/>
                <a:gd name="T46" fmla="*/ 16494699 w 43"/>
                <a:gd name="T47" fmla="*/ 15644591 h 25"/>
                <a:gd name="T48" fmla="*/ 23036232 w 43"/>
                <a:gd name="T49" fmla="*/ 15644591 h 25"/>
                <a:gd name="T50" fmla="*/ 25490446 w 43"/>
                <a:gd name="T51" fmla="*/ 18442993 h 25"/>
                <a:gd name="T52" fmla="*/ 25490446 w 43"/>
                <a:gd name="T53" fmla="*/ 21138070 h 25"/>
                <a:gd name="T54" fmla="*/ 31720857 w 43"/>
                <a:gd name="T55" fmla="*/ 22477568 h 25"/>
                <a:gd name="T56" fmla="*/ 36233498 w 43"/>
                <a:gd name="T57" fmla="*/ 20413475 h 25"/>
                <a:gd name="T58" fmla="*/ 36233498 w 43"/>
                <a:gd name="T59" fmla="*/ 18442993 h 25"/>
                <a:gd name="T60" fmla="*/ 32512941 w 43"/>
                <a:gd name="T61" fmla="*/ 14926566 h 25"/>
                <a:gd name="T62" fmla="*/ 32512941 w 43"/>
                <a:gd name="T63" fmla="*/ 12117629 h 25"/>
                <a:gd name="T64" fmla="*/ 32512941 w 43"/>
                <a:gd name="T65" fmla="*/ 10975465 h 25"/>
                <a:gd name="T66" fmla="*/ 31133610 w 43"/>
                <a:gd name="T67" fmla="*/ 10144084 h 25"/>
                <a:gd name="T68" fmla="*/ 31133610 w 43"/>
                <a:gd name="T69" fmla="*/ 9524393 h 2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3"/>
                <a:gd name="T106" fmla="*/ 0 h 25"/>
                <a:gd name="T107" fmla="*/ 43 w 43"/>
                <a:gd name="T108" fmla="*/ 25 h 2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3" h="25">
                  <a:moveTo>
                    <a:pt x="36" y="10"/>
                  </a:moveTo>
                  <a:cubicBezTo>
                    <a:pt x="35" y="9"/>
                    <a:pt x="33" y="9"/>
                    <a:pt x="32" y="8"/>
                  </a:cubicBezTo>
                  <a:cubicBezTo>
                    <a:pt x="31" y="8"/>
                    <a:pt x="30" y="9"/>
                    <a:pt x="30" y="9"/>
                  </a:cubicBezTo>
                  <a:cubicBezTo>
                    <a:pt x="29" y="8"/>
                    <a:pt x="30" y="6"/>
                    <a:pt x="29" y="6"/>
                  </a:cubicBezTo>
                  <a:cubicBezTo>
                    <a:pt x="28" y="4"/>
                    <a:pt x="26" y="4"/>
                    <a:pt x="24" y="5"/>
                  </a:cubicBezTo>
                  <a:cubicBezTo>
                    <a:pt x="23" y="5"/>
                    <a:pt x="22" y="7"/>
                    <a:pt x="21" y="6"/>
                  </a:cubicBezTo>
                  <a:cubicBezTo>
                    <a:pt x="20" y="5"/>
                    <a:pt x="20" y="3"/>
                    <a:pt x="20" y="1"/>
                  </a:cubicBezTo>
                  <a:cubicBezTo>
                    <a:pt x="20" y="1"/>
                    <a:pt x="20" y="1"/>
                    <a:pt x="19" y="0"/>
                  </a:cubicBezTo>
                  <a:cubicBezTo>
                    <a:pt x="15" y="0"/>
                    <a:pt x="10" y="0"/>
                    <a:pt x="6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2" y="1"/>
                    <a:pt x="0" y="2"/>
                    <a:pt x="0" y="4"/>
                  </a:cubicBezTo>
                  <a:cubicBezTo>
                    <a:pt x="1" y="4"/>
                    <a:pt x="2" y="5"/>
                    <a:pt x="3" y="5"/>
                  </a:cubicBezTo>
                  <a:cubicBezTo>
                    <a:pt x="4" y="6"/>
                    <a:pt x="6" y="5"/>
                    <a:pt x="6" y="6"/>
                  </a:cubicBezTo>
                  <a:cubicBezTo>
                    <a:pt x="6" y="7"/>
                    <a:pt x="7" y="8"/>
                    <a:pt x="7" y="8"/>
                  </a:cubicBezTo>
                  <a:cubicBezTo>
                    <a:pt x="8" y="9"/>
                    <a:pt x="9" y="8"/>
                    <a:pt x="10" y="7"/>
                  </a:cubicBezTo>
                  <a:cubicBezTo>
                    <a:pt x="10" y="7"/>
                    <a:pt x="11" y="7"/>
                    <a:pt x="11" y="7"/>
                  </a:cubicBezTo>
                  <a:cubicBezTo>
                    <a:pt x="12" y="7"/>
                    <a:pt x="12" y="8"/>
                    <a:pt x="12" y="9"/>
                  </a:cubicBezTo>
                  <a:cubicBezTo>
                    <a:pt x="12" y="10"/>
                    <a:pt x="13" y="10"/>
                    <a:pt x="13" y="11"/>
                  </a:cubicBezTo>
                  <a:cubicBezTo>
                    <a:pt x="13" y="12"/>
                    <a:pt x="13" y="13"/>
                    <a:pt x="13" y="13"/>
                  </a:cubicBezTo>
                  <a:cubicBezTo>
                    <a:pt x="10" y="14"/>
                    <a:pt x="7" y="13"/>
                    <a:pt x="5" y="13"/>
                  </a:cubicBezTo>
                  <a:cubicBezTo>
                    <a:pt x="4" y="15"/>
                    <a:pt x="6" y="16"/>
                    <a:pt x="8" y="17"/>
                  </a:cubicBezTo>
                  <a:cubicBezTo>
                    <a:pt x="9" y="18"/>
                    <a:pt x="11" y="18"/>
                    <a:pt x="12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5" y="16"/>
                    <a:pt x="17" y="16"/>
                    <a:pt x="19" y="17"/>
                  </a:cubicBezTo>
                  <a:cubicBezTo>
                    <a:pt x="22" y="17"/>
                    <a:pt x="24" y="17"/>
                    <a:pt x="27" y="17"/>
                  </a:cubicBezTo>
                  <a:cubicBezTo>
                    <a:pt x="28" y="18"/>
                    <a:pt x="30" y="19"/>
                    <a:pt x="30" y="20"/>
                  </a:cubicBezTo>
                  <a:cubicBezTo>
                    <a:pt x="30" y="21"/>
                    <a:pt x="30" y="23"/>
                    <a:pt x="30" y="23"/>
                  </a:cubicBezTo>
                  <a:cubicBezTo>
                    <a:pt x="32" y="25"/>
                    <a:pt x="35" y="24"/>
                    <a:pt x="37" y="24"/>
                  </a:cubicBezTo>
                  <a:cubicBezTo>
                    <a:pt x="39" y="24"/>
                    <a:pt x="40" y="23"/>
                    <a:pt x="42" y="22"/>
                  </a:cubicBezTo>
                  <a:cubicBezTo>
                    <a:pt x="43" y="22"/>
                    <a:pt x="42" y="20"/>
                    <a:pt x="42" y="20"/>
                  </a:cubicBezTo>
                  <a:cubicBezTo>
                    <a:pt x="41" y="18"/>
                    <a:pt x="39" y="17"/>
                    <a:pt x="38" y="16"/>
                  </a:cubicBezTo>
                  <a:cubicBezTo>
                    <a:pt x="37" y="15"/>
                    <a:pt x="37" y="14"/>
                    <a:pt x="38" y="13"/>
                  </a:cubicBezTo>
                  <a:cubicBezTo>
                    <a:pt x="38" y="13"/>
                    <a:pt x="38" y="12"/>
                    <a:pt x="38" y="12"/>
                  </a:cubicBezTo>
                  <a:cubicBezTo>
                    <a:pt x="37" y="11"/>
                    <a:pt x="37" y="11"/>
                    <a:pt x="36" y="11"/>
                  </a:cubicBezTo>
                  <a:lnTo>
                    <a:pt x="36" y="1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0" name="Freeform 30"/>
            <p:cNvSpPr>
              <a:spLocks/>
            </p:cNvSpPr>
            <p:nvPr/>
          </p:nvSpPr>
          <p:spPr bwMode="auto">
            <a:xfrm>
              <a:off x="6623494" y="3172604"/>
              <a:ext cx="4515" cy="2433"/>
            </a:xfrm>
            <a:custGeom>
              <a:avLst/>
              <a:gdLst>
                <a:gd name="T0" fmla="*/ 11140513 w 10"/>
                <a:gd name="T1" fmla="*/ 1064436 h 5"/>
                <a:gd name="T2" fmla="*/ 8585865 w 10"/>
                <a:gd name="T3" fmla="*/ 1064436 h 5"/>
                <a:gd name="T4" fmla="*/ 6131150 w 10"/>
                <a:gd name="T5" fmla="*/ 0 h 5"/>
                <a:gd name="T6" fmla="*/ 1064436 w 10"/>
                <a:gd name="T7" fmla="*/ 2554647 h 5"/>
                <a:gd name="T8" fmla="*/ 6131150 w 10"/>
                <a:gd name="T9" fmla="*/ 5085394 h 5"/>
                <a:gd name="T10" fmla="*/ 11140513 w 10"/>
                <a:gd name="T11" fmla="*/ 5085394 h 5"/>
                <a:gd name="T12" fmla="*/ 12204941 w 10"/>
                <a:gd name="T13" fmla="*/ 3577445 h 5"/>
                <a:gd name="T14" fmla="*/ 12204941 w 10"/>
                <a:gd name="T15" fmla="*/ 1064436 h 5"/>
                <a:gd name="T16" fmla="*/ 11140513 w 10"/>
                <a:gd name="T17" fmla="*/ 1064436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5"/>
                <a:gd name="T29" fmla="*/ 10 w 10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5">
                  <a:moveTo>
                    <a:pt x="9" y="1"/>
                  </a:moveTo>
                  <a:cubicBezTo>
                    <a:pt x="8" y="1"/>
                    <a:pt x="8" y="1"/>
                    <a:pt x="7" y="1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0" y="4"/>
                    <a:pt x="3" y="5"/>
                    <a:pt x="5" y="4"/>
                  </a:cubicBezTo>
                  <a:cubicBezTo>
                    <a:pt x="6" y="4"/>
                    <a:pt x="8" y="4"/>
                    <a:pt x="9" y="4"/>
                  </a:cubicBezTo>
                  <a:cubicBezTo>
                    <a:pt x="9" y="4"/>
                    <a:pt x="10" y="4"/>
                    <a:pt x="10" y="3"/>
                  </a:cubicBezTo>
                  <a:cubicBezTo>
                    <a:pt x="10" y="3"/>
                    <a:pt x="10" y="2"/>
                    <a:pt x="10" y="1"/>
                  </a:cubicBezTo>
                  <a:lnTo>
                    <a:pt x="9" y="1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1" name="Freeform 31"/>
            <p:cNvSpPr>
              <a:spLocks/>
            </p:cNvSpPr>
            <p:nvPr/>
          </p:nvSpPr>
          <p:spPr bwMode="auto">
            <a:xfrm>
              <a:off x="6612207" y="3173955"/>
              <a:ext cx="4766" cy="5408"/>
            </a:xfrm>
            <a:custGeom>
              <a:avLst/>
              <a:gdLst>
                <a:gd name="T0" fmla="*/ 8585865 w 10"/>
                <a:gd name="T1" fmla="*/ 5595820 h 11"/>
                <a:gd name="T2" fmla="*/ 7196548 w 10"/>
                <a:gd name="T3" fmla="*/ 3587761 h 11"/>
                <a:gd name="T4" fmla="*/ 3577445 w 10"/>
                <a:gd name="T5" fmla="*/ 0 h 11"/>
                <a:gd name="T6" fmla="*/ 0 w 10"/>
                <a:gd name="T7" fmla="*/ 0 h 11"/>
                <a:gd name="T8" fmla="*/ 0 w 10"/>
                <a:gd name="T9" fmla="*/ 2007625 h 11"/>
                <a:gd name="T10" fmla="*/ 3577445 w 10"/>
                <a:gd name="T11" fmla="*/ 8480159 h 11"/>
                <a:gd name="T12" fmla="*/ 11140513 w 10"/>
                <a:gd name="T13" fmla="*/ 9698926 h 11"/>
                <a:gd name="T14" fmla="*/ 12204941 w 10"/>
                <a:gd name="T15" fmla="*/ 8480159 h 11"/>
                <a:gd name="T16" fmla="*/ 11140513 w 10"/>
                <a:gd name="T17" fmla="*/ 6840539 h 11"/>
                <a:gd name="T18" fmla="*/ 8585865 w 10"/>
                <a:gd name="T19" fmla="*/ 5595820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11"/>
                <a:gd name="T32" fmla="*/ 10 w 10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11">
                  <a:moveTo>
                    <a:pt x="7" y="6"/>
                  </a:moveTo>
                  <a:cubicBezTo>
                    <a:pt x="7" y="5"/>
                    <a:pt x="6" y="5"/>
                    <a:pt x="6" y="4"/>
                  </a:cubicBezTo>
                  <a:cubicBezTo>
                    <a:pt x="5" y="3"/>
                    <a:pt x="4" y="1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2" y="4"/>
                    <a:pt x="2" y="7"/>
                    <a:pt x="3" y="9"/>
                  </a:cubicBezTo>
                  <a:cubicBezTo>
                    <a:pt x="5" y="11"/>
                    <a:pt x="7" y="11"/>
                    <a:pt x="9" y="10"/>
                  </a:cubicBezTo>
                  <a:cubicBezTo>
                    <a:pt x="9" y="10"/>
                    <a:pt x="10" y="10"/>
                    <a:pt x="10" y="9"/>
                  </a:cubicBezTo>
                  <a:cubicBezTo>
                    <a:pt x="10" y="8"/>
                    <a:pt x="10" y="7"/>
                    <a:pt x="9" y="7"/>
                  </a:cubicBezTo>
                  <a:lnTo>
                    <a:pt x="7" y="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2" name="Freeform 57"/>
            <p:cNvSpPr>
              <a:spLocks/>
            </p:cNvSpPr>
            <p:nvPr/>
          </p:nvSpPr>
          <p:spPr bwMode="auto">
            <a:xfrm>
              <a:off x="6556272" y="3175578"/>
              <a:ext cx="25334" cy="12708"/>
            </a:xfrm>
            <a:custGeom>
              <a:avLst/>
              <a:gdLst>
                <a:gd name="T0" fmla="*/ 18064640 w 54"/>
                <a:gd name="T1" fmla="*/ 9343585 h 26"/>
                <a:gd name="T2" fmla="*/ 13820151 w 54"/>
                <a:gd name="T3" fmla="*/ 11820412 h 26"/>
                <a:gd name="T4" fmla="*/ 10951795 w 54"/>
                <a:gd name="T5" fmla="*/ 13633585 h 26"/>
                <a:gd name="T6" fmla="*/ 7991856 w 54"/>
                <a:gd name="T7" fmla="*/ 16241531 h 26"/>
                <a:gd name="T8" fmla="*/ 3739447 w 54"/>
                <a:gd name="T9" fmla="*/ 16241531 h 26"/>
                <a:gd name="T10" fmla="*/ 2071929 w 54"/>
                <a:gd name="T11" fmla="*/ 16821088 h 26"/>
                <a:gd name="T12" fmla="*/ 874095 w 54"/>
                <a:gd name="T13" fmla="*/ 18660434 h 26"/>
                <a:gd name="T14" fmla="*/ 874095 w 54"/>
                <a:gd name="T15" fmla="*/ 20026566 h 26"/>
                <a:gd name="T16" fmla="*/ 2984029 w 54"/>
                <a:gd name="T17" fmla="*/ 20026566 h 26"/>
                <a:gd name="T18" fmla="*/ 7991856 w 54"/>
                <a:gd name="T19" fmla="*/ 19444641 h 26"/>
                <a:gd name="T20" fmla="*/ 11641450 w 54"/>
                <a:gd name="T21" fmla="*/ 20026566 h 26"/>
                <a:gd name="T22" fmla="*/ 11641450 w 54"/>
                <a:gd name="T23" fmla="*/ 18660434 h 26"/>
                <a:gd name="T24" fmla="*/ 13820151 w 54"/>
                <a:gd name="T25" fmla="*/ 16821088 h 26"/>
                <a:gd name="T26" fmla="*/ 14972246 w 54"/>
                <a:gd name="T27" fmla="*/ 20026566 h 26"/>
                <a:gd name="T28" fmla="*/ 15887104 w 54"/>
                <a:gd name="T29" fmla="*/ 21137273 h 26"/>
                <a:gd name="T30" fmla="*/ 21766963 w 54"/>
                <a:gd name="T31" fmla="*/ 20026566 h 26"/>
                <a:gd name="T32" fmla="*/ 23876004 w 54"/>
                <a:gd name="T33" fmla="*/ 16821088 h 26"/>
                <a:gd name="T34" fmla="*/ 27594545 w 54"/>
                <a:gd name="T35" fmla="*/ 16821088 h 26"/>
                <a:gd name="T36" fmla="*/ 29000421 w 54"/>
                <a:gd name="T37" fmla="*/ 16241531 h 26"/>
                <a:gd name="T38" fmla="*/ 30580149 w 54"/>
                <a:gd name="T39" fmla="*/ 12522682 h 26"/>
                <a:gd name="T40" fmla="*/ 33951763 w 54"/>
                <a:gd name="T41" fmla="*/ 10127813 h 26"/>
                <a:gd name="T42" fmla="*/ 35489754 w 54"/>
                <a:gd name="T43" fmla="*/ 9343585 h 26"/>
                <a:gd name="T44" fmla="*/ 35489754 w 54"/>
                <a:gd name="T45" fmla="*/ 11156751 h 26"/>
                <a:gd name="T46" fmla="*/ 33951763 w 54"/>
                <a:gd name="T47" fmla="*/ 15127963 h 26"/>
                <a:gd name="T48" fmla="*/ 36902683 w 54"/>
                <a:gd name="T49" fmla="*/ 16241531 h 26"/>
                <a:gd name="T50" fmla="*/ 41900646 w 54"/>
                <a:gd name="T51" fmla="*/ 12522682 h 26"/>
                <a:gd name="T52" fmla="*/ 45648068 w 54"/>
                <a:gd name="T53" fmla="*/ 12522682 h 26"/>
                <a:gd name="T54" fmla="*/ 47731111 w 54"/>
                <a:gd name="T55" fmla="*/ 10127813 h 26"/>
                <a:gd name="T56" fmla="*/ 48605189 w 54"/>
                <a:gd name="T57" fmla="*/ 6922623 h 26"/>
                <a:gd name="T58" fmla="*/ 47731111 w 54"/>
                <a:gd name="T59" fmla="*/ 5038211 h 26"/>
                <a:gd name="T60" fmla="*/ 52895407 w 54"/>
                <a:gd name="T61" fmla="*/ 2476837 h 26"/>
                <a:gd name="T62" fmla="*/ 49803041 w 54"/>
                <a:gd name="T63" fmla="*/ 784235 h 26"/>
                <a:gd name="T64" fmla="*/ 45648068 w 54"/>
                <a:gd name="T65" fmla="*/ 784235 h 26"/>
                <a:gd name="T66" fmla="*/ 43645200 w 54"/>
                <a:gd name="T67" fmla="*/ 2476837 h 26"/>
                <a:gd name="T68" fmla="*/ 39742159 w 54"/>
                <a:gd name="T69" fmla="*/ 2476837 h 26"/>
                <a:gd name="T70" fmla="*/ 33951763 w 54"/>
                <a:gd name="T71" fmla="*/ 3198282 h 26"/>
                <a:gd name="T72" fmla="*/ 29666476 w 54"/>
                <a:gd name="T73" fmla="*/ 3198282 h 26"/>
                <a:gd name="T74" fmla="*/ 23876004 w 54"/>
                <a:gd name="T75" fmla="*/ 6922623 h 26"/>
                <a:gd name="T76" fmla="*/ 19605475 w 54"/>
                <a:gd name="T77" fmla="*/ 7503662 h 26"/>
                <a:gd name="T78" fmla="*/ 18064640 w 54"/>
                <a:gd name="T79" fmla="*/ 10127813 h 26"/>
                <a:gd name="T80" fmla="*/ 18064640 w 54"/>
                <a:gd name="T81" fmla="*/ 9343585 h 2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4"/>
                <a:gd name="T124" fmla="*/ 0 h 26"/>
                <a:gd name="T125" fmla="*/ 54 w 54"/>
                <a:gd name="T126" fmla="*/ 26 h 2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4" h="26">
                  <a:moveTo>
                    <a:pt x="18" y="11"/>
                  </a:moveTo>
                  <a:cubicBezTo>
                    <a:pt x="17" y="12"/>
                    <a:pt x="15" y="13"/>
                    <a:pt x="14" y="14"/>
                  </a:cubicBezTo>
                  <a:cubicBezTo>
                    <a:pt x="13" y="15"/>
                    <a:pt x="12" y="15"/>
                    <a:pt x="11" y="16"/>
                  </a:cubicBezTo>
                  <a:cubicBezTo>
                    <a:pt x="10" y="17"/>
                    <a:pt x="9" y="18"/>
                    <a:pt x="8" y="19"/>
                  </a:cubicBezTo>
                  <a:cubicBezTo>
                    <a:pt x="7" y="19"/>
                    <a:pt x="5" y="18"/>
                    <a:pt x="4" y="19"/>
                  </a:cubicBezTo>
                  <a:cubicBezTo>
                    <a:pt x="3" y="19"/>
                    <a:pt x="3" y="19"/>
                    <a:pt x="2" y="20"/>
                  </a:cubicBezTo>
                  <a:cubicBezTo>
                    <a:pt x="2" y="20"/>
                    <a:pt x="2" y="21"/>
                    <a:pt x="1" y="22"/>
                  </a:cubicBezTo>
                  <a:cubicBezTo>
                    <a:pt x="1" y="23"/>
                    <a:pt x="0" y="24"/>
                    <a:pt x="1" y="24"/>
                  </a:cubicBezTo>
                  <a:cubicBezTo>
                    <a:pt x="1" y="24"/>
                    <a:pt x="2" y="24"/>
                    <a:pt x="3" y="24"/>
                  </a:cubicBezTo>
                  <a:cubicBezTo>
                    <a:pt x="4" y="23"/>
                    <a:pt x="6" y="22"/>
                    <a:pt x="8" y="23"/>
                  </a:cubicBezTo>
                  <a:cubicBezTo>
                    <a:pt x="9" y="24"/>
                    <a:pt x="10" y="24"/>
                    <a:pt x="12" y="24"/>
                  </a:cubicBezTo>
                  <a:cubicBezTo>
                    <a:pt x="12" y="24"/>
                    <a:pt x="12" y="23"/>
                    <a:pt x="12" y="22"/>
                  </a:cubicBezTo>
                  <a:cubicBezTo>
                    <a:pt x="13" y="21"/>
                    <a:pt x="14" y="20"/>
                    <a:pt x="14" y="20"/>
                  </a:cubicBezTo>
                  <a:cubicBezTo>
                    <a:pt x="15" y="21"/>
                    <a:pt x="14" y="23"/>
                    <a:pt x="15" y="24"/>
                  </a:cubicBezTo>
                  <a:cubicBezTo>
                    <a:pt x="15" y="25"/>
                    <a:pt x="15" y="25"/>
                    <a:pt x="16" y="25"/>
                  </a:cubicBezTo>
                  <a:cubicBezTo>
                    <a:pt x="18" y="25"/>
                    <a:pt x="20" y="26"/>
                    <a:pt x="22" y="24"/>
                  </a:cubicBezTo>
                  <a:cubicBezTo>
                    <a:pt x="22" y="23"/>
                    <a:pt x="22" y="20"/>
                    <a:pt x="24" y="20"/>
                  </a:cubicBezTo>
                  <a:cubicBezTo>
                    <a:pt x="25" y="19"/>
                    <a:pt x="27" y="20"/>
                    <a:pt x="28" y="20"/>
                  </a:cubicBezTo>
                  <a:cubicBezTo>
                    <a:pt x="29" y="20"/>
                    <a:pt x="29" y="19"/>
                    <a:pt x="29" y="19"/>
                  </a:cubicBezTo>
                  <a:cubicBezTo>
                    <a:pt x="29" y="17"/>
                    <a:pt x="30" y="16"/>
                    <a:pt x="31" y="15"/>
                  </a:cubicBezTo>
                  <a:cubicBezTo>
                    <a:pt x="32" y="14"/>
                    <a:pt x="33" y="12"/>
                    <a:pt x="34" y="12"/>
                  </a:cubicBezTo>
                  <a:cubicBezTo>
                    <a:pt x="35" y="11"/>
                    <a:pt x="35" y="11"/>
                    <a:pt x="36" y="11"/>
                  </a:cubicBezTo>
                  <a:cubicBezTo>
                    <a:pt x="36" y="12"/>
                    <a:pt x="36" y="12"/>
                    <a:pt x="36" y="13"/>
                  </a:cubicBezTo>
                  <a:cubicBezTo>
                    <a:pt x="34" y="14"/>
                    <a:pt x="33" y="16"/>
                    <a:pt x="34" y="18"/>
                  </a:cubicBezTo>
                  <a:cubicBezTo>
                    <a:pt x="34" y="19"/>
                    <a:pt x="36" y="19"/>
                    <a:pt x="37" y="19"/>
                  </a:cubicBezTo>
                  <a:cubicBezTo>
                    <a:pt x="39" y="18"/>
                    <a:pt x="39" y="15"/>
                    <a:pt x="42" y="15"/>
                  </a:cubicBezTo>
                  <a:cubicBezTo>
                    <a:pt x="43" y="15"/>
                    <a:pt x="44" y="15"/>
                    <a:pt x="46" y="15"/>
                  </a:cubicBezTo>
                  <a:cubicBezTo>
                    <a:pt x="47" y="14"/>
                    <a:pt x="47" y="13"/>
                    <a:pt x="48" y="12"/>
                  </a:cubicBezTo>
                  <a:cubicBezTo>
                    <a:pt x="49" y="11"/>
                    <a:pt x="49" y="9"/>
                    <a:pt x="49" y="8"/>
                  </a:cubicBezTo>
                  <a:cubicBezTo>
                    <a:pt x="48" y="7"/>
                    <a:pt x="48" y="6"/>
                    <a:pt x="48" y="6"/>
                  </a:cubicBezTo>
                  <a:cubicBezTo>
                    <a:pt x="50" y="5"/>
                    <a:pt x="54" y="6"/>
                    <a:pt x="53" y="3"/>
                  </a:cubicBezTo>
                  <a:cubicBezTo>
                    <a:pt x="52" y="2"/>
                    <a:pt x="51" y="2"/>
                    <a:pt x="50" y="1"/>
                  </a:cubicBezTo>
                  <a:cubicBezTo>
                    <a:pt x="49" y="0"/>
                    <a:pt x="47" y="0"/>
                    <a:pt x="46" y="1"/>
                  </a:cubicBezTo>
                  <a:cubicBezTo>
                    <a:pt x="45" y="1"/>
                    <a:pt x="45" y="3"/>
                    <a:pt x="44" y="3"/>
                  </a:cubicBezTo>
                  <a:cubicBezTo>
                    <a:pt x="42" y="4"/>
                    <a:pt x="41" y="3"/>
                    <a:pt x="40" y="3"/>
                  </a:cubicBezTo>
                  <a:cubicBezTo>
                    <a:pt x="38" y="2"/>
                    <a:pt x="36" y="3"/>
                    <a:pt x="34" y="4"/>
                  </a:cubicBezTo>
                  <a:cubicBezTo>
                    <a:pt x="33" y="4"/>
                    <a:pt x="31" y="3"/>
                    <a:pt x="30" y="4"/>
                  </a:cubicBezTo>
                  <a:cubicBezTo>
                    <a:pt x="28" y="5"/>
                    <a:pt x="26" y="7"/>
                    <a:pt x="24" y="8"/>
                  </a:cubicBezTo>
                  <a:cubicBezTo>
                    <a:pt x="23" y="9"/>
                    <a:pt x="22" y="9"/>
                    <a:pt x="20" y="9"/>
                  </a:cubicBezTo>
                  <a:cubicBezTo>
                    <a:pt x="19" y="10"/>
                    <a:pt x="19" y="11"/>
                    <a:pt x="18" y="12"/>
                  </a:cubicBezTo>
                  <a:cubicBezTo>
                    <a:pt x="18" y="11"/>
                    <a:pt x="18" y="11"/>
                    <a:pt x="18" y="1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3" name="Freeform 61"/>
            <p:cNvSpPr>
              <a:spLocks/>
            </p:cNvSpPr>
            <p:nvPr/>
          </p:nvSpPr>
          <p:spPr bwMode="auto">
            <a:xfrm>
              <a:off x="6590887" y="3166926"/>
              <a:ext cx="12040" cy="3785"/>
            </a:xfrm>
            <a:custGeom>
              <a:avLst/>
              <a:gdLst>
                <a:gd name="T0" fmla="*/ 16241531 w 26"/>
                <a:gd name="T1" fmla="*/ 0 h 8"/>
                <a:gd name="T2" fmla="*/ 9343585 w 26"/>
                <a:gd name="T3" fmla="*/ 3065115 h 8"/>
                <a:gd name="T4" fmla="*/ 3198282 w 26"/>
                <a:gd name="T5" fmla="*/ 3065115 h 8"/>
                <a:gd name="T6" fmla="*/ 784235 w 26"/>
                <a:gd name="T7" fmla="*/ 5058432 h 8"/>
                <a:gd name="T8" fmla="*/ 0 w 26"/>
                <a:gd name="T9" fmla="*/ 8176458 h 8"/>
                <a:gd name="T10" fmla="*/ 1839936 w 26"/>
                <a:gd name="T11" fmla="*/ 8176458 h 8"/>
                <a:gd name="T12" fmla="*/ 6922623 w 26"/>
                <a:gd name="T13" fmla="*/ 5955246 h 8"/>
                <a:gd name="T14" fmla="*/ 9343585 w 26"/>
                <a:gd name="T15" fmla="*/ 7279645 h 8"/>
                <a:gd name="T16" fmla="*/ 11156751 w 26"/>
                <a:gd name="T17" fmla="*/ 7279645 h 8"/>
                <a:gd name="T18" fmla="*/ 13633585 w 26"/>
                <a:gd name="T19" fmla="*/ 5955246 h 8"/>
                <a:gd name="T20" fmla="*/ 15127963 w 26"/>
                <a:gd name="T21" fmla="*/ 8176458 h 8"/>
                <a:gd name="T22" fmla="*/ 18660434 w 26"/>
                <a:gd name="T23" fmla="*/ 8176458 h 8"/>
                <a:gd name="T24" fmla="*/ 20026566 w 26"/>
                <a:gd name="T25" fmla="*/ 7279645 h 8"/>
                <a:gd name="T26" fmla="*/ 21137273 w 26"/>
                <a:gd name="T27" fmla="*/ 5058432 h 8"/>
                <a:gd name="T28" fmla="*/ 21137273 w 26"/>
                <a:gd name="T29" fmla="*/ 3065115 h 8"/>
                <a:gd name="T30" fmla="*/ 16241531 w 26"/>
                <a:gd name="T31" fmla="*/ 0 h 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6"/>
                <a:gd name="T49" fmla="*/ 0 h 8"/>
                <a:gd name="T50" fmla="*/ 26 w 26"/>
                <a:gd name="T51" fmla="*/ 8 h 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6" h="8">
                  <a:moveTo>
                    <a:pt x="19" y="0"/>
                  </a:moveTo>
                  <a:cubicBezTo>
                    <a:pt x="16" y="1"/>
                    <a:pt x="14" y="2"/>
                    <a:pt x="11" y="3"/>
                  </a:cubicBezTo>
                  <a:cubicBezTo>
                    <a:pt x="9" y="3"/>
                    <a:pt x="7" y="3"/>
                    <a:pt x="4" y="3"/>
                  </a:cubicBezTo>
                  <a:cubicBezTo>
                    <a:pt x="3" y="4"/>
                    <a:pt x="2" y="5"/>
                    <a:pt x="1" y="5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1" y="8"/>
                    <a:pt x="2" y="8"/>
                    <a:pt x="2" y="8"/>
                  </a:cubicBezTo>
                  <a:cubicBezTo>
                    <a:pt x="4" y="7"/>
                    <a:pt x="6" y="5"/>
                    <a:pt x="8" y="6"/>
                  </a:cubicBezTo>
                  <a:cubicBezTo>
                    <a:pt x="9" y="6"/>
                    <a:pt x="10" y="7"/>
                    <a:pt x="11" y="7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4" y="7"/>
                    <a:pt x="15" y="6"/>
                    <a:pt x="16" y="6"/>
                  </a:cubicBezTo>
                  <a:cubicBezTo>
                    <a:pt x="16" y="7"/>
                    <a:pt x="17" y="7"/>
                    <a:pt x="18" y="8"/>
                  </a:cubicBezTo>
                  <a:cubicBezTo>
                    <a:pt x="19" y="8"/>
                    <a:pt x="21" y="8"/>
                    <a:pt x="22" y="8"/>
                  </a:cubicBezTo>
                  <a:cubicBezTo>
                    <a:pt x="23" y="8"/>
                    <a:pt x="24" y="8"/>
                    <a:pt x="24" y="7"/>
                  </a:cubicBezTo>
                  <a:cubicBezTo>
                    <a:pt x="24" y="6"/>
                    <a:pt x="25" y="6"/>
                    <a:pt x="25" y="5"/>
                  </a:cubicBezTo>
                  <a:cubicBezTo>
                    <a:pt x="25" y="5"/>
                    <a:pt x="26" y="4"/>
                    <a:pt x="25" y="3"/>
                  </a:cubicBezTo>
                  <a:cubicBezTo>
                    <a:pt x="24" y="1"/>
                    <a:pt x="21" y="0"/>
                    <a:pt x="19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4" name="Freeform 62"/>
            <p:cNvSpPr>
              <a:spLocks/>
            </p:cNvSpPr>
            <p:nvPr/>
          </p:nvSpPr>
          <p:spPr bwMode="auto">
            <a:xfrm>
              <a:off x="6588880" y="3171252"/>
              <a:ext cx="12792" cy="6760"/>
            </a:xfrm>
            <a:custGeom>
              <a:avLst/>
              <a:gdLst>
                <a:gd name="T0" fmla="*/ 16766227 w 27"/>
                <a:gd name="T1" fmla="*/ 826407 h 14"/>
                <a:gd name="T2" fmla="*/ 7073252 w 27"/>
                <a:gd name="T3" fmla="*/ 2769339 h 14"/>
                <a:gd name="T4" fmla="*/ 874095 w 27"/>
                <a:gd name="T5" fmla="*/ 5415918 h 14"/>
                <a:gd name="T6" fmla="*/ 0 w 27"/>
                <a:gd name="T7" fmla="*/ 9297269 h 14"/>
                <a:gd name="T8" fmla="*/ 5830377 w 27"/>
                <a:gd name="T9" fmla="*/ 12766089 h 14"/>
                <a:gd name="T10" fmla="*/ 7991856 w 27"/>
                <a:gd name="T11" fmla="*/ 12766089 h 14"/>
                <a:gd name="T12" fmla="*/ 14972246 w 27"/>
                <a:gd name="T13" fmla="*/ 10823097 h 14"/>
                <a:gd name="T14" fmla="*/ 19605475 w 27"/>
                <a:gd name="T15" fmla="*/ 10823097 h 14"/>
                <a:gd name="T16" fmla="*/ 21766963 w 27"/>
                <a:gd name="T17" fmla="*/ 9969095 h 14"/>
                <a:gd name="T18" fmla="*/ 21766963 w 27"/>
                <a:gd name="T19" fmla="*/ 8174845 h 14"/>
                <a:gd name="T20" fmla="*/ 21010663 w 27"/>
                <a:gd name="T21" fmla="*/ 7350477 h 14"/>
                <a:gd name="T22" fmla="*/ 16766227 w 27"/>
                <a:gd name="T23" fmla="*/ 5415918 h 14"/>
                <a:gd name="T24" fmla="*/ 16766227 w 27"/>
                <a:gd name="T25" fmla="*/ 4591618 h 14"/>
                <a:gd name="T26" fmla="*/ 24755278 w 27"/>
                <a:gd name="T27" fmla="*/ 3468116 h 14"/>
                <a:gd name="T28" fmla="*/ 25959805 w 27"/>
                <a:gd name="T29" fmla="*/ 1947959 h 14"/>
                <a:gd name="T30" fmla="*/ 21766963 w 27"/>
                <a:gd name="T31" fmla="*/ 826407 h 14"/>
                <a:gd name="T32" fmla="*/ 18943658 w 27"/>
                <a:gd name="T33" fmla="*/ 826407 h 14"/>
                <a:gd name="T34" fmla="*/ 16766227 w 27"/>
                <a:gd name="T35" fmla="*/ 826407 h 1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7"/>
                <a:gd name="T55" fmla="*/ 0 h 14"/>
                <a:gd name="T56" fmla="*/ 27 w 27"/>
                <a:gd name="T57" fmla="*/ 14 h 1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7" h="14">
                  <a:moveTo>
                    <a:pt x="17" y="1"/>
                  </a:moveTo>
                  <a:cubicBezTo>
                    <a:pt x="14" y="2"/>
                    <a:pt x="10" y="2"/>
                    <a:pt x="7" y="3"/>
                  </a:cubicBezTo>
                  <a:cubicBezTo>
                    <a:pt x="5" y="4"/>
                    <a:pt x="2" y="4"/>
                    <a:pt x="1" y="6"/>
                  </a:cubicBezTo>
                  <a:cubicBezTo>
                    <a:pt x="0" y="8"/>
                    <a:pt x="0" y="9"/>
                    <a:pt x="0" y="10"/>
                  </a:cubicBezTo>
                  <a:cubicBezTo>
                    <a:pt x="1" y="12"/>
                    <a:pt x="3" y="13"/>
                    <a:pt x="6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10" y="12"/>
                    <a:pt x="12" y="11"/>
                    <a:pt x="15" y="12"/>
                  </a:cubicBezTo>
                  <a:cubicBezTo>
                    <a:pt x="17" y="12"/>
                    <a:pt x="18" y="12"/>
                    <a:pt x="20" y="12"/>
                  </a:cubicBezTo>
                  <a:cubicBezTo>
                    <a:pt x="21" y="12"/>
                    <a:pt x="22" y="12"/>
                    <a:pt x="22" y="11"/>
                  </a:cubicBezTo>
                  <a:cubicBezTo>
                    <a:pt x="22" y="10"/>
                    <a:pt x="22" y="10"/>
                    <a:pt x="22" y="9"/>
                  </a:cubicBezTo>
                  <a:cubicBezTo>
                    <a:pt x="22" y="9"/>
                    <a:pt x="21" y="8"/>
                    <a:pt x="21" y="8"/>
                  </a:cubicBezTo>
                  <a:cubicBezTo>
                    <a:pt x="20" y="7"/>
                    <a:pt x="18" y="7"/>
                    <a:pt x="17" y="6"/>
                  </a:cubicBezTo>
                  <a:cubicBezTo>
                    <a:pt x="17" y="6"/>
                    <a:pt x="17" y="6"/>
                    <a:pt x="17" y="5"/>
                  </a:cubicBezTo>
                  <a:cubicBezTo>
                    <a:pt x="20" y="5"/>
                    <a:pt x="23" y="5"/>
                    <a:pt x="25" y="4"/>
                  </a:cubicBezTo>
                  <a:cubicBezTo>
                    <a:pt x="26" y="4"/>
                    <a:pt x="27" y="3"/>
                    <a:pt x="26" y="2"/>
                  </a:cubicBezTo>
                  <a:cubicBezTo>
                    <a:pt x="25" y="1"/>
                    <a:pt x="24" y="1"/>
                    <a:pt x="22" y="1"/>
                  </a:cubicBezTo>
                  <a:cubicBezTo>
                    <a:pt x="20" y="0"/>
                    <a:pt x="20" y="0"/>
                    <a:pt x="19" y="1"/>
                  </a:cubicBezTo>
                  <a:cubicBezTo>
                    <a:pt x="18" y="1"/>
                    <a:pt x="17" y="1"/>
                    <a:pt x="17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5" name="Freeform 63"/>
            <p:cNvSpPr>
              <a:spLocks/>
            </p:cNvSpPr>
            <p:nvPr/>
          </p:nvSpPr>
          <p:spPr bwMode="auto">
            <a:xfrm>
              <a:off x="6583863" y="3172063"/>
              <a:ext cx="5017" cy="2433"/>
            </a:xfrm>
            <a:custGeom>
              <a:avLst/>
              <a:gdLst>
                <a:gd name="T0" fmla="*/ 7630664 w 11"/>
                <a:gd name="T1" fmla="*/ 2554647 h 5"/>
                <a:gd name="T2" fmla="*/ 5595820 w 11"/>
                <a:gd name="T3" fmla="*/ 0 h 5"/>
                <a:gd name="T4" fmla="*/ 3587761 w 11"/>
                <a:gd name="T5" fmla="*/ 0 h 5"/>
                <a:gd name="T6" fmla="*/ 849380 w 11"/>
                <a:gd name="T7" fmla="*/ 2554647 h 5"/>
                <a:gd name="T8" fmla="*/ 849380 w 11"/>
                <a:gd name="T9" fmla="*/ 2554647 h 5"/>
                <a:gd name="T10" fmla="*/ 4745295 w 11"/>
                <a:gd name="T11" fmla="*/ 5085394 h 5"/>
                <a:gd name="T12" fmla="*/ 9698926 w 11"/>
                <a:gd name="T13" fmla="*/ 6131150 h 5"/>
                <a:gd name="T14" fmla="*/ 9698926 w 11"/>
                <a:gd name="T15" fmla="*/ 3577445 h 5"/>
                <a:gd name="T16" fmla="*/ 8480159 w 11"/>
                <a:gd name="T17" fmla="*/ 3577445 h 5"/>
                <a:gd name="T18" fmla="*/ 7630664 w 11"/>
                <a:gd name="T19" fmla="*/ 2554647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5"/>
                <a:gd name="T32" fmla="*/ 11 w 11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5">
                  <a:moveTo>
                    <a:pt x="8" y="2"/>
                  </a:moveTo>
                  <a:cubicBezTo>
                    <a:pt x="7" y="1"/>
                    <a:pt x="7" y="1"/>
                    <a:pt x="6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1"/>
                    <a:pt x="2" y="1"/>
                    <a:pt x="1" y="2"/>
                  </a:cubicBezTo>
                  <a:cubicBezTo>
                    <a:pt x="1" y="2"/>
                    <a:pt x="0" y="2"/>
                    <a:pt x="1" y="2"/>
                  </a:cubicBezTo>
                  <a:cubicBezTo>
                    <a:pt x="2" y="3"/>
                    <a:pt x="3" y="4"/>
                    <a:pt x="5" y="4"/>
                  </a:cubicBezTo>
                  <a:cubicBezTo>
                    <a:pt x="7" y="5"/>
                    <a:pt x="8" y="5"/>
                    <a:pt x="10" y="5"/>
                  </a:cubicBezTo>
                  <a:cubicBezTo>
                    <a:pt x="10" y="5"/>
                    <a:pt x="11" y="3"/>
                    <a:pt x="10" y="3"/>
                  </a:cubicBezTo>
                  <a:cubicBezTo>
                    <a:pt x="10" y="3"/>
                    <a:pt x="9" y="3"/>
                    <a:pt x="9" y="3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6" name="Freeform 77"/>
            <p:cNvSpPr>
              <a:spLocks/>
            </p:cNvSpPr>
            <p:nvPr/>
          </p:nvSpPr>
          <p:spPr bwMode="auto">
            <a:xfrm>
              <a:off x="6496575" y="3350783"/>
              <a:ext cx="206934" cy="117885"/>
            </a:xfrm>
            <a:custGeom>
              <a:avLst/>
              <a:gdLst>
                <a:gd name="T0" fmla="*/ 32689556 w 444"/>
                <a:gd name="T1" fmla="*/ 147477504 h 243"/>
                <a:gd name="T2" fmla="*/ 22511005 w 444"/>
                <a:gd name="T3" fmla="*/ 140766081 h 243"/>
                <a:gd name="T4" fmla="*/ 16509635 w 444"/>
                <a:gd name="T5" fmla="*/ 133139810 h 243"/>
                <a:gd name="T6" fmla="*/ 11009393 w 444"/>
                <a:gd name="T7" fmla="*/ 116546783 h 243"/>
                <a:gd name="T8" fmla="*/ 1976091 w 444"/>
                <a:gd name="T9" fmla="*/ 98645395 h 243"/>
                <a:gd name="T10" fmla="*/ 2813201 w 444"/>
                <a:gd name="T11" fmla="*/ 78761000 h 243"/>
                <a:gd name="T12" fmla="*/ 8346470 w 444"/>
                <a:gd name="T13" fmla="*/ 49669535 h 243"/>
                <a:gd name="T14" fmla="*/ 13849396 w 444"/>
                <a:gd name="T15" fmla="*/ 27431288 h 243"/>
                <a:gd name="T16" fmla="*/ 14949994 w 444"/>
                <a:gd name="T17" fmla="*/ 6694551 h 243"/>
                <a:gd name="T18" fmla="*/ 28023824 w 444"/>
                <a:gd name="T19" fmla="*/ 15813460 h 243"/>
                <a:gd name="T20" fmla="*/ 218247772 w 444"/>
                <a:gd name="T21" fmla="*/ 0 h 243"/>
                <a:gd name="T22" fmla="*/ 246916814 w 444"/>
                <a:gd name="T23" fmla="*/ 8420939 h 243"/>
                <a:gd name="T24" fmla="*/ 277550280 w 444"/>
                <a:gd name="T25" fmla="*/ 11102003 h 243"/>
                <a:gd name="T26" fmla="*/ 290524327 w 444"/>
                <a:gd name="T27" fmla="*/ 21514771 h 243"/>
                <a:gd name="T28" fmla="*/ 303588560 w 444"/>
                <a:gd name="T29" fmla="*/ 35845606 h 243"/>
                <a:gd name="T30" fmla="*/ 298092283 w 444"/>
                <a:gd name="T31" fmla="*/ 69561696 h 243"/>
                <a:gd name="T32" fmla="*/ 322075275 w 444"/>
                <a:gd name="T33" fmla="*/ 62799893 h 243"/>
                <a:gd name="T34" fmla="*/ 339723363 w 444"/>
                <a:gd name="T35" fmla="*/ 53746965 h 243"/>
                <a:gd name="T36" fmla="*/ 364870220 w 444"/>
                <a:gd name="T37" fmla="*/ 40562108 h 243"/>
                <a:gd name="T38" fmla="*/ 391693574 w 444"/>
                <a:gd name="T39" fmla="*/ 30302364 h 243"/>
                <a:gd name="T40" fmla="*/ 403893424 w 444"/>
                <a:gd name="T41" fmla="*/ 18674029 h 243"/>
                <a:gd name="T42" fmla="*/ 408557042 w 444"/>
                <a:gd name="T43" fmla="*/ 37353596 h 243"/>
                <a:gd name="T44" fmla="*/ 402701537 w 444"/>
                <a:gd name="T45" fmla="*/ 46986334 h 243"/>
                <a:gd name="T46" fmla="*/ 396329699 w 444"/>
                <a:gd name="T47" fmla="*/ 48977976 h 243"/>
                <a:gd name="T48" fmla="*/ 384192691 w 444"/>
                <a:gd name="T49" fmla="*/ 69561696 h 243"/>
                <a:gd name="T50" fmla="*/ 376704195 w 444"/>
                <a:gd name="T51" fmla="*/ 75142732 h 243"/>
                <a:gd name="T52" fmla="*/ 372347538 w 444"/>
                <a:gd name="T53" fmla="*/ 77982628 h 243"/>
                <a:gd name="T54" fmla="*/ 358230396 w 444"/>
                <a:gd name="T55" fmla="*/ 91096905 h 243"/>
                <a:gd name="T56" fmla="*/ 347220923 w 444"/>
                <a:gd name="T57" fmla="*/ 96655680 h 243"/>
                <a:gd name="T58" fmla="*/ 342556701 w 444"/>
                <a:gd name="T59" fmla="*/ 116546783 h 243"/>
                <a:gd name="T60" fmla="*/ 341724646 w 444"/>
                <a:gd name="T61" fmla="*/ 99517912 h 243"/>
                <a:gd name="T62" fmla="*/ 339025754 w 444"/>
                <a:gd name="T63" fmla="*/ 111766266 h 243"/>
                <a:gd name="T64" fmla="*/ 337897918 w 444"/>
                <a:gd name="T65" fmla="*/ 126957808 h 243"/>
                <a:gd name="T66" fmla="*/ 335084520 w 444"/>
                <a:gd name="T67" fmla="*/ 136375525 h 243"/>
                <a:gd name="T68" fmla="*/ 324048460 w 444"/>
                <a:gd name="T69" fmla="*/ 146324856 h 243"/>
                <a:gd name="T70" fmla="*/ 304370915 w 444"/>
                <a:gd name="T71" fmla="*/ 160591232 h 243"/>
                <a:gd name="T72" fmla="*/ 296025741 w 444"/>
                <a:gd name="T73" fmla="*/ 174631184 h 243"/>
                <a:gd name="T74" fmla="*/ 298865725 w 444"/>
                <a:gd name="T75" fmla="*/ 198012206 h 243"/>
                <a:gd name="T76" fmla="*/ 298865725 w 444"/>
                <a:gd name="T77" fmla="*/ 227470993 h 243"/>
                <a:gd name="T78" fmla="*/ 290524327 w 444"/>
                <a:gd name="T79" fmla="*/ 221619842 h 243"/>
                <a:gd name="T80" fmla="*/ 285864184 w 444"/>
                <a:gd name="T81" fmla="*/ 209640130 h 243"/>
                <a:gd name="T82" fmla="*/ 285075484 w 444"/>
                <a:gd name="T83" fmla="*/ 197297895 h 243"/>
                <a:gd name="T84" fmla="*/ 266239889 w 444"/>
                <a:gd name="T85" fmla="*/ 184890201 h 243"/>
                <a:gd name="T86" fmla="*/ 244232726 w 444"/>
                <a:gd name="T87" fmla="*/ 179338228 h 243"/>
                <a:gd name="T88" fmla="*/ 232713113 w 444"/>
                <a:gd name="T89" fmla="*/ 186044436 h 243"/>
                <a:gd name="T90" fmla="*/ 223744351 w 444"/>
                <a:gd name="T91" fmla="*/ 186910378 h 243"/>
                <a:gd name="T92" fmla="*/ 208796514 w 444"/>
                <a:gd name="T93" fmla="*/ 184205823 h 243"/>
                <a:gd name="T94" fmla="*/ 195731979 w 444"/>
                <a:gd name="T95" fmla="*/ 190959803 h 243"/>
                <a:gd name="T96" fmla="*/ 175396480 w 444"/>
                <a:gd name="T97" fmla="*/ 210482639 h 243"/>
                <a:gd name="T98" fmla="*/ 163283491 w 444"/>
                <a:gd name="T99" fmla="*/ 212344836 h 243"/>
                <a:gd name="T100" fmla="*/ 154100030 w 444"/>
                <a:gd name="T101" fmla="*/ 188904099 h 243"/>
                <a:gd name="T102" fmla="*/ 138424749 w 444"/>
                <a:gd name="T103" fmla="*/ 191737759 h 243"/>
                <a:gd name="T104" fmla="*/ 122602031 w 444"/>
                <a:gd name="T105" fmla="*/ 174631184 h 243"/>
                <a:gd name="T106" fmla="*/ 103825426 w 444"/>
                <a:gd name="T107" fmla="*/ 166153031 h 243"/>
                <a:gd name="T108" fmla="*/ 75178420 w 444"/>
                <a:gd name="T109" fmla="*/ 166995389 h 243"/>
                <a:gd name="T110" fmla="*/ 54631961 w 444"/>
                <a:gd name="T111" fmla="*/ 157974549 h 24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44"/>
                <a:gd name="T169" fmla="*/ 0 h 243"/>
                <a:gd name="T170" fmla="*/ 444 w 444"/>
                <a:gd name="T171" fmla="*/ 243 h 24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44" h="243">
                  <a:moveTo>
                    <a:pt x="43" y="168"/>
                  </a:moveTo>
                  <a:cubicBezTo>
                    <a:pt x="43" y="167"/>
                    <a:pt x="42" y="166"/>
                    <a:pt x="42" y="165"/>
                  </a:cubicBezTo>
                  <a:cubicBezTo>
                    <a:pt x="41" y="164"/>
                    <a:pt x="41" y="162"/>
                    <a:pt x="40" y="161"/>
                  </a:cubicBezTo>
                  <a:cubicBezTo>
                    <a:pt x="39" y="160"/>
                    <a:pt x="39" y="160"/>
                    <a:pt x="38" y="159"/>
                  </a:cubicBezTo>
                  <a:cubicBezTo>
                    <a:pt x="37" y="159"/>
                    <a:pt x="36" y="158"/>
                    <a:pt x="35" y="157"/>
                  </a:cubicBezTo>
                  <a:cubicBezTo>
                    <a:pt x="35" y="156"/>
                    <a:pt x="35" y="156"/>
                    <a:pt x="35" y="155"/>
                  </a:cubicBezTo>
                  <a:cubicBezTo>
                    <a:pt x="35" y="155"/>
                    <a:pt x="34" y="155"/>
                    <a:pt x="34" y="154"/>
                  </a:cubicBezTo>
                  <a:cubicBezTo>
                    <a:pt x="33" y="154"/>
                    <a:pt x="31" y="155"/>
                    <a:pt x="30" y="154"/>
                  </a:cubicBezTo>
                  <a:cubicBezTo>
                    <a:pt x="29" y="154"/>
                    <a:pt x="28" y="153"/>
                    <a:pt x="27" y="152"/>
                  </a:cubicBezTo>
                  <a:cubicBezTo>
                    <a:pt x="26" y="151"/>
                    <a:pt x="25" y="150"/>
                    <a:pt x="24" y="150"/>
                  </a:cubicBezTo>
                  <a:cubicBezTo>
                    <a:pt x="22" y="150"/>
                    <a:pt x="21" y="150"/>
                    <a:pt x="19" y="150"/>
                  </a:cubicBezTo>
                  <a:cubicBezTo>
                    <a:pt x="19" y="150"/>
                    <a:pt x="19" y="150"/>
                    <a:pt x="19" y="149"/>
                  </a:cubicBezTo>
                  <a:cubicBezTo>
                    <a:pt x="18" y="148"/>
                    <a:pt x="19" y="146"/>
                    <a:pt x="18" y="145"/>
                  </a:cubicBezTo>
                  <a:cubicBezTo>
                    <a:pt x="17" y="145"/>
                    <a:pt x="17" y="144"/>
                    <a:pt x="17" y="143"/>
                  </a:cubicBezTo>
                  <a:cubicBezTo>
                    <a:pt x="17" y="142"/>
                    <a:pt x="17" y="142"/>
                    <a:pt x="18" y="142"/>
                  </a:cubicBezTo>
                  <a:cubicBezTo>
                    <a:pt x="18" y="142"/>
                    <a:pt x="18" y="141"/>
                    <a:pt x="18" y="140"/>
                  </a:cubicBezTo>
                  <a:cubicBezTo>
                    <a:pt x="17" y="139"/>
                    <a:pt x="16" y="138"/>
                    <a:pt x="15" y="136"/>
                  </a:cubicBezTo>
                  <a:cubicBezTo>
                    <a:pt x="14" y="134"/>
                    <a:pt x="13" y="132"/>
                    <a:pt x="12" y="130"/>
                  </a:cubicBezTo>
                  <a:cubicBezTo>
                    <a:pt x="12" y="129"/>
                    <a:pt x="12" y="128"/>
                    <a:pt x="13" y="127"/>
                  </a:cubicBezTo>
                  <a:cubicBezTo>
                    <a:pt x="13" y="126"/>
                    <a:pt x="12" y="125"/>
                    <a:pt x="12" y="124"/>
                  </a:cubicBezTo>
                  <a:cubicBezTo>
                    <a:pt x="11" y="124"/>
                    <a:pt x="10" y="123"/>
                    <a:pt x="10" y="122"/>
                  </a:cubicBezTo>
                  <a:cubicBezTo>
                    <a:pt x="9" y="120"/>
                    <a:pt x="10" y="118"/>
                    <a:pt x="10" y="116"/>
                  </a:cubicBezTo>
                  <a:cubicBezTo>
                    <a:pt x="9" y="115"/>
                    <a:pt x="9" y="114"/>
                    <a:pt x="8" y="113"/>
                  </a:cubicBezTo>
                  <a:cubicBezTo>
                    <a:pt x="7" y="111"/>
                    <a:pt x="5" y="109"/>
                    <a:pt x="3" y="107"/>
                  </a:cubicBezTo>
                  <a:cubicBezTo>
                    <a:pt x="3" y="107"/>
                    <a:pt x="2" y="106"/>
                    <a:pt x="2" y="105"/>
                  </a:cubicBezTo>
                  <a:cubicBezTo>
                    <a:pt x="2" y="103"/>
                    <a:pt x="3" y="100"/>
                    <a:pt x="2" y="98"/>
                  </a:cubicBezTo>
                  <a:cubicBezTo>
                    <a:pt x="1" y="97"/>
                    <a:pt x="1" y="96"/>
                    <a:pt x="0" y="95"/>
                  </a:cubicBezTo>
                  <a:cubicBezTo>
                    <a:pt x="0" y="93"/>
                    <a:pt x="0" y="91"/>
                    <a:pt x="0" y="90"/>
                  </a:cubicBezTo>
                  <a:cubicBezTo>
                    <a:pt x="1" y="89"/>
                    <a:pt x="2" y="88"/>
                    <a:pt x="2" y="87"/>
                  </a:cubicBezTo>
                  <a:cubicBezTo>
                    <a:pt x="2" y="86"/>
                    <a:pt x="3" y="85"/>
                    <a:pt x="3" y="84"/>
                  </a:cubicBezTo>
                  <a:cubicBezTo>
                    <a:pt x="3" y="82"/>
                    <a:pt x="3" y="81"/>
                    <a:pt x="4" y="78"/>
                  </a:cubicBezTo>
                  <a:cubicBezTo>
                    <a:pt x="4" y="77"/>
                    <a:pt x="4" y="76"/>
                    <a:pt x="3" y="75"/>
                  </a:cubicBezTo>
                  <a:cubicBezTo>
                    <a:pt x="3" y="73"/>
                    <a:pt x="4" y="71"/>
                    <a:pt x="3" y="69"/>
                  </a:cubicBezTo>
                  <a:cubicBezTo>
                    <a:pt x="3" y="66"/>
                    <a:pt x="4" y="64"/>
                    <a:pt x="5" y="62"/>
                  </a:cubicBezTo>
                  <a:cubicBezTo>
                    <a:pt x="6" y="59"/>
                    <a:pt x="7" y="56"/>
                    <a:pt x="9" y="53"/>
                  </a:cubicBezTo>
                  <a:cubicBezTo>
                    <a:pt x="10" y="50"/>
                    <a:pt x="11" y="46"/>
                    <a:pt x="12" y="42"/>
                  </a:cubicBezTo>
                  <a:cubicBezTo>
                    <a:pt x="12" y="41"/>
                    <a:pt x="13" y="41"/>
                    <a:pt x="13" y="40"/>
                  </a:cubicBezTo>
                  <a:cubicBezTo>
                    <a:pt x="13" y="38"/>
                    <a:pt x="13" y="37"/>
                    <a:pt x="13" y="35"/>
                  </a:cubicBezTo>
                  <a:cubicBezTo>
                    <a:pt x="13" y="34"/>
                    <a:pt x="14" y="34"/>
                    <a:pt x="14" y="33"/>
                  </a:cubicBezTo>
                  <a:cubicBezTo>
                    <a:pt x="15" y="32"/>
                    <a:pt x="15" y="30"/>
                    <a:pt x="15" y="29"/>
                  </a:cubicBezTo>
                  <a:cubicBezTo>
                    <a:pt x="15" y="27"/>
                    <a:pt x="16" y="26"/>
                    <a:pt x="16" y="25"/>
                  </a:cubicBezTo>
                  <a:cubicBezTo>
                    <a:pt x="16" y="24"/>
                    <a:pt x="16" y="22"/>
                    <a:pt x="16" y="21"/>
                  </a:cubicBezTo>
                  <a:cubicBezTo>
                    <a:pt x="16" y="20"/>
                    <a:pt x="15" y="20"/>
                    <a:pt x="15" y="19"/>
                  </a:cubicBezTo>
                  <a:cubicBezTo>
                    <a:pt x="15" y="15"/>
                    <a:pt x="15" y="11"/>
                    <a:pt x="15" y="8"/>
                  </a:cubicBezTo>
                  <a:cubicBezTo>
                    <a:pt x="15" y="8"/>
                    <a:pt x="15" y="7"/>
                    <a:pt x="16" y="7"/>
                  </a:cubicBezTo>
                  <a:cubicBezTo>
                    <a:pt x="17" y="7"/>
                    <a:pt x="18" y="8"/>
                    <a:pt x="20" y="9"/>
                  </a:cubicBezTo>
                  <a:cubicBezTo>
                    <a:pt x="22" y="9"/>
                    <a:pt x="25" y="8"/>
                    <a:pt x="27" y="9"/>
                  </a:cubicBezTo>
                  <a:cubicBezTo>
                    <a:pt x="28" y="10"/>
                    <a:pt x="29" y="10"/>
                    <a:pt x="29" y="11"/>
                  </a:cubicBezTo>
                  <a:cubicBezTo>
                    <a:pt x="29" y="13"/>
                    <a:pt x="28" y="15"/>
                    <a:pt x="29" y="17"/>
                  </a:cubicBezTo>
                  <a:cubicBezTo>
                    <a:pt x="29" y="17"/>
                    <a:pt x="30" y="17"/>
                    <a:pt x="30" y="17"/>
                  </a:cubicBezTo>
                  <a:cubicBezTo>
                    <a:pt x="31" y="16"/>
                    <a:pt x="31" y="15"/>
                    <a:pt x="32" y="13"/>
                  </a:cubicBezTo>
                  <a:cubicBezTo>
                    <a:pt x="33" y="12"/>
                    <a:pt x="32" y="9"/>
                    <a:pt x="31" y="8"/>
                  </a:cubicBezTo>
                  <a:cubicBezTo>
                    <a:pt x="30" y="6"/>
                    <a:pt x="31" y="3"/>
                    <a:pt x="31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40" y="0"/>
                    <a:pt x="245" y="1"/>
                    <a:pt x="250" y="4"/>
                  </a:cubicBezTo>
                  <a:cubicBezTo>
                    <a:pt x="252" y="4"/>
                    <a:pt x="255" y="3"/>
                    <a:pt x="258" y="4"/>
                  </a:cubicBezTo>
                  <a:cubicBezTo>
                    <a:pt x="260" y="4"/>
                    <a:pt x="261" y="6"/>
                    <a:pt x="262" y="7"/>
                  </a:cubicBezTo>
                  <a:cubicBezTo>
                    <a:pt x="263" y="7"/>
                    <a:pt x="263" y="7"/>
                    <a:pt x="263" y="8"/>
                  </a:cubicBezTo>
                  <a:cubicBezTo>
                    <a:pt x="264" y="8"/>
                    <a:pt x="265" y="9"/>
                    <a:pt x="266" y="9"/>
                  </a:cubicBezTo>
                  <a:cubicBezTo>
                    <a:pt x="268" y="9"/>
                    <a:pt x="270" y="9"/>
                    <a:pt x="272" y="9"/>
                  </a:cubicBezTo>
                  <a:cubicBezTo>
                    <a:pt x="274" y="9"/>
                    <a:pt x="277" y="9"/>
                    <a:pt x="278" y="9"/>
                  </a:cubicBezTo>
                  <a:cubicBezTo>
                    <a:pt x="278" y="9"/>
                    <a:pt x="278" y="9"/>
                    <a:pt x="278" y="9"/>
                  </a:cubicBezTo>
                  <a:cubicBezTo>
                    <a:pt x="283" y="9"/>
                    <a:pt x="287" y="9"/>
                    <a:pt x="291" y="9"/>
                  </a:cubicBezTo>
                  <a:cubicBezTo>
                    <a:pt x="294" y="10"/>
                    <a:pt x="296" y="10"/>
                    <a:pt x="299" y="12"/>
                  </a:cubicBezTo>
                  <a:cubicBezTo>
                    <a:pt x="300" y="12"/>
                    <a:pt x="302" y="13"/>
                    <a:pt x="303" y="14"/>
                  </a:cubicBezTo>
                  <a:cubicBezTo>
                    <a:pt x="305" y="16"/>
                    <a:pt x="307" y="16"/>
                    <a:pt x="309" y="17"/>
                  </a:cubicBezTo>
                  <a:cubicBezTo>
                    <a:pt x="310" y="17"/>
                    <a:pt x="310" y="18"/>
                    <a:pt x="310" y="19"/>
                  </a:cubicBezTo>
                  <a:cubicBezTo>
                    <a:pt x="311" y="20"/>
                    <a:pt x="312" y="19"/>
                    <a:pt x="312" y="20"/>
                  </a:cubicBezTo>
                  <a:cubicBezTo>
                    <a:pt x="313" y="21"/>
                    <a:pt x="312" y="22"/>
                    <a:pt x="313" y="23"/>
                  </a:cubicBezTo>
                  <a:cubicBezTo>
                    <a:pt x="313" y="25"/>
                    <a:pt x="314" y="26"/>
                    <a:pt x="315" y="26"/>
                  </a:cubicBezTo>
                  <a:cubicBezTo>
                    <a:pt x="315" y="27"/>
                    <a:pt x="316" y="27"/>
                    <a:pt x="316" y="27"/>
                  </a:cubicBezTo>
                  <a:cubicBezTo>
                    <a:pt x="316" y="28"/>
                    <a:pt x="317" y="28"/>
                    <a:pt x="318" y="29"/>
                  </a:cubicBezTo>
                  <a:cubicBezTo>
                    <a:pt x="318" y="29"/>
                    <a:pt x="319" y="30"/>
                    <a:pt x="319" y="30"/>
                  </a:cubicBezTo>
                  <a:cubicBezTo>
                    <a:pt x="322" y="33"/>
                    <a:pt x="325" y="35"/>
                    <a:pt x="327" y="38"/>
                  </a:cubicBezTo>
                  <a:cubicBezTo>
                    <a:pt x="327" y="38"/>
                    <a:pt x="326" y="40"/>
                    <a:pt x="327" y="40"/>
                  </a:cubicBezTo>
                  <a:cubicBezTo>
                    <a:pt x="327" y="42"/>
                    <a:pt x="327" y="44"/>
                    <a:pt x="327" y="45"/>
                  </a:cubicBezTo>
                  <a:cubicBezTo>
                    <a:pt x="328" y="50"/>
                    <a:pt x="328" y="54"/>
                    <a:pt x="327" y="58"/>
                  </a:cubicBezTo>
                  <a:cubicBezTo>
                    <a:pt x="327" y="61"/>
                    <a:pt x="326" y="64"/>
                    <a:pt x="325" y="67"/>
                  </a:cubicBezTo>
                  <a:cubicBezTo>
                    <a:pt x="324" y="70"/>
                    <a:pt x="322" y="71"/>
                    <a:pt x="321" y="74"/>
                  </a:cubicBezTo>
                  <a:cubicBezTo>
                    <a:pt x="321" y="74"/>
                    <a:pt x="321" y="75"/>
                    <a:pt x="321" y="75"/>
                  </a:cubicBezTo>
                  <a:cubicBezTo>
                    <a:pt x="324" y="75"/>
                    <a:pt x="326" y="75"/>
                    <a:pt x="328" y="75"/>
                  </a:cubicBezTo>
                  <a:cubicBezTo>
                    <a:pt x="330" y="74"/>
                    <a:pt x="331" y="73"/>
                    <a:pt x="333" y="72"/>
                  </a:cubicBezTo>
                  <a:cubicBezTo>
                    <a:pt x="336" y="70"/>
                    <a:pt x="340" y="69"/>
                    <a:pt x="343" y="67"/>
                  </a:cubicBezTo>
                  <a:cubicBezTo>
                    <a:pt x="345" y="67"/>
                    <a:pt x="346" y="67"/>
                    <a:pt x="347" y="67"/>
                  </a:cubicBezTo>
                  <a:cubicBezTo>
                    <a:pt x="349" y="66"/>
                    <a:pt x="350" y="67"/>
                    <a:pt x="351" y="66"/>
                  </a:cubicBezTo>
                  <a:cubicBezTo>
                    <a:pt x="353" y="64"/>
                    <a:pt x="352" y="61"/>
                    <a:pt x="352" y="58"/>
                  </a:cubicBezTo>
                  <a:cubicBezTo>
                    <a:pt x="355" y="56"/>
                    <a:pt x="358" y="56"/>
                    <a:pt x="361" y="56"/>
                  </a:cubicBezTo>
                  <a:cubicBezTo>
                    <a:pt x="362" y="56"/>
                    <a:pt x="363" y="56"/>
                    <a:pt x="364" y="56"/>
                  </a:cubicBezTo>
                  <a:cubicBezTo>
                    <a:pt x="365" y="56"/>
                    <a:pt x="365" y="57"/>
                    <a:pt x="366" y="57"/>
                  </a:cubicBezTo>
                  <a:cubicBezTo>
                    <a:pt x="367" y="57"/>
                    <a:pt x="369" y="57"/>
                    <a:pt x="371" y="57"/>
                  </a:cubicBezTo>
                  <a:cubicBezTo>
                    <a:pt x="372" y="56"/>
                    <a:pt x="372" y="55"/>
                    <a:pt x="373" y="55"/>
                  </a:cubicBezTo>
                  <a:cubicBezTo>
                    <a:pt x="376" y="53"/>
                    <a:pt x="378" y="50"/>
                    <a:pt x="380" y="48"/>
                  </a:cubicBezTo>
                  <a:cubicBezTo>
                    <a:pt x="382" y="46"/>
                    <a:pt x="383" y="45"/>
                    <a:pt x="385" y="44"/>
                  </a:cubicBezTo>
                  <a:cubicBezTo>
                    <a:pt x="388" y="43"/>
                    <a:pt x="390" y="43"/>
                    <a:pt x="393" y="43"/>
                  </a:cubicBezTo>
                  <a:cubicBezTo>
                    <a:pt x="398" y="43"/>
                    <a:pt x="404" y="44"/>
                    <a:pt x="409" y="43"/>
                  </a:cubicBezTo>
                  <a:cubicBezTo>
                    <a:pt x="412" y="43"/>
                    <a:pt x="415" y="42"/>
                    <a:pt x="417" y="41"/>
                  </a:cubicBezTo>
                  <a:cubicBezTo>
                    <a:pt x="418" y="41"/>
                    <a:pt x="418" y="41"/>
                    <a:pt x="418" y="40"/>
                  </a:cubicBezTo>
                  <a:cubicBezTo>
                    <a:pt x="419" y="39"/>
                    <a:pt x="420" y="37"/>
                    <a:pt x="421" y="35"/>
                  </a:cubicBezTo>
                  <a:cubicBezTo>
                    <a:pt x="422" y="34"/>
                    <a:pt x="421" y="33"/>
                    <a:pt x="422" y="32"/>
                  </a:cubicBezTo>
                  <a:cubicBezTo>
                    <a:pt x="422" y="31"/>
                    <a:pt x="422" y="31"/>
                    <a:pt x="422" y="31"/>
                  </a:cubicBezTo>
                  <a:cubicBezTo>
                    <a:pt x="423" y="30"/>
                    <a:pt x="424" y="29"/>
                    <a:pt x="424" y="28"/>
                  </a:cubicBezTo>
                  <a:cubicBezTo>
                    <a:pt x="426" y="27"/>
                    <a:pt x="426" y="24"/>
                    <a:pt x="427" y="23"/>
                  </a:cubicBezTo>
                  <a:cubicBezTo>
                    <a:pt x="428" y="21"/>
                    <a:pt x="430" y="21"/>
                    <a:pt x="431" y="20"/>
                  </a:cubicBezTo>
                  <a:cubicBezTo>
                    <a:pt x="433" y="19"/>
                    <a:pt x="434" y="19"/>
                    <a:pt x="435" y="20"/>
                  </a:cubicBezTo>
                  <a:cubicBezTo>
                    <a:pt x="438" y="21"/>
                    <a:pt x="440" y="19"/>
                    <a:pt x="441" y="21"/>
                  </a:cubicBezTo>
                  <a:cubicBezTo>
                    <a:pt x="441" y="24"/>
                    <a:pt x="441" y="24"/>
                    <a:pt x="441" y="24"/>
                  </a:cubicBezTo>
                  <a:cubicBezTo>
                    <a:pt x="441" y="25"/>
                    <a:pt x="442" y="27"/>
                    <a:pt x="441" y="28"/>
                  </a:cubicBezTo>
                  <a:cubicBezTo>
                    <a:pt x="441" y="30"/>
                    <a:pt x="441" y="30"/>
                    <a:pt x="440" y="32"/>
                  </a:cubicBezTo>
                  <a:cubicBezTo>
                    <a:pt x="440" y="35"/>
                    <a:pt x="440" y="38"/>
                    <a:pt x="440" y="40"/>
                  </a:cubicBezTo>
                  <a:cubicBezTo>
                    <a:pt x="441" y="41"/>
                    <a:pt x="441" y="42"/>
                    <a:pt x="442" y="42"/>
                  </a:cubicBezTo>
                  <a:cubicBezTo>
                    <a:pt x="444" y="43"/>
                    <a:pt x="444" y="43"/>
                    <a:pt x="444" y="43"/>
                  </a:cubicBezTo>
                  <a:cubicBezTo>
                    <a:pt x="444" y="45"/>
                    <a:pt x="442" y="46"/>
                    <a:pt x="441" y="47"/>
                  </a:cubicBezTo>
                  <a:cubicBezTo>
                    <a:pt x="440" y="48"/>
                    <a:pt x="439" y="49"/>
                    <a:pt x="438" y="50"/>
                  </a:cubicBezTo>
                  <a:cubicBezTo>
                    <a:pt x="437" y="50"/>
                    <a:pt x="436" y="49"/>
                    <a:pt x="434" y="50"/>
                  </a:cubicBezTo>
                  <a:cubicBezTo>
                    <a:pt x="434" y="50"/>
                    <a:pt x="433" y="51"/>
                    <a:pt x="433" y="51"/>
                  </a:cubicBezTo>
                  <a:cubicBezTo>
                    <a:pt x="432" y="51"/>
                    <a:pt x="432" y="51"/>
                    <a:pt x="431" y="51"/>
                  </a:cubicBezTo>
                  <a:cubicBezTo>
                    <a:pt x="431" y="51"/>
                    <a:pt x="431" y="50"/>
                    <a:pt x="430" y="50"/>
                  </a:cubicBezTo>
                  <a:cubicBezTo>
                    <a:pt x="430" y="50"/>
                    <a:pt x="429" y="50"/>
                    <a:pt x="429" y="50"/>
                  </a:cubicBezTo>
                  <a:cubicBezTo>
                    <a:pt x="428" y="50"/>
                    <a:pt x="427" y="51"/>
                    <a:pt x="427" y="52"/>
                  </a:cubicBezTo>
                  <a:cubicBezTo>
                    <a:pt x="426" y="54"/>
                    <a:pt x="425" y="55"/>
                    <a:pt x="423" y="56"/>
                  </a:cubicBezTo>
                  <a:cubicBezTo>
                    <a:pt x="422" y="56"/>
                    <a:pt x="420" y="56"/>
                    <a:pt x="419" y="56"/>
                  </a:cubicBezTo>
                  <a:cubicBezTo>
                    <a:pt x="418" y="56"/>
                    <a:pt x="418" y="57"/>
                    <a:pt x="417" y="58"/>
                  </a:cubicBezTo>
                  <a:cubicBezTo>
                    <a:pt x="416" y="60"/>
                    <a:pt x="415" y="62"/>
                    <a:pt x="414" y="64"/>
                  </a:cubicBezTo>
                  <a:cubicBezTo>
                    <a:pt x="414" y="68"/>
                    <a:pt x="413" y="71"/>
                    <a:pt x="414" y="74"/>
                  </a:cubicBezTo>
                  <a:cubicBezTo>
                    <a:pt x="415" y="76"/>
                    <a:pt x="417" y="76"/>
                    <a:pt x="419" y="77"/>
                  </a:cubicBezTo>
                  <a:cubicBezTo>
                    <a:pt x="419" y="77"/>
                    <a:pt x="419" y="77"/>
                    <a:pt x="419" y="78"/>
                  </a:cubicBezTo>
                  <a:cubicBezTo>
                    <a:pt x="418" y="79"/>
                    <a:pt x="417" y="79"/>
                    <a:pt x="416" y="79"/>
                  </a:cubicBezTo>
                  <a:cubicBezTo>
                    <a:pt x="415" y="80"/>
                    <a:pt x="413" y="79"/>
                    <a:pt x="412" y="79"/>
                  </a:cubicBezTo>
                  <a:cubicBezTo>
                    <a:pt x="410" y="80"/>
                    <a:pt x="408" y="80"/>
                    <a:pt x="406" y="80"/>
                  </a:cubicBezTo>
                  <a:cubicBezTo>
                    <a:pt x="404" y="81"/>
                    <a:pt x="401" y="80"/>
                    <a:pt x="398" y="81"/>
                  </a:cubicBezTo>
                  <a:cubicBezTo>
                    <a:pt x="395" y="82"/>
                    <a:pt x="393" y="82"/>
                    <a:pt x="390" y="84"/>
                  </a:cubicBezTo>
                  <a:cubicBezTo>
                    <a:pt x="390" y="84"/>
                    <a:pt x="390" y="85"/>
                    <a:pt x="390" y="86"/>
                  </a:cubicBezTo>
                  <a:cubicBezTo>
                    <a:pt x="393" y="86"/>
                    <a:pt x="395" y="84"/>
                    <a:pt x="398" y="83"/>
                  </a:cubicBezTo>
                  <a:cubicBezTo>
                    <a:pt x="398" y="82"/>
                    <a:pt x="400" y="82"/>
                    <a:pt x="401" y="83"/>
                  </a:cubicBezTo>
                  <a:cubicBezTo>
                    <a:pt x="401" y="83"/>
                    <a:pt x="401" y="85"/>
                    <a:pt x="401" y="85"/>
                  </a:cubicBezTo>
                  <a:cubicBezTo>
                    <a:pt x="401" y="86"/>
                    <a:pt x="401" y="86"/>
                    <a:pt x="400" y="86"/>
                  </a:cubicBezTo>
                  <a:cubicBezTo>
                    <a:pt x="397" y="87"/>
                    <a:pt x="393" y="88"/>
                    <a:pt x="390" y="89"/>
                  </a:cubicBezTo>
                  <a:cubicBezTo>
                    <a:pt x="389" y="90"/>
                    <a:pt x="388" y="91"/>
                    <a:pt x="387" y="92"/>
                  </a:cubicBezTo>
                  <a:cubicBezTo>
                    <a:pt x="386" y="93"/>
                    <a:pt x="386" y="95"/>
                    <a:pt x="386" y="97"/>
                  </a:cubicBezTo>
                  <a:cubicBezTo>
                    <a:pt x="385" y="99"/>
                    <a:pt x="384" y="100"/>
                    <a:pt x="383" y="101"/>
                  </a:cubicBezTo>
                  <a:cubicBezTo>
                    <a:pt x="382" y="101"/>
                    <a:pt x="382" y="101"/>
                    <a:pt x="382" y="101"/>
                  </a:cubicBezTo>
                  <a:cubicBezTo>
                    <a:pt x="381" y="102"/>
                    <a:pt x="380" y="103"/>
                    <a:pt x="380" y="103"/>
                  </a:cubicBezTo>
                  <a:cubicBezTo>
                    <a:pt x="379" y="104"/>
                    <a:pt x="377" y="104"/>
                    <a:pt x="376" y="103"/>
                  </a:cubicBezTo>
                  <a:cubicBezTo>
                    <a:pt x="376" y="103"/>
                    <a:pt x="375" y="102"/>
                    <a:pt x="374" y="103"/>
                  </a:cubicBezTo>
                  <a:cubicBezTo>
                    <a:pt x="374" y="103"/>
                    <a:pt x="374" y="104"/>
                    <a:pt x="374" y="105"/>
                  </a:cubicBezTo>
                  <a:cubicBezTo>
                    <a:pt x="374" y="106"/>
                    <a:pt x="375" y="107"/>
                    <a:pt x="376" y="108"/>
                  </a:cubicBezTo>
                  <a:cubicBezTo>
                    <a:pt x="376" y="109"/>
                    <a:pt x="376" y="111"/>
                    <a:pt x="376" y="112"/>
                  </a:cubicBezTo>
                  <a:cubicBezTo>
                    <a:pt x="374" y="115"/>
                    <a:pt x="372" y="118"/>
                    <a:pt x="371" y="121"/>
                  </a:cubicBezTo>
                  <a:cubicBezTo>
                    <a:pt x="370" y="122"/>
                    <a:pt x="370" y="123"/>
                    <a:pt x="369" y="124"/>
                  </a:cubicBezTo>
                  <a:cubicBezTo>
                    <a:pt x="369" y="124"/>
                    <a:pt x="368" y="125"/>
                    <a:pt x="368" y="124"/>
                  </a:cubicBezTo>
                  <a:cubicBezTo>
                    <a:pt x="368" y="123"/>
                    <a:pt x="369" y="122"/>
                    <a:pt x="370" y="120"/>
                  </a:cubicBezTo>
                  <a:cubicBezTo>
                    <a:pt x="370" y="119"/>
                    <a:pt x="370" y="117"/>
                    <a:pt x="369" y="116"/>
                  </a:cubicBezTo>
                  <a:cubicBezTo>
                    <a:pt x="369" y="115"/>
                    <a:pt x="368" y="115"/>
                    <a:pt x="368" y="114"/>
                  </a:cubicBezTo>
                  <a:cubicBezTo>
                    <a:pt x="368" y="112"/>
                    <a:pt x="368" y="109"/>
                    <a:pt x="368" y="106"/>
                  </a:cubicBezTo>
                  <a:cubicBezTo>
                    <a:pt x="368" y="105"/>
                    <a:pt x="369" y="104"/>
                    <a:pt x="370" y="103"/>
                  </a:cubicBezTo>
                  <a:cubicBezTo>
                    <a:pt x="370" y="102"/>
                    <a:pt x="370" y="102"/>
                    <a:pt x="370" y="102"/>
                  </a:cubicBezTo>
                  <a:cubicBezTo>
                    <a:pt x="368" y="101"/>
                    <a:pt x="367" y="103"/>
                    <a:pt x="367" y="104"/>
                  </a:cubicBezTo>
                  <a:cubicBezTo>
                    <a:pt x="366" y="105"/>
                    <a:pt x="366" y="106"/>
                    <a:pt x="366" y="107"/>
                  </a:cubicBezTo>
                  <a:cubicBezTo>
                    <a:pt x="365" y="111"/>
                    <a:pt x="366" y="115"/>
                    <a:pt x="365" y="119"/>
                  </a:cubicBezTo>
                  <a:cubicBezTo>
                    <a:pt x="364" y="121"/>
                    <a:pt x="365" y="123"/>
                    <a:pt x="364" y="126"/>
                  </a:cubicBezTo>
                  <a:cubicBezTo>
                    <a:pt x="363" y="126"/>
                    <a:pt x="363" y="127"/>
                    <a:pt x="364" y="128"/>
                  </a:cubicBezTo>
                  <a:cubicBezTo>
                    <a:pt x="365" y="130"/>
                    <a:pt x="367" y="130"/>
                    <a:pt x="368" y="132"/>
                  </a:cubicBezTo>
                  <a:cubicBezTo>
                    <a:pt x="368" y="132"/>
                    <a:pt x="368" y="133"/>
                    <a:pt x="368" y="134"/>
                  </a:cubicBezTo>
                  <a:cubicBezTo>
                    <a:pt x="366" y="135"/>
                    <a:pt x="365" y="134"/>
                    <a:pt x="364" y="135"/>
                  </a:cubicBezTo>
                  <a:cubicBezTo>
                    <a:pt x="364" y="137"/>
                    <a:pt x="367" y="138"/>
                    <a:pt x="369" y="138"/>
                  </a:cubicBezTo>
                  <a:cubicBezTo>
                    <a:pt x="369" y="138"/>
                    <a:pt x="369" y="139"/>
                    <a:pt x="368" y="140"/>
                  </a:cubicBezTo>
                  <a:cubicBezTo>
                    <a:pt x="367" y="141"/>
                    <a:pt x="365" y="143"/>
                    <a:pt x="363" y="142"/>
                  </a:cubicBezTo>
                  <a:cubicBezTo>
                    <a:pt x="362" y="142"/>
                    <a:pt x="361" y="142"/>
                    <a:pt x="361" y="142"/>
                  </a:cubicBezTo>
                  <a:cubicBezTo>
                    <a:pt x="360" y="143"/>
                    <a:pt x="361" y="144"/>
                    <a:pt x="361" y="145"/>
                  </a:cubicBezTo>
                  <a:cubicBezTo>
                    <a:pt x="362" y="145"/>
                    <a:pt x="362" y="146"/>
                    <a:pt x="363" y="146"/>
                  </a:cubicBezTo>
                  <a:cubicBezTo>
                    <a:pt x="363" y="146"/>
                    <a:pt x="363" y="147"/>
                    <a:pt x="363" y="148"/>
                  </a:cubicBezTo>
                  <a:cubicBezTo>
                    <a:pt x="362" y="148"/>
                    <a:pt x="362" y="148"/>
                    <a:pt x="361" y="149"/>
                  </a:cubicBezTo>
                  <a:cubicBezTo>
                    <a:pt x="359" y="150"/>
                    <a:pt x="357" y="149"/>
                    <a:pt x="355" y="150"/>
                  </a:cubicBezTo>
                  <a:cubicBezTo>
                    <a:pt x="352" y="151"/>
                    <a:pt x="351" y="154"/>
                    <a:pt x="349" y="156"/>
                  </a:cubicBezTo>
                  <a:cubicBezTo>
                    <a:pt x="347" y="159"/>
                    <a:pt x="344" y="156"/>
                    <a:pt x="341" y="158"/>
                  </a:cubicBezTo>
                  <a:cubicBezTo>
                    <a:pt x="341" y="158"/>
                    <a:pt x="341" y="158"/>
                    <a:pt x="340" y="159"/>
                  </a:cubicBezTo>
                  <a:cubicBezTo>
                    <a:pt x="340" y="160"/>
                    <a:pt x="339" y="162"/>
                    <a:pt x="338" y="164"/>
                  </a:cubicBezTo>
                  <a:cubicBezTo>
                    <a:pt x="338" y="164"/>
                    <a:pt x="337" y="165"/>
                    <a:pt x="337" y="165"/>
                  </a:cubicBezTo>
                  <a:cubicBezTo>
                    <a:pt x="334" y="167"/>
                    <a:pt x="331" y="168"/>
                    <a:pt x="328" y="171"/>
                  </a:cubicBezTo>
                  <a:cubicBezTo>
                    <a:pt x="327" y="172"/>
                    <a:pt x="326" y="174"/>
                    <a:pt x="325" y="175"/>
                  </a:cubicBezTo>
                  <a:cubicBezTo>
                    <a:pt x="325" y="176"/>
                    <a:pt x="324" y="177"/>
                    <a:pt x="324" y="177"/>
                  </a:cubicBezTo>
                  <a:cubicBezTo>
                    <a:pt x="324" y="178"/>
                    <a:pt x="323" y="179"/>
                    <a:pt x="322" y="179"/>
                  </a:cubicBezTo>
                  <a:cubicBezTo>
                    <a:pt x="321" y="181"/>
                    <a:pt x="321" y="183"/>
                    <a:pt x="320" y="184"/>
                  </a:cubicBezTo>
                  <a:cubicBezTo>
                    <a:pt x="320" y="185"/>
                    <a:pt x="319" y="185"/>
                    <a:pt x="319" y="186"/>
                  </a:cubicBezTo>
                  <a:cubicBezTo>
                    <a:pt x="318" y="187"/>
                    <a:pt x="318" y="189"/>
                    <a:pt x="318" y="191"/>
                  </a:cubicBezTo>
                  <a:cubicBezTo>
                    <a:pt x="318" y="193"/>
                    <a:pt x="318" y="196"/>
                    <a:pt x="318" y="199"/>
                  </a:cubicBezTo>
                  <a:cubicBezTo>
                    <a:pt x="319" y="200"/>
                    <a:pt x="319" y="202"/>
                    <a:pt x="320" y="203"/>
                  </a:cubicBezTo>
                  <a:cubicBezTo>
                    <a:pt x="321" y="204"/>
                    <a:pt x="322" y="206"/>
                    <a:pt x="322" y="207"/>
                  </a:cubicBezTo>
                  <a:cubicBezTo>
                    <a:pt x="323" y="208"/>
                    <a:pt x="323" y="210"/>
                    <a:pt x="322" y="211"/>
                  </a:cubicBezTo>
                  <a:cubicBezTo>
                    <a:pt x="322" y="214"/>
                    <a:pt x="324" y="217"/>
                    <a:pt x="326" y="220"/>
                  </a:cubicBezTo>
                  <a:cubicBezTo>
                    <a:pt x="328" y="223"/>
                    <a:pt x="327" y="227"/>
                    <a:pt x="326" y="230"/>
                  </a:cubicBezTo>
                  <a:cubicBezTo>
                    <a:pt x="326" y="232"/>
                    <a:pt x="325" y="232"/>
                    <a:pt x="324" y="234"/>
                  </a:cubicBezTo>
                  <a:cubicBezTo>
                    <a:pt x="324" y="235"/>
                    <a:pt x="324" y="237"/>
                    <a:pt x="324" y="239"/>
                  </a:cubicBezTo>
                  <a:cubicBezTo>
                    <a:pt x="323" y="240"/>
                    <a:pt x="323" y="241"/>
                    <a:pt x="322" y="242"/>
                  </a:cubicBezTo>
                  <a:cubicBezTo>
                    <a:pt x="321" y="242"/>
                    <a:pt x="320" y="242"/>
                    <a:pt x="319" y="242"/>
                  </a:cubicBezTo>
                  <a:cubicBezTo>
                    <a:pt x="318" y="243"/>
                    <a:pt x="317" y="243"/>
                    <a:pt x="316" y="242"/>
                  </a:cubicBezTo>
                  <a:cubicBezTo>
                    <a:pt x="316" y="242"/>
                    <a:pt x="316" y="242"/>
                    <a:pt x="316" y="242"/>
                  </a:cubicBezTo>
                  <a:cubicBezTo>
                    <a:pt x="315" y="241"/>
                    <a:pt x="315" y="239"/>
                    <a:pt x="315" y="238"/>
                  </a:cubicBezTo>
                  <a:cubicBezTo>
                    <a:pt x="315" y="237"/>
                    <a:pt x="313" y="237"/>
                    <a:pt x="313" y="236"/>
                  </a:cubicBezTo>
                  <a:cubicBezTo>
                    <a:pt x="313" y="235"/>
                    <a:pt x="312" y="234"/>
                    <a:pt x="312" y="234"/>
                  </a:cubicBezTo>
                  <a:cubicBezTo>
                    <a:pt x="311" y="233"/>
                    <a:pt x="312" y="232"/>
                    <a:pt x="311" y="231"/>
                  </a:cubicBezTo>
                  <a:cubicBezTo>
                    <a:pt x="311" y="230"/>
                    <a:pt x="310" y="230"/>
                    <a:pt x="310" y="229"/>
                  </a:cubicBezTo>
                  <a:cubicBezTo>
                    <a:pt x="309" y="228"/>
                    <a:pt x="310" y="227"/>
                    <a:pt x="309" y="225"/>
                  </a:cubicBezTo>
                  <a:cubicBezTo>
                    <a:pt x="309" y="224"/>
                    <a:pt x="309" y="224"/>
                    <a:pt x="308" y="223"/>
                  </a:cubicBezTo>
                  <a:cubicBezTo>
                    <a:pt x="307" y="222"/>
                    <a:pt x="307" y="222"/>
                    <a:pt x="307" y="221"/>
                  </a:cubicBezTo>
                  <a:cubicBezTo>
                    <a:pt x="306" y="220"/>
                    <a:pt x="307" y="218"/>
                    <a:pt x="306" y="217"/>
                  </a:cubicBezTo>
                  <a:cubicBezTo>
                    <a:pt x="306" y="216"/>
                    <a:pt x="305" y="215"/>
                    <a:pt x="304" y="215"/>
                  </a:cubicBezTo>
                  <a:cubicBezTo>
                    <a:pt x="304" y="214"/>
                    <a:pt x="304" y="213"/>
                    <a:pt x="304" y="212"/>
                  </a:cubicBezTo>
                  <a:cubicBezTo>
                    <a:pt x="305" y="211"/>
                    <a:pt x="306" y="211"/>
                    <a:pt x="307" y="210"/>
                  </a:cubicBezTo>
                  <a:cubicBezTo>
                    <a:pt x="307" y="207"/>
                    <a:pt x="307" y="205"/>
                    <a:pt x="306" y="203"/>
                  </a:cubicBezTo>
                  <a:cubicBezTo>
                    <a:pt x="306" y="202"/>
                    <a:pt x="305" y="202"/>
                    <a:pt x="304" y="201"/>
                  </a:cubicBezTo>
                  <a:cubicBezTo>
                    <a:pt x="302" y="199"/>
                    <a:pt x="300" y="197"/>
                    <a:pt x="297" y="196"/>
                  </a:cubicBezTo>
                  <a:cubicBezTo>
                    <a:pt x="295" y="194"/>
                    <a:pt x="292" y="196"/>
                    <a:pt x="290" y="197"/>
                  </a:cubicBezTo>
                  <a:cubicBezTo>
                    <a:pt x="289" y="198"/>
                    <a:pt x="288" y="198"/>
                    <a:pt x="287" y="197"/>
                  </a:cubicBezTo>
                  <a:cubicBezTo>
                    <a:pt x="287" y="196"/>
                    <a:pt x="287" y="195"/>
                    <a:pt x="286" y="195"/>
                  </a:cubicBezTo>
                  <a:cubicBezTo>
                    <a:pt x="285" y="194"/>
                    <a:pt x="283" y="193"/>
                    <a:pt x="282" y="192"/>
                  </a:cubicBezTo>
                  <a:cubicBezTo>
                    <a:pt x="279" y="190"/>
                    <a:pt x="275" y="192"/>
                    <a:pt x="272" y="191"/>
                  </a:cubicBezTo>
                  <a:cubicBezTo>
                    <a:pt x="270" y="191"/>
                    <a:pt x="269" y="191"/>
                    <a:pt x="268" y="191"/>
                  </a:cubicBezTo>
                  <a:cubicBezTo>
                    <a:pt x="266" y="192"/>
                    <a:pt x="265" y="191"/>
                    <a:pt x="263" y="191"/>
                  </a:cubicBezTo>
                  <a:cubicBezTo>
                    <a:pt x="261" y="191"/>
                    <a:pt x="260" y="191"/>
                    <a:pt x="258" y="192"/>
                  </a:cubicBezTo>
                  <a:cubicBezTo>
                    <a:pt x="256" y="192"/>
                    <a:pt x="255" y="193"/>
                    <a:pt x="254" y="193"/>
                  </a:cubicBezTo>
                  <a:cubicBezTo>
                    <a:pt x="253" y="193"/>
                    <a:pt x="251" y="193"/>
                    <a:pt x="250" y="194"/>
                  </a:cubicBezTo>
                  <a:cubicBezTo>
                    <a:pt x="250" y="194"/>
                    <a:pt x="250" y="194"/>
                    <a:pt x="250" y="195"/>
                  </a:cubicBezTo>
                  <a:cubicBezTo>
                    <a:pt x="251" y="196"/>
                    <a:pt x="251" y="197"/>
                    <a:pt x="251" y="198"/>
                  </a:cubicBezTo>
                  <a:cubicBezTo>
                    <a:pt x="251" y="200"/>
                    <a:pt x="250" y="201"/>
                    <a:pt x="249" y="202"/>
                  </a:cubicBezTo>
                  <a:cubicBezTo>
                    <a:pt x="249" y="203"/>
                    <a:pt x="248" y="203"/>
                    <a:pt x="248" y="202"/>
                  </a:cubicBezTo>
                  <a:cubicBezTo>
                    <a:pt x="247" y="202"/>
                    <a:pt x="247" y="201"/>
                    <a:pt x="246" y="202"/>
                  </a:cubicBezTo>
                  <a:cubicBezTo>
                    <a:pt x="245" y="203"/>
                    <a:pt x="243" y="203"/>
                    <a:pt x="242" y="202"/>
                  </a:cubicBezTo>
                  <a:cubicBezTo>
                    <a:pt x="242" y="201"/>
                    <a:pt x="242" y="200"/>
                    <a:pt x="241" y="199"/>
                  </a:cubicBezTo>
                  <a:cubicBezTo>
                    <a:pt x="240" y="199"/>
                    <a:pt x="239" y="199"/>
                    <a:pt x="238" y="198"/>
                  </a:cubicBezTo>
                  <a:cubicBezTo>
                    <a:pt x="237" y="198"/>
                    <a:pt x="236" y="198"/>
                    <a:pt x="234" y="198"/>
                  </a:cubicBezTo>
                  <a:cubicBezTo>
                    <a:pt x="233" y="199"/>
                    <a:pt x="231" y="199"/>
                    <a:pt x="230" y="198"/>
                  </a:cubicBezTo>
                  <a:cubicBezTo>
                    <a:pt x="229" y="198"/>
                    <a:pt x="228" y="198"/>
                    <a:pt x="227" y="197"/>
                  </a:cubicBezTo>
                  <a:cubicBezTo>
                    <a:pt x="226" y="197"/>
                    <a:pt x="226" y="197"/>
                    <a:pt x="225" y="196"/>
                  </a:cubicBezTo>
                  <a:cubicBezTo>
                    <a:pt x="224" y="196"/>
                    <a:pt x="224" y="196"/>
                    <a:pt x="223" y="196"/>
                  </a:cubicBezTo>
                  <a:cubicBezTo>
                    <a:pt x="222" y="197"/>
                    <a:pt x="221" y="197"/>
                    <a:pt x="219" y="197"/>
                  </a:cubicBezTo>
                  <a:cubicBezTo>
                    <a:pt x="218" y="197"/>
                    <a:pt x="217" y="199"/>
                    <a:pt x="216" y="200"/>
                  </a:cubicBezTo>
                  <a:cubicBezTo>
                    <a:pt x="215" y="200"/>
                    <a:pt x="214" y="199"/>
                    <a:pt x="213" y="200"/>
                  </a:cubicBezTo>
                  <a:cubicBezTo>
                    <a:pt x="212" y="200"/>
                    <a:pt x="211" y="202"/>
                    <a:pt x="211" y="203"/>
                  </a:cubicBezTo>
                  <a:cubicBezTo>
                    <a:pt x="208" y="205"/>
                    <a:pt x="205" y="208"/>
                    <a:pt x="202" y="209"/>
                  </a:cubicBezTo>
                  <a:cubicBezTo>
                    <a:pt x="201" y="210"/>
                    <a:pt x="199" y="210"/>
                    <a:pt x="198" y="211"/>
                  </a:cubicBezTo>
                  <a:cubicBezTo>
                    <a:pt x="196" y="212"/>
                    <a:pt x="194" y="213"/>
                    <a:pt x="193" y="215"/>
                  </a:cubicBezTo>
                  <a:cubicBezTo>
                    <a:pt x="189" y="216"/>
                    <a:pt x="191" y="220"/>
                    <a:pt x="190" y="223"/>
                  </a:cubicBezTo>
                  <a:cubicBezTo>
                    <a:pt x="190" y="223"/>
                    <a:pt x="189" y="223"/>
                    <a:pt x="189" y="224"/>
                  </a:cubicBezTo>
                  <a:cubicBezTo>
                    <a:pt x="189" y="225"/>
                    <a:pt x="189" y="226"/>
                    <a:pt x="190" y="228"/>
                  </a:cubicBezTo>
                  <a:cubicBezTo>
                    <a:pt x="190" y="230"/>
                    <a:pt x="190" y="232"/>
                    <a:pt x="190" y="234"/>
                  </a:cubicBezTo>
                  <a:cubicBezTo>
                    <a:pt x="188" y="233"/>
                    <a:pt x="188" y="233"/>
                    <a:pt x="188" y="233"/>
                  </a:cubicBezTo>
                  <a:cubicBezTo>
                    <a:pt x="187" y="233"/>
                    <a:pt x="186" y="234"/>
                    <a:pt x="185" y="233"/>
                  </a:cubicBezTo>
                  <a:cubicBezTo>
                    <a:pt x="182" y="231"/>
                    <a:pt x="178" y="230"/>
                    <a:pt x="176" y="226"/>
                  </a:cubicBezTo>
                  <a:cubicBezTo>
                    <a:pt x="175" y="225"/>
                    <a:pt x="176" y="223"/>
                    <a:pt x="175" y="222"/>
                  </a:cubicBezTo>
                  <a:cubicBezTo>
                    <a:pt x="174" y="220"/>
                    <a:pt x="172" y="217"/>
                    <a:pt x="171" y="214"/>
                  </a:cubicBezTo>
                  <a:cubicBezTo>
                    <a:pt x="170" y="214"/>
                    <a:pt x="170" y="213"/>
                    <a:pt x="170" y="212"/>
                  </a:cubicBezTo>
                  <a:cubicBezTo>
                    <a:pt x="169" y="209"/>
                    <a:pt x="168" y="206"/>
                    <a:pt x="167" y="203"/>
                  </a:cubicBezTo>
                  <a:cubicBezTo>
                    <a:pt x="167" y="203"/>
                    <a:pt x="167" y="202"/>
                    <a:pt x="166" y="201"/>
                  </a:cubicBezTo>
                  <a:cubicBezTo>
                    <a:pt x="164" y="200"/>
                    <a:pt x="163" y="198"/>
                    <a:pt x="161" y="197"/>
                  </a:cubicBezTo>
                  <a:cubicBezTo>
                    <a:pt x="159" y="196"/>
                    <a:pt x="156" y="196"/>
                    <a:pt x="154" y="197"/>
                  </a:cubicBezTo>
                  <a:cubicBezTo>
                    <a:pt x="153" y="197"/>
                    <a:pt x="152" y="197"/>
                    <a:pt x="152" y="198"/>
                  </a:cubicBezTo>
                  <a:cubicBezTo>
                    <a:pt x="152" y="199"/>
                    <a:pt x="151" y="201"/>
                    <a:pt x="151" y="202"/>
                  </a:cubicBezTo>
                  <a:cubicBezTo>
                    <a:pt x="151" y="203"/>
                    <a:pt x="150" y="204"/>
                    <a:pt x="149" y="204"/>
                  </a:cubicBezTo>
                  <a:cubicBezTo>
                    <a:pt x="148" y="204"/>
                    <a:pt x="147" y="204"/>
                    <a:pt x="147" y="204"/>
                  </a:cubicBezTo>
                  <a:cubicBezTo>
                    <a:pt x="145" y="203"/>
                    <a:pt x="144" y="201"/>
                    <a:pt x="142" y="200"/>
                  </a:cubicBezTo>
                  <a:cubicBezTo>
                    <a:pt x="141" y="199"/>
                    <a:pt x="140" y="199"/>
                    <a:pt x="139" y="198"/>
                  </a:cubicBezTo>
                  <a:cubicBezTo>
                    <a:pt x="136" y="196"/>
                    <a:pt x="136" y="194"/>
                    <a:pt x="136" y="191"/>
                  </a:cubicBezTo>
                  <a:cubicBezTo>
                    <a:pt x="135" y="189"/>
                    <a:pt x="133" y="188"/>
                    <a:pt x="132" y="186"/>
                  </a:cubicBezTo>
                  <a:cubicBezTo>
                    <a:pt x="131" y="184"/>
                    <a:pt x="129" y="183"/>
                    <a:pt x="127" y="181"/>
                  </a:cubicBezTo>
                  <a:cubicBezTo>
                    <a:pt x="127" y="180"/>
                    <a:pt x="127" y="178"/>
                    <a:pt x="126" y="177"/>
                  </a:cubicBezTo>
                  <a:cubicBezTo>
                    <a:pt x="124" y="176"/>
                    <a:pt x="122" y="177"/>
                    <a:pt x="120" y="177"/>
                  </a:cubicBezTo>
                  <a:cubicBezTo>
                    <a:pt x="120" y="178"/>
                    <a:pt x="117" y="178"/>
                    <a:pt x="116" y="177"/>
                  </a:cubicBezTo>
                  <a:cubicBezTo>
                    <a:pt x="114" y="177"/>
                    <a:pt x="113" y="177"/>
                    <a:pt x="112" y="177"/>
                  </a:cubicBezTo>
                  <a:cubicBezTo>
                    <a:pt x="110" y="178"/>
                    <a:pt x="110" y="180"/>
                    <a:pt x="110" y="182"/>
                  </a:cubicBezTo>
                  <a:cubicBezTo>
                    <a:pt x="106" y="183"/>
                    <a:pt x="102" y="181"/>
                    <a:pt x="99" y="182"/>
                  </a:cubicBezTo>
                  <a:cubicBezTo>
                    <a:pt x="98" y="182"/>
                    <a:pt x="98" y="182"/>
                    <a:pt x="97" y="183"/>
                  </a:cubicBezTo>
                  <a:cubicBezTo>
                    <a:pt x="95" y="183"/>
                    <a:pt x="92" y="183"/>
                    <a:pt x="90" y="182"/>
                  </a:cubicBezTo>
                  <a:cubicBezTo>
                    <a:pt x="87" y="181"/>
                    <a:pt x="84" y="180"/>
                    <a:pt x="81" y="178"/>
                  </a:cubicBezTo>
                  <a:cubicBezTo>
                    <a:pt x="79" y="177"/>
                    <a:pt x="76" y="177"/>
                    <a:pt x="74" y="175"/>
                  </a:cubicBezTo>
                  <a:cubicBezTo>
                    <a:pt x="73" y="175"/>
                    <a:pt x="73" y="175"/>
                    <a:pt x="73" y="175"/>
                  </a:cubicBezTo>
                  <a:cubicBezTo>
                    <a:pt x="72" y="174"/>
                    <a:pt x="71" y="174"/>
                    <a:pt x="71" y="174"/>
                  </a:cubicBezTo>
                  <a:cubicBezTo>
                    <a:pt x="67" y="172"/>
                    <a:pt x="64" y="171"/>
                    <a:pt x="61" y="168"/>
                  </a:cubicBezTo>
                  <a:cubicBezTo>
                    <a:pt x="60" y="168"/>
                    <a:pt x="60" y="168"/>
                    <a:pt x="59" y="168"/>
                  </a:cubicBezTo>
                  <a:cubicBezTo>
                    <a:pt x="54" y="168"/>
                    <a:pt x="50" y="168"/>
                    <a:pt x="45" y="168"/>
                  </a:cubicBezTo>
                  <a:lnTo>
                    <a:pt x="43" y="168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7" name="Freeform 90"/>
            <p:cNvSpPr>
              <a:spLocks/>
            </p:cNvSpPr>
            <p:nvPr/>
          </p:nvSpPr>
          <p:spPr bwMode="auto">
            <a:xfrm>
              <a:off x="6717054" y="3130154"/>
              <a:ext cx="188373" cy="161146"/>
            </a:xfrm>
            <a:custGeom>
              <a:avLst/>
              <a:gdLst>
                <a:gd name="T0" fmla="*/ 8978497 w 405"/>
                <a:gd name="T1" fmla="*/ 8186757 h 332"/>
                <a:gd name="T2" fmla="*/ 8103509 w 405"/>
                <a:gd name="T3" fmla="*/ 9208768 h 332"/>
                <a:gd name="T4" fmla="*/ 7487351 w 405"/>
                <a:gd name="T5" fmla="*/ 9412033 h 332"/>
                <a:gd name="T6" fmla="*/ 6916877 w 405"/>
                <a:gd name="T7" fmla="*/ 9883204 h 332"/>
                <a:gd name="T8" fmla="*/ 6461992 w 405"/>
                <a:gd name="T9" fmla="*/ 10812299 h 332"/>
                <a:gd name="T10" fmla="*/ 6008764 w 405"/>
                <a:gd name="T11" fmla="*/ 11878608 h 332"/>
                <a:gd name="T12" fmla="*/ 5123762 w 405"/>
                <a:gd name="T13" fmla="*/ 11791491 h 332"/>
                <a:gd name="T14" fmla="*/ 4487314 w 405"/>
                <a:gd name="T15" fmla="*/ 11167383 h 332"/>
                <a:gd name="T16" fmla="*/ 4385024 w 405"/>
                <a:gd name="T17" fmla="*/ 9925560 h 332"/>
                <a:gd name="T18" fmla="*/ 3759625 w 405"/>
                <a:gd name="T19" fmla="*/ 9295916 h 332"/>
                <a:gd name="T20" fmla="*/ 4364786 w 405"/>
                <a:gd name="T21" fmla="*/ 8257790 h 332"/>
                <a:gd name="T22" fmla="*/ 4562217 w 405"/>
                <a:gd name="T23" fmla="*/ 7681306 h 332"/>
                <a:gd name="T24" fmla="*/ 3718598 w 405"/>
                <a:gd name="T25" fmla="*/ 7057195 h 332"/>
                <a:gd name="T26" fmla="*/ 4523232 w 405"/>
                <a:gd name="T27" fmla="*/ 6939477 h 332"/>
                <a:gd name="T28" fmla="*/ 4029244 w 405"/>
                <a:gd name="T29" fmla="*/ 6430126 h 332"/>
                <a:gd name="T30" fmla="*/ 3792737 w 405"/>
                <a:gd name="T31" fmla="*/ 5810602 h 332"/>
                <a:gd name="T32" fmla="*/ 3162115 w 405"/>
                <a:gd name="T33" fmla="*/ 4660692 h 332"/>
                <a:gd name="T34" fmla="*/ 2041392 w 405"/>
                <a:gd name="T35" fmla="*/ 4186707 h 332"/>
                <a:gd name="T36" fmla="*/ 1302327 w 405"/>
                <a:gd name="T37" fmla="*/ 4355412 h 332"/>
                <a:gd name="T38" fmla="*/ 532973 w 405"/>
                <a:gd name="T39" fmla="*/ 3846681 h 332"/>
                <a:gd name="T40" fmla="*/ 1582389 w 405"/>
                <a:gd name="T41" fmla="*/ 3720765 h 332"/>
                <a:gd name="T42" fmla="*/ 913542 w 405"/>
                <a:gd name="T43" fmla="*/ 3523406 h 332"/>
                <a:gd name="T44" fmla="*/ 310615 w 405"/>
                <a:gd name="T45" fmla="*/ 3335628 h 332"/>
                <a:gd name="T46" fmla="*/ 1149179 w 405"/>
                <a:gd name="T47" fmla="*/ 2625455 h 332"/>
                <a:gd name="T48" fmla="*/ 2249329 w 405"/>
                <a:gd name="T49" fmla="*/ 2074689 h 332"/>
                <a:gd name="T50" fmla="*/ 2057249 w 405"/>
                <a:gd name="T51" fmla="*/ 1685710 h 332"/>
                <a:gd name="T52" fmla="*/ 3007563 w 405"/>
                <a:gd name="T53" fmla="*/ 1138080 h 332"/>
                <a:gd name="T54" fmla="*/ 3759625 w 405"/>
                <a:gd name="T55" fmla="*/ 874462 h 332"/>
                <a:gd name="T56" fmla="*/ 4876852 w 405"/>
                <a:gd name="T57" fmla="*/ 1016066 h 332"/>
                <a:gd name="T58" fmla="*/ 5293042 w 405"/>
                <a:gd name="T59" fmla="*/ 737785 h 332"/>
                <a:gd name="T60" fmla="*/ 6736634 w 405"/>
                <a:gd name="T61" fmla="*/ 939537 h 332"/>
                <a:gd name="T62" fmla="*/ 7686148 w 405"/>
                <a:gd name="T63" fmla="*/ 655466 h 332"/>
                <a:gd name="T64" fmla="*/ 6993300 w 405"/>
                <a:gd name="T65" fmla="*/ 360596 h 332"/>
                <a:gd name="T66" fmla="*/ 8064588 w 405"/>
                <a:gd name="T67" fmla="*/ 360596 h 332"/>
                <a:gd name="T68" fmla="*/ 8888718 w 405"/>
                <a:gd name="T69" fmla="*/ 39659 h 332"/>
                <a:gd name="T70" fmla="*/ 8814203 w 405"/>
                <a:gd name="T71" fmla="*/ 471163 h 332"/>
                <a:gd name="T72" fmla="*/ 10871163 w 405"/>
                <a:gd name="T73" fmla="*/ 360596 h 332"/>
                <a:gd name="T74" fmla="*/ 11896327 w 405"/>
                <a:gd name="T75" fmla="*/ 507971 h 332"/>
                <a:gd name="T76" fmla="*/ 10142104 w 405"/>
                <a:gd name="T77" fmla="*/ 874462 h 332"/>
                <a:gd name="T78" fmla="*/ 9658185 w 405"/>
                <a:gd name="T79" fmla="*/ 1138080 h 332"/>
                <a:gd name="T80" fmla="*/ 10806296 w 405"/>
                <a:gd name="T81" fmla="*/ 1016066 h 332"/>
                <a:gd name="T82" fmla="*/ 11024593 w 405"/>
                <a:gd name="T83" fmla="*/ 1263549 h 332"/>
                <a:gd name="T84" fmla="*/ 11441968 w 405"/>
                <a:gd name="T85" fmla="*/ 1750874 h 332"/>
                <a:gd name="T86" fmla="*/ 12349739 w 405"/>
                <a:gd name="T87" fmla="*/ 1172048 h 332"/>
                <a:gd name="T88" fmla="*/ 14106909 w 405"/>
                <a:gd name="T89" fmla="*/ 1242976 h 332"/>
                <a:gd name="T90" fmla="*/ 12276101 w 405"/>
                <a:gd name="T91" fmla="*/ 1750874 h 332"/>
                <a:gd name="T92" fmla="*/ 12349739 w 405"/>
                <a:gd name="T93" fmla="*/ 2035125 h 332"/>
                <a:gd name="T94" fmla="*/ 12504262 w 405"/>
                <a:gd name="T95" fmla="*/ 2319221 h 332"/>
                <a:gd name="T96" fmla="*/ 11896327 w 405"/>
                <a:gd name="T97" fmla="*/ 3335628 h 332"/>
                <a:gd name="T98" fmla="*/ 12173720 w 405"/>
                <a:gd name="T99" fmla="*/ 3414891 h 332"/>
                <a:gd name="T100" fmla="*/ 12010965 w 405"/>
                <a:gd name="T101" fmla="*/ 3965272 h 332"/>
                <a:gd name="T102" fmla="*/ 12080147 w 405"/>
                <a:gd name="T103" fmla="*/ 4110192 h 332"/>
                <a:gd name="T104" fmla="*/ 12276101 w 405"/>
                <a:gd name="T105" fmla="*/ 4777049 h 332"/>
                <a:gd name="T106" fmla="*/ 12114016 w 405"/>
                <a:gd name="T107" fmla="*/ 5061116 h 332"/>
                <a:gd name="T108" fmla="*/ 11896327 w 405"/>
                <a:gd name="T109" fmla="*/ 5345365 h 332"/>
                <a:gd name="T110" fmla="*/ 10846904 w 405"/>
                <a:gd name="T111" fmla="*/ 5751105 h 332"/>
                <a:gd name="T112" fmla="*/ 11024593 w 405"/>
                <a:gd name="T113" fmla="*/ 6074918 h 332"/>
                <a:gd name="T114" fmla="*/ 11660657 w 405"/>
                <a:gd name="T115" fmla="*/ 6696516 h 332"/>
                <a:gd name="T116" fmla="*/ 11477990 w 405"/>
                <a:gd name="T117" fmla="*/ 7172556 h 332"/>
                <a:gd name="T118" fmla="*/ 10180935 w 405"/>
                <a:gd name="T119" fmla="*/ 7172556 h 332"/>
                <a:gd name="T120" fmla="*/ 10377835 w 405"/>
                <a:gd name="T121" fmla="*/ 7201715 h 332"/>
                <a:gd name="T122" fmla="*/ 11127036 w 405"/>
                <a:gd name="T123" fmla="*/ 7643897 h 33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05"/>
                <a:gd name="T187" fmla="*/ 0 h 332"/>
                <a:gd name="T188" fmla="*/ 405 w 405"/>
                <a:gd name="T189" fmla="*/ 332 h 33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05" h="332">
                  <a:moveTo>
                    <a:pt x="304" y="216"/>
                  </a:moveTo>
                  <a:cubicBezTo>
                    <a:pt x="303" y="216"/>
                    <a:pt x="303" y="216"/>
                    <a:pt x="303" y="217"/>
                  </a:cubicBezTo>
                  <a:cubicBezTo>
                    <a:pt x="302" y="217"/>
                    <a:pt x="302" y="219"/>
                    <a:pt x="302" y="219"/>
                  </a:cubicBezTo>
                  <a:cubicBezTo>
                    <a:pt x="301" y="220"/>
                    <a:pt x="301" y="220"/>
                    <a:pt x="300" y="220"/>
                  </a:cubicBezTo>
                  <a:cubicBezTo>
                    <a:pt x="300" y="221"/>
                    <a:pt x="299" y="221"/>
                    <a:pt x="299" y="221"/>
                  </a:cubicBezTo>
                  <a:cubicBezTo>
                    <a:pt x="298" y="221"/>
                    <a:pt x="297" y="222"/>
                    <a:pt x="296" y="222"/>
                  </a:cubicBezTo>
                  <a:cubicBezTo>
                    <a:pt x="291" y="223"/>
                    <a:pt x="286" y="225"/>
                    <a:pt x="282" y="225"/>
                  </a:cubicBezTo>
                  <a:cubicBezTo>
                    <a:pt x="280" y="225"/>
                    <a:pt x="279" y="226"/>
                    <a:pt x="278" y="227"/>
                  </a:cubicBezTo>
                  <a:cubicBezTo>
                    <a:pt x="277" y="228"/>
                    <a:pt x="275" y="227"/>
                    <a:pt x="273" y="227"/>
                  </a:cubicBezTo>
                  <a:cubicBezTo>
                    <a:pt x="270" y="229"/>
                    <a:pt x="267" y="229"/>
                    <a:pt x="264" y="229"/>
                  </a:cubicBezTo>
                  <a:cubicBezTo>
                    <a:pt x="262" y="229"/>
                    <a:pt x="260" y="230"/>
                    <a:pt x="259" y="228"/>
                  </a:cubicBezTo>
                  <a:cubicBezTo>
                    <a:pt x="258" y="227"/>
                    <a:pt x="258" y="225"/>
                    <a:pt x="256" y="225"/>
                  </a:cubicBezTo>
                  <a:cubicBezTo>
                    <a:pt x="257" y="227"/>
                    <a:pt x="257" y="228"/>
                    <a:pt x="258" y="229"/>
                  </a:cubicBezTo>
                  <a:cubicBezTo>
                    <a:pt x="258" y="230"/>
                    <a:pt x="258" y="231"/>
                    <a:pt x="258" y="232"/>
                  </a:cubicBezTo>
                  <a:cubicBezTo>
                    <a:pt x="257" y="233"/>
                    <a:pt x="255" y="233"/>
                    <a:pt x="254" y="234"/>
                  </a:cubicBezTo>
                  <a:cubicBezTo>
                    <a:pt x="253" y="234"/>
                    <a:pt x="252" y="233"/>
                    <a:pt x="251" y="234"/>
                  </a:cubicBezTo>
                  <a:cubicBezTo>
                    <a:pt x="250" y="234"/>
                    <a:pt x="249" y="235"/>
                    <a:pt x="249" y="236"/>
                  </a:cubicBezTo>
                  <a:cubicBezTo>
                    <a:pt x="248" y="238"/>
                    <a:pt x="247" y="240"/>
                    <a:pt x="246" y="242"/>
                  </a:cubicBezTo>
                  <a:cubicBezTo>
                    <a:pt x="246" y="243"/>
                    <a:pt x="246" y="244"/>
                    <a:pt x="245" y="244"/>
                  </a:cubicBezTo>
                  <a:cubicBezTo>
                    <a:pt x="244" y="247"/>
                    <a:pt x="242" y="247"/>
                    <a:pt x="240" y="249"/>
                  </a:cubicBezTo>
                  <a:cubicBezTo>
                    <a:pt x="239" y="249"/>
                    <a:pt x="238" y="248"/>
                    <a:pt x="238" y="249"/>
                  </a:cubicBezTo>
                  <a:cubicBezTo>
                    <a:pt x="237" y="250"/>
                    <a:pt x="237" y="251"/>
                    <a:pt x="237" y="252"/>
                  </a:cubicBezTo>
                  <a:cubicBezTo>
                    <a:pt x="236" y="253"/>
                    <a:pt x="235" y="254"/>
                    <a:pt x="234" y="254"/>
                  </a:cubicBezTo>
                  <a:cubicBezTo>
                    <a:pt x="233" y="255"/>
                    <a:pt x="232" y="254"/>
                    <a:pt x="231" y="253"/>
                  </a:cubicBezTo>
                  <a:cubicBezTo>
                    <a:pt x="231" y="253"/>
                    <a:pt x="231" y="252"/>
                    <a:pt x="231" y="251"/>
                  </a:cubicBezTo>
                  <a:cubicBezTo>
                    <a:pt x="231" y="251"/>
                    <a:pt x="230" y="251"/>
                    <a:pt x="230" y="251"/>
                  </a:cubicBezTo>
                  <a:cubicBezTo>
                    <a:pt x="229" y="253"/>
                    <a:pt x="230" y="255"/>
                    <a:pt x="229" y="256"/>
                  </a:cubicBezTo>
                  <a:cubicBezTo>
                    <a:pt x="226" y="258"/>
                    <a:pt x="223" y="257"/>
                    <a:pt x="220" y="257"/>
                  </a:cubicBezTo>
                  <a:cubicBezTo>
                    <a:pt x="219" y="258"/>
                    <a:pt x="220" y="261"/>
                    <a:pt x="219" y="261"/>
                  </a:cubicBezTo>
                  <a:cubicBezTo>
                    <a:pt x="218" y="262"/>
                    <a:pt x="216" y="261"/>
                    <a:pt x="215" y="260"/>
                  </a:cubicBezTo>
                  <a:cubicBezTo>
                    <a:pt x="214" y="259"/>
                    <a:pt x="215" y="257"/>
                    <a:pt x="216" y="255"/>
                  </a:cubicBezTo>
                  <a:cubicBezTo>
                    <a:pt x="217" y="254"/>
                    <a:pt x="217" y="254"/>
                    <a:pt x="218" y="253"/>
                  </a:cubicBezTo>
                  <a:cubicBezTo>
                    <a:pt x="218" y="252"/>
                    <a:pt x="218" y="251"/>
                    <a:pt x="217" y="252"/>
                  </a:cubicBezTo>
                  <a:cubicBezTo>
                    <a:pt x="216" y="252"/>
                    <a:pt x="216" y="253"/>
                    <a:pt x="215" y="254"/>
                  </a:cubicBezTo>
                  <a:cubicBezTo>
                    <a:pt x="215" y="255"/>
                    <a:pt x="213" y="255"/>
                    <a:pt x="213" y="256"/>
                  </a:cubicBezTo>
                  <a:cubicBezTo>
                    <a:pt x="212" y="257"/>
                    <a:pt x="213" y="258"/>
                    <a:pt x="213" y="259"/>
                  </a:cubicBezTo>
                  <a:cubicBezTo>
                    <a:pt x="213" y="260"/>
                    <a:pt x="213" y="261"/>
                    <a:pt x="212" y="261"/>
                  </a:cubicBezTo>
                  <a:cubicBezTo>
                    <a:pt x="212" y="261"/>
                    <a:pt x="212" y="261"/>
                    <a:pt x="212" y="261"/>
                  </a:cubicBezTo>
                  <a:cubicBezTo>
                    <a:pt x="212" y="261"/>
                    <a:pt x="211" y="262"/>
                    <a:pt x="211" y="262"/>
                  </a:cubicBezTo>
                  <a:cubicBezTo>
                    <a:pt x="208" y="262"/>
                    <a:pt x="206" y="262"/>
                    <a:pt x="204" y="262"/>
                  </a:cubicBezTo>
                  <a:cubicBezTo>
                    <a:pt x="203" y="260"/>
                    <a:pt x="201" y="261"/>
                    <a:pt x="200" y="261"/>
                  </a:cubicBezTo>
                  <a:cubicBezTo>
                    <a:pt x="199" y="261"/>
                    <a:pt x="198" y="263"/>
                    <a:pt x="199" y="264"/>
                  </a:cubicBezTo>
                  <a:cubicBezTo>
                    <a:pt x="200" y="264"/>
                    <a:pt x="200" y="265"/>
                    <a:pt x="201" y="266"/>
                  </a:cubicBezTo>
                  <a:cubicBezTo>
                    <a:pt x="202" y="266"/>
                    <a:pt x="200" y="268"/>
                    <a:pt x="200" y="269"/>
                  </a:cubicBezTo>
                  <a:cubicBezTo>
                    <a:pt x="198" y="269"/>
                    <a:pt x="197" y="269"/>
                    <a:pt x="196" y="269"/>
                  </a:cubicBezTo>
                  <a:cubicBezTo>
                    <a:pt x="194" y="269"/>
                    <a:pt x="193" y="268"/>
                    <a:pt x="191" y="268"/>
                  </a:cubicBezTo>
                  <a:cubicBezTo>
                    <a:pt x="191" y="269"/>
                    <a:pt x="192" y="270"/>
                    <a:pt x="193" y="271"/>
                  </a:cubicBezTo>
                  <a:cubicBezTo>
                    <a:pt x="194" y="271"/>
                    <a:pt x="196" y="271"/>
                    <a:pt x="197" y="272"/>
                  </a:cubicBezTo>
                  <a:cubicBezTo>
                    <a:pt x="197" y="272"/>
                    <a:pt x="197" y="273"/>
                    <a:pt x="197" y="273"/>
                  </a:cubicBezTo>
                  <a:cubicBezTo>
                    <a:pt x="195" y="275"/>
                    <a:pt x="193" y="276"/>
                    <a:pt x="191" y="279"/>
                  </a:cubicBezTo>
                  <a:cubicBezTo>
                    <a:pt x="190" y="279"/>
                    <a:pt x="189" y="278"/>
                    <a:pt x="187" y="279"/>
                  </a:cubicBezTo>
                  <a:cubicBezTo>
                    <a:pt x="187" y="279"/>
                    <a:pt x="187" y="279"/>
                    <a:pt x="187" y="279"/>
                  </a:cubicBezTo>
                  <a:cubicBezTo>
                    <a:pt x="188" y="279"/>
                    <a:pt x="189" y="280"/>
                    <a:pt x="190" y="280"/>
                  </a:cubicBezTo>
                  <a:cubicBezTo>
                    <a:pt x="191" y="281"/>
                    <a:pt x="192" y="280"/>
                    <a:pt x="193" y="281"/>
                  </a:cubicBezTo>
                  <a:cubicBezTo>
                    <a:pt x="194" y="282"/>
                    <a:pt x="193" y="284"/>
                    <a:pt x="193" y="286"/>
                  </a:cubicBezTo>
                  <a:cubicBezTo>
                    <a:pt x="193" y="287"/>
                    <a:pt x="192" y="288"/>
                    <a:pt x="192" y="288"/>
                  </a:cubicBezTo>
                  <a:cubicBezTo>
                    <a:pt x="189" y="288"/>
                    <a:pt x="188" y="290"/>
                    <a:pt x="187" y="291"/>
                  </a:cubicBezTo>
                  <a:cubicBezTo>
                    <a:pt x="186" y="292"/>
                    <a:pt x="186" y="293"/>
                    <a:pt x="186" y="293"/>
                  </a:cubicBezTo>
                  <a:cubicBezTo>
                    <a:pt x="186" y="294"/>
                    <a:pt x="186" y="295"/>
                    <a:pt x="186" y="296"/>
                  </a:cubicBezTo>
                  <a:cubicBezTo>
                    <a:pt x="185" y="296"/>
                    <a:pt x="184" y="297"/>
                    <a:pt x="184" y="297"/>
                  </a:cubicBezTo>
                  <a:cubicBezTo>
                    <a:pt x="183" y="298"/>
                    <a:pt x="182" y="297"/>
                    <a:pt x="181" y="296"/>
                  </a:cubicBezTo>
                  <a:cubicBezTo>
                    <a:pt x="180" y="296"/>
                    <a:pt x="179" y="296"/>
                    <a:pt x="179" y="296"/>
                  </a:cubicBezTo>
                  <a:cubicBezTo>
                    <a:pt x="178" y="297"/>
                    <a:pt x="177" y="297"/>
                    <a:pt x="176" y="298"/>
                  </a:cubicBezTo>
                  <a:cubicBezTo>
                    <a:pt x="175" y="299"/>
                    <a:pt x="177" y="299"/>
                    <a:pt x="177" y="300"/>
                  </a:cubicBezTo>
                  <a:cubicBezTo>
                    <a:pt x="178" y="302"/>
                    <a:pt x="177" y="304"/>
                    <a:pt x="178" y="305"/>
                  </a:cubicBezTo>
                  <a:cubicBezTo>
                    <a:pt x="179" y="307"/>
                    <a:pt x="179" y="308"/>
                    <a:pt x="178" y="310"/>
                  </a:cubicBezTo>
                  <a:cubicBezTo>
                    <a:pt x="178" y="310"/>
                    <a:pt x="178" y="311"/>
                    <a:pt x="178" y="311"/>
                  </a:cubicBezTo>
                  <a:cubicBezTo>
                    <a:pt x="177" y="312"/>
                    <a:pt x="178" y="313"/>
                    <a:pt x="177" y="314"/>
                  </a:cubicBezTo>
                  <a:cubicBezTo>
                    <a:pt x="177" y="315"/>
                    <a:pt x="175" y="316"/>
                    <a:pt x="173" y="317"/>
                  </a:cubicBezTo>
                  <a:cubicBezTo>
                    <a:pt x="173" y="320"/>
                    <a:pt x="174" y="323"/>
                    <a:pt x="172" y="325"/>
                  </a:cubicBezTo>
                  <a:cubicBezTo>
                    <a:pt x="170" y="326"/>
                    <a:pt x="169" y="325"/>
                    <a:pt x="167" y="325"/>
                  </a:cubicBezTo>
                  <a:cubicBezTo>
                    <a:pt x="168" y="327"/>
                    <a:pt x="170" y="327"/>
                    <a:pt x="171" y="327"/>
                  </a:cubicBezTo>
                  <a:cubicBezTo>
                    <a:pt x="172" y="328"/>
                    <a:pt x="171" y="329"/>
                    <a:pt x="171" y="329"/>
                  </a:cubicBezTo>
                  <a:cubicBezTo>
                    <a:pt x="171" y="329"/>
                    <a:pt x="171" y="329"/>
                    <a:pt x="170" y="329"/>
                  </a:cubicBezTo>
                  <a:cubicBezTo>
                    <a:pt x="170" y="330"/>
                    <a:pt x="169" y="331"/>
                    <a:pt x="169" y="331"/>
                  </a:cubicBezTo>
                  <a:cubicBezTo>
                    <a:pt x="167" y="331"/>
                    <a:pt x="166" y="331"/>
                    <a:pt x="165" y="331"/>
                  </a:cubicBezTo>
                  <a:cubicBezTo>
                    <a:pt x="164" y="330"/>
                    <a:pt x="164" y="330"/>
                    <a:pt x="163" y="329"/>
                  </a:cubicBezTo>
                  <a:cubicBezTo>
                    <a:pt x="163" y="329"/>
                    <a:pt x="162" y="329"/>
                    <a:pt x="162" y="330"/>
                  </a:cubicBezTo>
                  <a:cubicBezTo>
                    <a:pt x="161" y="330"/>
                    <a:pt x="161" y="331"/>
                    <a:pt x="160" y="331"/>
                  </a:cubicBezTo>
                  <a:cubicBezTo>
                    <a:pt x="159" y="332"/>
                    <a:pt x="157" y="331"/>
                    <a:pt x="155" y="330"/>
                  </a:cubicBezTo>
                  <a:cubicBezTo>
                    <a:pt x="155" y="329"/>
                    <a:pt x="156" y="328"/>
                    <a:pt x="157" y="328"/>
                  </a:cubicBezTo>
                  <a:cubicBezTo>
                    <a:pt x="157" y="327"/>
                    <a:pt x="157" y="326"/>
                    <a:pt x="157" y="326"/>
                  </a:cubicBezTo>
                  <a:cubicBezTo>
                    <a:pt x="155" y="325"/>
                    <a:pt x="153" y="326"/>
                    <a:pt x="151" y="325"/>
                  </a:cubicBezTo>
                  <a:cubicBezTo>
                    <a:pt x="150" y="325"/>
                    <a:pt x="148" y="325"/>
                    <a:pt x="146" y="324"/>
                  </a:cubicBezTo>
                  <a:cubicBezTo>
                    <a:pt x="146" y="324"/>
                    <a:pt x="146" y="323"/>
                    <a:pt x="147" y="322"/>
                  </a:cubicBezTo>
                  <a:cubicBezTo>
                    <a:pt x="149" y="321"/>
                    <a:pt x="150" y="321"/>
                    <a:pt x="152" y="320"/>
                  </a:cubicBezTo>
                  <a:cubicBezTo>
                    <a:pt x="152" y="319"/>
                    <a:pt x="152" y="319"/>
                    <a:pt x="152" y="319"/>
                  </a:cubicBezTo>
                  <a:cubicBezTo>
                    <a:pt x="150" y="319"/>
                    <a:pt x="148" y="321"/>
                    <a:pt x="146" y="321"/>
                  </a:cubicBezTo>
                  <a:cubicBezTo>
                    <a:pt x="145" y="321"/>
                    <a:pt x="144" y="321"/>
                    <a:pt x="143" y="323"/>
                  </a:cubicBezTo>
                  <a:cubicBezTo>
                    <a:pt x="141" y="322"/>
                    <a:pt x="138" y="323"/>
                    <a:pt x="137" y="321"/>
                  </a:cubicBezTo>
                  <a:cubicBezTo>
                    <a:pt x="136" y="320"/>
                    <a:pt x="137" y="318"/>
                    <a:pt x="136" y="317"/>
                  </a:cubicBezTo>
                  <a:cubicBezTo>
                    <a:pt x="136" y="317"/>
                    <a:pt x="135" y="316"/>
                    <a:pt x="135" y="316"/>
                  </a:cubicBezTo>
                  <a:cubicBezTo>
                    <a:pt x="133" y="316"/>
                    <a:pt x="132" y="316"/>
                    <a:pt x="131" y="315"/>
                  </a:cubicBezTo>
                  <a:cubicBezTo>
                    <a:pt x="130" y="315"/>
                    <a:pt x="129" y="314"/>
                    <a:pt x="129" y="314"/>
                  </a:cubicBezTo>
                  <a:cubicBezTo>
                    <a:pt x="129" y="313"/>
                    <a:pt x="128" y="312"/>
                    <a:pt x="128" y="312"/>
                  </a:cubicBezTo>
                  <a:cubicBezTo>
                    <a:pt x="128" y="310"/>
                    <a:pt x="128" y="308"/>
                    <a:pt x="128" y="307"/>
                  </a:cubicBezTo>
                  <a:cubicBezTo>
                    <a:pt x="127" y="306"/>
                    <a:pt x="128" y="305"/>
                    <a:pt x="128" y="305"/>
                  </a:cubicBezTo>
                  <a:cubicBezTo>
                    <a:pt x="127" y="304"/>
                    <a:pt x="127" y="304"/>
                    <a:pt x="126" y="304"/>
                  </a:cubicBezTo>
                  <a:cubicBezTo>
                    <a:pt x="125" y="303"/>
                    <a:pt x="124" y="304"/>
                    <a:pt x="124" y="303"/>
                  </a:cubicBezTo>
                  <a:cubicBezTo>
                    <a:pt x="122" y="302"/>
                    <a:pt x="121" y="300"/>
                    <a:pt x="122" y="298"/>
                  </a:cubicBezTo>
                  <a:cubicBezTo>
                    <a:pt x="122" y="297"/>
                    <a:pt x="122" y="295"/>
                    <a:pt x="121" y="294"/>
                  </a:cubicBezTo>
                  <a:cubicBezTo>
                    <a:pt x="120" y="292"/>
                    <a:pt x="118" y="290"/>
                    <a:pt x="117" y="288"/>
                  </a:cubicBezTo>
                  <a:cubicBezTo>
                    <a:pt x="116" y="286"/>
                    <a:pt x="116" y="285"/>
                    <a:pt x="116" y="283"/>
                  </a:cubicBezTo>
                  <a:cubicBezTo>
                    <a:pt x="116" y="283"/>
                    <a:pt x="115" y="282"/>
                    <a:pt x="115" y="282"/>
                  </a:cubicBezTo>
                  <a:cubicBezTo>
                    <a:pt x="115" y="282"/>
                    <a:pt x="115" y="281"/>
                    <a:pt x="115" y="281"/>
                  </a:cubicBezTo>
                  <a:cubicBezTo>
                    <a:pt x="116" y="280"/>
                    <a:pt x="118" y="280"/>
                    <a:pt x="119" y="279"/>
                  </a:cubicBezTo>
                  <a:cubicBezTo>
                    <a:pt x="121" y="278"/>
                    <a:pt x="122" y="277"/>
                    <a:pt x="123" y="276"/>
                  </a:cubicBezTo>
                  <a:cubicBezTo>
                    <a:pt x="124" y="275"/>
                    <a:pt x="125" y="274"/>
                    <a:pt x="125" y="273"/>
                  </a:cubicBezTo>
                  <a:cubicBezTo>
                    <a:pt x="126" y="273"/>
                    <a:pt x="126" y="273"/>
                    <a:pt x="126" y="272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5" y="272"/>
                    <a:pt x="124" y="273"/>
                    <a:pt x="124" y="273"/>
                  </a:cubicBezTo>
                  <a:cubicBezTo>
                    <a:pt x="123" y="273"/>
                    <a:pt x="121" y="272"/>
                    <a:pt x="120" y="273"/>
                  </a:cubicBezTo>
                  <a:cubicBezTo>
                    <a:pt x="118" y="274"/>
                    <a:pt x="117" y="276"/>
                    <a:pt x="116" y="278"/>
                  </a:cubicBezTo>
                  <a:cubicBezTo>
                    <a:pt x="113" y="279"/>
                    <a:pt x="113" y="276"/>
                    <a:pt x="113" y="274"/>
                  </a:cubicBezTo>
                  <a:cubicBezTo>
                    <a:pt x="114" y="273"/>
                    <a:pt x="114" y="271"/>
                    <a:pt x="113" y="270"/>
                  </a:cubicBezTo>
                  <a:cubicBezTo>
                    <a:pt x="112" y="269"/>
                    <a:pt x="113" y="268"/>
                    <a:pt x="113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12" y="266"/>
                    <a:pt x="112" y="264"/>
                    <a:pt x="112" y="263"/>
                  </a:cubicBezTo>
                  <a:cubicBezTo>
                    <a:pt x="111" y="261"/>
                    <a:pt x="109" y="261"/>
                    <a:pt x="108" y="260"/>
                  </a:cubicBezTo>
                  <a:cubicBezTo>
                    <a:pt x="107" y="259"/>
                    <a:pt x="108" y="257"/>
                    <a:pt x="107" y="256"/>
                  </a:cubicBezTo>
                  <a:cubicBezTo>
                    <a:pt x="107" y="255"/>
                    <a:pt x="106" y="254"/>
                    <a:pt x="106" y="253"/>
                  </a:cubicBezTo>
                  <a:cubicBezTo>
                    <a:pt x="105" y="249"/>
                    <a:pt x="109" y="248"/>
                    <a:pt x="111" y="245"/>
                  </a:cubicBezTo>
                  <a:cubicBezTo>
                    <a:pt x="111" y="245"/>
                    <a:pt x="111" y="245"/>
                    <a:pt x="111" y="245"/>
                  </a:cubicBezTo>
                  <a:cubicBezTo>
                    <a:pt x="110" y="244"/>
                    <a:pt x="108" y="244"/>
                    <a:pt x="106" y="244"/>
                  </a:cubicBezTo>
                  <a:cubicBezTo>
                    <a:pt x="106" y="244"/>
                    <a:pt x="106" y="243"/>
                    <a:pt x="106" y="243"/>
                  </a:cubicBezTo>
                  <a:cubicBezTo>
                    <a:pt x="105" y="242"/>
                    <a:pt x="105" y="241"/>
                    <a:pt x="106" y="240"/>
                  </a:cubicBezTo>
                  <a:cubicBezTo>
                    <a:pt x="107" y="238"/>
                    <a:pt x="106" y="236"/>
                    <a:pt x="107" y="235"/>
                  </a:cubicBezTo>
                  <a:cubicBezTo>
                    <a:pt x="107" y="233"/>
                    <a:pt x="109" y="233"/>
                    <a:pt x="110" y="232"/>
                  </a:cubicBezTo>
                  <a:cubicBezTo>
                    <a:pt x="110" y="231"/>
                    <a:pt x="110" y="230"/>
                    <a:pt x="111" y="230"/>
                  </a:cubicBezTo>
                  <a:cubicBezTo>
                    <a:pt x="115" y="229"/>
                    <a:pt x="118" y="230"/>
                    <a:pt x="121" y="230"/>
                  </a:cubicBezTo>
                  <a:cubicBezTo>
                    <a:pt x="122" y="229"/>
                    <a:pt x="123" y="229"/>
                    <a:pt x="124" y="228"/>
                  </a:cubicBezTo>
                  <a:cubicBezTo>
                    <a:pt x="124" y="228"/>
                    <a:pt x="124" y="227"/>
                    <a:pt x="124" y="227"/>
                  </a:cubicBezTo>
                  <a:cubicBezTo>
                    <a:pt x="123" y="227"/>
                    <a:pt x="123" y="228"/>
                    <a:pt x="122" y="228"/>
                  </a:cubicBezTo>
                  <a:cubicBezTo>
                    <a:pt x="120" y="228"/>
                    <a:pt x="119" y="228"/>
                    <a:pt x="117" y="228"/>
                  </a:cubicBezTo>
                  <a:cubicBezTo>
                    <a:pt x="115" y="228"/>
                    <a:pt x="113" y="227"/>
                    <a:pt x="111" y="227"/>
                  </a:cubicBezTo>
                  <a:cubicBezTo>
                    <a:pt x="111" y="227"/>
                    <a:pt x="111" y="226"/>
                    <a:pt x="112" y="226"/>
                  </a:cubicBezTo>
                  <a:cubicBezTo>
                    <a:pt x="113" y="226"/>
                    <a:pt x="114" y="226"/>
                    <a:pt x="115" y="225"/>
                  </a:cubicBezTo>
                  <a:cubicBezTo>
                    <a:pt x="116" y="225"/>
                    <a:pt x="116" y="223"/>
                    <a:pt x="117" y="223"/>
                  </a:cubicBezTo>
                  <a:cubicBezTo>
                    <a:pt x="119" y="223"/>
                    <a:pt x="120" y="223"/>
                    <a:pt x="122" y="223"/>
                  </a:cubicBezTo>
                  <a:cubicBezTo>
                    <a:pt x="123" y="223"/>
                    <a:pt x="124" y="223"/>
                    <a:pt x="125" y="223"/>
                  </a:cubicBezTo>
                  <a:cubicBezTo>
                    <a:pt x="126" y="223"/>
                    <a:pt x="126" y="222"/>
                    <a:pt x="127" y="222"/>
                  </a:cubicBezTo>
                  <a:cubicBezTo>
                    <a:pt x="127" y="219"/>
                    <a:pt x="126" y="216"/>
                    <a:pt x="128" y="214"/>
                  </a:cubicBezTo>
                  <a:cubicBezTo>
                    <a:pt x="128" y="214"/>
                    <a:pt x="128" y="214"/>
                    <a:pt x="128" y="214"/>
                  </a:cubicBezTo>
                  <a:cubicBezTo>
                    <a:pt x="129" y="213"/>
                    <a:pt x="130" y="212"/>
                    <a:pt x="130" y="211"/>
                  </a:cubicBezTo>
                  <a:cubicBezTo>
                    <a:pt x="131" y="210"/>
                    <a:pt x="130" y="209"/>
                    <a:pt x="131" y="208"/>
                  </a:cubicBezTo>
                  <a:cubicBezTo>
                    <a:pt x="132" y="207"/>
                    <a:pt x="134" y="206"/>
                    <a:pt x="135" y="204"/>
                  </a:cubicBezTo>
                  <a:cubicBezTo>
                    <a:pt x="135" y="204"/>
                    <a:pt x="135" y="203"/>
                    <a:pt x="135" y="203"/>
                  </a:cubicBezTo>
                  <a:cubicBezTo>
                    <a:pt x="134" y="202"/>
                    <a:pt x="134" y="203"/>
                    <a:pt x="133" y="203"/>
                  </a:cubicBezTo>
                  <a:cubicBezTo>
                    <a:pt x="132" y="203"/>
                    <a:pt x="131" y="202"/>
                    <a:pt x="131" y="202"/>
                  </a:cubicBezTo>
                  <a:cubicBezTo>
                    <a:pt x="130" y="201"/>
                    <a:pt x="129" y="202"/>
                    <a:pt x="127" y="203"/>
                  </a:cubicBezTo>
                  <a:cubicBezTo>
                    <a:pt x="127" y="204"/>
                    <a:pt x="126" y="203"/>
                    <a:pt x="125" y="203"/>
                  </a:cubicBezTo>
                  <a:cubicBezTo>
                    <a:pt x="124" y="202"/>
                    <a:pt x="122" y="203"/>
                    <a:pt x="120" y="202"/>
                  </a:cubicBezTo>
                  <a:cubicBezTo>
                    <a:pt x="119" y="201"/>
                    <a:pt x="119" y="199"/>
                    <a:pt x="118" y="199"/>
                  </a:cubicBezTo>
                  <a:cubicBezTo>
                    <a:pt x="116" y="198"/>
                    <a:pt x="114" y="199"/>
                    <a:pt x="113" y="198"/>
                  </a:cubicBezTo>
                  <a:cubicBezTo>
                    <a:pt x="111" y="198"/>
                    <a:pt x="110" y="198"/>
                    <a:pt x="109" y="197"/>
                  </a:cubicBezTo>
                  <a:cubicBezTo>
                    <a:pt x="108" y="196"/>
                    <a:pt x="107" y="195"/>
                    <a:pt x="106" y="194"/>
                  </a:cubicBezTo>
                  <a:cubicBezTo>
                    <a:pt x="105" y="193"/>
                    <a:pt x="106" y="192"/>
                    <a:pt x="107" y="192"/>
                  </a:cubicBezTo>
                  <a:cubicBezTo>
                    <a:pt x="110" y="191"/>
                    <a:pt x="114" y="191"/>
                    <a:pt x="117" y="192"/>
                  </a:cubicBezTo>
                  <a:cubicBezTo>
                    <a:pt x="119" y="192"/>
                    <a:pt x="120" y="194"/>
                    <a:pt x="122" y="195"/>
                  </a:cubicBezTo>
                  <a:cubicBezTo>
                    <a:pt x="122" y="195"/>
                    <a:pt x="123" y="196"/>
                    <a:pt x="124" y="196"/>
                  </a:cubicBezTo>
                  <a:cubicBezTo>
                    <a:pt x="124" y="196"/>
                    <a:pt x="125" y="197"/>
                    <a:pt x="125" y="197"/>
                  </a:cubicBezTo>
                  <a:cubicBezTo>
                    <a:pt x="126" y="198"/>
                    <a:pt x="127" y="198"/>
                    <a:pt x="128" y="198"/>
                  </a:cubicBezTo>
                  <a:cubicBezTo>
                    <a:pt x="130" y="198"/>
                    <a:pt x="132" y="199"/>
                    <a:pt x="133" y="199"/>
                  </a:cubicBezTo>
                  <a:cubicBezTo>
                    <a:pt x="133" y="199"/>
                    <a:pt x="133" y="198"/>
                    <a:pt x="133" y="198"/>
                  </a:cubicBezTo>
                  <a:cubicBezTo>
                    <a:pt x="132" y="197"/>
                    <a:pt x="131" y="197"/>
                    <a:pt x="131" y="196"/>
                  </a:cubicBezTo>
                  <a:cubicBezTo>
                    <a:pt x="131" y="196"/>
                    <a:pt x="130" y="196"/>
                    <a:pt x="130" y="195"/>
                  </a:cubicBezTo>
                  <a:cubicBezTo>
                    <a:pt x="130" y="194"/>
                    <a:pt x="129" y="194"/>
                    <a:pt x="129" y="193"/>
                  </a:cubicBezTo>
                  <a:cubicBezTo>
                    <a:pt x="128" y="193"/>
                    <a:pt x="129" y="192"/>
                    <a:pt x="129" y="191"/>
                  </a:cubicBezTo>
                  <a:cubicBezTo>
                    <a:pt x="128" y="190"/>
                    <a:pt x="127" y="190"/>
                    <a:pt x="126" y="189"/>
                  </a:cubicBezTo>
                  <a:cubicBezTo>
                    <a:pt x="126" y="189"/>
                    <a:pt x="126" y="188"/>
                    <a:pt x="126" y="187"/>
                  </a:cubicBezTo>
                  <a:cubicBezTo>
                    <a:pt x="125" y="186"/>
                    <a:pt x="124" y="186"/>
                    <a:pt x="123" y="185"/>
                  </a:cubicBezTo>
                  <a:cubicBezTo>
                    <a:pt x="123" y="184"/>
                    <a:pt x="121" y="185"/>
                    <a:pt x="120" y="186"/>
                  </a:cubicBezTo>
                  <a:cubicBezTo>
                    <a:pt x="119" y="186"/>
                    <a:pt x="118" y="186"/>
                    <a:pt x="118" y="186"/>
                  </a:cubicBezTo>
                  <a:cubicBezTo>
                    <a:pt x="117" y="186"/>
                    <a:pt x="118" y="185"/>
                    <a:pt x="118" y="184"/>
                  </a:cubicBezTo>
                  <a:cubicBezTo>
                    <a:pt x="119" y="182"/>
                    <a:pt x="120" y="182"/>
                    <a:pt x="122" y="181"/>
                  </a:cubicBezTo>
                  <a:cubicBezTo>
                    <a:pt x="122" y="181"/>
                    <a:pt x="123" y="181"/>
                    <a:pt x="123" y="181"/>
                  </a:cubicBezTo>
                  <a:cubicBezTo>
                    <a:pt x="124" y="180"/>
                    <a:pt x="123" y="179"/>
                    <a:pt x="122" y="179"/>
                  </a:cubicBezTo>
                  <a:cubicBezTo>
                    <a:pt x="121" y="179"/>
                    <a:pt x="120" y="179"/>
                    <a:pt x="119" y="179"/>
                  </a:cubicBezTo>
                  <a:cubicBezTo>
                    <a:pt x="118" y="178"/>
                    <a:pt x="118" y="178"/>
                    <a:pt x="117" y="177"/>
                  </a:cubicBezTo>
                  <a:cubicBezTo>
                    <a:pt x="117" y="177"/>
                    <a:pt x="116" y="177"/>
                    <a:pt x="115" y="177"/>
                  </a:cubicBezTo>
                  <a:cubicBezTo>
                    <a:pt x="114" y="178"/>
                    <a:pt x="113" y="178"/>
                    <a:pt x="113" y="179"/>
                  </a:cubicBezTo>
                  <a:cubicBezTo>
                    <a:pt x="112" y="181"/>
                    <a:pt x="113" y="182"/>
                    <a:pt x="112" y="183"/>
                  </a:cubicBezTo>
                  <a:cubicBezTo>
                    <a:pt x="112" y="184"/>
                    <a:pt x="111" y="184"/>
                    <a:pt x="110" y="184"/>
                  </a:cubicBezTo>
                  <a:cubicBezTo>
                    <a:pt x="109" y="184"/>
                    <a:pt x="109" y="184"/>
                    <a:pt x="108" y="184"/>
                  </a:cubicBezTo>
                  <a:cubicBezTo>
                    <a:pt x="107" y="184"/>
                    <a:pt x="106" y="184"/>
                    <a:pt x="106" y="183"/>
                  </a:cubicBezTo>
                  <a:cubicBezTo>
                    <a:pt x="105" y="183"/>
                    <a:pt x="103" y="183"/>
                    <a:pt x="103" y="183"/>
                  </a:cubicBezTo>
                  <a:cubicBezTo>
                    <a:pt x="102" y="182"/>
                    <a:pt x="102" y="181"/>
                    <a:pt x="101" y="180"/>
                  </a:cubicBezTo>
                  <a:cubicBezTo>
                    <a:pt x="100" y="178"/>
                    <a:pt x="100" y="177"/>
                    <a:pt x="101" y="176"/>
                  </a:cubicBezTo>
                  <a:cubicBezTo>
                    <a:pt x="103" y="174"/>
                    <a:pt x="104" y="172"/>
                    <a:pt x="106" y="170"/>
                  </a:cubicBezTo>
                  <a:cubicBezTo>
                    <a:pt x="107" y="169"/>
                    <a:pt x="106" y="168"/>
                    <a:pt x="105" y="167"/>
                  </a:cubicBezTo>
                  <a:cubicBezTo>
                    <a:pt x="104" y="166"/>
                    <a:pt x="106" y="165"/>
                    <a:pt x="107" y="165"/>
                  </a:cubicBezTo>
                  <a:cubicBezTo>
                    <a:pt x="109" y="164"/>
                    <a:pt x="108" y="161"/>
                    <a:pt x="108" y="160"/>
                  </a:cubicBezTo>
                  <a:cubicBezTo>
                    <a:pt x="107" y="159"/>
                    <a:pt x="106" y="160"/>
                    <a:pt x="105" y="160"/>
                  </a:cubicBezTo>
                  <a:cubicBezTo>
                    <a:pt x="105" y="158"/>
                    <a:pt x="106" y="157"/>
                    <a:pt x="104" y="156"/>
                  </a:cubicBezTo>
                  <a:cubicBezTo>
                    <a:pt x="104" y="155"/>
                    <a:pt x="104" y="155"/>
                    <a:pt x="104" y="154"/>
                  </a:cubicBezTo>
                  <a:cubicBezTo>
                    <a:pt x="103" y="153"/>
                    <a:pt x="104" y="151"/>
                    <a:pt x="104" y="149"/>
                  </a:cubicBezTo>
                  <a:cubicBezTo>
                    <a:pt x="103" y="148"/>
                    <a:pt x="103" y="147"/>
                    <a:pt x="102" y="146"/>
                  </a:cubicBezTo>
                  <a:cubicBezTo>
                    <a:pt x="102" y="145"/>
                    <a:pt x="102" y="144"/>
                    <a:pt x="102" y="144"/>
                  </a:cubicBezTo>
                  <a:cubicBezTo>
                    <a:pt x="103" y="143"/>
                    <a:pt x="103" y="141"/>
                    <a:pt x="102" y="140"/>
                  </a:cubicBezTo>
                  <a:cubicBezTo>
                    <a:pt x="101" y="140"/>
                    <a:pt x="101" y="139"/>
                    <a:pt x="100" y="139"/>
                  </a:cubicBezTo>
                  <a:cubicBezTo>
                    <a:pt x="100" y="138"/>
                    <a:pt x="100" y="137"/>
                    <a:pt x="99" y="136"/>
                  </a:cubicBezTo>
                  <a:cubicBezTo>
                    <a:pt x="99" y="135"/>
                    <a:pt x="99" y="135"/>
                    <a:pt x="98" y="135"/>
                  </a:cubicBezTo>
                  <a:cubicBezTo>
                    <a:pt x="97" y="134"/>
                    <a:pt x="95" y="134"/>
                    <a:pt x="95" y="133"/>
                  </a:cubicBezTo>
                  <a:cubicBezTo>
                    <a:pt x="93" y="130"/>
                    <a:pt x="91" y="129"/>
                    <a:pt x="90" y="128"/>
                  </a:cubicBezTo>
                  <a:cubicBezTo>
                    <a:pt x="89" y="127"/>
                    <a:pt x="90" y="126"/>
                    <a:pt x="91" y="126"/>
                  </a:cubicBezTo>
                  <a:cubicBezTo>
                    <a:pt x="91" y="125"/>
                    <a:pt x="90" y="124"/>
                    <a:pt x="89" y="123"/>
                  </a:cubicBezTo>
                  <a:cubicBezTo>
                    <a:pt x="88" y="123"/>
                    <a:pt x="87" y="123"/>
                    <a:pt x="86" y="123"/>
                  </a:cubicBezTo>
                  <a:cubicBezTo>
                    <a:pt x="85" y="122"/>
                    <a:pt x="85" y="121"/>
                    <a:pt x="84" y="121"/>
                  </a:cubicBezTo>
                  <a:cubicBezTo>
                    <a:pt x="83" y="120"/>
                    <a:pt x="82" y="121"/>
                    <a:pt x="80" y="121"/>
                  </a:cubicBezTo>
                  <a:cubicBezTo>
                    <a:pt x="80" y="120"/>
                    <a:pt x="80" y="119"/>
                    <a:pt x="79" y="119"/>
                  </a:cubicBezTo>
                  <a:cubicBezTo>
                    <a:pt x="78" y="119"/>
                    <a:pt x="77" y="119"/>
                    <a:pt x="77" y="119"/>
                  </a:cubicBezTo>
                  <a:cubicBezTo>
                    <a:pt x="76" y="120"/>
                    <a:pt x="76" y="120"/>
                    <a:pt x="75" y="120"/>
                  </a:cubicBezTo>
                  <a:cubicBezTo>
                    <a:pt x="74" y="119"/>
                    <a:pt x="74" y="118"/>
                    <a:pt x="73" y="117"/>
                  </a:cubicBezTo>
                  <a:cubicBezTo>
                    <a:pt x="70" y="116"/>
                    <a:pt x="66" y="118"/>
                    <a:pt x="63" y="116"/>
                  </a:cubicBezTo>
                  <a:cubicBezTo>
                    <a:pt x="63" y="115"/>
                    <a:pt x="62" y="115"/>
                    <a:pt x="62" y="115"/>
                  </a:cubicBezTo>
                  <a:cubicBezTo>
                    <a:pt x="61" y="114"/>
                    <a:pt x="60" y="114"/>
                    <a:pt x="58" y="115"/>
                  </a:cubicBezTo>
                  <a:cubicBezTo>
                    <a:pt x="58" y="115"/>
                    <a:pt x="58" y="116"/>
                    <a:pt x="57" y="116"/>
                  </a:cubicBezTo>
                  <a:cubicBezTo>
                    <a:pt x="57" y="116"/>
                    <a:pt x="55" y="116"/>
                    <a:pt x="55" y="115"/>
                  </a:cubicBezTo>
                  <a:cubicBezTo>
                    <a:pt x="55" y="114"/>
                    <a:pt x="55" y="112"/>
                    <a:pt x="54" y="113"/>
                  </a:cubicBezTo>
                  <a:cubicBezTo>
                    <a:pt x="52" y="114"/>
                    <a:pt x="52" y="116"/>
                    <a:pt x="51" y="116"/>
                  </a:cubicBezTo>
                  <a:cubicBezTo>
                    <a:pt x="49" y="116"/>
                    <a:pt x="48" y="117"/>
                    <a:pt x="47" y="117"/>
                  </a:cubicBezTo>
                  <a:cubicBezTo>
                    <a:pt x="46" y="118"/>
                    <a:pt x="46" y="118"/>
                    <a:pt x="45" y="117"/>
                  </a:cubicBezTo>
                  <a:cubicBezTo>
                    <a:pt x="44" y="117"/>
                    <a:pt x="44" y="116"/>
                    <a:pt x="43" y="116"/>
                  </a:cubicBezTo>
                  <a:cubicBezTo>
                    <a:pt x="43" y="115"/>
                    <a:pt x="41" y="115"/>
                    <a:pt x="41" y="116"/>
                  </a:cubicBezTo>
                  <a:cubicBezTo>
                    <a:pt x="40" y="116"/>
                    <a:pt x="38" y="116"/>
                    <a:pt x="37" y="116"/>
                  </a:cubicBezTo>
                  <a:cubicBezTo>
                    <a:pt x="36" y="115"/>
                    <a:pt x="35" y="115"/>
                    <a:pt x="35" y="116"/>
                  </a:cubicBezTo>
                  <a:cubicBezTo>
                    <a:pt x="34" y="117"/>
                    <a:pt x="36" y="118"/>
                    <a:pt x="37" y="119"/>
                  </a:cubicBezTo>
                  <a:cubicBezTo>
                    <a:pt x="37" y="119"/>
                    <a:pt x="37" y="120"/>
                    <a:pt x="37" y="120"/>
                  </a:cubicBezTo>
                  <a:cubicBezTo>
                    <a:pt x="36" y="120"/>
                    <a:pt x="36" y="120"/>
                    <a:pt x="35" y="120"/>
                  </a:cubicBezTo>
                  <a:cubicBezTo>
                    <a:pt x="32" y="119"/>
                    <a:pt x="29" y="118"/>
                    <a:pt x="26" y="117"/>
                  </a:cubicBezTo>
                  <a:cubicBezTo>
                    <a:pt x="25" y="117"/>
                    <a:pt x="24" y="117"/>
                    <a:pt x="23" y="116"/>
                  </a:cubicBezTo>
                  <a:cubicBezTo>
                    <a:pt x="21" y="115"/>
                    <a:pt x="19" y="115"/>
                    <a:pt x="17" y="114"/>
                  </a:cubicBezTo>
                  <a:cubicBezTo>
                    <a:pt x="17" y="114"/>
                    <a:pt x="17" y="113"/>
                    <a:pt x="17" y="113"/>
                  </a:cubicBezTo>
                  <a:cubicBezTo>
                    <a:pt x="18" y="113"/>
                    <a:pt x="19" y="112"/>
                    <a:pt x="20" y="112"/>
                  </a:cubicBezTo>
                  <a:cubicBezTo>
                    <a:pt x="22" y="111"/>
                    <a:pt x="24" y="112"/>
                    <a:pt x="26" y="111"/>
                  </a:cubicBezTo>
                  <a:cubicBezTo>
                    <a:pt x="27" y="111"/>
                    <a:pt x="26" y="110"/>
                    <a:pt x="26" y="109"/>
                  </a:cubicBezTo>
                  <a:cubicBezTo>
                    <a:pt x="25" y="109"/>
                    <a:pt x="24" y="109"/>
                    <a:pt x="23" y="109"/>
                  </a:cubicBezTo>
                  <a:cubicBezTo>
                    <a:pt x="22" y="108"/>
                    <a:pt x="20" y="109"/>
                    <a:pt x="18" y="108"/>
                  </a:cubicBezTo>
                  <a:cubicBezTo>
                    <a:pt x="18" y="107"/>
                    <a:pt x="19" y="105"/>
                    <a:pt x="18" y="105"/>
                  </a:cubicBezTo>
                  <a:cubicBezTo>
                    <a:pt x="17" y="104"/>
                    <a:pt x="16" y="105"/>
                    <a:pt x="15" y="106"/>
                  </a:cubicBezTo>
                  <a:cubicBezTo>
                    <a:pt x="14" y="107"/>
                    <a:pt x="13" y="109"/>
                    <a:pt x="11" y="108"/>
                  </a:cubicBezTo>
                  <a:cubicBezTo>
                    <a:pt x="11" y="107"/>
                    <a:pt x="10" y="106"/>
                    <a:pt x="10" y="106"/>
                  </a:cubicBezTo>
                  <a:cubicBezTo>
                    <a:pt x="9" y="105"/>
                    <a:pt x="7" y="106"/>
                    <a:pt x="7" y="106"/>
                  </a:cubicBezTo>
                  <a:cubicBezTo>
                    <a:pt x="6" y="105"/>
                    <a:pt x="7" y="104"/>
                    <a:pt x="8" y="104"/>
                  </a:cubicBezTo>
                  <a:cubicBezTo>
                    <a:pt x="9" y="103"/>
                    <a:pt x="10" y="104"/>
                    <a:pt x="12" y="103"/>
                  </a:cubicBezTo>
                  <a:cubicBezTo>
                    <a:pt x="12" y="103"/>
                    <a:pt x="12" y="102"/>
                    <a:pt x="12" y="102"/>
                  </a:cubicBezTo>
                  <a:cubicBezTo>
                    <a:pt x="14" y="101"/>
                    <a:pt x="15" y="100"/>
                    <a:pt x="16" y="100"/>
                  </a:cubicBezTo>
                  <a:cubicBezTo>
                    <a:pt x="18" y="100"/>
                    <a:pt x="21" y="100"/>
                    <a:pt x="23" y="101"/>
                  </a:cubicBezTo>
                  <a:cubicBezTo>
                    <a:pt x="25" y="102"/>
                    <a:pt x="27" y="101"/>
                    <a:pt x="29" y="101"/>
                  </a:cubicBezTo>
                  <a:cubicBezTo>
                    <a:pt x="30" y="102"/>
                    <a:pt x="31" y="101"/>
                    <a:pt x="32" y="102"/>
                  </a:cubicBezTo>
                  <a:cubicBezTo>
                    <a:pt x="32" y="102"/>
                    <a:pt x="33" y="102"/>
                    <a:pt x="33" y="102"/>
                  </a:cubicBezTo>
                  <a:cubicBezTo>
                    <a:pt x="37" y="103"/>
                    <a:pt x="41" y="103"/>
                    <a:pt x="45" y="102"/>
                  </a:cubicBezTo>
                  <a:cubicBezTo>
                    <a:pt x="45" y="102"/>
                    <a:pt x="45" y="102"/>
                    <a:pt x="45" y="101"/>
                  </a:cubicBezTo>
                  <a:cubicBezTo>
                    <a:pt x="45" y="101"/>
                    <a:pt x="44" y="100"/>
                    <a:pt x="43" y="100"/>
                  </a:cubicBezTo>
                  <a:cubicBezTo>
                    <a:pt x="43" y="99"/>
                    <a:pt x="42" y="100"/>
                    <a:pt x="41" y="100"/>
                  </a:cubicBezTo>
                  <a:cubicBezTo>
                    <a:pt x="40" y="99"/>
                    <a:pt x="40" y="99"/>
                    <a:pt x="40" y="98"/>
                  </a:cubicBezTo>
                  <a:cubicBezTo>
                    <a:pt x="41" y="98"/>
                    <a:pt x="43" y="97"/>
                    <a:pt x="43" y="96"/>
                  </a:cubicBezTo>
                  <a:cubicBezTo>
                    <a:pt x="44" y="95"/>
                    <a:pt x="44" y="94"/>
                    <a:pt x="43" y="94"/>
                  </a:cubicBezTo>
                  <a:cubicBezTo>
                    <a:pt x="42" y="93"/>
                    <a:pt x="41" y="93"/>
                    <a:pt x="40" y="93"/>
                  </a:cubicBezTo>
                  <a:cubicBezTo>
                    <a:pt x="39" y="92"/>
                    <a:pt x="38" y="93"/>
                    <a:pt x="38" y="94"/>
                  </a:cubicBezTo>
                  <a:cubicBezTo>
                    <a:pt x="36" y="95"/>
                    <a:pt x="34" y="98"/>
                    <a:pt x="32" y="97"/>
                  </a:cubicBezTo>
                  <a:cubicBezTo>
                    <a:pt x="30" y="96"/>
                    <a:pt x="28" y="95"/>
                    <a:pt x="27" y="94"/>
                  </a:cubicBezTo>
                  <a:cubicBezTo>
                    <a:pt x="27" y="93"/>
                    <a:pt x="27" y="93"/>
                    <a:pt x="26" y="94"/>
                  </a:cubicBezTo>
                  <a:cubicBezTo>
                    <a:pt x="26" y="95"/>
                    <a:pt x="26" y="96"/>
                    <a:pt x="26" y="97"/>
                  </a:cubicBezTo>
                  <a:cubicBezTo>
                    <a:pt x="25" y="98"/>
                    <a:pt x="23" y="97"/>
                    <a:pt x="22" y="97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21" y="97"/>
                    <a:pt x="19" y="97"/>
                    <a:pt x="18" y="97"/>
                  </a:cubicBezTo>
                  <a:cubicBezTo>
                    <a:pt x="17" y="96"/>
                    <a:pt x="20" y="95"/>
                    <a:pt x="20" y="94"/>
                  </a:cubicBezTo>
                  <a:cubicBezTo>
                    <a:pt x="20" y="94"/>
                    <a:pt x="20" y="94"/>
                    <a:pt x="20" y="94"/>
                  </a:cubicBezTo>
                  <a:cubicBezTo>
                    <a:pt x="20" y="93"/>
                    <a:pt x="19" y="94"/>
                    <a:pt x="18" y="94"/>
                  </a:cubicBezTo>
                  <a:cubicBezTo>
                    <a:pt x="17" y="95"/>
                    <a:pt x="16" y="95"/>
                    <a:pt x="15" y="94"/>
                  </a:cubicBezTo>
                  <a:cubicBezTo>
                    <a:pt x="14" y="93"/>
                    <a:pt x="16" y="93"/>
                    <a:pt x="17" y="92"/>
                  </a:cubicBezTo>
                  <a:cubicBezTo>
                    <a:pt x="18" y="92"/>
                    <a:pt x="18" y="91"/>
                    <a:pt x="17" y="91"/>
                  </a:cubicBezTo>
                  <a:cubicBezTo>
                    <a:pt x="16" y="91"/>
                    <a:pt x="16" y="91"/>
                    <a:pt x="15" y="91"/>
                  </a:cubicBezTo>
                  <a:cubicBezTo>
                    <a:pt x="14" y="91"/>
                    <a:pt x="13" y="92"/>
                    <a:pt x="12" y="92"/>
                  </a:cubicBezTo>
                  <a:cubicBezTo>
                    <a:pt x="11" y="92"/>
                    <a:pt x="10" y="92"/>
                    <a:pt x="9" y="92"/>
                  </a:cubicBezTo>
                  <a:cubicBezTo>
                    <a:pt x="7" y="92"/>
                    <a:pt x="6" y="90"/>
                    <a:pt x="3" y="90"/>
                  </a:cubicBezTo>
                  <a:cubicBezTo>
                    <a:pt x="2" y="89"/>
                    <a:pt x="1" y="89"/>
                    <a:pt x="1" y="88"/>
                  </a:cubicBezTo>
                  <a:cubicBezTo>
                    <a:pt x="0" y="87"/>
                    <a:pt x="1" y="85"/>
                    <a:pt x="2" y="84"/>
                  </a:cubicBezTo>
                  <a:cubicBezTo>
                    <a:pt x="2" y="83"/>
                    <a:pt x="2" y="81"/>
                    <a:pt x="3" y="81"/>
                  </a:cubicBezTo>
                  <a:cubicBezTo>
                    <a:pt x="5" y="80"/>
                    <a:pt x="6" y="80"/>
                    <a:pt x="7" y="80"/>
                  </a:cubicBezTo>
                  <a:cubicBezTo>
                    <a:pt x="8" y="80"/>
                    <a:pt x="9" y="80"/>
                    <a:pt x="10" y="80"/>
                  </a:cubicBezTo>
                  <a:cubicBezTo>
                    <a:pt x="13" y="79"/>
                    <a:pt x="17" y="80"/>
                    <a:pt x="20" y="79"/>
                  </a:cubicBezTo>
                  <a:cubicBezTo>
                    <a:pt x="21" y="79"/>
                    <a:pt x="23" y="78"/>
                    <a:pt x="24" y="77"/>
                  </a:cubicBezTo>
                  <a:cubicBezTo>
                    <a:pt x="25" y="77"/>
                    <a:pt x="26" y="77"/>
                    <a:pt x="26" y="76"/>
                  </a:cubicBezTo>
                  <a:cubicBezTo>
                    <a:pt x="27" y="76"/>
                    <a:pt x="27" y="75"/>
                    <a:pt x="27" y="74"/>
                  </a:cubicBezTo>
                  <a:cubicBezTo>
                    <a:pt x="27" y="73"/>
                    <a:pt x="28" y="73"/>
                    <a:pt x="28" y="73"/>
                  </a:cubicBezTo>
                  <a:cubicBezTo>
                    <a:pt x="30" y="73"/>
                    <a:pt x="32" y="73"/>
                    <a:pt x="33" y="72"/>
                  </a:cubicBezTo>
                  <a:cubicBezTo>
                    <a:pt x="34" y="72"/>
                    <a:pt x="34" y="72"/>
                    <a:pt x="34" y="72"/>
                  </a:cubicBezTo>
                  <a:cubicBezTo>
                    <a:pt x="34" y="72"/>
                    <a:pt x="36" y="72"/>
                    <a:pt x="38" y="72"/>
                  </a:cubicBezTo>
                  <a:cubicBezTo>
                    <a:pt x="39" y="71"/>
                    <a:pt x="41" y="71"/>
                    <a:pt x="43" y="71"/>
                  </a:cubicBezTo>
                  <a:cubicBezTo>
                    <a:pt x="45" y="72"/>
                    <a:pt x="46" y="73"/>
                    <a:pt x="48" y="72"/>
                  </a:cubicBezTo>
                  <a:cubicBezTo>
                    <a:pt x="50" y="72"/>
                    <a:pt x="50" y="70"/>
                    <a:pt x="52" y="69"/>
                  </a:cubicBezTo>
                  <a:cubicBezTo>
                    <a:pt x="54" y="69"/>
                    <a:pt x="56" y="68"/>
                    <a:pt x="57" y="66"/>
                  </a:cubicBezTo>
                  <a:cubicBezTo>
                    <a:pt x="57" y="66"/>
                    <a:pt x="57" y="65"/>
                    <a:pt x="58" y="65"/>
                  </a:cubicBezTo>
                  <a:cubicBezTo>
                    <a:pt x="58" y="64"/>
                    <a:pt x="58" y="63"/>
                    <a:pt x="58" y="62"/>
                  </a:cubicBezTo>
                  <a:cubicBezTo>
                    <a:pt x="59" y="61"/>
                    <a:pt x="61" y="62"/>
                    <a:pt x="62" y="62"/>
                  </a:cubicBezTo>
                  <a:cubicBezTo>
                    <a:pt x="62" y="61"/>
                    <a:pt x="61" y="61"/>
                    <a:pt x="61" y="60"/>
                  </a:cubicBezTo>
                  <a:cubicBezTo>
                    <a:pt x="61" y="60"/>
                    <a:pt x="61" y="59"/>
                    <a:pt x="61" y="59"/>
                  </a:cubicBezTo>
                  <a:cubicBezTo>
                    <a:pt x="62" y="58"/>
                    <a:pt x="63" y="58"/>
                    <a:pt x="64" y="57"/>
                  </a:cubicBezTo>
                  <a:cubicBezTo>
                    <a:pt x="65" y="56"/>
                    <a:pt x="65" y="56"/>
                    <a:pt x="64" y="56"/>
                  </a:cubicBezTo>
                  <a:cubicBezTo>
                    <a:pt x="63" y="55"/>
                    <a:pt x="62" y="57"/>
                    <a:pt x="61" y="57"/>
                  </a:cubicBezTo>
                  <a:cubicBezTo>
                    <a:pt x="60" y="58"/>
                    <a:pt x="59" y="57"/>
                    <a:pt x="58" y="58"/>
                  </a:cubicBezTo>
                  <a:cubicBezTo>
                    <a:pt x="58" y="58"/>
                    <a:pt x="57" y="58"/>
                    <a:pt x="57" y="58"/>
                  </a:cubicBezTo>
                  <a:cubicBezTo>
                    <a:pt x="55" y="59"/>
                    <a:pt x="54" y="59"/>
                    <a:pt x="52" y="58"/>
                  </a:cubicBezTo>
                  <a:cubicBezTo>
                    <a:pt x="51" y="57"/>
                    <a:pt x="50" y="57"/>
                    <a:pt x="48" y="58"/>
                  </a:cubicBezTo>
                  <a:cubicBezTo>
                    <a:pt x="47" y="58"/>
                    <a:pt x="44" y="59"/>
                    <a:pt x="43" y="57"/>
                  </a:cubicBezTo>
                  <a:cubicBezTo>
                    <a:pt x="42" y="56"/>
                    <a:pt x="44" y="55"/>
                    <a:pt x="46" y="54"/>
                  </a:cubicBezTo>
                  <a:cubicBezTo>
                    <a:pt x="46" y="53"/>
                    <a:pt x="47" y="52"/>
                    <a:pt x="48" y="52"/>
                  </a:cubicBezTo>
                  <a:cubicBezTo>
                    <a:pt x="49" y="51"/>
                    <a:pt x="50" y="50"/>
                    <a:pt x="52" y="50"/>
                  </a:cubicBezTo>
                  <a:cubicBezTo>
                    <a:pt x="54" y="50"/>
                    <a:pt x="56" y="49"/>
                    <a:pt x="58" y="48"/>
                  </a:cubicBezTo>
                  <a:cubicBezTo>
                    <a:pt x="59" y="48"/>
                    <a:pt x="59" y="47"/>
                    <a:pt x="59" y="46"/>
                  </a:cubicBezTo>
                  <a:cubicBezTo>
                    <a:pt x="61" y="45"/>
                    <a:pt x="62" y="44"/>
                    <a:pt x="64" y="43"/>
                  </a:cubicBezTo>
                  <a:cubicBezTo>
                    <a:pt x="66" y="43"/>
                    <a:pt x="69" y="43"/>
                    <a:pt x="70" y="44"/>
                  </a:cubicBezTo>
                  <a:cubicBezTo>
                    <a:pt x="70" y="45"/>
                    <a:pt x="71" y="44"/>
                    <a:pt x="71" y="44"/>
                  </a:cubicBezTo>
                  <a:cubicBezTo>
                    <a:pt x="71" y="42"/>
                    <a:pt x="74" y="39"/>
                    <a:pt x="74" y="41"/>
                  </a:cubicBezTo>
                  <a:cubicBezTo>
                    <a:pt x="74" y="41"/>
                    <a:pt x="77" y="41"/>
                    <a:pt x="77" y="41"/>
                  </a:cubicBezTo>
                  <a:cubicBezTo>
                    <a:pt x="78" y="41"/>
                    <a:pt x="80" y="41"/>
                    <a:pt x="82" y="42"/>
                  </a:cubicBezTo>
                  <a:cubicBezTo>
                    <a:pt x="83" y="43"/>
                    <a:pt x="84" y="42"/>
                    <a:pt x="84" y="42"/>
                  </a:cubicBezTo>
                  <a:cubicBezTo>
                    <a:pt x="85" y="41"/>
                    <a:pt x="84" y="40"/>
                    <a:pt x="85" y="39"/>
                  </a:cubicBezTo>
                  <a:cubicBezTo>
                    <a:pt x="85" y="38"/>
                    <a:pt x="86" y="38"/>
                    <a:pt x="87" y="38"/>
                  </a:cubicBezTo>
                  <a:cubicBezTo>
                    <a:pt x="87" y="37"/>
                    <a:pt x="87" y="36"/>
                    <a:pt x="86" y="36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4" y="34"/>
                    <a:pt x="85" y="32"/>
                    <a:pt x="86" y="31"/>
                  </a:cubicBezTo>
                  <a:cubicBezTo>
                    <a:pt x="87" y="31"/>
                    <a:pt x="88" y="30"/>
                    <a:pt x="89" y="30"/>
                  </a:cubicBezTo>
                  <a:cubicBezTo>
                    <a:pt x="91" y="29"/>
                    <a:pt x="93" y="30"/>
                    <a:pt x="94" y="30"/>
                  </a:cubicBezTo>
                  <a:cubicBezTo>
                    <a:pt x="95" y="31"/>
                    <a:pt x="95" y="31"/>
                    <a:pt x="96" y="31"/>
                  </a:cubicBezTo>
                  <a:cubicBezTo>
                    <a:pt x="98" y="31"/>
                    <a:pt x="100" y="32"/>
                    <a:pt x="101" y="33"/>
                  </a:cubicBezTo>
                  <a:cubicBezTo>
                    <a:pt x="105" y="34"/>
                    <a:pt x="109" y="36"/>
                    <a:pt x="113" y="38"/>
                  </a:cubicBezTo>
                  <a:cubicBezTo>
                    <a:pt x="113" y="38"/>
                    <a:pt x="114" y="38"/>
                    <a:pt x="114" y="38"/>
                  </a:cubicBezTo>
                  <a:cubicBezTo>
                    <a:pt x="114" y="37"/>
                    <a:pt x="114" y="36"/>
                    <a:pt x="113" y="36"/>
                  </a:cubicBezTo>
                  <a:cubicBezTo>
                    <a:pt x="110" y="34"/>
                    <a:pt x="106" y="33"/>
                    <a:pt x="102" y="31"/>
                  </a:cubicBezTo>
                  <a:cubicBezTo>
                    <a:pt x="100" y="30"/>
                    <a:pt x="99" y="30"/>
                    <a:pt x="98" y="29"/>
                  </a:cubicBezTo>
                  <a:cubicBezTo>
                    <a:pt x="97" y="28"/>
                    <a:pt x="97" y="27"/>
                    <a:pt x="98" y="27"/>
                  </a:cubicBezTo>
                  <a:cubicBezTo>
                    <a:pt x="100" y="26"/>
                    <a:pt x="103" y="26"/>
                    <a:pt x="106" y="24"/>
                  </a:cubicBezTo>
                  <a:cubicBezTo>
                    <a:pt x="106" y="24"/>
                    <a:pt x="106" y="24"/>
                    <a:pt x="107" y="24"/>
                  </a:cubicBezTo>
                  <a:cubicBezTo>
                    <a:pt x="107" y="23"/>
                    <a:pt x="108" y="23"/>
                    <a:pt x="108" y="23"/>
                  </a:cubicBezTo>
                  <a:cubicBezTo>
                    <a:pt x="109" y="23"/>
                    <a:pt x="110" y="23"/>
                    <a:pt x="110" y="23"/>
                  </a:cubicBezTo>
                  <a:cubicBezTo>
                    <a:pt x="112" y="22"/>
                    <a:pt x="114" y="23"/>
                    <a:pt x="116" y="23"/>
                  </a:cubicBezTo>
                  <a:cubicBezTo>
                    <a:pt x="118" y="22"/>
                    <a:pt x="120" y="23"/>
                    <a:pt x="122" y="23"/>
                  </a:cubicBezTo>
                  <a:cubicBezTo>
                    <a:pt x="124" y="23"/>
                    <a:pt x="125" y="23"/>
                    <a:pt x="127" y="23"/>
                  </a:cubicBezTo>
                  <a:cubicBezTo>
                    <a:pt x="130" y="22"/>
                    <a:pt x="133" y="23"/>
                    <a:pt x="136" y="24"/>
                  </a:cubicBezTo>
                  <a:cubicBezTo>
                    <a:pt x="136" y="24"/>
                    <a:pt x="136" y="24"/>
                    <a:pt x="136" y="24"/>
                  </a:cubicBezTo>
                  <a:cubicBezTo>
                    <a:pt x="137" y="27"/>
                    <a:pt x="136" y="30"/>
                    <a:pt x="134" y="32"/>
                  </a:cubicBezTo>
                  <a:cubicBezTo>
                    <a:pt x="134" y="33"/>
                    <a:pt x="134" y="34"/>
                    <a:pt x="134" y="35"/>
                  </a:cubicBezTo>
                  <a:cubicBezTo>
                    <a:pt x="134" y="35"/>
                    <a:pt x="135" y="35"/>
                    <a:pt x="135" y="35"/>
                  </a:cubicBezTo>
                  <a:cubicBezTo>
                    <a:pt x="136" y="33"/>
                    <a:pt x="136" y="32"/>
                    <a:pt x="137" y="31"/>
                  </a:cubicBezTo>
                  <a:cubicBezTo>
                    <a:pt x="138" y="30"/>
                    <a:pt x="138" y="29"/>
                    <a:pt x="139" y="28"/>
                  </a:cubicBezTo>
                  <a:cubicBezTo>
                    <a:pt x="140" y="27"/>
                    <a:pt x="141" y="27"/>
                    <a:pt x="142" y="28"/>
                  </a:cubicBezTo>
                  <a:cubicBezTo>
                    <a:pt x="143" y="28"/>
                    <a:pt x="144" y="30"/>
                    <a:pt x="146" y="30"/>
                  </a:cubicBezTo>
                  <a:cubicBezTo>
                    <a:pt x="147" y="31"/>
                    <a:pt x="148" y="31"/>
                    <a:pt x="149" y="32"/>
                  </a:cubicBezTo>
                  <a:cubicBezTo>
                    <a:pt x="150" y="32"/>
                    <a:pt x="151" y="33"/>
                    <a:pt x="151" y="33"/>
                  </a:cubicBezTo>
                  <a:cubicBezTo>
                    <a:pt x="152" y="33"/>
                    <a:pt x="153" y="33"/>
                    <a:pt x="153" y="33"/>
                  </a:cubicBezTo>
                  <a:cubicBezTo>
                    <a:pt x="154" y="32"/>
                    <a:pt x="152" y="31"/>
                    <a:pt x="151" y="30"/>
                  </a:cubicBezTo>
                  <a:cubicBezTo>
                    <a:pt x="151" y="30"/>
                    <a:pt x="151" y="29"/>
                    <a:pt x="151" y="29"/>
                  </a:cubicBezTo>
                  <a:cubicBezTo>
                    <a:pt x="152" y="28"/>
                    <a:pt x="152" y="28"/>
                    <a:pt x="153" y="28"/>
                  </a:cubicBezTo>
                  <a:cubicBezTo>
                    <a:pt x="155" y="29"/>
                    <a:pt x="156" y="31"/>
                    <a:pt x="159" y="30"/>
                  </a:cubicBezTo>
                  <a:cubicBezTo>
                    <a:pt x="159" y="29"/>
                    <a:pt x="157" y="28"/>
                    <a:pt x="156" y="27"/>
                  </a:cubicBezTo>
                  <a:cubicBezTo>
                    <a:pt x="154" y="26"/>
                    <a:pt x="152" y="24"/>
                    <a:pt x="151" y="22"/>
                  </a:cubicBezTo>
                  <a:cubicBezTo>
                    <a:pt x="150" y="22"/>
                    <a:pt x="151" y="20"/>
                    <a:pt x="151" y="20"/>
                  </a:cubicBezTo>
                  <a:cubicBezTo>
                    <a:pt x="152" y="19"/>
                    <a:pt x="154" y="20"/>
                    <a:pt x="155" y="20"/>
                  </a:cubicBezTo>
                  <a:cubicBezTo>
                    <a:pt x="157" y="20"/>
                    <a:pt x="158" y="19"/>
                    <a:pt x="159" y="20"/>
                  </a:cubicBezTo>
                  <a:cubicBezTo>
                    <a:pt x="163" y="22"/>
                    <a:pt x="167" y="22"/>
                    <a:pt x="171" y="23"/>
                  </a:cubicBezTo>
                  <a:cubicBezTo>
                    <a:pt x="172" y="23"/>
                    <a:pt x="173" y="24"/>
                    <a:pt x="174" y="24"/>
                  </a:cubicBezTo>
                  <a:cubicBezTo>
                    <a:pt x="175" y="24"/>
                    <a:pt x="176" y="24"/>
                    <a:pt x="177" y="24"/>
                  </a:cubicBezTo>
                  <a:cubicBezTo>
                    <a:pt x="181" y="25"/>
                    <a:pt x="183" y="29"/>
                    <a:pt x="185" y="32"/>
                  </a:cubicBezTo>
                  <a:cubicBezTo>
                    <a:pt x="186" y="32"/>
                    <a:pt x="187" y="32"/>
                    <a:pt x="188" y="32"/>
                  </a:cubicBezTo>
                  <a:cubicBezTo>
                    <a:pt x="188" y="33"/>
                    <a:pt x="189" y="33"/>
                    <a:pt x="189" y="33"/>
                  </a:cubicBezTo>
                  <a:cubicBezTo>
                    <a:pt x="190" y="33"/>
                    <a:pt x="191" y="33"/>
                    <a:pt x="191" y="33"/>
                  </a:cubicBezTo>
                  <a:cubicBezTo>
                    <a:pt x="192" y="32"/>
                    <a:pt x="190" y="30"/>
                    <a:pt x="190" y="29"/>
                  </a:cubicBezTo>
                  <a:cubicBezTo>
                    <a:pt x="189" y="28"/>
                    <a:pt x="189" y="27"/>
                    <a:pt x="190" y="27"/>
                  </a:cubicBezTo>
                  <a:cubicBezTo>
                    <a:pt x="190" y="26"/>
                    <a:pt x="192" y="27"/>
                    <a:pt x="192" y="26"/>
                  </a:cubicBezTo>
                  <a:cubicBezTo>
                    <a:pt x="192" y="25"/>
                    <a:pt x="192" y="24"/>
                    <a:pt x="192" y="24"/>
                  </a:cubicBezTo>
                  <a:cubicBezTo>
                    <a:pt x="193" y="24"/>
                    <a:pt x="194" y="24"/>
                    <a:pt x="195" y="24"/>
                  </a:cubicBezTo>
                  <a:cubicBezTo>
                    <a:pt x="196" y="24"/>
                    <a:pt x="196" y="25"/>
                    <a:pt x="197" y="24"/>
                  </a:cubicBezTo>
                  <a:cubicBezTo>
                    <a:pt x="197" y="24"/>
                    <a:pt x="197" y="24"/>
                    <a:pt x="197" y="24"/>
                  </a:cubicBezTo>
                  <a:cubicBezTo>
                    <a:pt x="196" y="22"/>
                    <a:pt x="195" y="22"/>
                    <a:pt x="193" y="21"/>
                  </a:cubicBezTo>
                  <a:cubicBezTo>
                    <a:pt x="191" y="20"/>
                    <a:pt x="189" y="19"/>
                    <a:pt x="187" y="18"/>
                  </a:cubicBezTo>
                  <a:cubicBezTo>
                    <a:pt x="187" y="18"/>
                    <a:pt x="187" y="17"/>
                    <a:pt x="187" y="17"/>
                  </a:cubicBezTo>
                  <a:cubicBezTo>
                    <a:pt x="191" y="17"/>
                    <a:pt x="195" y="17"/>
                    <a:pt x="198" y="18"/>
                  </a:cubicBezTo>
                  <a:cubicBezTo>
                    <a:pt x="203" y="18"/>
                    <a:pt x="207" y="17"/>
                    <a:pt x="212" y="18"/>
                  </a:cubicBezTo>
                  <a:cubicBezTo>
                    <a:pt x="214" y="18"/>
                    <a:pt x="216" y="20"/>
                    <a:pt x="218" y="22"/>
                  </a:cubicBezTo>
                  <a:cubicBezTo>
                    <a:pt x="219" y="22"/>
                    <a:pt x="219" y="22"/>
                    <a:pt x="219" y="22"/>
                  </a:cubicBezTo>
                  <a:cubicBezTo>
                    <a:pt x="219" y="20"/>
                    <a:pt x="219" y="19"/>
                    <a:pt x="219" y="18"/>
                  </a:cubicBezTo>
                  <a:cubicBezTo>
                    <a:pt x="218" y="17"/>
                    <a:pt x="218" y="16"/>
                    <a:pt x="217" y="16"/>
                  </a:cubicBezTo>
                  <a:cubicBezTo>
                    <a:pt x="215" y="15"/>
                    <a:pt x="213" y="16"/>
                    <a:pt x="211" y="16"/>
                  </a:cubicBezTo>
                  <a:cubicBezTo>
                    <a:pt x="210" y="16"/>
                    <a:pt x="209" y="16"/>
                    <a:pt x="208" y="16"/>
                  </a:cubicBezTo>
                  <a:cubicBezTo>
                    <a:pt x="207" y="17"/>
                    <a:pt x="205" y="17"/>
                    <a:pt x="203" y="16"/>
                  </a:cubicBezTo>
                  <a:cubicBezTo>
                    <a:pt x="199" y="16"/>
                    <a:pt x="194" y="18"/>
                    <a:pt x="191" y="16"/>
                  </a:cubicBezTo>
                  <a:cubicBezTo>
                    <a:pt x="190" y="15"/>
                    <a:pt x="191" y="14"/>
                    <a:pt x="191" y="13"/>
                  </a:cubicBezTo>
                  <a:cubicBezTo>
                    <a:pt x="190" y="13"/>
                    <a:pt x="190" y="12"/>
                    <a:pt x="189" y="12"/>
                  </a:cubicBezTo>
                  <a:cubicBezTo>
                    <a:pt x="188" y="12"/>
                    <a:pt x="186" y="11"/>
                    <a:pt x="185" y="10"/>
                  </a:cubicBezTo>
                  <a:cubicBezTo>
                    <a:pt x="185" y="10"/>
                    <a:pt x="185" y="10"/>
                    <a:pt x="185" y="9"/>
                  </a:cubicBezTo>
                  <a:cubicBezTo>
                    <a:pt x="186" y="9"/>
                    <a:pt x="188" y="10"/>
                    <a:pt x="189" y="10"/>
                  </a:cubicBezTo>
                  <a:cubicBezTo>
                    <a:pt x="190" y="10"/>
                    <a:pt x="191" y="10"/>
                    <a:pt x="192" y="10"/>
                  </a:cubicBezTo>
                  <a:cubicBezTo>
                    <a:pt x="195" y="11"/>
                    <a:pt x="197" y="11"/>
                    <a:pt x="199" y="10"/>
                  </a:cubicBezTo>
                  <a:cubicBezTo>
                    <a:pt x="201" y="10"/>
                    <a:pt x="202" y="8"/>
                    <a:pt x="203" y="8"/>
                  </a:cubicBezTo>
                  <a:cubicBezTo>
                    <a:pt x="205" y="7"/>
                    <a:pt x="207" y="7"/>
                    <a:pt x="208" y="8"/>
                  </a:cubicBezTo>
                  <a:cubicBezTo>
                    <a:pt x="209" y="9"/>
                    <a:pt x="209" y="10"/>
                    <a:pt x="210" y="11"/>
                  </a:cubicBezTo>
                  <a:cubicBezTo>
                    <a:pt x="210" y="11"/>
                    <a:pt x="211" y="11"/>
                    <a:pt x="212" y="11"/>
                  </a:cubicBezTo>
                  <a:cubicBezTo>
                    <a:pt x="212" y="11"/>
                    <a:pt x="213" y="10"/>
                    <a:pt x="213" y="10"/>
                  </a:cubicBezTo>
                  <a:cubicBezTo>
                    <a:pt x="214" y="10"/>
                    <a:pt x="214" y="10"/>
                    <a:pt x="214" y="10"/>
                  </a:cubicBezTo>
                  <a:cubicBezTo>
                    <a:pt x="216" y="11"/>
                    <a:pt x="217" y="11"/>
                    <a:pt x="219" y="11"/>
                  </a:cubicBezTo>
                  <a:cubicBezTo>
                    <a:pt x="220" y="11"/>
                    <a:pt x="222" y="11"/>
                    <a:pt x="223" y="11"/>
                  </a:cubicBezTo>
                  <a:cubicBezTo>
                    <a:pt x="224" y="12"/>
                    <a:pt x="224" y="13"/>
                    <a:pt x="224" y="13"/>
                  </a:cubicBezTo>
                  <a:cubicBezTo>
                    <a:pt x="225" y="13"/>
                    <a:pt x="226" y="13"/>
                    <a:pt x="226" y="13"/>
                  </a:cubicBezTo>
                  <a:cubicBezTo>
                    <a:pt x="227" y="12"/>
                    <a:pt x="227" y="11"/>
                    <a:pt x="228" y="11"/>
                  </a:cubicBezTo>
                  <a:cubicBezTo>
                    <a:pt x="229" y="10"/>
                    <a:pt x="230" y="11"/>
                    <a:pt x="230" y="10"/>
                  </a:cubicBezTo>
                  <a:cubicBezTo>
                    <a:pt x="231" y="10"/>
                    <a:pt x="230" y="9"/>
                    <a:pt x="230" y="9"/>
                  </a:cubicBezTo>
                  <a:cubicBezTo>
                    <a:pt x="229" y="9"/>
                    <a:pt x="228" y="9"/>
                    <a:pt x="227" y="8"/>
                  </a:cubicBezTo>
                  <a:cubicBezTo>
                    <a:pt x="227" y="8"/>
                    <a:pt x="227" y="7"/>
                    <a:pt x="227" y="7"/>
                  </a:cubicBezTo>
                  <a:cubicBezTo>
                    <a:pt x="228" y="6"/>
                    <a:pt x="230" y="7"/>
                    <a:pt x="231" y="6"/>
                  </a:cubicBezTo>
                  <a:cubicBezTo>
                    <a:pt x="231" y="6"/>
                    <a:pt x="231" y="5"/>
                    <a:pt x="232" y="4"/>
                  </a:cubicBezTo>
                  <a:cubicBezTo>
                    <a:pt x="234" y="4"/>
                    <a:pt x="234" y="5"/>
                    <a:pt x="235" y="6"/>
                  </a:cubicBezTo>
                  <a:cubicBezTo>
                    <a:pt x="236" y="6"/>
                    <a:pt x="237" y="6"/>
                    <a:pt x="237" y="6"/>
                  </a:cubicBezTo>
                  <a:cubicBezTo>
                    <a:pt x="238" y="7"/>
                    <a:pt x="239" y="7"/>
                    <a:pt x="241" y="7"/>
                  </a:cubicBezTo>
                  <a:cubicBezTo>
                    <a:pt x="241" y="6"/>
                    <a:pt x="241" y="5"/>
                    <a:pt x="240" y="4"/>
                  </a:cubicBezTo>
                  <a:cubicBezTo>
                    <a:pt x="240" y="4"/>
                    <a:pt x="240" y="2"/>
                    <a:pt x="241" y="2"/>
                  </a:cubicBezTo>
                  <a:cubicBezTo>
                    <a:pt x="244" y="1"/>
                    <a:pt x="247" y="3"/>
                    <a:pt x="250" y="1"/>
                  </a:cubicBezTo>
                  <a:cubicBezTo>
                    <a:pt x="251" y="1"/>
                    <a:pt x="252" y="0"/>
                    <a:pt x="253" y="1"/>
                  </a:cubicBezTo>
                  <a:cubicBezTo>
                    <a:pt x="255" y="1"/>
                    <a:pt x="255" y="3"/>
                    <a:pt x="257" y="4"/>
                  </a:cubicBezTo>
                  <a:cubicBezTo>
                    <a:pt x="258" y="4"/>
                    <a:pt x="260" y="3"/>
                    <a:pt x="260" y="1"/>
                  </a:cubicBezTo>
                  <a:cubicBezTo>
                    <a:pt x="262" y="0"/>
                    <a:pt x="265" y="0"/>
                    <a:pt x="267" y="2"/>
                  </a:cubicBezTo>
                  <a:cubicBezTo>
                    <a:pt x="273" y="3"/>
                    <a:pt x="278" y="2"/>
                    <a:pt x="284" y="2"/>
                  </a:cubicBezTo>
                  <a:cubicBezTo>
                    <a:pt x="284" y="2"/>
                    <a:pt x="285" y="3"/>
                    <a:pt x="286" y="3"/>
                  </a:cubicBezTo>
                  <a:cubicBezTo>
                    <a:pt x="288" y="4"/>
                    <a:pt x="290" y="2"/>
                    <a:pt x="292" y="4"/>
                  </a:cubicBezTo>
                  <a:cubicBezTo>
                    <a:pt x="292" y="4"/>
                    <a:pt x="292" y="5"/>
                    <a:pt x="291" y="6"/>
                  </a:cubicBezTo>
                  <a:cubicBezTo>
                    <a:pt x="289" y="7"/>
                    <a:pt x="286" y="6"/>
                    <a:pt x="284" y="7"/>
                  </a:cubicBezTo>
                  <a:cubicBezTo>
                    <a:pt x="282" y="7"/>
                    <a:pt x="280" y="7"/>
                    <a:pt x="278" y="7"/>
                  </a:cubicBezTo>
                  <a:cubicBezTo>
                    <a:pt x="276" y="8"/>
                    <a:pt x="274" y="9"/>
                    <a:pt x="273" y="10"/>
                  </a:cubicBezTo>
                  <a:cubicBezTo>
                    <a:pt x="270" y="11"/>
                    <a:pt x="266" y="10"/>
                    <a:pt x="263" y="11"/>
                  </a:cubicBezTo>
                  <a:cubicBezTo>
                    <a:pt x="259" y="11"/>
                    <a:pt x="255" y="13"/>
                    <a:pt x="251" y="13"/>
                  </a:cubicBezTo>
                  <a:cubicBezTo>
                    <a:pt x="250" y="13"/>
                    <a:pt x="249" y="14"/>
                    <a:pt x="248" y="14"/>
                  </a:cubicBezTo>
                  <a:cubicBezTo>
                    <a:pt x="251" y="14"/>
                    <a:pt x="255" y="15"/>
                    <a:pt x="259" y="14"/>
                  </a:cubicBezTo>
                  <a:cubicBezTo>
                    <a:pt x="260" y="13"/>
                    <a:pt x="262" y="14"/>
                    <a:pt x="263" y="13"/>
                  </a:cubicBezTo>
                  <a:cubicBezTo>
                    <a:pt x="267" y="13"/>
                    <a:pt x="271" y="13"/>
                    <a:pt x="275" y="10"/>
                  </a:cubicBezTo>
                  <a:cubicBezTo>
                    <a:pt x="277" y="10"/>
                    <a:pt x="278" y="10"/>
                    <a:pt x="280" y="11"/>
                  </a:cubicBezTo>
                  <a:cubicBezTo>
                    <a:pt x="281" y="11"/>
                    <a:pt x="282" y="11"/>
                    <a:pt x="282" y="11"/>
                  </a:cubicBezTo>
                  <a:cubicBezTo>
                    <a:pt x="285" y="10"/>
                    <a:pt x="289" y="8"/>
                    <a:pt x="292" y="10"/>
                  </a:cubicBezTo>
                  <a:cubicBezTo>
                    <a:pt x="292" y="10"/>
                    <a:pt x="293" y="11"/>
                    <a:pt x="294" y="11"/>
                  </a:cubicBezTo>
                  <a:cubicBezTo>
                    <a:pt x="295" y="11"/>
                    <a:pt x="297" y="11"/>
                    <a:pt x="299" y="11"/>
                  </a:cubicBezTo>
                  <a:cubicBezTo>
                    <a:pt x="301" y="10"/>
                    <a:pt x="304" y="10"/>
                    <a:pt x="306" y="10"/>
                  </a:cubicBezTo>
                  <a:cubicBezTo>
                    <a:pt x="308" y="11"/>
                    <a:pt x="308" y="11"/>
                    <a:pt x="308" y="11"/>
                  </a:cubicBezTo>
                  <a:cubicBezTo>
                    <a:pt x="309" y="11"/>
                    <a:pt x="310" y="11"/>
                    <a:pt x="310" y="10"/>
                  </a:cubicBezTo>
                  <a:cubicBezTo>
                    <a:pt x="312" y="10"/>
                    <a:pt x="313" y="9"/>
                    <a:pt x="314" y="9"/>
                  </a:cubicBezTo>
                  <a:cubicBezTo>
                    <a:pt x="316" y="8"/>
                    <a:pt x="318" y="7"/>
                    <a:pt x="320" y="7"/>
                  </a:cubicBezTo>
                  <a:cubicBezTo>
                    <a:pt x="320" y="9"/>
                    <a:pt x="320" y="10"/>
                    <a:pt x="320" y="12"/>
                  </a:cubicBezTo>
                  <a:cubicBezTo>
                    <a:pt x="319" y="13"/>
                    <a:pt x="316" y="13"/>
                    <a:pt x="317" y="15"/>
                  </a:cubicBezTo>
                  <a:cubicBezTo>
                    <a:pt x="317" y="15"/>
                    <a:pt x="318" y="15"/>
                    <a:pt x="318" y="15"/>
                  </a:cubicBezTo>
                  <a:cubicBezTo>
                    <a:pt x="319" y="14"/>
                    <a:pt x="319" y="14"/>
                    <a:pt x="320" y="14"/>
                  </a:cubicBezTo>
                  <a:cubicBezTo>
                    <a:pt x="322" y="13"/>
                    <a:pt x="324" y="12"/>
                    <a:pt x="326" y="13"/>
                  </a:cubicBezTo>
                  <a:cubicBezTo>
                    <a:pt x="327" y="13"/>
                    <a:pt x="327" y="14"/>
                    <a:pt x="327" y="14"/>
                  </a:cubicBezTo>
                  <a:cubicBezTo>
                    <a:pt x="328" y="15"/>
                    <a:pt x="328" y="15"/>
                    <a:pt x="329" y="14"/>
                  </a:cubicBezTo>
                  <a:cubicBezTo>
                    <a:pt x="329" y="14"/>
                    <a:pt x="330" y="13"/>
                    <a:pt x="330" y="13"/>
                  </a:cubicBezTo>
                  <a:cubicBezTo>
                    <a:pt x="332" y="12"/>
                    <a:pt x="333" y="13"/>
                    <a:pt x="334" y="14"/>
                  </a:cubicBezTo>
                  <a:cubicBezTo>
                    <a:pt x="336" y="14"/>
                    <a:pt x="338" y="13"/>
                    <a:pt x="339" y="14"/>
                  </a:cubicBezTo>
                  <a:cubicBezTo>
                    <a:pt x="341" y="14"/>
                    <a:pt x="342" y="15"/>
                    <a:pt x="343" y="17"/>
                  </a:cubicBezTo>
                  <a:cubicBezTo>
                    <a:pt x="343" y="17"/>
                    <a:pt x="343" y="18"/>
                    <a:pt x="343" y="19"/>
                  </a:cubicBezTo>
                  <a:cubicBezTo>
                    <a:pt x="343" y="20"/>
                    <a:pt x="342" y="20"/>
                    <a:pt x="341" y="20"/>
                  </a:cubicBezTo>
                  <a:cubicBezTo>
                    <a:pt x="339" y="20"/>
                    <a:pt x="338" y="21"/>
                    <a:pt x="337" y="21"/>
                  </a:cubicBezTo>
                  <a:cubicBezTo>
                    <a:pt x="336" y="21"/>
                    <a:pt x="336" y="22"/>
                    <a:pt x="335" y="22"/>
                  </a:cubicBezTo>
                  <a:cubicBezTo>
                    <a:pt x="332" y="23"/>
                    <a:pt x="330" y="22"/>
                    <a:pt x="328" y="23"/>
                  </a:cubicBezTo>
                  <a:cubicBezTo>
                    <a:pt x="324" y="23"/>
                    <a:pt x="320" y="23"/>
                    <a:pt x="315" y="24"/>
                  </a:cubicBezTo>
                  <a:cubicBezTo>
                    <a:pt x="313" y="24"/>
                    <a:pt x="310" y="24"/>
                    <a:pt x="308" y="24"/>
                  </a:cubicBezTo>
                  <a:cubicBezTo>
                    <a:pt x="306" y="24"/>
                    <a:pt x="306" y="24"/>
                    <a:pt x="306" y="24"/>
                  </a:cubicBezTo>
                  <a:cubicBezTo>
                    <a:pt x="303" y="24"/>
                    <a:pt x="300" y="23"/>
                    <a:pt x="297" y="24"/>
                  </a:cubicBezTo>
                  <a:cubicBezTo>
                    <a:pt x="297" y="24"/>
                    <a:pt x="295" y="24"/>
                    <a:pt x="295" y="24"/>
                  </a:cubicBezTo>
                  <a:cubicBezTo>
                    <a:pt x="292" y="24"/>
                    <a:pt x="292" y="23"/>
                    <a:pt x="289" y="24"/>
                  </a:cubicBezTo>
                  <a:cubicBezTo>
                    <a:pt x="288" y="24"/>
                    <a:pt x="287" y="24"/>
                    <a:pt x="286" y="24"/>
                  </a:cubicBezTo>
                  <a:cubicBezTo>
                    <a:pt x="284" y="25"/>
                    <a:pt x="281" y="25"/>
                    <a:pt x="278" y="25"/>
                  </a:cubicBezTo>
                  <a:cubicBezTo>
                    <a:pt x="277" y="25"/>
                    <a:pt x="275" y="26"/>
                    <a:pt x="273" y="27"/>
                  </a:cubicBezTo>
                  <a:cubicBezTo>
                    <a:pt x="273" y="27"/>
                    <a:pt x="272" y="28"/>
                    <a:pt x="272" y="28"/>
                  </a:cubicBezTo>
                  <a:cubicBezTo>
                    <a:pt x="271" y="28"/>
                    <a:pt x="270" y="28"/>
                    <a:pt x="269" y="29"/>
                  </a:cubicBezTo>
                  <a:cubicBezTo>
                    <a:pt x="269" y="29"/>
                    <a:pt x="268" y="29"/>
                    <a:pt x="267" y="29"/>
                  </a:cubicBezTo>
                  <a:cubicBezTo>
                    <a:pt x="267" y="30"/>
                    <a:pt x="264" y="30"/>
                    <a:pt x="263" y="31"/>
                  </a:cubicBezTo>
                  <a:cubicBezTo>
                    <a:pt x="263" y="32"/>
                    <a:pt x="262" y="33"/>
                    <a:pt x="263" y="34"/>
                  </a:cubicBezTo>
                  <a:cubicBezTo>
                    <a:pt x="263" y="34"/>
                    <a:pt x="264" y="34"/>
                    <a:pt x="264" y="34"/>
                  </a:cubicBezTo>
                  <a:cubicBezTo>
                    <a:pt x="266" y="35"/>
                    <a:pt x="268" y="35"/>
                    <a:pt x="269" y="34"/>
                  </a:cubicBezTo>
                  <a:cubicBezTo>
                    <a:pt x="270" y="34"/>
                    <a:pt x="271" y="33"/>
                    <a:pt x="271" y="32"/>
                  </a:cubicBezTo>
                  <a:cubicBezTo>
                    <a:pt x="272" y="31"/>
                    <a:pt x="274" y="32"/>
                    <a:pt x="275" y="31"/>
                  </a:cubicBezTo>
                  <a:cubicBezTo>
                    <a:pt x="276" y="31"/>
                    <a:pt x="276" y="29"/>
                    <a:pt x="277" y="28"/>
                  </a:cubicBezTo>
                  <a:cubicBezTo>
                    <a:pt x="278" y="28"/>
                    <a:pt x="278" y="29"/>
                    <a:pt x="279" y="28"/>
                  </a:cubicBezTo>
                  <a:cubicBezTo>
                    <a:pt x="280" y="28"/>
                    <a:pt x="282" y="27"/>
                    <a:pt x="283" y="28"/>
                  </a:cubicBezTo>
                  <a:cubicBezTo>
                    <a:pt x="283" y="28"/>
                    <a:pt x="284" y="28"/>
                    <a:pt x="284" y="29"/>
                  </a:cubicBezTo>
                  <a:cubicBezTo>
                    <a:pt x="284" y="29"/>
                    <a:pt x="285" y="29"/>
                    <a:pt x="286" y="29"/>
                  </a:cubicBezTo>
                  <a:cubicBezTo>
                    <a:pt x="287" y="28"/>
                    <a:pt x="289" y="28"/>
                    <a:pt x="291" y="27"/>
                  </a:cubicBezTo>
                  <a:cubicBezTo>
                    <a:pt x="292" y="27"/>
                    <a:pt x="293" y="27"/>
                    <a:pt x="294" y="27"/>
                  </a:cubicBezTo>
                  <a:cubicBezTo>
                    <a:pt x="295" y="28"/>
                    <a:pt x="296" y="28"/>
                    <a:pt x="297" y="27"/>
                  </a:cubicBezTo>
                  <a:cubicBezTo>
                    <a:pt x="297" y="27"/>
                    <a:pt x="297" y="27"/>
                    <a:pt x="298" y="27"/>
                  </a:cubicBezTo>
                  <a:cubicBezTo>
                    <a:pt x="298" y="27"/>
                    <a:pt x="299" y="27"/>
                    <a:pt x="299" y="28"/>
                  </a:cubicBezTo>
                  <a:cubicBezTo>
                    <a:pt x="302" y="28"/>
                    <a:pt x="304" y="28"/>
                    <a:pt x="306" y="28"/>
                  </a:cubicBezTo>
                  <a:cubicBezTo>
                    <a:pt x="308" y="28"/>
                    <a:pt x="308" y="28"/>
                    <a:pt x="308" y="28"/>
                  </a:cubicBezTo>
                  <a:cubicBezTo>
                    <a:pt x="310" y="29"/>
                    <a:pt x="313" y="28"/>
                    <a:pt x="316" y="29"/>
                  </a:cubicBezTo>
                  <a:cubicBezTo>
                    <a:pt x="316" y="29"/>
                    <a:pt x="316" y="30"/>
                    <a:pt x="315" y="30"/>
                  </a:cubicBezTo>
                  <a:cubicBezTo>
                    <a:pt x="314" y="31"/>
                    <a:pt x="313" y="32"/>
                    <a:pt x="311" y="32"/>
                  </a:cubicBezTo>
                  <a:cubicBezTo>
                    <a:pt x="311" y="33"/>
                    <a:pt x="311" y="33"/>
                    <a:pt x="310" y="33"/>
                  </a:cubicBezTo>
                  <a:cubicBezTo>
                    <a:pt x="309" y="33"/>
                    <a:pt x="309" y="33"/>
                    <a:pt x="308" y="33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305" y="34"/>
                    <a:pt x="303" y="34"/>
                    <a:pt x="302" y="35"/>
                  </a:cubicBezTo>
                  <a:cubicBezTo>
                    <a:pt x="301" y="35"/>
                    <a:pt x="299" y="36"/>
                    <a:pt x="300" y="37"/>
                  </a:cubicBezTo>
                  <a:cubicBezTo>
                    <a:pt x="300" y="39"/>
                    <a:pt x="301" y="39"/>
                    <a:pt x="303" y="39"/>
                  </a:cubicBezTo>
                  <a:cubicBezTo>
                    <a:pt x="304" y="38"/>
                    <a:pt x="306" y="36"/>
                    <a:pt x="307" y="35"/>
                  </a:cubicBezTo>
                  <a:cubicBezTo>
                    <a:pt x="308" y="35"/>
                    <a:pt x="308" y="35"/>
                    <a:pt x="308" y="35"/>
                  </a:cubicBezTo>
                  <a:cubicBezTo>
                    <a:pt x="310" y="35"/>
                    <a:pt x="312" y="36"/>
                    <a:pt x="314" y="35"/>
                  </a:cubicBezTo>
                  <a:cubicBezTo>
                    <a:pt x="316" y="35"/>
                    <a:pt x="318" y="35"/>
                    <a:pt x="319" y="34"/>
                  </a:cubicBezTo>
                  <a:cubicBezTo>
                    <a:pt x="320" y="34"/>
                    <a:pt x="321" y="34"/>
                    <a:pt x="322" y="33"/>
                  </a:cubicBezTo>
                  <a:cubicBezTo>
                    <a:pt x="324" y="32"/>
                    <a:pt x="325" y="30"/>
                    <a:pt x="327" y="28"/>
                  </a:cubicBezTo>
                  <a:cubicBezTo>
                    <a:pt x="327" y="28"/>
                    <a:pt x="327" y="28"/>
                    <a:pt x="328" y="27"/>
                  </a:cubicBezTo>
                  <a:cubicBezTo>
                    <a:pt x="331" y="27"/>
                    <a:pt x="333" y="25"/>
                    <a:pt x="336" y="26"/>
                  </a:cubicBezTo>
                  <a:cubicBezTo>
                    <a:pt x="337" y="26"/>
                    <a:pt x="337" y="27"/>
                    <a:pt x="337" y="28"/>
                  </a:cubicBezTo>
                  <a:cubicBezTo>
                    <a:pt x="338" y="29"/>
                    <a:pt x="337" y="31"/>
                    <a:pt x="338" y="32"/>
                  </a:cubicBezTo>
                  <a:cubicBezTo>
                    <a:pt x="339" y="33"/>
                    <a:pt x="339" y="34"/>
                    <a:pt x="338" y="35"/>
                  </a:cubicBezTo>
                  <a:cubicBezTo>
                    <a:pt x="337" y="36"/>
                    <a:pt x="335" y="37"/>
                    <a:pt x="334" y="38"/>
                  </a:cubicBezTo>
                  <a:cubicBezTo>
                    <a:pt x="332" y="39"/>
                    <a:pt x="331" y="41"/>
                    <a:pt x="330" y="42"/>
                  </a:cubicBezTo>
                  <a:cubicBezTo>
                    <a:pt x="330" y="42"/>
                    <a:pt x="330" y="42"/>
                    <a:pt x="330" y="43"/>
                  </a:cubicBezTo>
                  <a:cubicBezTo>
                    <a:pt x="328" y="44"/>
                    <a:pt x="328" y="47"/>
                    <a:pt x="326" y="48"/>
                  </a:cubicBezTo>
                  <a:cubicBezTo>
                    <a:pt x="323" y="50"/>
                    <a:pt x="320" y="52"/>
                    <a:pt x="319" y="54"/>
                  </a:cubicBezTo>
                  <a:cubicBezTo>
                    <a:pt x="319" y="54"/>
                    <a:pt x="319" y="55"/>
                    <a:pt x="320" y="54"/>
                  </a:cubicBezTo>
                  <a:cubicBezTo>
                    <a:pt x="321" y="52"/>
                    <a:pt x="323" y="50"/>
                    <a:pt x="326" y="49"/>
                  </a:cubicBezTo>
                  <a:cubicBezTo>
                    <a:pt x="326" y="49"/>
                    <a:pt x="327" y="49"/>
                    <a:pt x="327" y="49"/>
                  </a:cubicBezTo>
                  <a:cubicBezTo>
                    <a:pt x="328" y="50"/>
                    <a:pt x="328" y="50"/>
                    <a:pt x="328" y="50"/>
                  </a:cubicBezTo>
                  <a:cubicBezTo>
                    <a:pt x="329" y="51"/>
                    <a:pt x="330" y="50"/>
                    <a:pt x="330" y="49"/>
                  </a:cubicBezTo>
                  <a:cubicBezTo>
                    <a:pt x="331" y="47"/>
                    <a:pt x="332" y="45"/>
                    <a:pt x="334" y="44"/>
                  </a:cubicBezTo>
                  <a:cubicBezTo>
                    <a:pt x="334" y="43"/>
                    <a:pt x="335" y="43"/>
                    <a:pt x="335" y="42"/>
                  </a:cubicBezTo>
                  <a:cubicBezTo>
                    <a:pt x="336" y="42"/>
                    <a:pt x="337" y="41"/>
                    <a:pt x="339" y="40"/>
                  </a:cubicBezTo>
                  <a:cubicBezTo>
                    <a:pt x="341" y="38"/>
                    <a:pt x="343" y="37"/>
                    <a:pt x="346" y="36"/>
                  </a:cubicBezTo>
                  <a:cubicBezTo>
                    <a:pt x="348" y="36"/>
                    <a:pt x="349" y="33"/>
                    <a:pt x="351" y="32"/>
                  </a:cubicBezTo>
                  <a:cubicBezTo>
                    <a:pt x="351" y="32"/>
                    <a:pt x="352" y="32"/>
                    <a:pt x="352" y="32"/>
                  </a:cubicBezTo>
                  <a:cubicBezTo>
                    <a:pt x="353" y="33"/>
                    <a:pt x="352" y="35"/>
                    <a:pt x="352" y="37"/>
                  </a:cubicBezTo>
                  <a:cubicBezTo>
                    <a:pt x="353" y="37"/>
                    <a:pt x="353" y="37"/>
                    <a:pt x="353" y="37"/>
                  </a:cubicBezTo>
                  <a:cubicBezTo>
                    <a:pt x="354" y="36"/>
                    <a:pt x="354" y="35"/>
                    <a:pt x="355" y="35"/>
                  </a:cubicBezTo>
                  <a:cubicBezTo>
                    <a:pt x="357" y="34"/>
                    <a:pt x="359" y="34"/>
                    <a:pt x="360" y="34"/>
                  </a:cubicBezTo>
                  <a:cubicBezTo>
                    <a:pt x="362" y="34"/>
                    <a:pt x="363" y="34"/>
                    <a:pt x="364" y="34"/>
                  </a:cubicBezTo>
                  <a:cubicBezTo>
                    <a:pt x="366" y="35"/>
                    <a:pt x="368" y="35"/>
                    <a:pt x="369" y="34"/>
                  </a:cubicBezTo>
                  <a:cubicBezTo>
                    <a:pt x="371" y="33"/>
                    <a:pt x="371" y="32"/>
                    <a:pt x="372" y="31"/>
                  </a:cubicBezTo>
                  <a:cubicBezTo>
                    <a:pt x="373" y="30"/>
                    <a:pt x="374" y="29"/>
                    <a:pt x="375" y="28"/>
                  </a:cubicBezTo>
                  <a:cubicBezTo>
                    <a:pt x="377" y="28"/>
                    <a:pt x="379" y="28"/>
                    <a:pt x="381" y="28"/>
                  </a:cubicBezTo>
                  <a:cubicBezTo>
                    <a:pt x="382" y="29"/>
                    <a:pt x="383" y="29"/>
                    <a:pt x="384" y="29"/>
                  </a:cubicBezTo>
                  <a:cubicBezTo>
                    <a:pt x="384" y="29"/>
                    <a:pt x="385" y="29"/>
                    <a:pt x="385" y="29"/>
                  </a:cubicBezTo>
                  <a:cubicBezTo>
                    <a:pt x="391" y="31"/>
                    <a:pt x="396" y="32"/>
                    <a:pt x="402" y="34"/>
                  </a:cubicBezTo>
                  <a:cubicBezTo>
                    <a:pt x="403" y="34"/>
                    <a:pt x="405" y="34"/>
                    <a:pt x="404" y="36"/>
                  </a:cubicBezTo>
                  <a:cubicBezTo>
                    <a:pt x="400" y="38"/>
                    <a:pt x="395" y="39"/>
                    <a:pt x="390" y="40"/>
                  </a:cubicBezTo>
                  <a:cubicBezTo>
                    <a:pt x="389" y="40"/>
                    <a:pt x="388" y="41"/>
                    <a:pt x="387" y="41"/>
                  </a:cubicBezTo>
                  <a:cubicBezTo>
                    <a:pt x="387" y="42"/>
                    <a:pt x="387" y="43"/>
                    <a:pt x="387" y="44"/>
                  </a:cubicBezTo>
                  <a:cubicBezTo>
                    <a:pt x="387" y="44"/>
                    <a:pt x="387" y="44"/>
                    <a:pt x="387" y="44"/>
                  </a:cubicBezTo>
                  <a:cubicBezTo>
                    <a:pt x="385" y="45"/>
                    <a:pt x="384" y="45"/>
                    <a:pt x="383" y="45"/>
                  </a:cubicBezTo>
                  <a:cubicBezTo>
                    <a:pt x="381" y="46"/>
                    <a:pt x="380" y="46"/>
                    <a:pt x="379" y="48"/>
                  </a:cubicBezTo>
                  <a:cubicBezTo>
                    <a:pt x="377" y="49"/>
                    <a:pt x="375" y="48"/>
                    <a:pt x="372" y="48"/>
                  </a:cubicBezTo>
                  <a:cubicBezTo>
                    <a:pt x="371" y="46"/>
                    <a:pt x="369" y="45"/>
                    <a:pt x="367" y="46"/>
                  </a:cubicBezTo>
                  <a:cubicBezTo>
                    <a:pt x="367" y="46"/>
                    <a:pt x="367" y="47"/>
                    <a:pt x="367" y="48"/>
                  </a:cubicBezTo>
                  <a:cubicBezTo>
                    <a:pt x="366" y="48"/>
                    <a:pt x="366" y="48"/>
                    <a:pt x="366" y="48"/>
                  </a:cubicBezTo>
                  <a:cubicBezTo>
                    <a:pt x="361" y="49"/>
                    <a:pt x="355" y="48"/>
                    <a:pt x="350" y="48"/>
                  </a:cubicBezTo>
                  <a:cubicBezTo>
                    <a:pt x="349" y="49"/>
                    <a:pt x="348" y="50"/>
                    <a:pt x="348" y="50"/>
                  </a:cubicBezTo>
                  <a:cubicBezTo>
                    <a:pt x="347" y="51"/>
                    <a:pt x="348" y="51"/>
                    <a:pt x="348" y="51"/>
                  </a:cubicBezTo>
                  <a:cubicBezTo>
                    <a:pt x="348" y="51"/>
                    <a:pt x="349" y="51"/>
                    <a:pt x="349" y="51"/>
                  </a:cubicBezTo>
                  <a:cubicBezTo>
                    <a:pt x="349" y="51"/>
                    <a:pt x="350" y="50"/>
                    <a:pt x="350" y="50"/>
                  </a:cubicBezTo>
                  <a:cubicBezTo>
                    <a:pt x="351" y="50"/>
                    <a:pt x="351" y="50"/>
                    <a:pt x="351" y="50"/>
                  </a:cubicBezTo>
                  <a:cubicBezTo>
                    <a:pt x="358" y="50"/>
                    <a:pt x="366" y="49"/>
                    <a:pt x="373" y="50"/>
                  </a:cubicBezTo>
                  <a:cubicBezTo>
                    <a:pt x="375" y="50"/>
                    <a:pt x="376" y="50"/>
                    <a:pt x="377" y="50"/>
                  </a:cubicBezTo>
                  <a:cubicBezTo>
                    <a:pt x="378" y="51"/>
                    <a:pt x="379" y="52"/>
                    <a:pt x="378" y="52"/>
                  </a:cubicBezTo>
                  <a:cubicBezTo>
                    <a:pt x="376" y="54"/>
                    <a:pt x="374" y="56"/>
                    <a:pt x="371" y="56"/>
                  </a:cubicBezTo>
                  <a:cubicBezTo>
                    <a:pt x="368" y="56"/>
                    <a:pt x="365" y="57"/>
                    <a:pt x="361" y="56"/>
                  </a:cubicBezTo>
                  <a:cubicBezTo>
                    <a:pt x="358" y="55"/>
                    <a:pt x="356" y="54"/>
                    <a:pt x="353" y="55"/>
                  </a:cubicBezTo>
                  <a:cubicBezTo>
                    <a:pt x="353" y="55"/>
                    <a:pt x="352" y="55"/>
                    <a:pt x="352" y="56"/>
                  </a:cubicBezTo>
                  <a:cubicBezTo>
                    <a:pt x="351" y="57"/>
                    <a:pt x="351" y="57"/>
                    <a:pt x="350" y="58"/>
                  </a:cubicBezTo>
                  <a:cubicBezTo>
                    <a:pt x="349" y="60"/>
                    <a:pt x="349" y="61"/>
                    <a:pt x="349" y="63"/>
                  </a:cubicBezTo>
                  <a:cubicBezTo>
                    <a:pt x="349" y="63"/>
                    <a:pt x="350" y="63"/>
                    <a:pt x="351" y="63"/>
                  </a:cubicBezTo>
                  <a:cubicBezTo>
                    <a:pt x="351" y="63"/>
                    <a:pt x="352" y="62"/>
                    <a:pt x="352" y="62"/>
                  </a:cubicBezTo>
                  <a:cubicBezTo>
                    <a:pt x="354" y="61"/>
                    <a:pt x="355" y="59"/>
                    <a:pt x="356" y="58"/>
                  </a:cubicBezTo>
                  <a:cubicBezTo>
                    <a:pt x="357" y="58"/>
                    <a:pt x="357" y="58"/>
                    <a:pt x="358" y="58"/>
                  </a:cubicBezTo>
                  <a:cubicBezTo>
                    <a:pt x="362" y="57"/>
                    <a:pt x="366" y="57"/>
                    <a:pt x="370" y="58"/>
                  </a:cubicBezTo>
                  <a:cubicBezTo>
                    <a:pt x="370" y="58"/>
                    <a:pt x="370" y="59"/>
                    <a:pt x="370" y="60"/>
                  </a:cubicBezTo>
                  <a:cubicBezTo>
                    <a:pt x="369" y="61"/>
                    <a:pt x="368" y="62"/>
                    <a:pt x="366" y="63"/>
                  </a:cubicBezTo>
                  <a:cubicBezTo>
                    <a:pt x="365" y="63"/>
                    <a:pt x="363" y="63"/>
                    <a:pt x="362" y="63"/>
                  </a:cubicBezTo>
                  <a:cubicBezTo>
                    <a:pt x="361" y="62"/>
                    <a:pt x="359" y="62"/>
                    <a:pt x="358" y="63"/>
                  </a:cubicBezTo>
                  <a:cubicBezTo>
                    <a:pt x="357" y="63"/>
                    <a:pt x="356" y="64"/>
                    <a:pt x="356" y="64"/>
                  </a:cubicBezTo>
                  <a:cubicBezTo>
                    <a:pt x="355" y="66"/>
                    <a:pt x="355" y="67"/>
                    <a:pt x="355" y="69"/>
                  </a:cubicBezTo>
                  <a:cubicBezTo>
                    <a:pt x="355" y="69"/>
                    <a:pt x="356" y="69"/>
                    <a:pt x="357" y="70"/>
                  </a:cubicBezTo>
                  <a:cubicBezTo>
                    <a:pt x="357" y="70"/>
                    <a:pt x="357" y="71"/>
                    <a:pt x="357" y="71"/>
                  </a:cubicBezTo>
                  <a:cubicBezTo>
                    <a:pt x="356" y="72"/>
                    <a:pt x="355" y="72"/>
                    <a:pt x="354" y="73"/>
                  </a:cubicBezTo>
                  <a:cubicBezTo>
                    <a:pt x="354" y="73"/>
                    <a:pt x="353" y="74"/>
                    <a:pt x="353" y="74"/>
                  </a:cubicBezTo>
                  <a:cubicBezTo>
                    <a:pt x="353" y="75"/>
                    <a:pt x="353" y="76"/>
                    <a:pt x="353" y="76"/>
                  </a:cubicBezTo>
                  <a:cubicBezTo>
                    <a:pt x="352" y="77"/>
                    <a:pt x="351" y="77"/>
                    <a:pt x="350" y="77"/>
                  </a:cubicBezTo>
                  <a:cubicBezTo>
                    <a:pt x="349" y="76"/>
                    <a:pt x="347" y="76"/>
                    <a:pt x="347" y="76"/>
                  </a:cubicBezTo>
                  <a:cubicBezTo>
                    <a:pt x="345" y="78"/>
                    <a:pt x="346" y="81"/>
                    <a:pt x="345" y="83"/>
                  </a:cubicBezTo>
                  <a:cubicBezTo>
                    <a:pt x="345" y="83"/>
                    <a:pt x="345" y="84"/>
                    <a:pt x="345" y="84"/>
                  </a:cubicBezTo>
                  <a:cubicBezTo>
                    <a:pt x="344" y="85"/>
                    <a:pt x="345" y="87"/>
                    <a:pt x="344" y="88"/>
                  </a:cubicBezTo>
                  <a:cubicBezTo>
                    <a:pt x="343" y="90"/>
                    <a:pt x="341" y="91"/>
                    <a:pt x="339" y="92"/>
                  </a:cubicBezTo>
                  <a:cubicBezTo>
                    <a:pt x="339" y="92"/>
                    <a:pt x="339" y="93"/>
                    <a:pt x="339" y="93"/>
                  </a:cubicBezTo>
                  <a:cubicBezTo>
                    <a:pt x="340" y="93"/>
                    <a:pt x="340" y="93"/>
                    <a:pt x="341" y="93"/>
                  </a:cubicBezTo>
                  <a:cubicBezTo>
                    <a:pt x="342" y="92"/>
                    <a:pt x="344" y="91"/>
                    <a:pt x="345" y="91"/>
                  </a:cubicBezTo>
                  <a:cubicBezTo>
                    <a:pt x="345" y="91"/>
                    <a:pt x="345" y="91"/>
                    <a:pt x="345" y="90"/>
                  </a:cubicBezTo>
                  <a:cubicBezTo>
                    <a:pt x="346" y="90"/>
                    <a:pt x="346" y="90"/>
                    <a:pt x="347" y="90"/>
                  </a:cubicBezTo>
                  <a:cubicBezTo>
                    <a:pt x="347" y="91"/>
                    <a:pt x="348" y="91"/>
                    <a:pt x="348" y="91"/>
                  </a:cubicBezTo>
                  <a:cubicBezTo>
                    <a:pt x="349" y="91"/>
                    <a:pt x="350" y="91"/>
                    <a:pt x="351" y="91"/>
                  </a:cubicBezTo>
                  <a:cubicBezTo>
                    <a:pt x="352" y="91"/>
                    <a:pt x="354" y="91"/>
                    <a:pt x="355" y="91"/>
                  </a:cubicBezTo>
                  <a:cubicBezTo>
                    <a:pt x="357" y="92"/>
                    <a:pt x="357" y="94"/>
                    <a:pt x="357" y="95"/>
                  </a:cubicBezTo>
                  <a:cubicBezTo>
                    <a:pt x="356" y="95"/>
                    <a:pt x="355" y="95"/>
                    <a:pt x="354" y="95"/>
                  </a:cubicBezTo>
                  <a:cubicBezTo>
                    <a:pt x="353" y="95"/>
                    <a:pt x="351" y="95"/>
                    <a:pt x="350" y="94"/>
                  </a:cubicBezTo>
                  <a:cubicBezTo>
                    <a:pt x="349" y="94"/>
                    <a:pt x="348" y="94"/>
                    <a:pt x="347" y="94"/>
                  </a:cubicBezTo>
                  <a:cubicBezTo>
                    <a:pt x="347" y="94"/>
                    <a:pt x="347" y="95"/>
                    <a:pt x="347" y="96"/>
                  </a:cubicBezTo>
                  <a:cubicBezTo>
                    <a:pt x="348" y="97"/>
                    <a:pt x="349" y="97"/>
                    <a:pt x="350" y="98"/>
                  </a:cubicBezTo>
                  <a:cubicBezTo>
                    <a:pt x="352" y="98"/>
                    <a:pt x="354" y="99"/>
                    <a:pt x="355" y="100"/>
                  </a:cubicBezTo>
                  <a:cubicBezTo>
                    <a:pt x="355" y="100"/>
                    <a:pt x="356" y="100"/>
                    <a:pt x="356" y="100"/>
                  </a:cubicBezTo>
                  <a:cubicBezTo>
                    <a:pt x="357" y="100"/>
                    <a:pt x="357" y="99"/>
                    <a:pt x="358" y="98"/>
                  </a:cubicBezTo>
                  <a:cubicBezTo>
                    <a:pt x="360" y="98"/>
                    <a:pt x="361" y="99"/>
                    <a:pt x="363" y="100"/>
                  </a:cubicBezTo>
                  <a:cubicBezTo>
                    <a:pt x="363" y="102"/>
                    <a:pt x="363" y="104"/>
                    <a:pt x="363" y="106"/>
                  </a:cubicBezTo>
                  <a:cubicBezTo>
                    <a:pt x="360" y="108"/>
                    <a:pt x="357" y="107"/>
                    <a:pt x="354" y="105"/>
                  </a:cubicBezTo>
                  <a:cubicBezTo>
                    <a:pt x="351" y="104"/>
                    <a:pt x="349" y="105"/>
                    <a:pt x="346" y="105"/>
                  </a:cubicBezTo>
                  <a:cubicBezTo>
                    <a:pt x="346" y="105"/>
                    <a:pt x="345" y="105"/>
                    <a:pt x="344" y="106"/>
                  </a:cubicBezTo>
                  <a:cubicBezTo>
                    <a:pt x="344" y="107"/>
                    <a:pt x="344" y="107"/>
                    <a:pt x="344" y="108"/>
                  </a:cubicBezTo>
                  <a:cubicBezTo>
                    <a:pt x="343" y="109"/>
                    <a:pt x="343" y="109"/>
                    <a:pt x="342" y="109"/>
                  </a:cubicBezTo>
                  <a:cubicBezTo>
                    <a:pt x="341" y="109"/>
                    <a:pt x="339" y="109"/>
                    <a:pt x="338" y="108"/>
                  </a:cubicBezTo>
                  <a:cubicBezTo>
                    <a:pt x="338" y="107"/>
                    <a:pt x="337" y="107"/>
                    <a:pt x="337" y="106"/>
                  </a:cubicBezTo>
                  <a:cubicBezTo>
                    <a:pt x="336" y="106"/>
                    <a:pt x="336" y="106"/>
                    <a:pt x="335" y="106"/>
                  </a:cubicBezTo>
                  <a:cubicBezTo>
                    <a:pt x="335" y="107"/>
                    <a:pt x="335" y="107"/>
                    <a:pt x="334" y="108"/>
                  </a:cubicBezTo>
                  <a:cubicBezTo>
                    <a:pt x="334" y="108"/>
                    <a:pt x="333" y="109"/>
                    <a:pt x="333" y="110"/>
                  </a:cubicBezTo>
                  <a:cubicBezTo>
                    <a:pt x="334" y="110"/>
                    <a:pt x="334" y="110"/>
                    <a:pt x="334" y="111"/>
                  </a:cubicBezTo>
                  <a:cubicBezTo>
                    <a:pt x="335" y="112"/>
                    <a:pt x="335" y="113"/>
                    <a:pt x="336" y="113"/>
                  </a:cubicBezTo>
                  <a:cubicBezTo>
                    <a:pt x="337" y="114"/>
                    <a:pt x="338" y="113"/>
                    <a:pt x="338" y="112"/>
                  </a:cubicBezTo>
                  <a:cubicBezTo>
                    <a:pt x="339" y="112"/>
                    <a:pt x="339" y="112"/>
                    <a:pt x="340" y="112"/>
                  </a:cubicBezTo>
                  <a:cubicBezTo>
                    <a:pt x="341" y="113"/>
                    <a:pt x="340" y="114"/>
                    <a:pt x="341" y="115"/>
                  </a:cubicBezTo>
                  <a:cubicBezTo>
                    <a:pt x="341" y="115"/>
                    <a:pt x="342" y="115"/>
                    <a:pt x="342" y="115"/>
                  </a:cubicBezTo>
                  <a:cubicBezTo>
                    <a:pt x="343" y="114"/>
                    <a:pt x="343" y="114"/>
                    <a:pt x="344" y="113"/>
                  </a:cubicBezTo>
                  <a:cubicBezTo>
                    <a:pt x="344" y="113"/>
                    <a:pt x="345" y="113"/>
                    <a:pt x="345" y="113"/>
                  </a:cubicBezTo>
                  <a:cubicBezTo>
                    <a:pt x="346" y="114"/>
                    <a:pt x="346" y="115"/>
                    <a:pt x="347" y="115"/>
                  </a:cubicBezTo>
                  <a:cubicBezTo>
                    <a:pt x="348" y="116"/>
                    <a:pt x="350" y="115"/>
                    <a:pt x="351" y="116"/>
                  </a:cubicBezTo>
                  <a:cubicBezTo>
                    <a:pt x="352" y="116"/>
                    <a:pt x="352" y="118"/>
                    <a:pt x="352" y="118"/>
                  </a:cubicBezTo>
                  <a:cubicBezTo>
                    <a:pt x="351" y="119"/>
                    <a:pt x="350" y="119"/>
                    <a:pt x="348" y="120"/>
                  </a:cubicBezTo>
                  <a:cubicBezTo>
                    <a:pt x="347" y="120"/>
                    <a:pt x="346" y="119"/>
                    <a:pt x="344" y="120"/>
                  </a:cubicBezTo>
                  <a:cubicBezTo>
                    <a:pt x="344" y="120"/>
                    <a:pt x="344" y="120"/>
                    <a:pt x="344" y="120"/>
                  </a:cubicBezTo>
                  <a:cubicBezTo>
                    <a:pt x="346" y="121"/>
                    <a:pt x="349" y="121"/>
                    <a:pt x="352" y="121"/>
                  </a:cubicBezTo>
                  <a:cubicBezTo>
                    <a:pt x="353" y="121"/>
                    <a:pt x="353" y="121"/>
                    <a:pt x="353" y="122"/>
                  </a:cubicBezTo>
                  <a:cubicBezTo>
                    <a:pt x="354" y="123"/>
                    <a:pt x="353" y="125"/>
                    <a:pt x="354" y="126"/>
                  </a:cubicBezTo>
                  <a:cubicBezTo>
                    <a:pt x="354" y="127"/>
                    <a:pt x="354" y="128"/>
                    <a:pt x="354" y="129"/>
                  </a:cubicBezTo>
                  <a:cubicBezTo>
                    <a:pt x="353" y="130"/>
                    <a:pt x="352" y="131"/>
                    <a:pt x="350" y="131"/>
                  </a:cubicBezTo>
                  <a:cubicBezTo>
                    <a:pt x="350" y="129"/>
                    <a:pt x="349" y="129"/>
                    <a:pt x="348" y="128"/>
                  </a:cubicBezTo>
                  <a:cubicBezTo>
                    <a:pt x="347" y="128"/>
                    <a:pt x="347" y="128"/>
                    <a:pt x="346" y="129"/>
                  </a:cubicBezTo>
                  <a:cubicBezTo>
                    <a:pt x="346" y="130"/>
                    <a:pt x="345" y="130"/>
                    <a:pt x="345" y="129"/>
                  </a:cubicBezTo>
                  <a:cubicBezTo>
                    <a:pt x="342" y="127"/>
                    <a:pt x="340" y="126"/>
                    <a:pt x="338" y="124"/>
                  </a:cubicBezTo>
                  <a:cubicBezTo>
                    <a:pt x="338" y="124"/>
                    <a:pt x="337" y="123"/>
                    <a:pt x="337" y="123"/>
                  </a:cubicBezTo>
                  <a:cubicBezTo>
                    <a:pt x="337" y="124"/>
                    <a:pt x="337" y="124"/>
                    <a:pt x="337" y="124"/>
                  </a:cubicBezTo>
                  <a:cubicBezTo>
                    <a:pt x="338" y="126"/>
                    <a:pt x="339" y="127"/>
                    <a:pt x="340" y="128"/>
                  </a:cubicBezTo>
                  <a:cubicBezTo>
                    <a:pt x="341" y="129"/>
                    <a:pt x="342" y="130"/>
                    <a:pt x="342" y="130"/>
                  </a:cubicBezTo>
                  <a:cubicBezTo>
                    <a:pt x="342" y="131"/>
                    <a:pt x="343" y="131"/>
                    <a:pt x="343" y="132"/>
                  </a:cubicBezTo>
                  <a:cubicBezTo>
                    <a:pt x="343" y="132"/>
                    <a:pt x="344" y="132"/>
                    <a:pt x="344" y="133"/>
                  </a:cubicBezTo>
                  <a:cubicBezTo>
                    <a:pt x="345" y="134"/>
                    <a:pt x="345" y="135"/>
                    <a:pt x="345" y="137"/>
                  </a:cubicBezTo>
                  <a:cubicBezTo>
                    <a:pt x="345" y="138"/>
                    <a:pt x="345" y="138"/>
                    <a:pt x="345" y="139"/>
                  </a:cubicBezTo>
                  <a:cubicBezTo>
                    <a:pt x="347" y="140"/>
                    <a:pt x="349" y="140"/>
                    <a:pt x="351" y="139"/>
                  </a:cubicBezTo>
                  <a:cubicBezTo>
                    <a:pt x="352" y="139"/>
                    <a:pt x="353" y="138"/>
                    <a:pt x="353" y="139"/>
                  </a:cubicBezTo>
                  <a:cubicBezTo>
                    <a:pt x="354" y="140"/>
                    <a:pt x="355" y="141"/>
                    <a:pt x="354" y="143"/>
                  </a:cubicBezTo>
                  <a:cubicBezTo>
                    <a:pt x="354" y="143"/>
                    <a:pt x="353" y="144"/>
                    <a:pt x="352" y="144"/>
                  </a:cubicBezTo>
                  <a:cubicBezTo>
                    <a:pt x="351" y="145"/>
                    <a:pt x="350" y="145"/>
                    <a:pt x="349" y="145"/>
                  </a:cubicBezTo>
                  <a:cubicBezTo>
                    <a:pt x="347" y="144"/>
                    <a:pt x="346" y="142"/>
                    <a:pt x="343" y="141"/>
                  </a:cubicBezTo>
                  <a:cubicBezTo>
                    <a:pt x="341" y="141"/>
                    <a:pt x="339" y="140"/>
                    <a:pt x="337" y="141"/>
                  </a:cubicBezTo>
                  <a:cubicBezTo>
                    <a:pt x="336" y="141"/>
                    <a:pt x="335" y="142"/>
                    <a:pt x="335" y="143"/>
                  </a:cubicBezTo>
                  <a:cubicBezTo>
                    <a:pt x="335" y="145"/>
                    <a:pt x="334" y="147"/>
                    <a:pt x="335" y="148"/>
                  </a:cubicBezTo>
                  <a:cubicBezTo>
                    <a:pt x="335" y="148"/>
                    <a:pt x="335" y="149"/>
                    <a:pt x="335" y="149"/>
                  </a:cubicBezTo>
                  <a:cubicBezTo>
                    <a:pt x="336" y="149"/>
                    <a:pt x="337" y="149"/>
                    <a:pt x="337" y="149"/>
                  </a:cubicBezTo>
                  <a:cubicBezTo>
                    <a:pt x="338" y="149"/>
                    <a:pt x="338" y="148"/>
                    <a:pt x="339" y="147"/>
                  </a:cubicBezTo>
                  <a:cubicBezTo>
                    <a:pt x="340" y="147"/>
                    <a:pt x="340" y="147"/>
                    <a:pt x="341" y="147"/>
                  </a:cubicBezTo>
                  <a:cubicBezTo>
                    <a:pt x="341" y="148"/>
                    <a:pt x="341" y="150"/>
                    <a:pt x="342" y="150"/>
                  </a:cubicBezTo>
                  <a:cubicBezTo>
                    <a:pt x="343" y="151"/>
                    <a:pt x="345" y="150"/>
                    <a:pt x="346" y="150"/>
                  </a:cubicBezTo>
                  <a:cubicBezTo>
                    <a:pt x="346" y="152"/>
                    <a:pt x="346" y="154"/>
                    <a:pt x="346" y="155"/>
                  </a:cubicBezTo>
                  <a:cubicBezTo>
                    <a:pt x="346" y="156"/>
                    <a:pt x="345" y="156"/>
                    <a:pt x="344" y="156"/>
                  </a:cubicBezTo>
                  <a:cubicBezTo>
                    <a:pt x="341" y="157"/>
                    <a:pt x="339" y="156"/>
                    <a:pt x="336" y="156"/>
                  </a:cubicBezTo>
                  <a:cubicBezTo>
                    <a:pt x="334" y="159"/>
                    <a:pt x="330" y="158"/>
                    <a:pt x="327" y="157"/>
                  </a:cubicBezTo>
                  <a:cubicBezTo>
                    <a:pt x="325" y="156"/>
                    <a:pt x="324" y="155"/>
                    <a:pt x="323" y="154"/>
                  </a:cubicBezTo>
                  <a:cubicBezTo>
                    <a:pt x="322" y="152"/>
                    <a:pt x="320" y="151"/>
                    <a:pt x="319" y="152"/>
                  </a:cubicBezTo>
                  <a:cubicBezTo>
                    <a:pt x="318" y="153"/>
                    <a:pt x="318" y="154"/>
                    <a:pt x="317" y="155"/>
                  </a:cubicBezTo>
                  <a:cubicBezTo>
                    <a:pt x="314" y="155"/>
                    <a:pt x="311" y="155"/>
                    <a:pt x="309" y="157"/>
                  </a:cubicBezTo>
                  <a:cubicBezTo>
                    <a:pt x="309" y="157"/>
                    <a:pt x="309" y="157"/>
                    <a:pt x="309" y="158"/>
                  </a:cubicBezTo>
                  <a:cubicBezTo>
                    <a:pt x="309" y="158"/>
                    <a:pt x="310" y="158"/>
                    <a:pt x="311" y="158"/>
                  </a:cubicBezTo>
                  <a:cubicBezTo>
                    <a:pt x="312" y="158"/>
                    <a:pt x="312" y="157"/>
                    <a:pt x="313" y="157"/>
                  </a:cubicBezTo>
                  <a:cubicBezTo>
                    <a:pt x="315" y="156"/>
                    <a:pt x="317" y="156"/>
                    <a:pt x="319" y="157"/>
                  </a:cubicBezTo>
                  <a:cubicBezTo>
                    <a:pt x="320" y="157"/>
                    <a:pt x="321" y="157"/>
                    <a:pt x="322" y="158"/>
                  </a:cubicBezTo>
                  <a:cubicBezTo>
                    <a:pt x="322" y="158"/>
                    <a:pt x="323" y="158"/>
                    <a:pt x="323" y="158"/>
                  </a:cubicBezTo>
                  <a:cubicBezTo>
                    <a:pt x="323" y="159"/>
                    <a:pt x="323" y="159"/>
                    <a:pt x="323" y="159"/>
                  </a:cubicBezTo>
                  <a:cubicBezTo>
                    <a:pt x="319" y="159"/>
                    <a:pt x="315" y="159"/>
                    <a:pt x="311" y="160"/>
                  </a:cubicBezTo>
                  <a:cubicBezTo>
                    <a:pt x="310" y="160"/>
                    <a:pt x="310" y="160"/>
                    <a:pt x="310" y="161"/>
                  </a:cubicBezTo>
                  <a:cubicBezTo>
                    <a:pt x="311" y="161"/>
                    <a:pt x="312" y="161"/>
                    <a:pt x="312" y="162"/>
                  </a:cubicBezTo>
                  <a:cubicBezTo>
                    <a:pt x="312" y="163"/>
                    <a:pt x="310" y="162"/>
                    <a:pt x="309" y="163"/>
                  </a:cubicBezTo>
                  <a:cubicBezTo>
                    <a:pt x="309" y="163"/>
                    <a:pt x="309" y="164"/>
                    <a:pt x="309" y="164"/>
                  </a:cubicBezTo>
                  <a:cubicBezTo>
                    <a:pt x="311" y="164"/>
                    <a:pt x="313" y="165"/>
                    <a:pt x="314" y="167"/>
                  </a:cubicBezTo>
                  <a:cubicBezTo>
                    <a:pt x="314" y="167"/>
                    <a:pt x="314" y="168"/>
                    <a:pt x="314" y="168"/>
                  </a:cubicBezTo>
                  <a:cubicBezTo>
                    <a:pt x="314" y="169"/>
                    <a:pt x="313" y="169"/>
                    <a:pt x="312" y="169"/>
                  </a:cubicBezTo>
                  <a:cubicBezTo>
                    <a:pt x="312" y="170"/>
                    <a:pt x="312" y="170"/>
                    <a:pt x="312" y="171"/>
                  </a:cubicBezTo>
                  <a:cubicBezTo>
                    <a:pt x="314" y="171"/>
                    <a:pt x="316" y="170"/>
                    <a:pt x="318" y="171"/>
                  </a:cubicBezTo>
                  <a:cubicBezTo>
                    <a:pt x="319" y="171"/>
                    <a:pt x="320" y="173"/>
                    <a:pt x="321" y="173"/>
                  </a:cubicBezTo>
                  <a:cubicBezTo>
                    <a:pt x="323" y="174"/>
                    <a:pt x="325" y="174"/>
                    <a:pt x="328" y="176"/>
                  </a:cubicBezTo>
                  <a:cubicBezTo>
                    <a:pt x="328" y="176"/>
                    <a:pt x="329" y="177"/>
                    <a:pt x="328" y="178"/>
                  </a:cubicBezTo>
                  <a:cubicBezTo>
                    <a:pt x="328" y="179"/>
                    <a:pt x="326" y="179"/>
                    <a:pt x="326" y="181"/>
                  </a:cubicBezTo>
                  <a:cubicBezTo>
                    <a:pt x="327" y="181"/>
                    <a:pt x="328" y="182"/>
                    <a:pt x="328" y="181"/>
                  </a:cubicBezTo>
                  <a:cubicBezTo>
                    <a:pt x="329" y="180"/>
                    <a:pt x="330" y="179"/>
                    <a:pt x="330" y="180"/>
                  </a:cubicBezTo>
                  <a:cubicBezTo>
                    <a:pt x="331" y="181"/>
                    <a:pt x="331" y="183"/>
                    <a:pt x="331" y="184"/>
                  </a:cubicBezTo>
                  <a:cubicBezTo>
                    <a:pt x="331" y="184"/>
                    <a:pt x="331" y="185"/>
                    <a:pt x="332" y="184"/>
                  </a:cubicBezTo>
                  <a:cubicBezTo>
                    <a:pt x="332" y="184"/>
                    <a:pt x="333" y="183"/>
                    <a:pt x="334" y="183"/>
                  </a:cubicBezTo>
                  <a:cubicBezTo>
                    <a:pt x="334" y="184"/>
                    <a:pt x="334" y="184"/>
                    <a:pt x="334" y="185"/>
                  </a:cubicBezTo>
                  <a:cubicBezTo>
                    <a:pt x="335" y="186"/>
                    <a:pt x="334" y="187"/>
                    <a:pt x="335" y="189"/>
                  </a:cubicBezTo>
                  <a:cubicBezTo>
                    <a:pt x="335" y="190"/>
                    <a:pt x="336" y="191"/>
                    <a:pt x="336" y="192"/>
                  </a:cubicBezTo>
                  <a:cubicBezTo>
                    <a:pt x="337" y="193"/>
                    <a:pt x="337" y="194"/>
                    <a:pt x="338" y="195"/>
                  </a:cubicBezTo>
                  <a:cubicBezTo>
                    <a:pt x="338" y="196"/>
                    <a:pt x="338" y="197"/>
                    <a:pt x="337" y="197"/>
                  </a:cubicBezTo>
                  <a:cubicBezTo>
                    <a:pt x="336" y="198"/>
                    <a:pt x="335" y="198"/>
                    <a:pt x="335" y="198"/>
                  </a:cubicBezTo>
                  <a:cubicBezTo>
                    <a:pt x="334" y="198"/>
                    <a:pt x="332" y="199"/>
                    <a:pt x="332" y="198"/>
                  </a:cubicBezTo>
                  <a:cubicBezTo>
                    <a:pt x="330" y="197"/>
                    <a:pt x="331" y="195"/>
                    <a:pt x="331" y="194"/>
                  </a:cubicBezTo>
                  <a:cubicBezTo>
                    <a:pt x="330" y="193"/>
                    <a:pt x="329" y="193"/>
                    <a:pt x="329" y="193"/>
                  </a:cubicBezTo>
                  <a:cubicBezTo>
                    <a:pt x="328" y="194"/>
                    <a:pt x="328" y="195"/>
                    <a:pt x="328" y="196"/>
                  </a:cubicBezTo>
                  <a:cubicBezTo>
                    <a:pt x="328" y="197"/>
                    <a:pt x="327" y="197"/>
                    <a:pt x="327" y="197"/>
                  </a:cubicBezTo>
                  <a:cubicBezTo>
                    <a:pt x="326" y="198"/>
                    <a:pt x="325" y="198"/>
                    <a:pt x="324" y="198"/>
                  </a:cubicBezTo>
                  <a:cubicBezTo>
                    <a:pt x="323" y="197"/>
                    <a:pt x="323" y="197"/>
                    <a:pt x="323" y="197"/>
                  </a:cubicBezTo>
                  <a:cubicBezTo>
                    <a:pt x="320" y="196"/>
                    <a:pt x="318" y="195"/>
                    <a:pt x="317" y="192"/>
                  </a:cubicBezTo>
                  <a:cubicBezTo>
                    <a:pt x="317" y="192"/>
                    <a:pt x="317" y="191"/>
                    <a:pt x="317" y="191"/>
                  </a:cubicBezTo>
                  <a:cubicBezTo>
                    <a:pt x="316" y="189"/>
                    <a:pt x="316" y="188"/>
                    <a:pt x="315" y="187"/>
                  </a:cubicBezTo>
                  <a:cubicBezTo>
                    <a:pt x="314" y="183"/>
                    <a:pt x="309" y="185"/>
                    <a:pt x="306" y="185"/>
                  </a:cubicBezTo>
                  <a:cubicBezTo>
                    <a:pt x="305" y="185"/>
                    <a:pt x="306" y="188"/>
                    <a:pt x="306" y="189"/>
                  </a:cubicBezTo>
                  <a:cubicBezTo>
                    <a:pt x="307" y="191"/>
                    <a:pt x="307" y="193"/>
                    <a:pt x="306" y="195"/>
                  </a:cubicBezTo>
                  <a:cubicBezTo>
                    <a:pt x="306" y="196"/>
                    <a:pt x="306" y="196"/>
                    <a:pt x="305" y="196"/>
                  </a:cubicBezTo>
                  <a:cubicBezTo>
                    <a:pt x="305" y="196"/>
                    <a:pt x="305" y="196"/>
                    <a:pt x="305" y="196"/>
                  </a:cubicBezTo>
                  <a:cubicBezTo>
                    <a:pt x="302" y="196"/>
                    <a:pt x="299" y="196"/>
                    <a:pt x="295" y="197"/>
                  </a:cubicBezTo>
                  <a:cubicBezTo>
                    <a:pt x="294" y="197"/>
                    <a:pt x="292" y="197"/>
                    <a:pt x="290" y="197"/>
                  </a:cubicBezTo>
                  <a:cubicBezTo>
                    <a:pt x="290" y="197"/>
                    <a:pt x="290" y="196"/>
                    <a:pt x="290" y="196"/>
                  </a:cubicBezTo>
                  <a:cubicBezTo>
                    <a:pt x="291" y="194"/>
                    <a:pt x="292" y="193"/>
                    <a:pt x="294" y="192"/>
                  </a:cubicBezTo>
                  <a:cubicBezTo>
                    <a:pt x="294" y="191"/>
                    <a:pt x="295" y="191"/>
                    <a:pt x="296" y="191"/>
                  </a:cubicBezTo>
                  <a:cubicBezTo>
                    <a:pt x="299" y="190"/>
                    <a:pt x="301" y="190"/>
                    <a:pt x="304" y="190"/>
                  </a:cubicBezTo>
                  <a:cubicBezTo>
                    <a:pt x="302" y="189"/>
                    <a:pt x="302" y="189"/>
                    <a:pt x="302" y="189"/>
                  </a:cubicBezTo>
                  <a:cubicBezTo>
                    <a:pt x="301" y="189"/>
                    <a:pt x="300" y="189"/>
                    <a:pt x="299" y="190"/>
                  </a:cubicBezTo>
                  <a:cubicBezTo>
                    <a:pt x="296" y="191"/>
                    <a:pt x="294" y="189"/>
                    <a:pt x="292" y="190"/>
                  </a:cubicBezTo>
                  <a:cubicBezTo>
                    <a:pt x="290" y="191"/>
                    <a:pt x="289" y="194"/>
                    <a:pt x="288" y="196"/>
                  </a:cubicBezTo>
                  <a:cubicBezTo>
                    <a:pt x="287" y="197"/>
                    <a:pt x="288" y="198"/>
                    <a:pt x="288" y="199"/>
                  </a:cubicBezTo>
                  <a:cubicBezTo>
                    <a:pt x="289" y="199"/>
                    <a:pt x="290" y="199"/>
                    <a:pt x="292" y="198"/>
                  </a:cubicBezTo>
                  <a:cubicBezTo>
                    <a:pt x="293" y="198"/>
                    <a:pt x="294" y="198"/>
                    <a:pt x="295" y="198"/>
                  </a:cubicBezTo>
                  <a:cubicBezTo>
                    <a:pt x="295" y="198"/>
                    <a:pt x="296" y="198"/>
                    <a:pt x="296" y="198"/>
                  </a:cubicBezTo>
                  <a:cubicBezTo>
                    <a:pt x="296" y="198"/>
                    <a:pt x="296" y="199"/>
                    <a:pt x="296" y="199"/>
                  </a:cubicBezTo>
                  <a:cubicBezTo>
                    <a:pt x="295" y="199"/>
                    <a:pt x="294" y="200"/>
                    <a:pt x="293" y="200"/>
                  </a:cubicBezTo>
                  <a:cubicBezTo>
                    <a:pt x="291" y="201"/>
                    <a:pt x="291" y="201"/>
                    <a:pt x="291" y="201"/>
                  </a:cubicBezTo>
                  <a:cubicBezTo>
                    <a:pt x="290" y="202"/>
                    <a:pt x="292" y="204"/>
                    <a:pt x="294" y="203"/>
                  </a:cubicBezTo>
                  <a:cubicBezTo>
                    <a:pt x="295" y="203"/>
                    <a:pt x="295" y="201"/>
                    <a:pt x="296" y="200"/>
                  </a:cubicBezTo>
                  <a:cubicBezTo>
                    <a:pt x="298" y="200"/>
                    <a:pt x="301" y="200"/>
                    <a:pt x="302" y="200"/>
                  </a:cubicBezTo>
                  <a:cubicBezTo>
                    <a:pt x="303" y="200"/>
                    <a:pt x="304" y="199"/>
                    <a:pt x="305" y="199"/>
                  </a:cubicBezTo>
                  <a:cubicBezTo>
                    <a:pt x="308" y="198"/>
                    <a:pt x="308" y="198"/>
                    <a:pt x="308" y="198"/>
                  </a:cubicBezTo>
                  <a:cubicBezTo>
                    <a:pt x="312" y="198"/>
                    <a:pt x="316" y="200"/>
                    <a:pt x="319" y="202"/>
                  </a:cubicBezTo>
                  <a:cubicBezTo>
                    <a:pt x="323" y="202"/>
                    <a:pt x="326" y="201"/>
                    <a:pt x="330" y="202"/>
                  </a:cubicBezTo>
                  <a:cubicBezTo>
                    <a:pt x="331" y="203"/>
                    <a:pt x="329" y="204"/>
                    <a:pt x="328" y="204"/>
                  </a:cubicBezTo>
                  <a:cubicBezTo>
                    <a:pt x="324" y="206"/>
                    <a:pt x="320" y="206"/>
                    <a:pt x="317" y="210"/>
                  </a:cubicBezTo>
                  <a:cubicBezTo>
                    <a:pt x="316" y="210"/>
                    <a:pt x="316" y="211"/>
                    <a:pt x="315" y="211"/>
                  </a:cubicBezTo>
                  <a:cubicBezTo>
                    <a:pt x="314" y="212"/>
                    <a:pt x="312" y="211"/>
                    <a:pt x="311" y="212"/>
                  </a:cubicBezTo>
                  <a:cubicBezTo>
                    <a:pt x="309" y="213"/>
                    <a:pt x="308" y="214"/>
                    <a:pt x="306" y="215"/>
                  </a:cubicBezTo>
                  <a:lnTo>
                    <a:pt x="304" y="21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8" name="Freeform 92"/>
            <p:cNvSpPr>
              <a:spLocks/>
            </p:cNvSpPr>
            <p:nvPr/>
          </p:nvSpPr>
          <p:spPr bwMode="auto">
            <a:xfrm>
              <a:off x="7117629" y="3215594"/>
              <a:ext cx="2508" cy="2704"/>
            </a:xfrm>
            <a:custGeom>
              <a:avLst/>
              <a:gdLst>
                <a:gd name="T0" fmla="*/ 3961001 w 6"/>
                <a:gd name="T1" fmla="*/ 2243220 h 6"/>
                <a:gd name="T2" fmla="*/ 727531 w 6"/>
                <a:gd name="T3" fmla="*/ 727531 h 6"/>
                <a:gd name="T4" fmla="*/ 727531 w 6"/>
                <a:gd name="T5" fmla="*/ 2243220 h 6"/>
                <a:gd name="T6" fmla="*/ 2970751 w 6"/>
                <a:gd name="T7" fmla="*/ 4688532 h 6"/>
                <a:gd name="T8" fmla="*/ 3961001 w 6"/>
                <a:gd name="T9" fmla="*/ 4688532 h 6"/>
                <a:gd name="T10" fmla="*/ 3961001 w 6"/>
                <a:gd name="T11" fmla="*/ 224322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5" y="3"/>
                  </a:moveTo>
                  <a:cubicBezTo>
                    <a:pt x="4" y="2"/>
                    <a:pt x="3" y="0"/>
                    <a:pt x="1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2" y="4"/>
                    <a:pt x="3" y="5"/>
                    <a:pt x="4" y="6"/>
                  </a:cubicBezTo>
                  <a:cubicBezTo>
                    <a:pt x="4" y="6"/>
                    <a:pt x="5" y="6"/>
                    <a:pt x="5" y="6"/>
                  </a:cubicBezTo>
                  <a:cubicBezTo>
                    <a:pt x="5" y="5"/>
                    <a:pt x="6" y="4"/>
                    <a:pt x="5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9" name="Freeform 93"/>
            <p:cNvSpPr>
              <a:spLocks/>
            </p:cNvSpPr>
            <p:nvPr/>
          </p:nvSpPr>
          <p:spPr bwMode="auto">
            <a:xfrm>
              <a:off x="7105589" y="3229113"/>
              <a:ext cx="5769" cy="5408"/>
            </a:xfrm>
            <a:custGeom>
              <a:avLst/>
              <a:gdLst>
                <a:gd name="T0" fmla="*/ 6432919 w 13"/>
                <a:gd name="T1" fmla="*/ 2007625 h 11"/>
                <a:gd name="T2" fmla="*/ 4467808 w 13"/>
                <a:gd name="T3" fmla="*/ 2007625 h 11"/>
                <a:gd name="T4" fmla="*/ 3419068 w 13"/>
                <a:gd name="T5" fmla="*/ 0 h 11"/>
                <a:gd name="T6" fmla="*/ 1481596 w 13"/>
                <a:gd name="T7" fmla="*/ 0 h 11"/>
                <a:gd name="T8" fmla="*/ 0 w 13"/>
                <a:gd name="T9" fmla="*/ 2007625 h 11"/>
                <a:gd name="T10" fmla="*/ 0 w 13"/>
                <a:gd name="T11" fmla="*/ 7630664 h 11"/>
                <a:gd name="T12" fmla="*/ 642025 w 13"/>
                <a:gd name="T13" fmla="*/ 9698926 h 11"/>
                <a:gd name="T14" fmla="*/ 1936050 w 13"/>
                <a:gd name="T15" fmla="*/ 10341118 h 11"/>
                <a:gd name="T16" fmla="*/ 4467808 w 13"/>
                <a:gd name="T17" fmla="*/ 8480159 h 11"/>
                <a:gd name="T18" fmla="*/ 7890157 w 13"/>
                <a:gd name="T19" fmla="*/ 5595820 h 11"/>
                <a:gd name="T20" fmla="*/ 7890157 w 13"/>
                <a:gd name="T21" fmla="*/ 2894074 h 11"/>
                <a:gd name="T22" fmla="*/ 6432919 w 13"/>
                <a:gd name="T23" fmla="*/ 2007625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"/>
                <a:gd name="T37" fmla="*/ 0 h 11"/>
                <a:gd name="T38" fmla="*/ 13 w 13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" h="11">
                  <a:moveTo>
                    <a:pt x="10" y="2"/>
                  </a:moveTo>
                  <a:cubicBezTo>
                    <a:pt x="9" y="1"/>
                    <a:pt x="8" y="2"/>
                    <a:pt x="7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0" y="9"/>
                    <a:pt x="1" y="9"/>
                    <a:pt x="1" y="10"/>
                  </a:cubicBezTo>
                  <a:cubicBezTo>
                    <a:pt x="1" y="11"/>
                    <a:pt x="2" y="11"/>
                    <a:pt x="3" y="11"/>
                  </a:cubicBezTo>
                  <a:cubicBezTo>
                    <a:pt x="4" y="10"/>
                    <a:pt x="5" y="10"/>
                    <a:pt x="7" y="9"/>
                  </a:cubicBezTo>
                  <a:cubicBezTo>
                    <a:pt x="8" y="9"/>
                    <a:pt x="10" y="7"/>
                    <a:pt x="12" y="6"/>
                  </a:cubicBezTo>
                  <a:cubicBezTo>
                    <a:pt x="13" y="5"/>
                    <a:pt x="13" y="4"/>
                    <a:pt x="12" y="3"/>
                  </a:cubicBezTo>
                  <a:cubicBezTo>
                    <a:pt x="12" y="2"/>
                    <a:pt x="11" y="2"/>
                    <a:pt x="10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0" name="Freeform 94"/>
            <p:cNvSpPr>
              <a:spLocks/>
            </p:cNvSpPr>
            <p:nvPr/>
          </p:nvSpPr>
          <p:spPr bwMode="auto">
            <a:xfrm>
              <a:off x="7113866" y="3202075"/>
              <a:ext cx="20066" cy="20278"/>
            </a:xfrm>
            <a:custGeom>
              <a:avLst/>
              <a:gdLst>
                <a:gd name="T0" fmla="*/ 29289959 w 43"/>
                <a:gd name="T1" fmla="*/ 2648104 h 42"/>
                <a:gd name="T2" fmla="*/ 26279736 w 43"/>
                <a:gd name="T3" fmla="*/ 1947959 h 42"/>
                <a:gd name="T4" fmla="*/ 19803122 w 43"/>
                <a:gd name="T5" fmla="*/ 826407 h 42"/>
                <a:gd name="T6" fmla="*/ 10153565 w 43"/>
                <a:gd name="T7" fmla="*/ 2648104 h 42"/>
                <a:gd name="T8" fmla="*/ 5870964 w 43"/>
                <a:gd name="T9" fmla="*/ 9297268 h 42"/>
                <a:gd name="T10" fmla="*/ 5870964 w 43"/>
                <a:gd name="T11" fmla="*/ 9969094 h 42"/>
                <a:gd name="T12" fmla="*/ 8065642 w 43"/>
                <a:gd name="T13" fmla="*/ 12766088 h 42"/>
                <a:gd name="T14" fmla="*/ 4973994 w 43"/>
                <a:gd name="T15" fmla="*/ 17326120 h 42"/>
                <a:gd name="T16" fmla="*/ 0 w 43"/>
                <a:gd name="T17" fmla="*/ 17326120 h 42"/>
                <a:gd name="T18" fmla="*/ 0 w 43"/>
                <a:gd name="T19" fmla="*/ 18182008 h 42"/>
                <a:gd name="T20" fmla="*/ 883979 w 43"/>
                <a:gd name="T21" fmla="*/ 19269273 h 42"/>
                <a:gd name="T22" fmla="*/ 883979 w 43"/>
                <a:gd name="T23" fmla="*/ 20120347 h 42"/>
                <a:gd name="T24" fmla="*/ 2096880 w 43"/>
                <a:gd name="T25" fmla="*/ 23498565 h 42"/>
                <a:gd name="T26" fmla="*/ 3012174 w 43"/>
                <a:gd name="T27" fmla="*/ 24685188 h 42"/>
                <a:gd name="T28" fmla="*/ 4973994 w 43"/>
                <a:gd name="T29" fmla="*/ 23498565 h 42"/>
                <a:gd name="T30" fmla="*/ 8952672 w 43"/>
                <a:gd name="T31" fmla="*/ 23498565 h 42"/>
                <a:gd name="T32" fmla="*/ 11078719 w 43"/>
                <a:gd name="T33" fmla="*/ 25511584 h 42"/>
                <a:gd name="T34" fmla="*/ 11798772 w 43"/>
                <a:gd name="T35" fmla="*/ 24685188 h 42"/>
                <a:gd name="T36" fmla="*/ 15201842 w 43"/>
                <a:gd name="T37" fmla="*/ 24685188 h 42"/>
                <a:gd name="T38" fmla="*/ 16948973 w 43"/>
                <a:gd name="T39" fmla="*/ 27333805 h 42"/>
                <a:gd name="T40" fmla="*/ 19132446 w 43"/>
                <a:gd name="T41" fmla="*/ 28094992 h 42"/>
                <a:gd name="T42" fmla="*/ 19132446 w 43"/>
                <a:gd name="T43" fmla="*/ 28921406 h 42"/>
                <a:gd name="T44" fmla="*/ 16948973 w 43"/>
                <a:gd name="T45" fmla="*/ 30864540 h 42"/>
                <a:gd name="T46" fmla="*/ 16948973 w 43"/>
                <a:gd name="T47" fmla="*/ 32039415 h 42"/>
                <a:gd name="T48" fmla="*/ 16028829 w 43"/>
                <a:gd name="T49" fmla="*/ 32648180 h 42"/>
                <a:gd name="T50" fmla="*/ 16028829 w 43"/>
                <a:gd name="T51" fmla="*/ 33474537 h 42"/>
                <a:gd name="T52" fmla="*/ 23198179 w 43"/>
                <a:gd name="T53" fmla="*/ 34681073 h 42"/>
                <a:gd name="T54" fmla="*/ 27176842 w 43"/>
                <a:gd name="T55" fmla="*/ 37455335 h 42"/>
                <a:gd name="T56" fmla="*/ 27176842 w 43"/>
                <a:gd name="T57" fmla="*/ 37455335 h 42"/>
                <a:gd name="T58" fmla="*/ 27987775 w 43"/>
                <a:gd name="T59" fmla="*/ 35422498 h 42"/>
                <a:gd name="T60" fmla="*/ 31390133 w 43"/>
                <a:gd name="T61" fmla="*/ 34681073 h 42"/>
                <a:gd name="T62" fmla="*/ 35164284 w 43"/>
                <a:gd name="T63" fmla="*/ 37455335 h 42"/>
                <a:gd name="T64" fmla="*/ 35164284 w 43"/>
                <a:gd name="T65" fmla="*/ 34681073 h 42"/>
                <a:gd name="T66" fmla="*/ 37356249 w 43"/>
                <a:gd name="T67" fmla="*/ 34681073 h 42"/>
                <a:gd name="T68" fmla="*/ 38021858 w 43"/>
                <a:gd name="T69" fmla="*/ 35422498 h 42"/>
                <a:gd name="T70" fmla="*/ 38021858 w 43"/>
                <a:gd name="T71" fmla="*/ 35422498 h 42"/>
                <a:gd name="T72" fmla="*/ 41101697 w 43"/>
                <a:gd name="T73" fmla="*/ 36268825 h 42"/>
                <a:gd name="T74" fmla="*/ 42309604 w 43"/>
                <a:gd name="T75" fmla="*/ 35422498 h 42"/>
                <a:gd name="T76" fmla="*/ 43229900 w 43"/>
                <a:gd name="T77" fmla="*/ 34681073 h 42"/>
                <a:gd name="T78" fmla="*/ 29289959 w 43"/>
                <a:gd name="T79" fmla="*/ 23498565 h 42"/>
                <a:gd name="T80" fmla="*/ 27987775 w 43"/>
                <a:gd name="T81" fmla="*/ 20744537 h 42"/>
                <a:gd name="T82" fmla="*/ 27987775 w 43"/>
                <a:gd name="T83" fmla="*/ 9297268 h 42"/>
                <a:gd name="T84" fmla="*/ 30024814 w 43"/>
                <a:gd name="T85" fmla="*/ 5415918 h 42"/>
                <a:gd name="T86" fmla="*/ 30024814 w 43"/>
                <a:gd name="T87" fmla="*/ 3468116 h 42"/>
                <a:gd name="T88" fmla="*/ 29289959 w 43"/>
                <a:gd name="T89" fmla="*/ 2648104 h 4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"/>
                <a:gd name="T136" fmla="*/ 0 h 42"/>
                <a:gd name="T137" fmla="*/ 43 w 43"/>
                <a:gd name="T138" fmla="*/ 42 h 4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" h="42">
                  <a:moveTo>
                    <a:pt x="29" y="3"/>
                  </a:moveTo>
                  <a:cubicBezTo>
                    <a:pt x="28" y="3"/>
                    <a:pt x="27" y="2"/>
                    <a:pt x="26" y="2"/>
                  </a:cubicBezTo>
                  <a:cubicBezTo>
                    <a:pt x="24" y="2"/>
                    <a:pt x="22" y="1"/>
                    <a:pt x="20" y="1"/>
                  </a:cubicBezTo>
                  <a:cubicBezTo>
                    <a:pt x="17" y="1"/>
                    <a:pt x="12" y="0"/>
                    <a:pt x="10" y="3"/>
                  </a:cubicBezTo>
                  <a:cubicBezTo>
                    <a:pt x="9" y="5"/>
                    <a:pt x="8" y="8"/>
                    <a:pt x="6" y="10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7" y="12"/>
                    <a:pt x="8" y="13"/>
                    <a:pt x="8" y="14"/>
                  </a:cubicBezTo>
                  <a:cubicBezTo>
                    <a:pt x="7" y="16"/>
                    <a:pt x="6" y="17"/>
                    <a:pt x="5" y="19"/>
                  </a:cubicBezTo>
                  <a:cubicBezTo>
                    <a:pt x="4" y="20"/>
                    <a:pt x="1" y="19"/>
                    <a:pt x="0" y="19"/>
                  </a:cubicBezTo>
                  <a:cubicBezTo>
                    <a:pt x="0" y="19"/>
                    <a:pt x="0" y="20"/>
                    <a:pt x="0" y="20"/>
                  </a:cubicBezTo>
                  <a:cubicBezTo>
                    <a:pt x="0" y="20"/>
                    <a:pt x="1" y="21"/>
                    <a:pt x="1" y="21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2" y="24"/>
                    <a:pt x="2" y="25"/>
                    <a:pt x="2" y="26"/>
                  </a:cubicBezTo>
                  <a:cubicBezTo>
                    <a:pt x="2" y="27"/>
                    <a:pt x="3" y="27"/>
                    <a:pt x="3" y="27"/>
                  </a:cubicBezTo>
                  <a:cubicBezTo>
                    <a:pt x="4" y="27"/>
                    <a:pt x="4" y="27"/>
                    <a:pt x="5" y="26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0" y="27"/>
                    <a:pt x="11" y="28"/>
                  </a:cubicBezTo>
                  <a:cubicBezTo>
                    <a:pt x="11" y="28"/>
                    <a:pt x="12" y="28"/>
                    <a:pt x="12" y="27"/>
                  </a:cubicBezTo>
                  <a:cubicBezTo>
                    <a:pt x="13" y="27"/>
                    <a:pt x="14" y="27"/>
                    <a:pt x="15" y="27"/>
                  </a:cubicBezTo>
                  <a:cubicBezTo>
                    <a:pt x="16" y="28"/>
                    <a:pt x="16" y="29"/>
                    <a:pt x="17" y="30"/>
                  </a:cubicBezTo>
                  <a:cubicBezTo>
                    <a:pt x="18" y="30"/>
                    <a:pt x="18" y="31"/>
                    <a:pt x="19" y="31"/>
                  </a:cubicBezTo>
                  <a:cubicBezTo>
                    <a:pt x="19" y="31"/>
                    <a:pt x="19" y="31"/>
                    <a:pt x="19" y="32"/>
                  </a:cubicBezTo>
                  <a:cubicBezTo>
                    <a:pt x="18" y="31"/>
                    <a:pt x="16" y="32"/>
                    <a:pt x="17" y="34"/>
                  </a:cubicBezTo>
                  <a:cubicBezTo>
                    <a:pt x="17" y="34"/>
                    <a:pt x="18" y="35"/>
                    <a:pt x="17" y="35"/>
                  </a:cubicBezTo>
                  <a:cubicBezTo>
                    <a:pt x="17" y="35"/>
                    <a:pt x="16" y="36"/>
                    <a:pt x="16" y="36"/>
                  </a:cubicBezTo>
                  <a:cubicBezTo>
                    <a:pt x="16" y="36"/>
                    <a:pt x="16" y="37"/>
                    <a:pt x="16" y="37"/>
                  </a:cubicBezTo>
                  <a:cubicBezTo>
                    <a:pt x="18" y="37"/>
                    <a:pt x="21" y="38"/>
                    <a:pt x="23" y="38"/>
                  </a:cubicBezTo>
                  <a:cubicBezTo>
                    <a:pt x="24" y="39"/>
                    <a:pt x="25" y="40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8" y="40"/>
                    <a:pt x="27" y="39"/>
                    <a:pt x="28" y="39"/>
                  </a:cubicBezTo>
                  <a:cubicBezTo>
                    <a:pt x="28" y="38"/>
                    <a:pt x="30" y="39"/>
                    <a:pt x="31" y="38"/>
                  </a:cubicBezTo>
                  <a:cubicBezTo>
                    <a:pt x="32" y="40"/>
                    <a:pt x="33" y="42"/>
                    <a:pt x="35" y="41"/>
                  </a:cubicBezTo>
                  <a:cubicBezTo>
                    <a:pt x="35" y="40"/>
                    <a:pt x="34" y="39"/>
                    <a:pt x="35" y="38"/>
                  </a:cubicBezTo>
                  <a:cubicBezTo>
                    <a:pt x="36" y="37"/>
                    <a:pt x="36" y="37"/>
                    <a:pt x="37" y="38"/>
                  </a:cubicBezTo>
                  <a:cubicBezTo>
                    <a:pt x="37" y="38"/>
                    <a:pt x="37" y="39"/>
                    <a:pt x="38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9" y="40"/>
                    <a:pt x="40" y="40"/>
                    <a:pt x="41" y="40"/>
                  </a:cubicBezTo>
                  <a:cubicBezTo>
                    <a:pt x="42" y="40"/>
                    <a:pt x="42" y="39"/>
                    <a:pt x="42" y="39"/>
                  </a:cubicBezTo>
                  <a:cubicBezTo>
                    <a:pt x="43" y="39"/>
                    <a:pt x="43" y="38"/>
                    <a:pt x="43" y="38"/>
                  </a:cubicBezTo>
                  <a:cubicBezTo>
                    <a:pt x="37" y="35"/>
                    <a:pt x="34" y="30"/>
                    <a:pt x="29" y="26"/>
                  </a:cubicBezTo>
                  <a:cubicBezTo>
                    <a:pt x="29" y="26"/>
                    <a:pt x="28" y="24"/>
                    <a:pt x="28" y="23"/>
                  </a:cubicBezTo>
                  <a:cubicBezTo>
                    <a:pt x="28" y="19"/>
                    <a:pt x="28" y="14"/>
                    <a:pt x="28" y="10"/>
                  </a:cubicBezTo>
                  <a:cubicBezTo>
                    <a:pt x="29" y="9"/>
                    <a:pt x="30" y="8"/>
                    <a:pt x="30" y="6"/>
                  </a:cubicBezTo>
                  <a:cubicBezTo>
                    <a:pt x="31" y="6"/>
                    <a:pt x="31" y="5"/>
                    <a:pt x="30" y="4"/>
                  </a:cubicBezTo>
                  <a:lnTo>
                    <a:pt x="29" y="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1" name="Freeform 95"/>
            <p:cNvSpPr>
              <a:spLocks/>
            </p:cNvSpPr>
            <p:nvPr/>
          </p:nvSpPr>
          <p:spPr bwMode="auto">
            <a:xfrm>
              <a:off x="7119385" y="3178011"/>
              <a:ext cx="44648" cy="25145"/>
            </a:xfrm>
            <a:custGeom>
              <a:avLst/>
              <a:gdLst>
                <a:gd name="T0" fmla="*/ 63070360 w 96"/>
                <a:gd name="T1" fmla="*/ 16316660 h 52"/>
                <a:gd name="T2" fmla="*/ 58233748 w 96"/>
                <a:gd name="T3" fmla="*/ 18219601 h 52"/>
                <a:gd name="T4" fmla="*/ 53311936 w 96"/>
                <a:gd name="T5" fmla="*/ 21998307 h 52"/>
                <a:gd name="T6" fmla="*/ 49711565 w 96"/>
                <a:gd name="T7" fmla="*/ 24020975 h 52"/>
                <a:gd name="T8" fmla="*/ 44786499 w 96"/>
                <a:gd name="T9" fmla="*/ 25884917 h 52"/>
                <a:gd name="T10" fmla="*/ 42924041 w 96"/>
                <a:gd name="T11" fmla="*/ 25884917 h 52"/>
                <a:gd name="T12" fmla="*/ 41179433 w 96"/>
                <a:gd name="T13" fmla="*/ 29663759 h 52"/>
                <a:gd name="T14" fmla="*/ 35196273 w 96"/>
                <a:gd name="T15" fmla="*/ 31791129 h 52"/>
                <a:gd name="T16" fmla="*/ 30766047 w 96"/>
                <a:gd name="T17" fmla="*/ 36571664 h 52"/>
                <a:gd name="T18" fmla="*/ 28683247 w 96"/>
                <a:gd name="T19" fmla="*/ 40130025 h 52"/>
                <a:gd name="T20" fmla="*/ 24627496 w 96"/>
                <a:gd name="T21" fmla="*/ 42240969 h 52"/>
                <a:gd name="T22" fmla="*/ 23038270 w 96"/>
                <a:gd name="T23" fmla="*/ 46353710 h 52"/>
                <a:gd name="T24" fmla="*/ 16257796 w 96"/>
                <a:gd name="T25" fmla="*/ 49116100 h 52"/>
                <a:gd name="T26" fmla="*/ 9743062 w 96"/>
                <a:gd name="T27" fmla="*/ 47883186 h 52"/>
                <a:gd name="T28" fmla="*/ 2017470 w 96"/>
                <a:gd name="T29" fmla="*/ 47027825 h 52"/>
                <a:gd name="T30" fmla="*/ 4770476 w 96"/>
                <a:gd name="T31" fmla="*/ 46353710 h 52"/>
                <a:gd name="T32" fmla="*/ 0 w 96"/>
                <a:gd name="T33" fmla="*/ 45119963 h 52"/>
                <a:gd name="T34" fmla="*/ 5622275 w 96"/>
                <a:gd name="T35" fmla="*/ 41357678 h 52"/>
                <a:gd name="T36" fmla="*/ 8529993 w 96"/>
                <a:gd name="T37" fmla="*/ 36571664 h 52"/>
                <a:gd name="T38" fmla="*/ 8529993 w 96"/>
                <a:gd name="T39" fmla="*/ 35704117 h 52"/>
                <a:gd name="T40" fmla="*/ 14147832 w 96"/>
                <a:gd name="T41" fmla="*/ 32422516 h 52"/>
                <a:gd name="T42" fmla="*/ 11280189 w 96"/>
                <a:gd name="T43" fmla="*/ 29663759 h 52"/>
                <a:gd name="T44" fmla="*/ 9743062 w 96"/>
                <a:gd name="T45" fmla="*/ 25250180 h 52"/>
                <a:gd name="T46" fmla="*/ 11280189 w 96"/>
                <a:gd name="T47" fmla="*/ 26784633 h 52"/>
                <a:gd name="T48" fmla="*/ 18152905 w 96"/>
                <a:gd name="T49" fmla="*/ 24020975 h 52"/>
                <a:gd name="T50" fmla="*/ 21873420 w 96"/>
                <a:gd name="T51" fmla="*/ 25250180 h 52"/>
                <a:gd name="T52" fmla="*/ 23038270 w 96"/>
                <a:gd name="T53" fmla="*/ 19075104 h 52"/>
                <a:gd name="T54" fmla="*/ 31435546 w 96"/>
                <a:gd name="T55" fmla="*/ 16316660 h 52"/>
                <a:gd name="T56" fmla="*/ 34306055 w 96"/>
                <a:gd name="T57" fmla="*/ 14239871 h 52"/>
                <a:gd name="T58" fmla="*/ 39967631 w 96"/>
                <a:gd name="T59" fmla="*/ 13440154 h 52"/>
                <a:gd name="T60" fmla="*/ 50561756 w 96"/>
                <a:gd name="T61" fmla="*/ 11323590 h 52"/>
                <a:gd name="T62" fmla="*/ 53311936 w 96"/>
                <a:gd name="T63" fmla="*/ 13440154 h 52"/>
                <a:gd name="T64" fmla="*/ 57436032 w 96"/>
                <a:gd name="T65" fmla="*/ 10674878 h 52"/>
                <a:gd name="T66" fmla="*/ 62201631 w 96"/>
                <a:gd name="T67" fmla="*/ 11323590 h 52"/>
                <a:gd name="T68" fmla="*/ 65080671 w 96"/>
                <a:gd name="T69" fmla="*/ 9794092 h 52"/>
                <a:gd name="T70" fmla="*/ 68716151 w 96"/>
                <a:gd name="T71" fmla="*/ 6898101 h 52"/>
                <a:gd name="T72" fmla="*/ 71583879 w 96"/>
                <a:gd name="T73" fmla="*/ 5682019 h 52"/>
                <a:gd name="T74" fmla="*/ 74331940 w 96"/>
                <a:gd name="T75" fmla="*/ 2023861 h 52"/>
                <a:gd name="T76" fmla="*/ 86131301 w 96"/>
                <a:gd name="T77" fmla="*/ 855616 h 52"/>
                <a:gd name="T78" fmla="*/ 91753636 w 96"/>
                <a:gd name="T79" fmla="*/ 4787209 h 52"/>
                <a:gd name="T80" fmla="*/ 88847204 w 96"/>
                <a:gd name="T81" fmla="*/ 10674878 h 52"/>
                <a:gd name="T82" fmla="*/ 80474690 w 96"/>
                <a:gd name="T83" fmla="*/ 12540778 h 52"/>
                <a:gd name="T84" fmla="*/ 68716151 w 96"/>
                <a:gd name="T85" fmla="*/ 15461195 h 5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6"/>
                <a:gd name="T130" fmla="*/ 0 h 52"/>
                <a:gd name="T131" fmla="*/ 96 w 96"/>
                <a:gd name="T132" fmla="*/ 52 h 5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6" h="52">
                  <a:moveTo>
                    <a:pt x="72" y="16"/>
                  </a:moveTo>
                  <a:cubicBezTo>
                    <a:pt x="70" y="16"/>
                    <a:pt x="68" y="17"/>
                    <a:pt x="66" y="17"/>
                  </a:cubicBezTo>
                  <a:cubicBezTo>
                    <a:pt x="65" y="18"/>
                    <a:pt x="64" y="17"/>
                    <a:pt x="63" y="18"/>
                  </a:cubicBezTo>
                  <a:cubicBezTo>
                    <a:pt x="62" y="18"/>
                    <a:pt x="62" y="19"/>
                    <a:pt x="61" y="19"/>
                  </a:cubicBezTo>
                  <a:cubicBezTo>
                    <a:pt x="61" y="20"/>
                    <a:pt x="61" y="20"/>
                    <a:pt x="60" y="21"/>
                  </a:cubicBezTo>
                  <a:cubicBezTo>
                    <a:pt x="59" y="22"/>
                    <a:pt x="58" y="23"/>
                    <a:pt x="56" y="23"/>
                  </a:cubicBezTo>
                  <a:cubicBezTo>
                    <a:pt x="55" y="24"/>
                    <a:pt x="54" y="24"/>
                    <a:pt x="53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2" y="26"/>
                    <a:pt x="52" y="27"/>
                    <a:pt x="51" y="27"/>
                  </a:cubicBezTo>
                  <a:cubicBezTo>
                    <a:pt x="50" y="27"/>
                    <a:pt x="48" y="27"/>
                    <a:pt x="47" y="27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6" y="28"/>
                    <a:pt x="46" y="28"/>
                    <a:pt x="45" y="27"/>
                  </a:cubicBezTo>
                  <a:cubicBezTo>
                    <a:pt x="45" y="27"/>
                    <a:pt x="44" y="27"/>
                    <a:pt x="44" y="27"/>
                  </a:cubicBezTo>
                  <a:cubicBezTo>
                    <a:pt x="43" y="28"/>
                    <a:pt x="44" y="30"/>
                    <a:pt x="43" y="31"/>
                  </a:cubicBezTo>
                  <a:cubicBezTo>
                    <a:pt x="42" y="32"/>
                    <a:pt x="41" y="33"/>
                    <a:pt x="39" y="34"/>
                  </a:cubicBezTo>
                  <a:cubicBezTo>
                    <a:pt x="39" y="34"/>
                    <a:pt x="38" y="34"/>
                    <a:pt x="37" y="33"/>
                  </a:cubicBezTo>
                  <a:cubicBezTo>
                    <a:pt x="37" y="33"/>
                    <a:pt x="36" y="33"/>
                    <a:pt x="35" y="33"/>
                  </a:cubicBezTo>
                  <a:cubicBezTo>
                    <a:pt x="34" y="35"/>
                    <a:pt x="33" y="36"/>
                    <a:pt x="32" y="38"/>
                  </a:cubicBezTo>
                  <a:cubicBezTo>
                    <a:pt x="32" y="39"/>
                    <a:pt x="31" y="39"/>
                    <a:pt x="31" y="40"/>
                  </a:cubicBezTo>
                  <a:cubicBezTo>
                    <a:pt x="31" y="41"/>
                    <a:pt x="31" y="42"/>
                    <a:pt x="30" y="42"/>
                  </a:cubicBezTo>
                  <a:cubicBezTo>
                    <a:pt x="29" y="42"/>
                    <a:pt x="27" y="42"/>
                    <a:pt x="26" y="42"/>
                  </a:cubicBezTo>
                  <a:cubicBezTo>
                    <a:pt x="26" y="42"/>
                    <a:pt x="26" y="43"/>
                    <a:pt x="26" y="44"/>
                  </a:cubicBezTo>
                  <a:cubicBezTo>
                    <a:pt x="27" y="45"/>
                    <a:pt x="27" y="46"/>
                    <a:pt x="26" y="47"/>
                  </a:cubicBezTo>
                  <a:cubicBezTo>
                    <a:pt x="26" y="48"/>
                    <a:pt x="25" y="47"/>
                    <a:pt x="24" y="48"/>
                  </a:cubicBezTo>
                  <a:cubicBezTo>
                    <a:pt x="23" y="49"/>
                    <a:pt x="23" y="51"/>
                    <a:pt x="22" y="52"/>
                  </a:cubicBezTo>
                  <a:cubicBezTo>
                    <a:pt x="20" y="52"/>
                    <a:pt x="19" y="52"/>
                    <a:pt x="17" y="51"/>
                  </a:cubicBezTo>
                  <a:cubicBezTo>
                    <a:pt x="16" y="51"/>
                    <a:pt x="16" y="52"/>
                    <a:pt x="15" y="51"/>
                  </a:cubicBezTo>
                  <a:cubicBezTo>
                    <a:pt x="13" y="51"/>
                    <a:pt x="12" y="50"/>
                    <a:pt x="10" y="50"/>
                  </a:cubicBezTo>
                  <a:cubicBezTo>
                    <a:pt x="7" y="50"/>
                    <a:pt x="5" y="50"/>
                    <a:pt x="2" y="50"/>
                  </a:cubicBezTo>
                  <a:cubicBezTo>
                    <a:pt x="2" y="50"/>
                    <a:pt x="2" y="49"/>
                    <a:pt x="2" y="49"/>
                  </a:cubicBezTo>
                  <a:cubicBezTo>
                    <a:pt x="3" y="48"/>
                    <a:pt x="5" y="50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3" y="48"/>
                    <a:pt x="1" y="48"/>
                    <a:pt x="0" y="47"/>
                  </a:cubicBezTo>
                  <a:cubicBezTo>
                    <a:pt x="0" y="47"/>
                    <a:pt x="0" y="46"/>
                    <a:pt x="1" y="45"/>
                  </a:cubicBezTo>
                  <a:cubicBezTo>
                    <a:pt x="3" y="45"/>
                    <a:pt x="4" y="44"/>
                    <a:pt x="6" y="43"/>
                  </a:cubicBezTo>
                  <a:cubicBezTo>
                    <a:pt x="7" y="42"/>
                    <a:pt x="8" y="42"/>
                    <a:pt x="8" y="41"/>
                  </a:cubicBezTo>
                  <a:cubicBezTo>
                    <a:pt x="9" y="40"/>
                    <a:pt x="9" y="39"/>
                    <a:pt x="9" y="38"/>
                  </a:cubicBezTo>
                  <a:cubicBezTo>
                    <a:pt x="9" y="38"/>
                    <a:pt x="8" y="38"/>
                    <a:pt x="9" y="38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6"/>
                    <a:pt x="10" y="34"/>
                    <a:pt x="11" y="34"/>
                  </a:cubicBezTo>
                  <a:cubicBezTo>
                    <a:pt x="12" y="34"/>
                    <a:pt x="14" y="35"/>
                    <a:pt x="15" y="34"/>
                  </a:cubicBezTo>
                  <a:cubicBezTo>
                    <a:pt x="15" y="34"/>
                    <a:pt x="16" y="33"/>
                    <a:pt x="15" y="33"/>
                  </a:cubicBezTo>
                  <a:cubicBezTo>
                    <a:pt x="14" y="32"/>
                    <a:pt x="13" y="32"/>
                    <a:pt x="12" y="31"/>
                  </a:cubicBezTo>
                  <a:cubicBezTo>
                    <a:pt x="12" y="30"/>
                    <a:pt x="11" y="30"/>
                    <a:pt x="11" y="30"/>
                  </a:cubicBezTo>
                  <a:cubicBezTo>
                    <a:pt x="10" y="29"/>
                    <a:pt x="9" y="27"/>
                    <a:pt x="10" y="26"/>
                  </a:cubicBezTo>
                  <a:cubicBezTo>
                    <a:pt x="10" y="26"/>
                    <a:pt x="11" y="26"/>
                    <a:pt x="11" y="26"/>
                  </a:cubicBezTo>
                  <a:cubicBezTo>
                    <a:pt x="12" y="26"/>
                    <a:pt x="11" y="27"/>
                    <a:pt x="12" y="28"/>
                  </a:cubicBezTo>
                  <a:cubicBezTo>
                    <a:pt x="13" y="28"/>
                    <a:pt x="15" y="28"/>
                    <a:pt x="16" y="27"/>
                  </a:cubicBezTo>
                  <a:cubicBezTo>
                    <a:pt x="17" y="27"/>
                    <a:pt x="18" y="26"/>
                    <a:pt x="19" y="25"/>
                  </a:cubicBezTo>
                  <a:cubicBezTo>
                    <a:pt x="19" y="25"/>
                    <a:pt x="20" y="25"/>
                    <a:pt x="21" y="25"/>
                  </a:cubicBezTo>
                  <a:cubicBezTo>
                    <a:pt x="22" y="25"/>
                    <a:pt x="22" y="26"/>
                    <a:pt x="23" y="26"/>
                  </a:cubicBezTo>
                  <a:cubicBezTo>
                    <a:pt x="24" y="25"/>
                    <a:pt x="23" y="23"/>
                    <a:pt x="23" y="22"/>
                  </a:cubicBezTo>
                  <a:cubicBezTo>
                    <a:pt x="24" y="21"/>
                    <a:pt x="24" y="20"/>
                    <a:pt x="24" y="20"/>
                  </a:cubicBezTo>
                  <a:cubicBezTo>
                    <a:pt x="25" y="20"/>
                    <a:pt x="27" y="21"/>
                    <a:pt x="28" y="20"/>
                  </a:cubicBezTo>
                  <a:cubicBezTo>
                    <a:pt x="29" y="19"/>
                    <a:pt x="31" y="18"/>
                    <a:pt x="33" y="17"/>
                  </a:cubicBezTo>
                  <a:cubicBezTo>
                    <a:pt x="33" y="17"/>
                    <a:pt x="34" y="16"/>
                    <a:pt x="35" y="15"/>
                  </a:cubicBezTo>
                  <a:cubicBezTo>
                    <a:pt x="35" y="15"/>
                    <a:pt x="35" y="15"/>
                    <a:pt x="36" y="15"/>
                  </a:cubicBezTo>
                  <a:cubicBezTo>
                    <a:pt x="37" y="14"/>
                    <a:pt x="38" y="12"/>
                    <a:pt x="40" y="13"/>
                  </a:cubicBezTo>
                  <a:cubicBezTo>
                    <a:pt x="40" y="14"/>
                    <a:pt x="41" y="14"/>
                    <a:pt x="42" y="14"/>
                  </a:cubicBezTo>
                  <a:cubicBezTo>
                    <a:pt x="43" y="13"/>
                    <a:pt x="44" y="12"/>
                    <a:pt x="45" y="12"/>
                  </a:cubicBezTo>
                  <a:cubicBezTo>
                    <a:pt x="47" y="11"/>
                    <a:pt x="50" y="11"/>
                    <a:pt x="53" y="12"/>
                  </a:cubicBezTo>
                  <a:cubicBezTo>
                    <a:pt x="54" y="12"/>
                    <a:pt x="54" y="13"/>
                    <a:pt x="54" y="13"/>
                  </a:cubicBezTo>
                  <a:cubicBezTo>
                    <a:pt x="55" y="14"/>
                    <a:pt x="55" y="14"/>
                    <a:pt x="56" y="14"/>
                  </a:cubicBezTo>
                  <a:cubicBezTo>
                    <a:pt x="55" y="13"/>
                    <a:pt x="56" y="12"/>
                    <a:pt x="57" y="12"/>
                  </a:cubicBezTo>
                  <a:cubicBezTo>
                    <a:pt x="58" y="11"/>
                    <a:pt x="59" y="12"/>
                    <a:pt x="60" y="11"/>
                  </a:cubicBezTo>
                  <a:cubicBezTo>
                    <a:pt x="61" y="11"/>
                    <a:pt x="62" y="10"/>
                    <a:pt x="62" y="11"/>
                  </a:cubicBezTo>
                  <a:cubicBezTo>
                    <a:pt x="63" y="12"/>
                    <a:pt x="64" y="12"/>
                    <a:pt x="65" y="12"/>
                  </a:cubicBezTo>
                  <a:cubicBezTo>
                    <a:pt x="65" y="11"/>
                    <a:pt x="65" y="11"/>
                    <a:pt x="66" y="11"/>
                  </a:cubicBezTo>
                  <a:cubicBezTo>
                    <a:pt x="67" y="11"/>
                    <a:pt x="68" y="10"/>
                    <a:pt x="68" y="10"/>
                  </a:cubicBezTo>
                  <a:cubicBezTo>
                    <a:pt x="69" y="9"/>
                    <a:pt x="68" y="9"/>
                    <a:pt x="69" y="8"/>
                  </a:cubicBezTo>
                  <a:cubicBezTo>
                    <a:pt x="69" y="7"/>
                    <a:pt x="71" y="7"/>
                    <a:pt x="72" y="7"/>
                  </a:cubicBezTo>
                  <a:cubicBezTo>
                    <a:pt x="72" y="7"/>
                    <a:pt x="72" y="7"/>
                    <a:pt x="72" y="7"/>
                  </a:cubicBezTo>
                  <a:cubicBezTo>
                    <a:pt x="73" y="6"/>
                    <a:pt x="75" y="7"/>
                    <a:pt x="75" y="6"/>
                  </a:cubicBezTo>
                  <a:cubicBezTo>
                    <a:pt x="76" y="5"/>
                    <a:pt x="75" y="4"/>
                    <a:pt x="76" y="3"/>
                  </a:cubicBezTo>
                  <a:cubicBezTo>
                    <a:pt x="76" y="3"/>
                    <a:pt x="77" y="2"/>
                    <a:pt x="78" y="2"/>
                  </a:cubicBezTo>
                  <a:cubicBezTo>
                    <a:pt x="80" y="2"/>
                    <a:pt x="82" y="1"/>
                    <a:pt x="83" y="1"/>
                  </a:cubicBezTo>
                  <a:cubicBezTo>
                    <a:pt x="86" y="0"/>
                    <a:pt x="88" y="0"/>
                    <a:pt x="90" y="1"/>
                  </a:cubicBezTo>
                  <a:cubicBezTo>
                    <a:pt x="92" y="1"/>
                    <a:pt x="94" y="0"/>
                    <a:pt x="95" y="2"/>
                  </a:cubicBezTo>
                  <a:cubicBezTo>
                    <a:pt x="96" y="2"/>
                    <a:pt x="96" y="4"/>
                    <a:pt x="96" y="5"/>
                  </a:cubicBezTo>
                  <a:cubicBezTo>
                    <a:pt x="96" y="5"/>
                    <a:pt x="95" y="6"/>
                    <a:pt x="95" y="6"/>
                  </a:cubicBezTo>
                  <a:cubicBezTo>
                    <a:pt x="95" y="8"/>
                    <a:pt x="95" y="10"/>
                    <a:pt x="93" y="11"/>
                  </a:cubicBezTo>
                  <a:cubicBezTo>
                    <a:pt x="92" y="11"/>
                    <a:pt x="91" y="11"/>
                    <a:pt x="90" y="12"/>
                  </a:cubicBezTo>
                  <a:cubicBezTo>
                    <a:pt x="88" y="13"/>
                    <a:pt x="86" y="12"/>
                    <a:pt x="84" y="13"/>
                  </a:cubicBezTo>
                  <a:cubicBezTo>
                    <a:pt x="81" y="15"/>
                    <a:pt x="77" y="15"/>
                    <a:pt x="73" y="15"/>
                  </a:cubicBezTo>
                  <a:cubicBezTo>
                    <a:pt x="73" y="15"/>
                    <a:pt x="72" y="16"/>
                    <a:pt x="72" y="16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2" name="Freeform 96"/>
            <p:cNvSpPr>
              <a:spLocks/>
            </p:cNvSpPr>
            <p:nvPr/>
          </p:nvSpPr>
          <p:spPr bwMode="auto">
            <a:xfrm>
              <a:off x="7137194" y="3221812"/>
              <a:ext cx="6772" cy="6489"/>
            </a:xfrm>
            <a:custGeom>
              <a:avLst/>
              <a:gdLst>
                <a:gd name="T0" fmla="*/ 15597639 w 15"/>
                <a:gd name="T1" fmla="*/ 6350665 h 13"/>
                <a:gd name="T2" fmla="*/ 12204942 w 15"/>
                <a:gd name="T3" fmla="*/ 3318681 h 13"/>
                <a:gd name="T4" fmla="*/ 9650299 w 15"/>
                <a:gd name="T5" fmla="*/ 3318681 h 13"/>
                <a:gd name="T6" fmla="*/ 6131151 w 15"/>
                <a:gd name="T7" fmla="*/ 0 h 13"/>
                <a:gd name="T8" fmla="*/ 3577445 w 15"/>
                <a:gd name="T9" fmla="*/ 0 h 13"/>
                <a:gd name="T10" fmla="*/ 2554647 w 15"/>
                <a:gd name="T11" fmla="*/ 2335724 h 13"/>
                <a:gd name="T12" fmla="*/ 2554647 w 15"/>
                <a:gd name="T13" fmla="*/ 2335724 h 13"/>
                <a:gd name="T14" fmla="*/ 1064436 w 15"/>
                <a:gd name="T15" fmla="*/ 6350665 h 13"/>
                <a:gd name="T16" fmla="*/ 8585866 w 15"/>
                <a:gd name="T17" fmla="*/ 9596174 h 13"/>
                <a:gd name="T18" fmla="*/ 13074693 w 15"/>
                <a:gd name="T19" fmla="*/ 14203962 h 13"/>
                <a:gd name="T20" fmla="*/ 14714756 w 15"/>
                <a:gd name="T21" fmla="*/ 14203962 h 13"/>
                <a:gd name="T22" fmla="*/ 18043546 w 15"/>
                <a:gd name="T23" fmla="*/ 10957538 h 13"/>
                <a:gd name="T24" fmla="*/ 18043546 w 15"/>
                <a:gd name="T25" fmla="*/ 7913775 h 13"/>
                <a:gd name="T26" fmla="*/ 15597639 w 15"/>
                <a:gd name="T27" fmla="*/ 5569804 h 13"/>
                <a:gd name="T28" fmla="*/ 15597639 w 15"/>
                <a:gd name="T29" fmla="*/ 6350665 h 1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5"/>
                <a:gd name="T46" fmla="*/ 0 h 13"/>
                <a:gd name="T47" fmla="*/ 15 w 15"/>
                <a:gd name="T48" fmla="*/ 13 h 1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5" h="13">
                  <a:moveTo>
                    <a:pt x="13" y="6"/>
                  </a:moveTo>
                  <a:cubicBezTo>
                    <a:pt x="12" y="5"/>
                    <a:pt x="11" y="4"/>
                    <a:pt x="10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7" y="2"/>
                    <a:pt x="7" y="1"/>
                    <a:pt x="5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3"/>
                    <a:pt x="0" y="5"/>
                    <a:pt x="1" y="6"/>
                  </a:cubicBezTo>
                  <a:cubicBezTo>
                    <a:pt x="2" y="7"/>
                    <a:pt x="4" y="8"/>
                    <a:pt x="7" y="9"/>
                  </a:cubicBezTo>
                  <a:cubicBezTo>
                    <a:pt x="9" y="9"/>
                    <a:pt x="10" y="12"/>
                    <a:pt x="11" y="13"/>
                  </a:cubicBezTo>
                  <a:cubicBezTo>
                    <a:pt x="11" y="13"/>
                    <a:pt x="12" y="13"/>
                    <a:pt x="12" y="13"/>
                  </a:cubicBezTo>
                  <a:cubicBezTo>
                    <a:pt x="13" y="12"/>
                    <a:pt x="14" y="11"/>
                    <a:pt x="15" y="10"/>
                  </a:cubicBezTo>
                  <a:cubicBezTo>
                    <a:pt x="15" y="9"/>
                    <a:pt x="15" y="8"/>
                    <a:pt x="15" y="7"/>
                  </a:cubicBezTo>
                  <a:cubicBezTo>
                    <a:pt x="15" y="6"/>
                    <a:pt x="14" y="6"/>
                    <a:pt x="13" y="5"/>
                  </a:cubicBezTo>
                  <a:cubicBezTo>
                    <a:pt x="13" y="5"/>
                    <a:pt x="13" y="5"/>
                    <a:pt x="13" y="6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3" name="Freeform 120"/>
            <p:cNvSpPr>
              <a:spLocks/>
            </p:cNvSpPr>
            <p:nvPr/>
          </p:nvSpPr>
          <p:spPr bwMode="auto">
            <a:xfrm>
              <a:off x="7011528" y="3165844"/>
              <a:ext cx="6522" cy="3785"/>
            </a:xfrm>
            <a:custGeom>
              <a:avLst/>
              <a:gdLst>
                <a:gd name="T0" fmla="*/ 6527726 w 14"/>
                <a:gd name="T1" fmla="*/ 896786 h 8"/>
                <a:gd name="T2" fmla="*/ 826407 w 14"/>
                <a:gd name="T3" fmla="*/ 2129866 h 8"/>
                <a:gd name="T4" fmla="*/ 826407 w 14"/>
                <a:gd name="T5" fmla="*/ 3065115 h 8"/>
                <a:gd name="T6" fmla="*/ 4591618 w 14"/>
                <a:gd name="T7" fmla="*/ 8176458 h 8"/>
                <a:gd name="T8" fmla="*/ 7350477 w 14"/>
                <a:gd name="T9" fmla="*/ 7279645 h 8"/>
                <a:gd name="T10" fmla="*/ 10823097 w 14"/>
                <a:gd name="T11" fmla="*/ 5955246 h 8"/>
                <a:gd name="T12" fmla="*/ 11919092 w 14"/>
                <a:gd name="T13" fmla="*/ 896786 h 8"/>
                <a:gd name="T14" fmla="*/ 6527726 w 14"/>
                <a:gd name="T15" fmla="*/ 896786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8"/>
                <a:gd name="T26" fmla="*/ 14 w 14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8">
                  <a:moveTo>
                    <a:pt x="7" y="1"/>
                  </a:moveTo>
                  <a:cubicBezTo>
                    <a:pt x="5" y="2"/>
                    <a:pt x="3" y="2"/>
                    <a:pt x="1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2" y="5"/>
                    <a:pt x="3" y="7"/>
                    <a:pt x="5" y="8"/>
                  </a:cubicBezTo>
                  <a:cubicBezTo>
                    <a:pt x="5" y="8"/>
                    <a:pt x="7" y="8"/>
                    <a:pt x="8" y="7"/>
                  </a:cubicBezTo>
                  <a:cubicBezTo>
                    <a:pt x="9" y="7"/>
                    <a:pt x="10" y="6"/>
                    <a:pt x="12" y="6"/>
                  </a:cubicBezTo>
                  <a:cubicBezTo>
                    <a:pt x="14" y="5"/>
                    <a:pt x="14" y="2"/>
                    <a:pt x="13" y="1"/>
                  </a:cubicBezTo>
                  <a:cubicBezTo>
                    <a:pt x="11" y="1"/>
                    <a:pt x="9" y="0"/>
                    <a:pt x="7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4" name="Freeform 121"/>
            <p:cNvSpPr>
              <a:spLocks/>
            </p:cNvSpPr>
            <p:nvPr/>
          </p:nvSpPr>
          <p:spPr bwMode="auto">
            <a:xfrm>
              <a:off x="7013284" y="3168277"/>
              <a:ext cx="12040" cy="8111"/>
            </a:xfrm>
            <a:custGeom>
              <a:avLst/>
              <a:gdLst>
                <a:gd name="T0" fmla="*/ 9343585 w 26"/>
                <a:gd name="T1" fmla="*/ 806887 h 17"/>
                <a:gd name="T2" fmla="*/ 2476837 w 26"/>
                <a:gd name="T3" fmla="*/ 3318400 h 17"/>
                <a:gd name="T4" fmla="*/ 1839936 w 26"/>
                <a:gd name="T5" fmla="*/ 3318400 h 17"/>
                <a:gd name="T6" fmla="*/ 1839936 w 26"/>
                <a:gd name="T7" fmla="*/ 7807999 h 17"/>
                <a:gd name="T8" fmla="*/ 0 w 26"/>
                <a:gd name="T9" fmla="*/ 11661007 h 17"/>
                <a:gd name="T10" fmla="*/ 5038211 w 26"/>
                <a:gd name="T11" fmla="*/ 12471472 h 17"/>
                <a:gd name="T12" fmla="*/ 7503662 w 26"/>
                <a:gd name="T13" fmla="*/ 13070851 h 17"/>
                <a:gd name="T14" fmla="*/ 11820412 w 26"/>
                <a:gd name="T15" fmla="*/ 11661007 h 17"/>
                <a:gd name="T16" fmla="*/ 11820412 w 26"/>
                <a:gd name="T17" fmla="*/ 14174003 h 17"/>
                <a:gd name="T18" fmla="*/ 13633585 w 26"/>
                <a:gd name="T19" fmla="*/ 13070851 h 17"/>
                <a:gd name="T20" fmla="*/ 16821088 w 26"/>
                <a:gd name="T21" fmla="*/ 13070851 h 17"/>
                <a:gd name="T22" fmla="*/ 19444641 w 26"/>
                <a:gd name="T23" fmla="*/ 10511040 h 17"/>
                <a:gd name="T24" fmla="*/ 21921488 w 26"/>
                <a:gd name="T25" fmla="*/ 7173119 h 17"/>
                <a:gd name="T26" fmla="*/ 14406455 w 26"/>
                <a:gd name="T27" fmla="*/ 6023953 h 17"/>
                <a:gd name="T28" fmla="*/ 14406455 w 26"/>
                <a:gd name="T29" fmla="*/ 6023953 h 17"/>
                <a:gd name="T30" fmla="*/ 12522682 w 26"/>
                <a:gd name="T31" fmla="*/ 4467192 h 17"/>
                <a:gd name="T32" fmla="*/ 12522682 w 26"/>
                <a:gd name="T33" fmla="*/ 806887 h 17"/>
                <a:gd name="T34" fmla="*/ 10127813 w 26"/>
                <a:gd name="T35" fmla="*/ 806887 h 17"/>
                <a:gd name="T36" fmla="*/ 9343585 w 26"/>
                <a:gd name="T37" fmla="*/ 806887 h 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6"/>
                <a:gd name="T58" fmla="*/ 0 h 17"/>
                <a:gd name="T59" fmla="*/ 26 w 26"/>
                <a:gd name="T60" fmla="*/ 17 h 1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6" h="17">
                  <a:moveTo>
                    <a:pt x="11" y="1"/>
                  </a:moveTo>
                  <a:cubicBezTo>
                    <a:pt x="9" y="2"/>
                    <a:pt x="6" y="4"/>
                    <a:pt x="3" y="4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1" y="6"/>
                    <a:pt x="2" y="8"/>
                    <a:pt x="2" y="9"/>
                  </a:cubicBezTo>
                  <a:cubicBezTo>
                    <a:pt x="0" y="10"/>
                    <a:pt x="0" y="12"/>
                    <a:pt x="0" y="13"/>
                  </a:cubicBezTo>
                  <a:cubicBezTo>
                    <a:pt x="1" y="14"/>
                    <a:pt x="4" y="14"/>
                    <a:pt x="6" y="14"/>
                  </a:cubicBezTo>
                  <a:cubicBezTo>
                    <a:pt x="7" y="14"/>
                    <a:pt x="8" y="15"/>
                    <a:pt x="9" y="15"/>
                  </a:cubicBezTo>
                  <a:cubicBezTo>
                    <a:pt x="10" y="14"/>
                    <a:pt x="12" y="12"/>
                    <a:pt x="14" y="13"/>
                  </a:cubicBezTo>
                  <a:cubicBezTo>
                    <a:pt x="14" y="14"/>
                    <a:pt x="14" y="15"/>
                    <a:pt x="14" y="16"/>
                  </a:cubicBezTo>
                  <a:cubicBezTo>
                    <a:pt x="15" y="17"/>
                    <a:pt x="15" y="16"/>
                    <a:pt x="16" y="15"/>
                  </a:cubicBezTo>
                  <a:cubicBezTo>
                    <a:pt x="17" y="14"/>
                    <a:pt x="19" y="15"/>
                    <a:pt x="20" y="15"/>
                  </a:cubicBezTo>
                  <a:cubicBezTo>
                    <a:pt x="21" y="14"/>
                    <a:pt x="22" y="12"/>
                    <a:pt x="23" y="12"/>
                  </a:cubicBezTo>
                  <a:cubicBezTo>
                    <a:pt x="24" y="11"/>
                    <a:pt x="26" y="10"/>
                    <a:pt x="26" y="8"/>
                  </a:cubicBezTo>
                  <a:cubicBezTo>
                    <a:pt x="23" y="7"/>
                    <a:pt x="20" y="8"/>
                    <a:pt x="17" y="7"/>
                  </a:cubicBezTo>
                  <a:cubicBezTo>
                    <a:pt x="18" y="7"/>
                    <a:pt x="17" y="7"/>
                    <a:pt x="17" y="7"/>
                  </a:cubicBezTo>
                  <a:cubicBezTo>
                    <a:pt x="16" y="7"/>
                    <a:pt x="15" y="6"/>
                    <a:pt x="15" y="5"/>
                  </a:cubicBezTo>
                  <a:cubicBezTo>
                    <a:pt x="14" y="4"/>
                    <a:pt x="15" y="2"/>
                    <a:pt x="15" y="1"/>
                  </a:cubicBezTo>
                  <a:cubicBezTo>
                    <a:pt x="14" y="0"/>
                    <a:pt x="13" y="0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5" name="Freeform 122"/>
            <p:cNvSpPr>
              <a:spLocks/>
            </p:cNvSpPr>
            <p:nvPr/>
          </p:nvSpPr>
          <p:spPr bwMode="auto">
            <a:xfrm>
              <a:off x="6981679" y="3155299"/>
              <a:ext cx="33360" cy="26767"/>
            </a:xfrm>
            <a:custGeom>
              <a:avLst/>
              <a:gdLst>
                <a:gd name="T0" fmla="*/ 56081975 w 72"/>
                <a:gd name="T1" fmla="*/ 12766089 h 56"/>
                <a:gd name="T2" fmla="*/ 51390619 w 72"/>
                <a:gd name="T3" fmla="*/ 10823097 h 56"/>
                <a:gd name="T4" fmla="*/ 45871591 w 72"/>
                <a:gd name="T5" fmla="*/ 6527726 h 56"/>
                <a:gd name="T6" fmla="*/ 43890374 w 72"/>
                <a:gd name="T7" fmla="*/ 4591618 h 56"/>
                <a:gd name="T8" fmla="*/ 38334634 w 72"/>
                <a:gd name="T9" fmla="*/ 1947959 h 56"/>
                <a:gd name="T10" fmla="*/ 33681736 w 72"/>
                <a:gd name="T11" fmla="*/ 826407 h 56"/>
                <a:gd name="T12" fmla="*/ 31608852 w 72"/>
                <a:gd name="T13" fmla="*/ 6527726 h 56"/>
                <a:gd name="T14" fmla="*/ 34316554 w 72"/>
                <a:gd name="T15" fmla="*/ 16148475 h 56"/>
                <a:gd name="T16" fmla="*/ 31608852 w 72"/>
                <a:gd name="T17" fmla="*/ 11919092 h 56"/>
                <a:gd name="T18" fmla="*/ 28785776 w 72"/>
                <a:gd name="T19" fmla="*/ 12766089 h 56"/>
                <a:gd name="T20" fmla="*/ 24107926 w 72"/>
                <a:gd name="T21" fmla="*/ 3468116 h 56"/>
                <a:gd name="T22" fmla="*/ 20558989 w 72"/>
                <a:gd name="T23" fmla="*/ 7350477 h 56"/>
                <a:gd name="T24" fmla="*/ 19784540 w 72"/>
                <a:gd name="T25" fmla="*/ 10823097 h 56"/>
                <a:gd name="T26" fmla="*/ 15729730 w 72"/>
                <a:gd name="T27" fmla="*/ 9297269 h 56"/>
                <a:gd name="T28" fmla="*/ 17710644 w 72"/>
                <a:gd name="T29" fmla="*/ 2769339 h 56"/>
                <a:gd name="T30" fmla="*/ 13898226 w 72"/>
                <a:gd name="T31" fmla="*/ 4591618 h 56"/>
                <a:gd name="T32" fmla="*/ 10210418 w 72"/>
                <a:gd name="T33" fmla="*/ 2769339 h 56"/>
                <a:gd name="T34" fmla="*/ 8379337 w 72"/>
                <a:gd name="T35" fmla="*/ 5415918 h 56"/>
                <a:gd name="T36" fmla="*/ 2821556 w 72"/>
                <a:gd name="T37" fmla="*/ 6527726 h 56"/>
                <a:gd name="T38" fmla="*/ 0 w 72"/>
                <a:gd name="T39" fmla="*/ 9297269 h 56"/>
                <a:gd name="T40" fmla="*/ 4679924 w 72"/>
                <a:gd name="T41" fmla="*/ 12766089 h 56"/>
                <a:gd name="T42" fmla="*/ 7500980 w 72"/>
                <a:gd name="T43" fmla="*/ 10823097 h 56"/>
                <a:gd name="T44" fmla="*/ 7500980 w 72"/>
                <a:gd name="T45" fmla="*/ 15386779 h 56"/>
                <a:gd name="T46" fmla="*/ 9573822 w 72"/>
                <a:gd name="T47" fmla="*/ 16148475 h 56"/>
                <a:gd name="T48" fmla="*/ 11049821 w 72"/>
                <a:gd name="T49" fmla="*/ 20744539 h 56"/>
                <a:gd name="T50" fmla="*/ 19784540 w 72"/>
                <a:gd name="T51" fmla="*/ 25511586 h 56"/>
                <a:gd name="T52" fmla="*/ 25303554 w 72"/>
                <a:gd name="T53" fmla="*/ 22742189 h 56"/>
                <a:gd name="T54" fmla="*/ 28785776 w 72"/>
                <a:gd name="T55" fmla="*/ 17326122 h 56"/>
                <a:gd name="T56" fmla="*/ 30767843 w 72"/>
                <a:gd name="T57" fmla="*/ 17326122 h 56"/>
                <a:gd name="T58" fmla="*/ 30767843 w 72"/>
                <a:gd name="T59" fmla="*/ 22742189 h 56"/>
                <a:gd name="T60" fmla="*/ 34316554 w 72"/>
                <a:gd name="T61" fmla="*/ 21914983 h 56"/>
                <a:gd name="T62" fmla="*/ 37139629 w 72"/>
                <a:gd name="T63" fmla="*/ 19269275 h 56"/>
                <a:gd name="T64" fmla="*/ 39118787 w 72"/>
                <a:gd name="T65" fmla="*/ 20120368 h 56"/>
                <a:gd name="T66" fmla="*/ 39118787 w 72"/>
                <a:gd name="T67" fmla="*/ 24685191 h 56"/>
                <a:gd name="T68" fmla="*/ 31608852 w 72"/>
                <a:gd name="T69" fmla="*/ 25511586 h 56"/>
                <a:gd name="T70" fmla="*/ 28123853 w 72"/>
                <a:gd name="T71" fmla="*/ 27333808 h 56"/>
                <a:gd name="T72" fmla="*/ 21259350 w 72"/>
                <a:gd name="T73" fmla="*/ 30091494 h 56"/>
                <a:gd name="T74" fmla="*/ 19784540 w 72"/>
                <a:gd name="T75" fmla="*/ 33474540 h 56"/>
                <a:gd name="T76" fmla="*/ 24107926 w 72"/>
                <a:gd name="T77" fmla="*/ 34687884 h 56"/>
                <a:gd name="T78" fmla="*/ 36297450 w 72"/>
                <a:gd name="T79" fmla="*/ 32648221 h 56"/>
                <a:gd name="T80" fmla="*/ 28785776 w 72"/>
                <a:gd name="T81" fmla="*/ 34687884 h 56"/>
                <a:gd name="T82" fmla="*/ 31608852 w 72"/>
                <a:gd name="T83" fmla="*/ 36268829 h 56"/>
                <a:gd name="T84" fmla="*/ 22604843 w 72"/>
                <a:gd name="T85" fmla="*/ 36268829 h 56"/>
                <a:gd name="T86" fmla="*/ 24107926 w 72"/>
                <a:gd name="T87" fmla="*/ 40840129 h 56"/>
                <a:gd name="T88" fmla="*/ 36297450 w 72"/>
                <a:gd name="T89" fmla="*/ 42857579 h 56"/>
                <a:gd name="T90" fmla="*/ 34316554 w 72"/>
                <a:gd name="T91" fmla="*/ 44657153 h 56"/>
                <a:gd name="T92" fmla="*/ 35513089 w 72"/>
                <a:gd name="T93" fmla="*/ 48187775 h 56"/>
                <a:gd name="T94" fmla="*/ 40316711 w 72"/>
                <a:gd name="T95" fmla="*/ 50837165 h 56"/>
                <a:gd name="T96" fmla="*/ 41182993 w 72"/>
                <a:gd name="T97" fmla="*/ 46240851 h 56"/>
                <a:gd name="T98" fmla="*/ 44639884 w 72"/>
                <a:gd name="T99" fmla="*/ 38890650 h 56"/>
                <a:gd name="T100" fmla="*/ 50195671 w 72"/>
                <a:gd name="T101" fmla="*/ 33474540 h 56"/>
                <a:gd name="T102" fmla="*/ 52225055 w 72"/>
                <a:gd name="T103" fmla="*/ 23498568 h 56"/>
                <a:gd name="T104" fmla="*/ 67115462 w 72"/>
                <a:gd name="T105" fmla="*/ 19269275 h 56"/>
                <a:gd name="T106" fmla="*/ 65283958 w 72"/>
                <a:gd name="T107" fmla="*/ 16148475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72"/>
                <a:gd name="T163" fmla="*/ 0 h 56"/>
                <a:gd name="T164" fmla="*/ 72 w 72"/>
                <a:gd name="T165" fmla="*/ 56 h 5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72" h="56">
                  <a:moveTo>
                    <a:pt x="63" y="15"/>
                  </a:moveTo>
                  <a:cubicBezTo>
                    <a:pt x="62" y="15"/>
                    <a:pt x="61" y="14"/>
                    <a:pt x="60" y="14"/>
                  </a:cubicBezTo>
                  <a:cubicBezTo>
                    <a:pt x="59" y="13"/>
                    <a:pt x="59" y="12"/>
                    <a:pt x="58" y="12"/>
                  </a:cubicBezTo>
                  <a:cubicBezTo>
                    <a:pt x="57" y="12"/>
                    <a:pt x="56" y="12"/>
                    <a:pt x="55" y="12"/>
                  </a:cubicBezTo>
                  <a:cubicBezTo>
                    <a:pt x="53" y="11"/>
                    <a:pt x="52" y="9"/>
                    <a:pt x="51" y="8"/>
                  </a:cubicBezTo>
                  <a:cubicBezTo>
                    <a:pt x="50" y="7"/>
                    <a:pt x="49" y="7"/>
                    <a:pt x="49" y="7"/>
                  </a:cubicBezTo>
                  <a:cubicBezTo>
                    <a:pt x="47" y="8"/>
                    <a:pt x="49" y="11"/>
                    <a:pt x="47" y="11"/>
                  </a:cubicBezTo>
                  <a:cubicBezTo>
                    <a:pt x="46" y="9"/>
                    <a:pt x="47" y="7"/>
                    <a:pt x="47" y="5"/>
                  </a:cubicBezTo>
                  <a:cubicBezTo>
                    <a:pt x="46" y="4"/>
                    <a:pt x="46" y="3"/>
                    <a:pt x="44" y="2"/>
                  </a:cubicBezTo>
                  <a:cubicBezTo>
                    <a:pt x="43" y="2"/>
                    <a:pt x="42" y="2"/>
                    <a:pt x="41" y="2"/>
                  </a:cubicBezTo>
                  <a:cubicBezTo>
                    <a:pt x="41" y="3"/>
                    <a:pt x="41" y="4"/>
                    <a:pt x="41" y="5"/>
                  </a:cubicBezTo>
                  <a:cubicBezTo>
                    <a:pt x="38" y="6"/>
                    <a:pt x="38" y="2"/>
                    <a:pt x="36" y="1"/>
                  </a:cubicBezTo>
                  <a:cubicBezTo>
                    <a:pt x="36" y="0"/>
                    <a:pt x="34" y="0"/>
                    <a:pt x="33" y="0"/>
                  </a:cubicBezTo>
                  <a:cubicBezTo>
                    <a:pt x="33" y="3"/>
                    <a:pt x="34" y="5"/>
                    <a:pt x="34" y="7"/>
                  </a:cubicBezTo>
                  <a:cubicBezTo>
                    <a:pt x="35" y="10"/>
                    <a:pt x="36" y="13"/>
                    <a:pt x="37" y="16"/>
                  </a:cubicBezTo>
                  <a:cubicBezTo>
                    <a:pt x="37" y="16"/>
                    <a:pt x="38" y="17"/>
                    <a:pt x="37" y="18"/>
                  </a:cubicBezTo>
                  <a:cubicBezTo>
                    <a:pt x="37" y="18"/>
                    <a:pt x="37" y="18"/>
                    <a:pt x="37" y="17"/>
                  </a:cubicBezTo>
                  <a:cubicBezTo>
                    <a:pt x="36" y="16"/>
                    <a:pt x="36" y="14"/>
                    <a:pt x="34" y="13"/>
                  </a:cubicBezTo>
                  <a:cubicBezTo>
                    <a:pt x="33" y="12"/>
                    <a:pt x="33" y="13"/>
                    <a:pt x="33" y="14"/>
                  </a:cubicBezTo>
                  <a:cubicBezTo>
                    <a:pt x="33" y="14"/>
                    <a:pt x="31" y="15"/>
                    <a:pt x="31" y="14"/>
                  </a:cubicBezTo>
                  <a:cubicBezTo>
                    <a:pt x="30" y="11"/>
                    <a:pt x="29" y="8"/>
                    <a:pt x="28" y="5"/>
                  </a:cubicBezTo>
                  <a:cubicBezTo>
                    <a:pt x="28" y="4"/>
                    <a:pt x="26" y="3"/>
                    <a:pt x="26" y="4"/>
                  </a:cubicBezTo>
                  <a:cubicBezTo>
                    <a:pt x="25" y="5"/>
                    <a:pt x="24" y="7"/>
                    <a:pt x="23" y="8"/>
                  </a:cubicBezTo>
                  <a:cubicBezTo>
                    <a:pt x="23" y="8"/>
                    <a:pt x="23" y="8"/>
                    <a:pt x="22" y="8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10"/>
                    <a:pt x="21" y="11"/>
                    <a:pt x="21" y="12"/>
                  </a:cubicBezTo>
                  <a:cubicBezTo>
                    <a:pt x="21" y="12"/>
                    <a:pt x="20" y="12"/>
                    <a:pt x="20" y="12"/>
                  </a:cubicBezTo>
                  <a:cubicBezTo>
                    <a:pt x="19" y="12"/>
                    <a:pt x="18" y="11"/>
                    <a:pt x="17" y="10"/>
                  </a:cubicBezTo>
                  <a:cubicBezTo>
                    <a:pt x="17" y="10"/>
                    <a:pt x="17" y="9"/>
                    <a:pt x="17" y="9"/>
                  </a:cubicBezTo>
                  <a:cubicBezTo>
                    <a:pt x="21" y="8"/>
                    <a:pt x="19" y="5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7" y="4"/>
                    <a:pt x="16" y="6"/>
                    <a:pt x="15" y="5"/>
                  </a:cubicBezTo>
                  <a:cubicBezTo>
                    <a:pt x="15" y="5"/>
                    <a:pt x="15" y="3"/>
                    <a:pt x="15" y="3"/>
                  </a:cubicBezTo>
                  <a:cubicBezTo>
                    <a:pt x="14" y="3"/>
                    <a:pt x="12" y="2"/>
                    <a:pt x="11" y="3"/>
                  </a:cubicBezTo>
                  <a:cubicBezTo>
                    <a:pt x="11" y="4"/>
                    <a:pt x="11" y="5"/>
                    <a:pt x="10" y="6"/>
                  </a:cubicBezTo>
                  <a:cubicBezTo>
                    <a:pt x="10" y="6"/>
                    <a:pt x="9" y="6"/>
                    <a:pt x="9" y="6"/>
                  </a:cubicBezTo>
                  <a:cubicBezTo>
                    <a:pt x="8" y="4"/>
                    <a:pt x="6" y="3"/>
                    <a:pt x="5" y="5"/>
                  </a:cubicBezTo>
                  <a:cubicBezTo>
                    <a:pt x="4" y="5"/>
                    <a:pt x="4" y="7"/>
                    <a:pt x="3" y="7"/>
                  </a:cubicBezTo>
                  <a:cubicBezTo>
                    <a:pt x="2" y="8"/>
                    <a:pt x="1" y="7"/>
                    <a:pt x="0" y="8"/>
                  </a:cubicBezTo>
                  <a:cubicBezTo>
                    <a:pt x="0" y="8"/>
                    <a:pt x="0" y="9"/>
                    <a:pt x="0" y="10"/>
                  </a:cubicBezTo>
                  <a:cubicBezTo>
                    <a:pt x="1" y="11"/>
                    <a:pt x="2" y="13"/>
                    <a:pt x="4" y="14"/>
                  </a:cubicBezTo>
                  <a:cubicBezTo>
                    <a:pt x="4" y="14"/>
                    <a:pt x="5" y="14"/>
                    <a:pt x="5" y="14"/>
                  </a:cubicBezTo>
                  <a:cubicBezTo>
                    <a:pt x="6" y="14"/>
                    <a:pt x="5" y="12"/>
                    <a:pt x="6" y="12"/>
                  </a:cubicBezTo>
                  <a:cubicBezTo>
                    <a:pt x="6" y="12"/>
                    <a:pt x="7" y="11"/>
                    <a:pt x="8" y="12"/>
                  </a:cubicBezTo>
                  <a:cubicBezTo>
                    <a:pt x="9" y="13"/>
                    <a:pt x="9" y="15"/>
                    <a:pt x="8" y="16"/>
                  </a:cubicBezTo>
                  <a:cubicBezTo>
                    <a:pt x="8" y="16"/>
                    <a:pt x="8" y="17"/>
                    <a:pt x="8" y="17"/>
                  </a:cubicBezTo>
                  <a:cubicBezTo>
                    <a:pt x="8" y="18"/>
                    <a:pt x="9" y="17"/>
                    <a:pt x="10" y="17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8" y="19"/>
                    <a:pt x="7" y="20"/>
                    <a:pt x="8" y="22"/>
                  </a:cubicBezTo>
                  <a:cubicBezTo>
                    <a:pt x="9" y="22"/>
                    <a:pt x="11" y="22"/>
                    <a:pt x="12" y="23"/>
                  </a:cubicBezTo>
                  <a:cubicBezTo>
                    <a:pt x="13" y="25"/>
                    <a:pt x="13" y="26"/>
                    <a:pt x="14" y="27"/>
                  </a:cubicBezTo>
                  <a:cubicBezTo>
                    <a:pt x="16" y="28"/>
                    <a:pt x="19" y="28"/>
                    <a:pt x="21" y="28"/>
                  </a:cubicBezTo>
                  <a:cubicBezTo>
                    <a:pt x="23" y="26"/>
                    <a:pt x="25" y="25"/>
                    <a:pt x="27" y="26"/>
                  </a:cubicBezTo>
                  <a:cubicBezTo>
                    <a:pt x="27" y="26"/>
                    <a:pt x="27" y="25"/>
                    <a:pt x="27" y="25"/>
                  </a:cubicBezTo>
                  <a:cubicBezTo>
                    <a:pt x="28" y="24"/>
                    <a:pt x="27" y="23"/>
                    <a:pt x="27" y="22"/>
                  </a:cubicBezTo>
                  <a:cubicBezTo>
                    <a:pt x="29" y="22"/>
                    <a:pt x="30" y="21"/>
                    <a:pt x="31" y="19"/>
                  </a:cubicBezTo>
                  <a:cubicBezTo>
                    <a:pt x="31" y="19"/>
                    <a:pt x="31" y="19"/>
                    <a:pt x="32" y="19"/>
                  </a:cubicBezTo>
                  <a:cubicBezTo>
                    <a:pt x="32" y="19"/>
                    <a:pt x="32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1"/>
                    <a:pt x="33" y="23"/>
                    <a:pt x="33" y="25"/>
                  </a:cubicBezTo>
                  <a:cubicBezTo>
                    <a:pt x="34" y="25"/>
                    <a:pt x="34" y="25"/>
                    <a:pt x="35" y="24"/>
                  </a:cubicBezTo>
                  <a:cubicBezTo>
                    <a:pt x="35" y="24"/>
                    <a:pt x="36" y="24"/>
                    <a:pt x="37" y="24"/>
                  </a:cubicBezTo>
                  <a:cubicBezTo>
                    <a:pt x="37" y="24"/>
                    <a:pt x="38" y="23"/>
                    <a:pt x="38" y="23"/>
                  </a:cubicBezTo>
                  <a:cubicBezTo>
                    <a:pt x="39" y="22"/>
                    <a:pt x="39" y="21"/>
                    <a:pt x="40" y="21"/>
                  </a:cubicBezTo>
                  <a:cubicBezTo>
                    <a:pt x="41" y="20"/>
                    <a:pt x="42" y="20"/>
                    <a:pt x="43" y="21"/>
                  </a:cubicBezTo>
                  <a:cubicBezTo>
                    <a:pt x="43" y="21"/>
                    <a:pt x="43" y="21"/>
                    <a:pt x="42" y="22"/>
                  </a:cubicBezTo>
                  <a:cubicBezTo>
                    <a:pt x="41" y="23"/>
                    <a:pt x="38" y="24"/>
                    <a:pt x="39" y="26"/>
                  </a:cubicBezTo>
                  <a:cubicBezTo>
                    <a:pt x="40" y="26"/>
                    <a:pt x="41" y="26"/>
                    <a:pt x="42" y="27"/>
                  </a:cubicBezTo>
                  <a:cubicBezTo>
                    <a:pt x="42" y="27"/>
                    <a:pt x="42" y="28"/>
                    <a:pt x="42" y="28"/>
                  </a:cubicBezTo>
                  <a:cubicBezTo>
                    <a:pt x="39" y="28"/>
                    <a:pt x="36" y="28"/>
                    <a:pt x="34" y="28"/>
                  </a:cubicBezTo>
                  <a:cubicBezTo>
                    <a:pt x="34" y="28"/>
                    <a:pt x="33" y="29"/>
                    <a:pt x="33" y="29"/>
                  </a:cubicBezTo>
                  <a:cubicBezTo>
                    <a:pt x="32" y="30"/>
                    <a:pt x="31" y="30"/>
                    <a:pt x="30" y="30"/>
                  </a:cubicBezTo>
                  <a:cubicBezTo>
                    <a:pt x="29" y="31"/>
                    <a:pt x="27" y="30"/>
                    <a:pt x="26" y="31"/>
                  </a:cubicBezTo>
                  <a:cubicBezTo>
                    <a:pt x="25" y="32"/>
                    <a:pt x="24" y="34"/>
                    <a:pt x="23" y="33"/>
                  </a:cubicBezTo>
                  <a:cubicBezTo>
                    <a:pt x="22" y="32"/>
                    <a:pt x="21" y="32"/>
                    <a:pt x="20" y="32"/>
                  </a:cubicBezTo>
                  <a:cubicBezTo>
                    <a:pt x="20" y="34"/>
                    <a:pt x="20" y="35"/>
                    <a:pt x="21" y="37"/>
                  </a:cubicBezTo>
                  <a:cubicBezTo>
                    <a:pt x="21" y="38"/>
                    <a:pt x="22" y="38"/>
                    <a:pt x="22" y="38"/>
                  </a:cubicBezTo>
                  <a:cubicBezTo>
                    <a:pt x="24" y="38"/>
                    <a:pt x="25" y="38"/>
                    <a:pt x="26" y="38"/>
                  </a:cubicBezTo>
                  <a:cubicBezTo>
                    <a:pt x="28" y="37"/>
                    <a:pt x="30" y="37"/>
                    <a:pt x="31" y="36"/>
                  </a:cubicBezTo>
                  <a:cubicBezTo>
                    <a:pt x="33" y="35"/>
                    <a:pt x="36" y="35"/>
                    <a:pt x="39" y="36"/>
                  </a:cubicBezTo>
                  <a:cubicBezTo>
                    <a:pt x="39" y="36"/>
                    <a:pt x="38" y="37"/>
                    <a:pt x="38" y="37"/>
                  </a:cubicBezTo>
                  <a:cubicBezTo>
                    <a:pt x="36" y="37"/>
                    <a:pt x="33" y="36"/>
                    <a:pt x="31" y="38"/>
                  </a:cubicBezTo>
                  <a:cubicBezTo>
                    <a:pt x="32" y="39"/>
                    <a:pt x="33" y="39"/>
                    <a:pt x="34" y="39"/>
                  </a:cubicBezTo>
                  <a:cubicBezTo>
                    <a:pt x="34" y="39"/>
                    <a:pt x="34" y="40"/>
                    <a:pt x="34" y="40"/>
                  </a:cubicBezTo>
                  <a:cubicBezTo>
                    <a:pt x="31" y="39"/>
                    <a:pt x="28" y="41"/>
                    <a:pt x="26" y="40"/>
                  </a:cubicBezTo>
                  <a:cubicBezTo>
                    <a:pt x="25" y="40"/>
                    <a:pt x="24" y="39"/>
                    <a:pt x="24" y="40"/>
                  </a:cubicBezTo>
                  <a:cubicBezTo>
                    <a:pt x="23" y="41"/>
                    <a:pt x="23" y="42"/>
                    <a:pt x="24" y="44"/>
                  </a:cubicBezTo>
                  <a:cubicBezTo>
                    <a:pt x="24" y="44"/>
                    <a:pt x="25" y="45"/>
                    <a:pt x="26" y="45"/>
                  </a:cubicBezTo>
                  <a:cubicBezTo>
                    <a:pt x="29" y="46"/>
                    <a:pt x="32" y="48"/>
                    <a:pt x="35" y="47"/>
                  </a:cubicBezTo>
                  <a:cubicBezTo>
                    <a:pt x="36" y="47"/>
                    <a:pt x="38" y="46"/>
                    <a:pt x="39" y="47"/>
                  </a:cubicBezTo>
                  <a:cubicBezTo>
                    <a:pt x="39" y="47"/>
                    <a:pt x="40" y="48"/>
                    <a:pt x="39" y="48"/>
                  </a:cubicBezTo>
                  <a:cubicBezTo>
                    <a:pt x="39" y="49"/>
                    <a:pt x="38" y="48"/>
                    <a:pt x="37" y="49"/>
                  </a:cubicBezTo>
                  <a:cubicBezTo>
                    <a:pt x="36" y="49"/>
                    <a:pt x="36" y="50"/>
                    <a:pt x="36" y="51"/>
                  </a:cubicBezTo>
                  <a:cubicBezTo>
                    <a:pt x="37" y="52"/>
                    <a:pt x="38" y="52"/>
                    <a:pt x="38" y="53"/>
                  </a:cubicBezTo>
                  <a:cubicBezTo>
                    <a:pt x="39" y="54"/>
                    <a:pt x="38" y="55"/>
                    <a:pt x="39" y="55"/>
                  </a:cubicBezTo>
                  <a:cubicBezTo>
                    <a:pt x="40" y="56"/>
                    <a:pt x="41" y="56"/>
                    <a:pt x="43" y="56"/>
                  </a:cubicBezTo>
                  <a:cubicBezTo>
                    <a:pt x="43" y="56"/>
                    <a:pt x="44" y="55"/>
                    <a:pt x="44" y="54"/>
                  </a:cubicBezTo>
                  <a:cubicBezTo>
                    <a:pt x="44" y="53"/>
                    <a:pt x="43" y="52"/>
                    <a:pt x="44" y="51"/>
                  </a:cubicBezTo>
                  <a:cubicBezTo>
                    <a:pt x="45" y="49"/>
                    <a:pt x="46" y="47"/>
                    <a:pt x="47" y="45"/>
                  </a:cubicBezTo>
                  <a:cubicBezTo>
                    <a:pt x="47" y="45"/>
                    <a:pt x="48" y="44"/>
                    <a:pt x="48" y="43"/>
                  </a:cubicBezTo>
                  <a:cubicBezTo>
                    <a:pt x="48" y="42"/>
                    <a:pt x="49" y="41"/>
                    <a:pt x="50" y="41"/>
                  </a:cubicBezTo>
                  <a:cubicBezTo>
                    <a:pt x="51" y="39"/>
                    <a:pt x="53" y="39"/>
                    <a:pt x="54" y="37"/>
                  </a:cubicBezTo>
                  <a:cubicBezTo>
                    <a:pt x="54" y="36"/>
                    <a:pt x="55" y="35"/>
                    <a:pt x="56" y="34"/>
                  </a:cubicBezTo>
                  <a:cubicBezTo>
                    <a:pt x="56" y="31"/>
                    <a:pt x="56" y="28"/>
                    <a:pt x="56" y="26"/>
                  </a:cubicBezTo>
                  <a:cubicBezTo>
                    <a:pt x="58" y="23"/>
                    <a:pt x="61" y="22"/>
                    <a:pt x="64" y="22"/>
                  </a:cubicBezTo>
                  <a:cubicBezTo>
                    <a:pt x="67" y="21"/>
                    <a:pt x="70" y="22"/>
                    <a:pt x="72" y="21"/>
                  </a:cubicBezTo>
                  <a:cubicBezTo>
                    <a:pt x="72" y="21"/>
                    <a:pt x="72" y="20"/>
                    <a:pt x="72" y="20"/>
                  </a:cubicBezTo>
                  <a:cubicBezTo>
                    <a:pt x="71" y="19"/>
                    <a:pt x="71" y="18"/>
                    <a:pt x="70" y="18"/>
                  </a:cubicBezTo>
                  <a:cubicBezTo>
                    <a:pt x="68" y="16"/>
                    <a:pt x="65" y="17"/>
                    <a:pt x="63" y="1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6" name="Freeform 123"/>
            <p:cNvSpPr>
              <a:spLocks/>
            </p:cNvSpPr>
            <p:nvPr/>
          </p:nvSpPr>
          <p:spPr bwMode="auto">
            <a:xfrm>
              <a:off x="7003000" y="3151244"/>
              <a:ext cx="28344" cy="11626"/>
            </a:xfrm>
            <a:custGeom>
              <a:avLst/>
              <a:gdLst>
                <a:gd name="T0" fmla="*/ 21202583 w 61"/>
                <a:gd name="T1" fmla="*/ 4351850 h 24"/>
                <a:gd name="T2" fmla="*/ 17670793 w 61"/>
                <a:gd name="T3" fmla="*/ 3065439 h 24"/>
                <a:gd name="T4" fmla="*/ 12157067 w 61"/>
                <a:gd name="T5" fmla="*/ 937382 h 24"/>
                <a:gd name="T6" fmla="*/ 12157067 w 61"/>
                <a:gd name="T7" fmla="*/ 5955246 h 24"/>
                <a:gd name="T8" fmla="*/ 9555170 w 61"/>
                <a:gd name="T9" fmla="*/ 3065439 h 24"/>
                <a:gd name="T10" fmla="*/ 8362260 w 61"/>
                <a:gd name="T11" fmla="*/ 3065439 h 24"/>
                <a:gd name="T12" fmla="*/ 7485545 w 61"/>
                <a:gd name="T13" fmla="*/ 8176465 h 24"/>
                <a:gd name="T14" fmla="*/ 6647739 w 61"/>
                <a:gd name="T15" fmla="*/ 7280415 h 24"/>
                <a:gd name="T16" fmla="*/ 837922 w 61"/>
                <a:gd name="T17" fmla="*/ 4351850 h 24"/>
                <a:gd name="T18" fmla="*/ 3542346 w 61"/>
                <a:gd name="T19" fmla="*/ 8176465 h 24"/>
                <a:gd name="T20" fmla="*/ 4669483 w 61"/>
                <a:gd name="T21" fmla="*/ 8176465 h 24"/>
                <a:gd name="T22" fmla="*/ 5509550 w 61"/>
                <a:gd name="T23" fmla="*/ 12557623 h 24"/>
                <a:gd name="T24" fmla="*/ 8362260 w 61"/>
                <a:gd name="T25" fmla="*/ 13463334 h 24"/>
                <a:gd name="T26" fmla="*/ 9555170 w 61"/>
                <a:gd name="T27" fmla="*/ 14143705 h 24"/>
                <a:gd name="T28" fmla="*/ 12157067 w 61"/>
                <a:gd name="T29" fmla="*/ 14143705 h 24"/>
                <a:gd name="T30" fmla="*/ 13864538 w 61"/>
                <a:gd name="T31" fmla="*/ 12557623 h 24"/>
                <a:gd name="T32" fmla="*/ 25156643 w 61"/>
                <a:gd name="T33" fmla="*/ 12557623 h 24"/>
                <a:gd name="T34" fmla="*/ 25156643 w 61"/>
                <a:gd name="T35" fmla="*/ 14143705 h 24"/>
                <a:gd name="T36" fmla="*/ 19740417 w 61"/>
                <a:gd name="T37" fmla="*/ 14143705 h 24"/>
                <a:gd name="T38" fmla="*/ 17670793 w 61"/>
                <a:gd name="T39" fmla="*/ 15581415 h 24"/>
                <a:gd name="T40" fmla="*/ 13006148 w 61"/>
                <a:gd name="T41" fmla="*/ 15581415 h 24"/>
                <a:gd name="T42" fmla="*/ 13006148 w 61"/>
                <a:gd name="T43" fmla="*/ 16353661 h 24"/>
                <a:gd name="T44" fmla="*/ 17670793 w 61"/>
                <a:gd name="T45" fmla="*/ 18521930 h 24"/>
                <a:gd name="T46" fmla="*/ 20515009 w 61"/>
                <a:gd name="T47" fmla="*/ 20751062 h 24"/>
                <a:gd name="T48" fmla="*/ 26871328 w 61"/>
                <a:gd name="T49" fmla="*/ 19419101 h 24"/>
                <a:gd name="T50" fmla="*/ 30703030 w 61"/>
                <a:gd name="T51" fmla="*/ 20751062 h 24"/>
                <a:gd name="T52" fmla="*/ 31542857 w 61"/>
                <a:gd name="T53" fmla="*/ 21639806 h 24"/>
                <a:gd name="T54" fmla="*/ 33519084 w 61"/>
                <a:gd name="T55" fmla="*/ 23798965 h 24"/>
                <a:gd name="T56" fmla="*/ 37045808 w 61"/>
                <a:gd name="T57" fmla="*/ 22349417 h 24"/>
                <a:gd name="T58" fmla="*/ 38249478 w 61"/>
                <a:gd name="T59" fmla="*/ 22349417 h 24"/>
                <a:gd name="T60" fmla="*/ 39024094 w 61"/>
                <a:gd name="T61" fmla="*/ 22349417 h 24"/>
                <a:gd name="T62" fmla="*/ 40217009 w 61"/>
                <a:gd name="T63" fmla="*/ 19419101 h 24"/>
                <a:gd name="T64" fmla="*/ 45735012 w 61"/>
                <a:gd name="T65" fmla="*/ 19419101 h 24"/>
                <a:gd name="T66" fmla="*/ 49213673 w 61"/>
                <a:gd name="T67" fmla="*/ 17290978 h 24"/>
                <a:gd name="T68" fmla="*/ 50051989 w 61"/>
                <a:gd name="T69" fmla="*/ 13463334 h 24"/>
                <a:gd name="T70" fmla="*/ 52121547 w 61"/>
                <a:gd name="T71" fmla="*/ 12557623 h 24"/>
                <a:gd name="T72" fmla="*/ 52121547 w 61"/>
                <a:gd name="T73" fmla="*/ 12557623 h 24"/>
                <a:gd name="T74" fmla="*/ 53248052 w 61"/>
                <a:gd name="T75" fmla="*/ 12557623 h 24"/>
                <a:gd name="T76" fmla="*/ 56786202 w 61"/>
                <a:gd name="T77" fmla="*/ 10335640 h 24"/>
                <a:gd name="T78" fmla="*/ 56786202 w 61"/>
                <a:gd name="T79" fmla="*/ 8176465 h 24"/>
                <a:gd name="T80" fmla="*/ 53248052 w 61"/>
                <a:gd name="T81" fmla="*/ 7280415 h 24"/>
                <a:gd name="T82" fmla="*/ 48428878 w 61"/>
                <a:gd name="T83" fmla="*/ 5955246 h 24"/>
                <a:gd name="T84" fmla="*/ 45735012 w 61"/>
                <a:gd name="T85" fmla="*/ 5287420 h 24"/>
                <a:gd name="T86" fmla="*/ 41714646 w 61"/>
                <a:gd name="T87" fmla="*/ 5287420 h 24"/>
                <a:gd name="T88" fmla="*/ 41093699 w 61"/>
                <a:gd name="T89" fmla="*/ 4351850 h 24"/>
                <a:gd name="T90" fmla="*/ 40217009 w 61"/>
                <a:gd name="T91" fmla="*/ 4351850 h 24"/>
                <a:gd name="T92" fmla="*/ 34228584 w 61"/>
                <a:gd name="T93" fmla="*/ 7280415 h 24"/>
                <a:gd name="T94" fmla="*/ 33519084 w 61"/>
                <a:gd name="T95" fmla="*/ 2226282 h 24"/>
                <a:gd name="T96" fmla="*/ 31542857 w 61"/>
                <a:gd name="T97" fmla="*/ 937382 h 24"/>
                <a:gd name="T98" fmla="*/ 30703030 w 61"/>
                <a:gd name="T99" fmla="*/ 2226282 h 24"/>
                <a:gd name="T100" fmla="*/ 29912815 w 61"/>
                <a:gd name="T101" fmla="*/ 3065439 h 24"/>
                <a:gd name="T102" fmla="*/ 29912815 w 61"/>
                <a:gd name="T103" fmla="*/ 9111497 h 24"/>
                <a:gd name="T104" fmla="*/ 26021587 w 61"/>
                <a:gd name="T105" fmla="*/ 5955246 h 24"/>
                <a:gd name="T106" fmla="*/ 21202583 w 61"/>
                <a:gd name="T107" fmla="*/ 4351850 h 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1"/>
                <a:gd name="T163" fmla="*/ 0 h 24"/>
                <a:gd name="T164" fmla="*/ 61 w 61"/>
                <a:gd name="T165" fmla="*/ 24 h 2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1" h="24">
                  <a:moveTo>
                    <a:pt x="23" y="4"/>
                  </a:moveTo>
                  <a:cubicBezTo>
                    <a:pt x="22" y="4"/>
                    <a:pt x="20" y="4"/>
                    <a:pt x="19" y="3"/>
                  </a:cubicBezTo>
                  <a:cubicBezTo>
                    <a:pt x="17" y="2"/>
                    <a:pt x="15" y="1"/>
                    <a:pt x="13" y="1"/>
                  </a:cubicBezTo>
                  <a:cubicBezTo>
                    <a:pt x="13" y="3"/>
                    <a:pt x="13" y="5"/>
                    <a:pt x="13" y="6"/>
                  </a:cubicBezTo>
                  <a:cubicBezTo>
                    <a:pt x="11" y="7"/>
                    <a:pt x="11" y="4"/>
                    <a:pt x="10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5"/>
                    <a:pt x="9" y="6"/>
                    <a:pt x="8" y="8"/>
                  </a:cubicBezTo>
                  <a:cubicBezTo>
                    <a:pt x="8" y="8"/>
                    <a:pt x="8" y="8"/>
                    <a:pt x="7" y="7"/>
                  </a:cubicBezTo>
                  <a:cubicBezTo>
                    <a:pt x="6" y="5"/>
                    <a:pt x="4" y="4"/>
                    <a:pt x="1" y="4"/>
                  </a:cubicBezTo>
                  <a:cubicBezTo>
                    <a:pt x="0" y="6"/>
                    <a:pt x="3" y="7"/>
                    <a:pt x="4" y="8"/>
                  </a:cubicBezTo>
                  <a:cubicBezTo>
                    <a:pt x="4" y="8"/>
                    <a:pt x="4" y="8"/>
                    <a:pt x="5" y="8"/>
                  </a:cubicBezTo>
                  <a:cubicBezTo>
                    <a:pt x="5" y="9"/>
                    <a:pt x="5" y="11"/>
                    <a:pt x="6" y="12"/>
                  </a:cubicBezTo>
                  <a:cubicBezTo>
                    <a:pt x="6" y="12"/>
                    <a:pt x="8" y="12"/>
                    <a:pt x="9" y="13"/>
                  </a:cubicBezTo>
                  <a:cubicBezTo>
                    <a:pt x="9" y="13"/>
                    <a:pt x="10" y="13"/>
                    <a:pt x="10" y="14"/>
                  </a:cubicBezTo>
                  <a:cubicBezTo>
                    <a:pt x="11" y="14"/>
                    <a:pt x="12" y="14"/>
                    <a:pt x="13" y="14"/>
                  </a:cubicBezTo>
                  <a:cubicBezTo>
                    <a:pt x="14" y="13"/>
                    <a:pt x="14" y="12"/>
                    <a:pt x="15" y="12"/>
                  </a:cubicBezTo>
                  <a:cubicBezTo>
                    <a:pt x="19" y="12"/>
                    <a:pt x="23" y="12"/>
                    <a:pt x="27" y="12"/>
                  </a:cubicBezTo>
                  <a:cubicBezTo>
                    <a:pt x="27" y="13"/>
                    <a:pt x="27" y="14"/>
                    <a:pt x="27" y="14"/>
                  </a:cubicBezTo>
                  <a:cubicBezTo>
                    <a:pt x="25" y="14"/>
                    <a:pt x="23" y="14"/>
                    <a:pt x="21" y="14"/>
                  </a:cubicBezTo>
                  <a:cubicBezTo>
                    <a:pt x="20" y="14"/>
                    <a:pt x="20" y="15"/>
                    <a:pt x="19" y="15"/>
                  </a:cubicBezTo>
                  <a:cubicBezTo>
                    <a:pt x="17" y="16"/>
                    <a:pt x="15" y="15"/>
                    <a:pt x="14" y="15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5" y="17"/>
                    <a:pt x="17" y="17"/>
                    <a:pt x="19" y="18"/>
                  </a:cubicBezTo>
                  <a:cubicBezTo>
                    <a:pt x="20" y="18"/>
                    <a:pt x="21" y="20"/>
                    <a:pt x="22" y="20"/>
                  </a:cubicBezTo>
                  <a:cubicBezTo>
                    <a:pt x="24" y="20"/>
                    <a:pt x="26" y="20"/>
                    <a:pt x="29" y="19"/>
                  </a:cubicBezTo>
                  <a:cubicBezTo>
                    <a:pt x="30" y="19"/>
                    <a:pt x="32" y="19"/>
                    <a:pt x="33" y="20"/>
                  </a:cubicBezTo>
                  <a:cubicBezTo>
                    <a:pt x="34" y="20"/>
                    <a:pt x="34" y="21"/>
                    <a:pt x="34" y="21"/>
                  </a:cubicBezTo>
                  <a:cubicBezTo>
                    <a:pt x="34" y="22"/>
                    <a:pt x="35" y="22"/>
                    <a:pt x="36" y="23"/>
                  </a:cubicBezTo>
                  <a:cubicBezTo>
                    <a:pt x="38" y="24"/>
                    <a:pt x="39" y="23"/>
                    <a:pt x="40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2" y="21"/>
                    <a:pt x="42" y="20"/>
                    <a:pt x="43" y="19"/>
                  </a:cubicBezTo>
                  <a:cubicBezTo>
                    <a:pt x="45" y="18"/>
                    <a:pt x="47" y="18"/>
                    <a:pt x="49" y="19"/>
                  </a:cubicBezTo>
                  <a:cubicBezTo>
                    <a:pt x="51" y="20"/>
                    <a:pt x="52" y="18"/>
                    <a:pt x="53" y="17"/>
                  </a:cubicBezTo>
                  <a:cubicBezTo>
                    <a:pt x="53" y="16"/>
                    <a:pt x="53" y="15"/>
                    <a:pt x="54" y="13"/>
                  </a:cubicBezTo>
                  <a:cubicBezTo>
                    <a:pt x="54" y="13"/>
                    <a:pt x="55" y="13"/>
                    <a:pt x="56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9" y="11"/>
                    <a:pt x="60" y="11"/>
                    <a:pt x="61" y="10"/>
                  </a:cubicBezTo>
                  <a:cubicBezTo>
                    <a:pt x="61" y="9"/>
                    <a:pt x="61" y="8"/>
                    <a:pt x="61" y="8"/>
                  </a:cubicBezTo>
                  <a:cubicBezTo>
                    <a:pt x="60" y="7"/>
                    <a:pt x="59" y="8"/>
                    <a:pt x="57" y="7"/>
                  </a:cubicBezTo>
                  <a:cubicBezTo>
                    <a:pt x="56" y="6"/>
                    <a:pt x="54" y="6"/>
                    <a:pt x="52" y="6"/>
                  </a:cubicBezTo>
                  <a:cubicBezTo>
                    <a:pt x="51" y="6"/>
                    <a:pt x="50" y="5"/>
                    <a:pt x="49" y="5"/>
                  </a:cubicBezTo>
                  <a:cubicBezTo>
                    <a:pt x="48" y="4"/>
                    <a:pt x="46" y="5"/>
                    <a:pt x="45" y="5"/>
                  </a:cubicBezTo>
                  <a:cubicBezTo>
                    <a:pt x="44" y="5"/>
                    <a:pt x="44" y="4"/>
                    <a:pt x="44" y="4"/>
                  </a:cubicBezTo>
                  <a:cubicBezTo>
                    <a:pt x="43" y="4"/>
                    <a:pt x="43" y="3"/>
                    <a:pt x="43" y="4"/>
                  </a:cubicBezTo>
                  <a:cubicBezTo>
                    <a:pt x="41" y="6"/>
                    <a:pt x="39" y="8"/>
                    <a:pt x="37" y="7"/>
                  </a:cubicBezTo>
                  <a:cubicBezTo>
                    <a:pt x="36" y="5"/>
                    <a:pt x="36" y="4"/>
                    <a:pt x="36" y="2"/>
                  </a:cubicBezTo>
                  <a:cubicBezTo>
                    <a:pt x="36" y="1"/>
                    <a:pt x="35" y="0"/>
                    <a:pt x="34" y="1"/>
                  </a:cubicBezTo>
                  <a:cubicBezTo>
                    <a:pt x="33" y="1"/>
                    <a:pt x="34" y="2"/>
                    <a:pt x="33" y="2"/>
                  </a:cubicBezTo>
                  <a:cubicBezTo>
                    <a:pt x="33" y="3"/>
                    <a:pt x="32" y="3"/>
                    <a:pt x="32" y="3"/>
                  </a:cubicBezTo>
                  <a:cubicBezTo>
                    <a:pt x="31" y="5"/>
                    <a:pt x="32" y="7"/>
                    <a:pt x="32" y="9"/>
                  </a:cubicBezTo>
                  <a:cubicBezTo>
                    <a:pt x="30" y="9"/>
                    <a:pt x="29" y="7"/>
                    <a:pt x="28" y="6"/>
                  </a:cubicBezTo>
                  <a:cubicBezTo>
                    <a:pt x="27" y="5"/>
                    <a:pt x="25" y="4"/>
                    <a:pt x="23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7" name="Freeform 128"/>
            <p:cNvSpPr>
              <a:spLocks/>
            </p:cNvSpPr>
            <p:nvPr/>
          </p:nvSpPr>
          <p:spPr bwMode="auto">
            <a:xfrm>
              <a:off x="6972900" y="3358894"/>
              <a:ext cx="42139" cy="45964"/>
            </a:xfrm>
            <a:custGeom>
              <a:avLst/>
              <a:gdLst>
                <a:gd name="T0" fmla="*/ 42712373 w 91"/>
                <a:gd name="T1" fmla="*/ 13640514 h 95"/>
                <a:gd name="T2" fmla="*/ 38284324 w 91"/>
                <a:gd name="T3" fmla="*/ 17849254 h 95"/>
                <a:gd name="T4" fmla="*/ 36872658 w 91"/>
                <a:gd name="T5" fmla="*/ 28478634 h 95"/>
                <a:gd name="T6" fmla="*/ 42712373 w 91"/>
                <a:gd name="T7" fmla="*/ 35106175 h 95"/>
                <a:gd name="T8" fmla="*/ 45396073 w 91"/>
                <a:gd name="T9" fmla="*/ 37200408 h 95"/>
                <a:gd name="T10" fmla="*/ 47978220 w 91"/>
                <a:gd name="T11" fmla="*/ 45079508 h 95"/>
                <a:gd name="T12" fmla="*/ 62817003 w 91"/>
                <a:gd name="T13" fmla="*/ 55049648 h 95"/>
                <a:gd name="T14" fmla="*/ 63914978 w 91"/>
                <a:gd name="T15" fmla="*/ 58008885 h 95"/>
                <a:gd name="T16" fmla="*/ 68021406 w 91"/>
                <a:gd name="T17" fmla="*/ 60808888 h 95"/>
                <a:gd name="T18" fmla="*/ 79578738 w 91"/>
                <a:gd name="T19" fmla="*/ 70756253 h 95"/>
                <a:gd name="T20" fmla="*/ 77037886 w 91"/>
                <a:gd name="T21" fmla="*/ 72371857 h 95"/>
                <a:gd name="T22" fmla="*/ 73716645 w 91"/>
                <a:gd name="T23" fmla="*/ 69572157 h 95"/>
                <a:gd name="T24" fmla="*/ 69884400 w 91"/>
                <a:gd name="T25" fmla="*/ 68689626 h 95"/>
                <a:gd name="T26" fmla="*/ 69143800 w 91"/>
                <a:gd name="T27" fmla="*/ 69572157 h 95"/>
                <a:gd name="T28" fmla="*/ 67389697 w 91"/>
                <a:gd name="T29" fmla="*/ 74466033 h 95"/>
                <a:gd name="T30" fmla="*/ 70711352 w 91"/>
                <a:gd name="T31" fmla="*/ 79542353 h 95"/>
                <a:gd name="T32" fmla="*/ 71855231 w 91"/>
                <a:gd name="T33" fmla="*/ 83146142 h 95"/>
                <a:gd name="T34" fmla="*/ 67389697 w 91"/>
                <a:gd name="T35" fmla="*/ 89499420 h 95"/>
                <a:gd name="T36" fmla="*/ 60272859 w 91"/>
                <a:gd name="T37" fmla="*/ 92315377 h 95"/>
                <a:gd name="T38" fmla="*/ 62162229 w 91"/>
                <a:gd name="T39" fmla="*/ 89499420 h 95"/>
                <a:gd name="T40" fmla="*/ 63914978 w 91"/>
                <a:gd name="T41" fmla="*/ 81589426 h 95"/>
                <a:gd name="T42" fmla="*/ 61358680 w 91"/>
                <a:gd name="T43" fmla="*/ 72371857 h 95"/>
                <a:gd name="T44" fmla="*/ 58875228 w 91"/>
                <a:gd name="T45" fmla="*/ 71649432 h 95"/>
                <a:gd name="T46" fmla="*/ 55044187 w 91"/>
                <a:gd name="T47" fmla="*/ 69572157 h 95"/>
                <a:gd name="T48" fmla="*/ 53145297 w 91"/>
                <a:gd name="T49" fmla="*/ 65886061 h 95"/>
                <a:gd name="T50" fmla="*/ 49861080 w 91"/>
                <a:gd name="T51" fmla="*/ 64489678 h 95"/>
                <a:gd name="T52" fmla="*/ 47978220 w 91"/>
                <a:gd name="T53" fmla="*/ 60808888 h 95"/>
                <a:gd name="T54" fmla="*/ 43792663 w 91"/>
                <a:gd name="T55" fmla="*/ 59624602 h 95"/>
                <a:gd name="T56" fmla="*/ 35728817 w 91"/>
                <a:gd name="T57" fmla="*/ 52088326 h 95"/>
                <a:gd name="T58" fmla="*/ 28924992 w 91"/>
                <a:gd name="T59" fmla="*/ 45986404 h 95"/>
                <a:gd name="T60" fmla="*/ 27871661 w 91"/>
                <a:gd name="T61" fmla="*/ 43024969 h 95"/>
                <a:gd name="T62" fmla="*/ 20850356 w 91"/>
                <a:gd name="T63" fmla="*/ 31441225 h 95"/>
                <a:gd name="T64" fmla="*/ 14049246 w 91"/>
                <a:gd name="T65" fmla="*/ 29374920 h 95"/>
                <a:gd name="T66" fmla="*/ 9609935 w 91"/>
                <a:gd name="T67" fmla="*/ 32306475 h 95"/>
                <a:gd name="T68" fmla="*/ 5974212 w 91"/>
                <a:gd name="T69" fmla="*/ 32306475 h 95"/>
                <a:gd name="T70" fmla="*/ 5230325 w 91"/>
                <a:gd name="T71" fmla="*/ 29374920 h 95"/>
                <a:gd name="T72" fmla="*/ 2540437 w 91"/>
                <a:gd name="T73" fmla="*/ 23608575 h 95"/>
                <a:gd name="T74" fmla="*/ 0 w 91"/>
                <a:gd name="T75" fmla="*/ 19416494 h 95"/>
                <a:gd name="T76" fmla="*/ 2540437 w 91"/>
                <a:gd name="T77" fmla="*/ 18666093 h 95"/>
                <a:gd name="T78" fmla="*/ 3284256 w 91"/>
                <a:gd name="T79" fmla="*/ 10840511 h 95"/>
                <a:gd name="T80" fmla="*/ 8866273 w 91"/>
                <a:gd name="T81" fmla="*/ 9968070 h 95"/>
                <a:gd name="T82" fmla="*/ 12993130 w 91"/>
                <a:gd name="T83" fmla="*/ 5759328 h 95"/>
                <a:gd name="T84" fmla="*/ 20106464 w 91"/>
                <a:gd name="T85" fmla="*/ 7008797 h 95"/>
                <a:gd name="T86" fmla="*/ 22599173 w 91"/>
                <a:gd name="T87" fmla="*/ 4854159 h 95"/>
                <a:gd name="T88" fmla="*/ 31615221 w 91"/>
                <a:gd name="T89" fmla="*/ 0 h 95"/>
                <a:gd name="T90" fmla="*/ 37673290 w 91"/>
                <a:gd name="T91" fmla="*/ 2959271 h 95"/>
                <a:gd name="T92" fmla="*/ 43792663 w 91"/>
                <a:gd name="T93" fmla="*/ 3671998 h 95"/>
                <a:gd name="T94" fmla="*/ 45396073 w 91"/>
                <a:gd name="T95" fmla="*/ 5759328 h 95"/>
                <a:gd name="T96" fmla="*/ 45396073 w 91"/>
                <a:gd name="T97" fmla="*/ 11496686 h 9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91"/>
                <a:gd name="T148" fmla="*/ 0 h 95"/>
                <a:gd name="T149" fmla="*/ 91 w 91"/>
                <a:gd name="T150" fmla="*/ 95 h 9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91" h="95">
                  <a:moveTo>
                    <a:pt x="52" y="12"/>
                  </a:moveTo>
                  <a:cubicBezTo>
                    <a:pt x="51" y="13"/>
                    <a:pt x="50" y="13"/>
                    <a:pt x="49" y="14"/>
                  </a:cubicBezTo>
                  <a:cubicBezTo>
                    <a:pt x="48" y="15"/>
                    <a:pt x="47" y="15"/>
                    <a:pt x="45" y="16"/>
                  </a:cubicBezTo>
                  <a:cubicBezTo>
                    <a:pt x="45" y="16"/>
                    <a:pt x="45" y="17"/>
                    <a:pt x="44" y="18"/>
                  </a:cubicBezTo>
                  <a:cubicBezTo>
                    <a:pt x="43" y="18"/>
                    <a:pt x="43" y="18"/>
                    <a:pt x="42" y="18"/>
                  </a:cubicBezTo>
                  <a:cubicBezTo>
                    <a:pt x="42" y="22"/>
                    <a:pt x="42" y="26"/>
                    <a:pt x="42" y="29"/>
                  </a:cubicBezTo>
                  <a:cubicBezTo>
                    <a:pt x="44" y="31"/>
                    <a:pt x="45" y="33"/>
                    <a:pt x="46" y="34"/>
                  </a:cubicBezTo>
                  <a:cubicBezTo>
                    <a:pt x="47" y="35"/>
                    <a:pt x="48" y="36"/>
                    <a:pt x="49" y="36"/>
                  </a:cubicBezTo>
                  <a:cubicBezTo>
                    <a:pt x="49" y="36"/>
                    <a:pt x="50" y="36"/>
                    <a:pt x="50" y="36"/>
                  </a:cubicBezTo>
                  <a:cubicBezTo>
                    <a:pt x="51" y="37"/>
                    <a:pt x="52" y="37"/>
                    <a:pt x="52" y="38"/>
                  </a:cubicBezTo>
                  <a:cubicBezTo>
                    <a:pt x="53" y="40"/>
                    <a:pt x="53" y="41"/>
                    <a:pt x="54" y="43"/>
                  </a:cubicBezTo>
                  <a:cubicBezTo>
                    <a:pt x="54" y="44"/>
                    <a:pt x="55" y="45"/>
                    <a:pt x="55" y="46"/>
                  </a:cubicBezTo>
                  <a:cubicBezTo>
                    <a:pt x="58" y="49"/>
                    <a:pt x="58" y="50"/>
                    <a:pt x="63" y="54"/>
                  </a:cubicBezTo>
                  <a:cubicBezTo>
                    <a:pt x="66" y="54"/>
                    <a:pt x="70" y="53"/>
                    <a:pt x="72" y="56"/>
                  </a:cubicBezTo>
                  <a:cubicBezTo>
                    <a:pt x="73" y="57"/>
                    <a:pt x="71" y="58"/>
                    <a:pt x="72" y="59"/>
                  </a:cubicBezTo>
                  <a:cubicBezTo>
                    <a:pt x="72" y="59"/>
                    <a:pt x="72" y="59"/>
                    <a:pt x="73" y="59"/>
                  </a:cubicBezTo>
                  <a:cubicBezTo>
                    <a:pt x="73" y="59"/>
                    <a:pt x="73" y="60"/>
                    <a:pt x="73" y="60"/>
                  </a:cubicBezTo>
                  <a:cubicBezTo>
                    <a:pt x="75" y="60"/>
                    <a:pt x="77" y="61"/>
                    <a:pt x="78" y="62"/>
                  </a:cubicBezTo>
                  <a:cubicBezTo>
                    <a:pt x="81" y="65"/>
                    <a:pt x="84" y="68"/>
                    <a:pt x="88" y="68"/>
                  </a:cubicBezTo>
                  <a:cubicBezTo>
                    <a:pt x="89" y="70"/>
                    <a:pt x="90" y="71"/>
                    <a:pt x="91" y="72"/>
                  </a:cubicBezTo>
                  <a:cubicBezTo>
                    <a:pt x="91" y="73"/>
                    <a:pt x="91" y="74"/>
                    <a:pt x="91" y="75"/>
                  </a:cubicBezTo>
                  <a:cubicBezTo>
                    <a:pt x="90" y="75"/>
                    <a:pt x="89" y="75"/>
                    <a:pt x="88" y="74"/>
                  </a:cubicBezTo>
                  <a:cubicBezTo>
                    <a:pt x="87" y="74"/>
                    <a:pt x="87" y="73"/>
                    <a:pt x="87" y="73"/>
                  </a:cubicBezTo>
                  <a:cubicBezTo>
                    <a:pt x="86" y="72"/>
                    <a:pt x="85" y="72"/>
                    <a:pt x="84" y="71"/>
                  </a:cubicBezTo>
                  <a:cubicBezTo>
                    <a:pt x="84" y="71"/>
                    <a:pt x="84" y="71"/>
                    <a:pt x="83" y="70"/>
                  </a:cubicBezTo>
                  <a:cubicBezTo>
                    <a:pt x="82" y="70"/>
                    <a:pt x="81" y="70"/>
                    <a:pt x="80" y="70"/>
                  </a:cubicBezTo>
                  <a:cubicBezTo>
                    <a:pt x="80" y="70"/>
                    <a:pt x="80" y="70"/>
                    <a:pt x="79" y="70"/>
                  </a:cubicBezTo>
                  <a:cubicBezTo>
                    <a:pt x="79" y="71"/>
                    <a:pt x="79" y="71"/>
                    <a:pt x="79" y="71"/>
                  </a:cubicBezTo>
                  <a:cubicBezTo>
                    <a:pt x="78" y="72"/>
                    <a:pt x="77" y="73"/>
                    <a:pt x="76" y="74"/>
                  </a:cubicBezTo>
                  <a:cubicBezTo>
                    <a:pt x="76" y="74"/>
                    <a:pt x="76" y="75"/>
                    <a:pt x="77" y="76"/>
                  </a:cubicBezTo>
                  <a:cubicBezTo>
                    <a:pt x="77" y="78"/>
                    <a:pt x="79" y="78"/>
                    <a:pt x="80" y="80"/>
                  </a:cubicBezTo>
                  <a:cubicBezTo>
                    <a:pt x="80" y="80"/>
                    <a:pt x="80" y="80"/>
                    <a:pt x="81" y="81"/>
                  </a:cubicBezTo>
                  <a:cubicBezTo>
                    <a:pt x="81" y="81"/>
                    <a:pt x="81" y="82"/>
                    <a:pt x="82" y="82"/>
                  </a:cubicBezTo>
                  <a:cubicBezTo>
                    <a:pt x="82" y="83"/>
                    <a:pt x="82" y="84"/>
                    <a:pt x="82" y="85"/>
                  </a:cubicBezTo>
                  <a:cubicBezTo>
                    <a:pt x="81" y="87"/>
                    <a:pt x="79" y="85"/>
                    <a:pt x="78" y="86"/>
                  </a:cubicBezTo>
                  <a:cubicBezTo>
                    <a:pt x="77" y="88"/>
                    <a:pt x="78" y="89"/>
                    <a:pt x="77" y="91"/>
                  </a:cubicBezTo>
                  <a:cubicBezTo>
                    <a:pt x="77" y="93"/>
                    <a:pt x="76" y="95"/>
                    <a:pt x="74" y="95"/>
                  </a:cubicBezTo>
                  <a:cubicBezTo>
                    <a:pt x="72" y="95"/>
                    <a:pt x="71" y="95"/>
                    <a:pt x="69" y="94"/>
                  </a:cubicBezTo>
                  <a:cubicBezTo>
                    <a:pt x="69" y="94"/>
                    <a:pt x="69" y="93"/>
                    <a:pt x="69" y="93"/>
                  </a:cubicBezTo>
                  <a:cubicBezTo>
                    <a:pt x="70" y="92"/>
                    <a:pt x="71" y="92"/>
                    <a:pt x="71" y="91"/>
                  </a:cubicBezTo>
                  <a:cubicBezTo>
                    <a:pt x="71" y="88"/>
                    <a:pt x="72" y="87"/>
                    <a:pt x="73" y="85"/>
                  </a:cubicBezTo>
                  <a:cubicBezTo>
                    <a:pt x="74" y="85"/>
                    <a:pt x="74" y="84"/>
                    <a:pt x="73" y="83"/>
                  </a:cubicBezTo>
                  <a:cubicBezTo>
                    <a:pt x="73" y="82"/>
                    <a:pt x="72" y="81"/>
                    <a:pt x="71" y="80"/>
                  </a:cubicBezTo>
                  <a:cubicBezTo>
                    <a:pt x="71" y="78"/>
                    <a:pt x="70" y="76"/>
                    <a:pt x="70" y="74"/>
                  </a:cubicBezTo>
                  <a:cubicBezTo>
                    <a:pt x="70" y="74"/>
                    <a:pt x="70" y="73"/>
                    <a:pt x="69" y="73"/>
                  </a:cubicBezTo>
                  <a:cubicBezTo>
                    <a:pt x="69" y="73"/>
                    <a:pt x="68" y="74"/>
                    <a:pt x="67" y="73"/>
                  </a:cubicBezTo>
                  <a:cubicBezTo>
                    <a:pt x="66" y="73"/>
                    <a:pt x="66" y="72"/>
                    <a:pt x="66" y="72"/>
                  </a:cubicBezTo>
                  <a:cubicBezTo>
                    <a:pt x="65" y="72"/>
                    <a:pt x="64" y="72"/>
                    <a:pt x="63" y="71"/>
                  </a:cubicBezTo>
                  <a:cubicBezTo>
                    <a:pt x="63" y="70"/>
                    <a:pt x="63" y="69"/>
                    <a:pt x="63" y="68"/>
                  </a:cubicBezTo>
                  <a:cubicBezTo>
                    <a:pt x="62" y="67"/>
                    <a:pt x="61" y="67"/>
                    <a:pt x="61" y="67"/>
                  </a:cubicBezTo>
                  <a:cubicBezTo>
                    <a:pt x="61" y="67"/>
                    <a:pt x="61" y="66"/>
                    <a:pt x="61" y="66"/>
                  </a:cubicBezTo>
                  <a:cubicBezTo>
                    <a:pt x="59" y="65"/>
                    <a:pt x="58" y="66"/>
                    <a:pt x="57" y="66"/>
                  </a:cubicBezTo>
                  <a:cubicBezTo>
                    <a:pt x="56" y="65"/>
                    <a:pt x="57" y="64"/>
                    <a:pt x="56" y="63"/>
                  </a:cubicBezTo>
                  <a:cubicBezTo>
                    <a:pt x="56" y="62"/>
                    <a:pt x="55" y="62"/>
                    <a:pt x="55" y="62"/>
                  </a:cubicBezTo>
                  <a:cubicBezTo>
                    <a:pt x="55" y="61"/>
                    <a:pt x="54" y="62"/>
                    <a:pt x="53" y="62"/>
                  </a:cubicBezTo>
                  <a:cubicBezTo>
                    <a:pt x="52" y="61"/>
                    <a:pt x="51" y="62"/>
                    <a:pt x="50" y="61"/>
                  </a:cubicBezTo>
                  <a:cubicBezTo>
                    <a:pt x="50" y="61"/>
                    <a:pt x="50" y="60"/>
                    <a:pt x="50" y="60"/>
                  </a:cubicBezTo>
                  <a:cubicBezTo>
                    <a:pt x="46" y="59"/>
                    <a:pt x="44" y="55"/>
                    <a:pt x="41" y="53"/>
                  </a:cubicBezTo>
                  <a:cubicBezTo>
                    <a:pt x="39" y="52"/>
                    <a:pt x="36" y="51"/>
                    <a:pt x="34" y="48"/>
                  </a:cubicBezTo>
                  <a:cubicBezTo>
                    <a:pt x="34" y="48"/>
                    <a:pt x="33" y="48"/>
                    <a:pt x="33" y="47"/>
                  </a:cubicBezTo>
                  <a:cubicBezTo>
                    <a:pt x="32" y="47"/>
                    <a:pt x="32" y="46"/>
                    <a:pt x="32" y="45"/>
                  </a:cubicBezTo>
                  <a:cubicBezTo>
                    <a:pt x="32" y="45"/>
                    <a:pt x="32" y="44"/>
                    <a:pt x="32" y="44"/>
                  </a:cubicBezTo>
                  <a:cubicBezTo>
                    <a:pt x="31" y="42"/>
                    <a:pt x="30" y="40"/>
                    <a:pt x="29" y="38"/>
                  </a:cubicBezTo>
                  <a:cubicBezTo>
                    <a:pt x="28" y="36"/>
                    <a:pt x="27" y="33"/>
                    <a:pt x="24" y="32"/>
                  </a:cubicBezTo>
                  <a:cubicBezTo>
                    <a:pt x="22" y="31"/>
                    <a:pt x="21" y="29"/>
                    <a:pt x="20" y="29"/>
                  </a:cubicBezTo>
                  <a:cubicBezTo>
                    <a:pt x="19" y="28"/>
                    <a:pt x="17" y="29"/>
                    <a:pt x="16" y="30"/>
                  </a:cubicBezTo>
                  <a:cubicBezTo>
                    <a:pt x="16" y="30"/>
                    <a:pt x="15" y="31"/>
                    <a:pt x="15" y="32"/>
                  </a:cubicBezTo>
                  <a:cubicBezTo>
                    <a:pt x="14" y="32"/>
                    <a:pt x="13" y="33"/>
                    <a:pt x="11" y="33"/>
                  </a:cubicBezTo>
                  <a:cubicBezTo>
                    <a:pt x="10" y="34"/>
                    <a:pt x="8" y="34"/>
                    <a:pt x="7" y="3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2"/>
                    <a:pt x="7" y="31"/>
                  </a:cubicBezTo>
                  <a:cubicBezTo>
                    <a:pt x="6" y="31"/>
                    <a:pt x="6" y="30"/>
                    <a:pt x="6" y="30"/>
                  </a:cubicBezTo>
                  <a:cubicBezTo>
                    <a:pt x="5" y="30"/>
                    <a:pt x="4" y="29"/>
                    <a:pt x="4" y="28"/>
                  </a:cubicBezTo>
                  <a:cubicBezTo>
                    <a:pt x="3" y="27"/>
                    <a:pt x="4" y="25"/>
                    <a:pt x="3" y="24"/>
                  </a:cubicBezTo>
                  <a:cubicBezTo>
                    <a:pt x="2" y="23"/>
                    <a:pt x="1" y="23"/>
                    <a:pt x="0" y="22"/>
                  </a:cubicBezTo>
                  <a:cubicBezTo>
                    <a:pt x="0" y="21"/>
                    <a:pt x="0" y="20"/>
                    <a:pt x="0" y="20"/>
                  </a:cubicBezTo>
                  <a:cubicBezTo>
                    <a:pt x="1" y="20"/>
                    <a:pt x="2" y="20"/>
                    <a:pt x="2" y="20"/>
                  </a:cubicBezTo>
                  <a:cubicBezTo>
                    <a:pt x="2" y="19"/>
                    <a:pt x="3" y="19"/>
                    <a:pt x="3" y="19"/>
                  </a:cubicBezTo>
                  <a:cubicBezTo>
                    <a:pt x="3" y="17"/>
                    <a:pt x="2" y="15"/>
                    <a:pt x="3" y="13"/>
                  </a:cubicBezTo>
                  <a:cubicBezTo>
                    <a:pt x="3" y="13"/>
                    <a:pt x="4" y="12"/>
                    <a:pt x="4" y="11"/>
                  </a:cubicBezTo>
                  <a:cubicBezTo>
                    <a:pt x="5" y="11"/>
                    <a:pt x="7" y="11"/>
                    <a:pt x="9" y="11"/>
                  </a:cubicBezTo>
                  <a:cubicBezTo>
                    <a:pt x="10" y="11"/>
                    <a:pt x="10" y="10"/>
                    <a:pt x="10" y="10"/>
                  </a:cubicBezTo>
                  <a:cubicBezTo>
                    <a:pt x="10" y="9"/>
                    <a:pt x="11" y="8"/>
                    <a:pt x="12" y="8"/>
                  </a:cubicBezTo>
                  <a:cubicBezTo>
                    <a:pt x="13" y="8"/>
                    <a:pt x="14" y="7"/>
                    <a:pt x="15" y="6"/>
                  </a:cubicBezTo>
                  <a:cubicBezTo>
                    <a:pt x="16" y="5"/>
                    <a:pt x="18" y="6"/>
                    <a:pt x="19" y="6"/>
                  </a:cubicBezTo>
                  <a:cubicBezTo>
                    <a:pt x="20" y="6"/>
                    <a:pt x="21" y="7"/>
                    <a:pt x="23" y="7"/>
                  </a:cubicBezTo>
                  <a:cubicBezTo>
                    <a:pt x="23" y="6"/>
                    <a:pt x="23" y="6"/>
                    <a:pt x="24" y="5"/>
                  </a:cubicBezTo>
                  <a:cubicBezTo>
                    <a:pt x="24" y="5"/>
                    <a:pt x="26" y="5"/>
                    <a:pt x="26" y="5"/>
                  </a:cubicBezTo>
                  <a:cubicBezTo>
                    <a:pt x="27" y="4"/>
                    <a:pt x="28" y="3"/>
                    <a:pt x="29" y="2"/>
                  </a:cubicBezTo>
                  <a:cubicBezTo>
                    <a:pt x="31" y="1"/>
                    <a:pt x="34" y="3"/>
                    <a:pt x="36" y="0"/>
                  </a:cubicBezTo>
                  <a:cubicBezTo>
                    <a:pt x="37" y="0"/>
                    <a:pt x="39" y="0"/>
                    <a:pt x="41" y="0"/>
                  </a:cubicBezTo>
                  <a:cubicBezTo>
                    <a:pt x="41" y="1"/>
                    <a:pt x="42" y="2"/>
                    <a:pt x="43" y="3"/>
                  </a:cubicBezTo>
                  <a:cubicBezTo>
                    <a:pt x="44" y="4"/>
                    <a:pt x="44" y="4"/>
                    <a:pt x="45" y="4"/>
                  </a:cubicBezTo>
                  <a:cubicBezTo>
                    <a:pt x="47" y="5"/>
                    <a:pt x="48" y="4"/>
                    <a:pt x="50" y="4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2" y="5"/>
                    <a:pt x="53" y="6"/>
                    <a:pt x="52" y="6"/>
                  </a:cubicBezTo>
                  <a:cubicBezTo>
                    <a:pt x="52" y="8"/>
                    <a:pt x="53" y="9"/>
                    <a:pt x="52" y="11"/>
                  </a:cubicBezTo>
                  <a:lnTo>
                    <a:pt x="52" y="12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8" name="Freeform 130"/>
            <p:cNvSpPr>
              <a:spLocks/>
            </p:cNvSpPr>
            <p:nvPr/>
          </p:nvSpPr>
          <p:spPr bwMode="auto">
            <a:xfrm>
              <a:off x="6993719" y="3403507"/>
              <a:ext cx="10786" cy="7300"/>
            </a:xfrm>
            <a:custGeom>
              <a:avLst/>
              <a:gdLst>
                <a:gd name="T0" fmla="*/ 17792257 w 23"/>
                <a:gd name="T1" fmla="*/ 7659284 h 15"/>
                <a:gd name="T2" fmla="*/ 18819769 w 23"/>
                <a:gd name="T3" fmla="*/ 727531 h 15"/>
                <a:gd name="T4" fmla="*/ 18819769 w 23"/>
                <a:gd name="T5" fmla="*/ 0 h 15"/>
                <a:gd name="T6" fmla="*/ 15292894 w 23"/>
                <a:gd name="T7" fmla="*/ 727531 h 15"/>
                <a:gd name="T8" fmla="*/ 13778124 w 23"/>
                <a:gd name="T9" fmla="*/ 1697572 h 15"/>
                <a:gd name="T10" fmla="*/ 5078724 w 23"/>
                <a:gd name="T11" fmla="*/ 1697572 h 15"/>
                <a:gd name="T12" fmla="*/ 0 w 23"/>
                <a:gd name="T13" fmla="*/ 1697572 h 15"/>
                <a:gd name="T14" fmla="*/ 789222 w 23"/>
                <a:gd name="T15" fmla="*/ 4688532 h 15"/>
                <a:gd name="T16" fmla="*/ 3227747 w 23"/>
                <a:gd name="T17" fmla="*/ 5234181 h 15"/>
                <a:gd name="T18" fmla="*/ 6988262 w 23"/>
                <a:gd name="T19" fmla="*/ 6931751 h 15"/>
                <a:gd name="T20" fmla="*/ 12713535 w 23"/>
                <a:gd name="T21" fmla="*/ 9242333 h 15"/>
                <a:gd name="T22" fmla="*/ 13778124 w 23"/>
                <a:gd name="T23" fmla="*/ 9902491 h 15"/>
                <a:gd name="T24" fmla="*/ 19630332 w 23"/>
                <a:gd name="T25" fmla="*/ 10939910 h 15"/>
                <a:gd name="T26" fmla="*/ 18819769 w 23"/>
                <a:gd name="T27" fmla="*/ 8614993 h 15"/>
                <a:gd name="T28" fmla="*/ 17792257 w 23"/>
                <a:gd name="T29" fmla="*/ 7659284 h 1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"/>
                <a:gd name="T46" fmla="*/ 0 h 15"/>
                <a:gd name="T47" fmla="*/ 23 w 23"/>
                <a:gd name="T48" fmla="*/ 15 h 1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" h="15">
                  <a:moveTo>
                    <a:pt x="21" y="10"/>
                  </a:moveTo>
                  <a:cubicBezTo>
                    <a:pt x="19" y="7"/>
                    <a:pt x="20" y="4"/>
                    <a:pt x="22" y="1"/>
                  </a:cubicBezTo>
                  <a:cubicBezTo>
                    <a:pt x="22" y="1"/>
                    <a:pt x="22" y="0"/>
                    <a:pt x="22" y="0"/>
                  </a:cubicBezTo>
                  <a:cubicBezTo>
                    <a:pt x="21" y="0"/>
                    <a:pt x="19" y="0"/>
                    <a:pt x="18" y="1"/>
                  </a:cubicBezTo>
                  <a:cubicBezTo>
                    <a:pt x="18" y="1"/>
                    <a:pt x="17" y="2"/>
                    <a:pt x="16" y="2"/>
                  </a:cubicBezTo>
                  <a:cubicBezTo>
                    <a:pt x="13" y="2"/>
                    <a:pt x="9" y="3"/>
                    <a:pt x="6" y="2"/>
                  </a:cubicBezTo>
                  <a:cubicBezTo>
                    <a:pt x="4" y="2"/>
                    <a:pt x="1" y="1"/>
                    <a:pt x="0" y="2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3" y="7"/>
                    <a:pt x="4" y="7"/>
                  </a:cubicBezTo>
                  <a:cubicBezTo>
                    <a:pt x="6" y="8"/>
                    <a:pt x="7" y="8"/>
                    <a:pt x="8" y="9"/>
                  </a:cubicBezTo>
                  <a:cubicBezTo>
                    <a:pt x="11" y="10"/>
                    <a:pt x="13" y="11"/>
                    <a:pt x="15" y="12"/>
                  </a:cubicBezTo>
                  <a:cubicBezTo>
                    <a:pt x="16" y="12"/>
                    <a:pt x="16" y="12"/>
                    <a:pt x="16" y="13"/>
                  </a:cubicBezTo>
                  <a:cubicBezTo>
                    <a:pt x="18" y="14"/>
                    <a:pt x="20" y="15"/>
                    <a:pt x="23" y="14"/>
                  </a:cubicBezTo>
                  <a:cubicBezTo>
                    <a:pt x="23" y="13"/>
                    <a:pt x="23" y="12"/>
                    <a:pt x="22" y="11"/>
                  </a:cubicBezTo>
                  <a:cubicBezTo>
                    <a:pt x="22" y="11"/>
                    <a:pt x="22" y="10"/>
                    <a:pt x="21" y="1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9" name="Freeform 131"/>
            <p:cNvSpPr>
              <a:spLocks/>
            </p:cNvSpPr>
            <p:nvPr/>
          </p:nvSpPr>
          <p:spPr bwMode="auto">
            <a:xfrm>
              <a:off x="7020056" y="3387014"/>
              <a:ext cx="21822" cy="25145"/>
            </a:xfrm>
            <a:custGeom>
              <a:avLst/>
              <a:gdLst>
                <a:gd name="T0" fmla="*/ 41943004 w 47"/>
                <a:gd name="T1" fmla="*/ 7702596 h 52"/>
                <a:gd name="T2" fmla="*/ 37279843 w 47"/>
                <a:gd name="T3" fmla="*/ 6898101 h 52"/>
                <a:gd name="T4" fmla="*/ 28237493 w 47"/>
                <a:gd name="T5" fmla="*/ 8558151 h 52"/>
                <a:gd name="T6" fmla="*/ 30073499 w 47"/>
                <a:gd name="T7" fmla="*/ 11323590 h 52"/>
                <a:gd name="T8" fmla="*/ 22667487 w 47"/>
                <a:gd name="T9" fmla="*/ 12540778 h 52"/>
                <a:gd name="T10" fmla="*/ 18640233 w 47"/>
                <a:gd name="T11" fmla="*/ 10674878 h 52"/>
                <a:gd name="T12" fmla="*/ 17759659 w 47"/>
                <a:gd name="T13" fmla="*/ 15461195 h 52"/>
                <a:gd name="T14" fmla="*/ 20626693 w 47"/>
                <a:gd name="T15" fmla="*/ 25250180 h 52"/>
                <a:gd name="T16" fmla="*/ 24173459 w 47"/>
                <a:gd name="T17" fmla="*/ 29663759 h 52"/>
                <a:gd name="T18" fmla="*/ 26160651 w 47"/>
                <a:gd name="T19" fmla="*/ 30917299 h 52"/>
                <a:gd name="T20" fmla="*/ 28237493 w 47"/>
                <a:gd name="T21" fmla="*/ 32422516 h 52"/>
                <a:gd name="T22" fmla="*/ 30914397 w 47"/>
                <a:gd name="T23" fmla="*/ 37454634 h 52"/>
                <a:gd name="T24" fmla="*/ 25383254 w 47"/>
                <a:gd name="T25" fmla="*/ 38595165 h 52"/>
                <a:gd name="T26" fmla="*/ 25383254 w 47"/>
                <a:gd name="T27" fmla="*/ 42240969 h 52"/>
                <a:gd name="T28" fmla="*/ 23330483 w 47"/>
                <a:gd name="T29" fmla="*/ 41357678 h 52"/>
                <a:gd name="T30" fmla="*/ 21467591 w 47"/>
                <a:gd name="T31" fmla="*/ 41357678 h 52"/>
                <a:gd name="T32" fmla="*/ 23330483 w 47"/>
                <a:gd name="T33" fmla="*/ 47883186 h 52"/>
                <a:gd name="T34" fmla="*/ 21467591 w 47"/>
                <a:gd name="T35" fmla="*/ 47027825 h 52"/>
                <a:gd name="T36" fmla="*/ 18640233 w 47"/>
                <a:gd name="T37" fmla="*/ 49907084 h 52"/>
                <a:gd name="T38" fmla="*/ 17133383 w 47"/>
                <a:gd name="T39" fmla="*/ 47027825 h 52"/>
                <a:gd name="T40" fmla="*/ 15147617 w 47"/>
                <a:gd name="T41" fmla="*/ 44264300 h 52"/>
                <a:gd name="T42" fmla="*/ 11077036 w 47"/>
                <a:gd name="T43" fmla="*/ 46353710 h 52"/>
                <a:gd name="T44" fmla="*/ 10235609 w 47"/>
                <a:gd name="T45" fmla="*/ 33682755 h 52"/>
                <a:gd name="T46" fmla="*/ 15785163 w 47"/>
                <a:gd name="T47" fmla="*/ 33682755 h 52"/>
                <a:gd name="T48" fmla="*/ 22667487 w 47"/>
                <a:gd name="T49" fmla="*/ 34487402 h 52"/>
                <a:gd name="T50" fmla="*/ 20626693 w 47"/>
                <a:gd name="T51" fmla="*/ 31791129 h 52"/>
                <a:gd name="T52" fmla="*/ 12226429 w 47"/>
                <a:gd name="T53" fmla="*/ 30917299 h 52"/>
                <a:gd name="T54" fmla="*/ 6683811 w 47"/>
                <a:gd name="T55" fmla="*/ 26784633 h 52"/>
                <a:gd name="T56" fmla="*/ 840908 w 47"/>
                <a:gd name="T57" fmla="*/ 19075104 h 52"/>
                <a:gd name="T58" fmla="*/ 0 w 47"/>
                <a:gd name="T59" fmla="*/ 15461195 h 52"/>
                <a:gd name="T60" fmla="*/ 840908 w 47"/>
                <a:gd name="T61" fmla="*/ 14239871 h 52"/>
                <a:gd name="T62" fmla="*/ 6683811 w 47"/>
                <a:gd name="T63" fmla="*/ 6898101 h 52"/>
                <a:gd name="T64" fmla="*/ 11077036 w 47"/>
                <a:gd name="T65" fmla="*/ 3618081 h 52"/>
                <a:gd name="T66" fmla="*/ 19837753 w 47"/>
                <a:gd name="T67" fmla="*/ 2023861 h 52"/>
                <a:gd name="T68" fmla="*/ 19837753 w 47"/>
                <a:gd name="T69" fmla="*/ 855616 h 52"/>
                <a:gd name="T70" fmla="*/ 28875172 w 47"/>
                <a:gd name="T71" fmla="*/ 855616 h 52"/>
                <a:gd name="T72" fmla="*/ 34407504 w 47"/>
                <a:gd name="T73" fmla="*/ 855616 h 52"/>
                <a:gd name="T74" fmla="*/ 43179666 w 47"/>
                <a:gd name="T75" fmla="*/ 855616 h 52"/>
                <a:gd name="T76" fmla="*/ 43179666 w 47"/>
                <a:gd name="T77" fmla="*/ 6898101 h 52"/>
                <a:gd name="T78" fmla="*/ 41943004 w 47"/>
                <a:gd name="T79" fmla="*/ 7702596 h 5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7"/>
                <a:gd name="T121" fmla="*/ 0 h 52"/>
                <a:gd name="T122" fmla="*/ 47 w 47"/>
                <a:gd name="T123" fmla="*/ 52 h 5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7" h="52">
                  <a:moveTo>
                    <a:pt x="45" y="8"/>
                  </a:moveTo>
                  <a:cubicBezTo>
                    <a:pt x="45" y="8"/>
                    <a:pt x="45" y="8"/>
                    <a:pt x="45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6"/>
                    <a:pt x="41" y="6"/>
                    <a:pt x="40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4" y="8"/>
                    <a:pt x="32" y="9"/>
                    <a:pt x="30" y="9"/>
                  </a:cubicBezTo>
                  <a:cubicBezTo>
                    <a:pt x="30" y="9"/>
                    <a:pt x="30" y="10"/>
                    <a:pt x="30" y="10"/>
                  </a:cubicBezTo>
                  <a:cubicBezTo>
                    <a:pt x="31" y="11"/>
                    <a:pt x="32" y="11"/>
                    <a:pt x="32" y="12"/>
                  </a:cubicBezTo>
                  <a:cubicBezTo>
                    <a:pt x="32" y="13"/>
                    <a:pt x="32" y="14"/>
                    <a:pt x="32" y="14"/>
                  </a:cubicBezTo>
                  <a:cubicBezTo>
                    <a:pt x="29" y="14"/>
                    <a:pt x="27" y="13"/>
                    <a:pt x="24" y="13"/>
                  </a:cubicBezTo>
                  <a:cubicBezTo>
                    <a:pt x="24" y="13"/>
                    <a:pt x="23" y="11"/>
                    <a:pt x="22" y="11"/>
                  </a:cubicBezTo>
                  <a:cubicBezTo>
                    <a:pt x="22" y="11"/>
                    <a:pt x="21" y="11"/>
                    <a:pt x="20" y="11"/>
                  </a:cubicBezTo>
                  <a:cubicBezTo>
                    <a:pt x="19" y="11"/>
                    <a:pt x="19" y="11"/>
                    <a:pt x="19" y="12"/>
                  </a:cubicBezTo>
                  <a:cubicBezTo>
                    <a:pt x="18" y="13"/>
                    <a:pt x="18" y="15"/>
                    <a:pt x="19" y="16"/>
                  </a:cubicBezTo>
                  <a:cubicBezTo>
                    <a:pt x="20" y="18"/>
                    <a:pt x="22" y="20"/>
                    <a:pt x="23" y="22"/>
                  </a:cubicBezTo>
                  <a:cubicBezTo>
                    <a:pt x="24" y="24"/>
                    <a:pt x="22" y="25"/>
                    <a:pt x="22" y="26"/>
                  </a:cubicBezTo>
                  <a:cubicBezTo>
                    <a:pt x="21" y="26"/>
                    <a:pt x="22" y="27"/>
                    <a:pt x="22" y="28"/>
                  </a:cubicBezTo>
                  <a:cubicBezTo>
                    <a:pt x="24" y="29"/>
                    <a:pt x="24" y="30"/>
                    <a:pt x="26" y="31"/>
                  </a:cubicBezTo>
                  <a:cubicBezTo>
                    <a:pt x="26" y="31"/>
                    <a:pt x="27" y="31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3"/>
                    <a:pt x="28" y="32"/>
                  </a:cubicBezTo>
                  <a:cubicBezTo>
                    <a:pt x="28" y="33"/>
                    <a:pt x="29" y="34"/>
                    <a:pt x="30" y="34"/>
                  </a:cubicBezTo>
                  <a:cubicBezTo>
                    <a:pt x="30" y="35"/>
                    <a:pt x="31" y="36"/>
                    <a:pt x="32" y="36"/>
                  </a:cubicBezTo>
                  <a:cubicBezTo>
                    <a:pt x="32" y="37"/>
                    <a:pt x="32" y="38"/>
                    <a:pt x="33" y="39"/>
                  </a:cubicBezTo>
                  <a:cubicBezTo>
                    <a:pt x="33" y="39"/>
                    <a:pt x="33" y="40"/>
                    <a:pt x="33" y="40"/>
                  </a:cubicBezTo>
                  <a:cubicBezTo>
                    <a:pt x="31" y="40"/>
                    <a:pt x="29" y="39"/>
                    <a:pt x="27" y="40"/>
                  </a:cubicBezTo>
                  <a:cubicBezTo>
                    <a:pt x="26" y="40"/>
                    <a:pt x="27" y="41"/>
                    <a:pt x="27" y="41"/>
                  </a:cubicBezTo>
                  <a:cubicBezTo>
                    <a:pt x="27" y="42"/>
                    <a:pt x="28" y="43"/>
                    <a:pt x="27" y="44"/>
                  </a:cubicBezTo>
                  <a:cubicBezTo>
                    <a:pt x="27" y="44"/>
                    <a:pt x="27" y="44"/>
                    <a:pt x="26" y="44"/>
                  </a:cubicBezTo>
                  <a:cubicBezTo>
                    <a:pt x="26" y="44"/>
                    <a:pt x="25" y="43"/>
                    <a:pt x="25" y="43"/>
                  </a:cubicBezTo>
                  <a:cubicBezTo>
                    <a:pt x="24" y="42"/>
                    <a:pt x="22" y="42"/>
                    <a:pt x="22" y="43"/>
                  </a:cubicBezTo>
                  <a:cubicBezTo>
                    <a:pt x="22" y="43"/>
                    <a:pt x="23" y="43"/>
                    <a:pt x="23" y="43"/>
                  </a:cubicBezTo>
                  <a:cubicBezTo>
                    <a:pt x="22" y="45"/>
                    <a:pt x="23" y="47"/>
                    <a:pt x="24" y="49"/>
                  </a:cubicBezTo>
                  <a:cubicBezTo>
                    <a:pt x="24" y="49"/>
                    <a:pt x="24" y="50"/>
                    <a:pt x="25" y="50"/>
                  </a:cubicBezTo>
                  <a:cubicBezTo>
                    <a:pt x="25" y="50"/>
                    <a:pt x="25" y="51"/>
                    <a:pt x="25" y="51"/>
                  </a:cubicBezTo>
                  <a:cubicBezTo>
                    <a:pt x="24" y="51"/>
                    <a:pt x="24" y="50"/>
                    <a:pt x="23" y="49"/>
                  </a:cubicBezTo>
                  <a:cubicBezTo>
                    <a:pt x="21" y="49"/>
                    <a:pt x="21" y="51"/>
                    <a:pt x="21" y="52"/>
                  </a:cubicBezTo>
                  <a:cubicBezTo>
                    <a:pt x="21" y="52"/>
                    <a:pt x="20" y="52"/>
                    <a:pt x="20" y="52"/>
                  </a:cubicBezTo>
                  <a:cubicBezTo>
                    <a:pt x="20" y="52"/>
                    <a:pt x="20" y="51"/>
                    <a:pt x="20" y="51"/>
                  </a:cubicBezTo>
                  <a:cubicBezTo>
                    <a:pt x="20" y="50"/>
                    <a:pt x="19" y="50"/>
                    <a:pt x="18" y="49"/>
                  </a:cubicBezTo>
                  <a:cubicBezTo>
                    <a:pt x="18" y="48"/>
                    <a:pt x="18" y="47"/>
                    <a:pt x="17" y="46"/>
                  </a:cubicBezTo>
                  <a:cubicBezTo>
                    <a:pt x="17" y="46"/>
                    <a:pt x="16" y="46"/>
                    <a:pt x="16" y="46"/>
                  </a:cubicBezTo>
                  <a:cubicBezTo>
                    <a:pt x="15" y="47"/>
                    <a:pt x="15" y="48"/>
                    <a:pt x="15" y="48"/>
                  </a:cubicBezTo>
                  <a:cubicBezTo>
                    <a:pt x="14" y="49"/>
                    <a:pt x="13" y="49"/>
                    <a:pt x="12" y="48"/>
                  </a:cubicBezTo>
                  <a:cubicBezTo>
                    <a:pt x="12" y="45"/>
                    <a:pt x="14" y="40"/>
                    <a:pt x="10" y="38"/>
                  </a:cubicBezTo>
                  <a:cubicBezTo>
                    <a:pt x="10" y="37"/>
                    <a:pt x="10" y="36"/>
                    <a:pt x="11" y="35"/>
                  </a:cubicBezTo>
                  <a:cubicBezTo>
                    <a:pt x="12" y="34"/>
                    <a:pt x="14" y="34"/>
                    <a:pt x="14" y="33"/>
                  </a:cubicBezTo>
                  <a:cubicBezTo>
                    <a:pt x="15" y="32"/>
                    <a:pt x="16" y="34"/>
                    <a:pt x="17" y="35"/>
                  </a:cubicBezTo>
                  <a:cubicBezTo>
                    <a:pt x="18" y="36"/>
                    <a:pt x="19" y="35"/>
                    <a:pt x="20" y="36"/>
                  </a:cubicBezTo>
                  <a:cubicBezTo>
                    <a:pt x="21" y="36"/>
                    <a:pt x="23" y="36"/>
                    <a:pt x="24" y="36"/>
                  </a:cubicBezTo>
                  <a:cubicBezTo>
                    <a:pt x="24" y="36"/>
                    <a:pt x="24" y="35"/>
                    <a:pt x="23" y="35"/>
                  </a:cubicBezTo>
                  <a:cubicBezTo>
                    <a:pt x="23" y="34"/>
                    <a:pt x="22" y="33"/>
                    <a:pt x="22" y="33"/>
                  </a:cubicBezTo>
                  <a:cubicBezTo>
                    <a:pt x="21" y="33"/>
                    <a:pt x="21" y="32"/>
                    <a:pt x="20" y="32"/>
                  </a:cubicBezTo>
                  <a:cubicBezTo>
                    <a:pt x="17" y="31"/>
                    <a:pt x="15" y="31"/>
                    <a:pt x="13" y="32"/>
                  </a:cubicBezTo>
                  <a:cubicBezTo>
                    <a:pt x="11" y="32"/>
                    <a:pt x="8" y="32"/>
                    <a:pt x="7" y="30"/>
                  </a:cubicBezTo>
                  <a:cubicBezTo>
                    <a:pt x="7" y="29"/>
                    <a:pt x="7" y="29"/>
                    <a:pt x="7" y="28"/>
                  </a:cubicBezTo>
                  <a:cubicBezTo>
                    <a:pt x="6" y="27"/>
                    <a:pt x="7" y="26"/>
                    <a:pt x="6" y="25"/>
                  </a:cubicBezTo>
                  <a:cubicBezTo>
                    <a:pt x="4" y="24"/>
                    <a:pt x="3" y="22"/>
                    <a:pt x="1" y="20"/>
                  </a:cubicBezTo>
                  <a:cubicBezTo>
                    <a:pt x="1" y="20"/>
                    <a:pt x="0" y="18"/>
                    <a:pt x="0" y="17"/>
                  </a:cubicBezTo>
                  <a:cubicBezTo>
                    <a:pt x="0" y="17"/>
                    <a:pt x="0" y="16"/>
                    <a:pt x="0" y="16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3"/>
                    <a:pt x="4" y="12"/>
                    <a:pt x="5" y="10"/>
                  </a:cubicBezTo>
                  <a:cubicBezTo>
                    <a:pt x="6" y="10"/>
                    <a:pt x="7" y="8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0" y="7"/>
                    <a:pt x="12" y="6"/>
                    <a:pt x="12" y="4"/>
                  </a:cubicBezTo>
                  <a:cubicBezTo>
                    <a:pt x="15" y="3"/>
                    <a:pt x="17" y="4"/>
                    <a:pt x="19" y="4"/>
                  </a:cubicBezTo>
                  <a:cubicBezTo>
                    <a:pt x="20" y="3"/>
                    <a:pt x="20" y="3"/>
                    <a:pt x="21" y="2"/>
                  </a:cubicBezTo>
                  <a:cubicBezTo>
                    <a:pt x="21" y="2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3" y="1"/>
                    <a:pt x="26" y="3"/>
                    <a:pt x="29" y="2"/>
                  </a:cubicBezTo>
                  <a:cubicBezTo>
                    <a:pt x="30" y="2"/>
                    <a:pt x="30" y="1"/>
                    <a:pt x="31" y="1"/>
                  </a:cubicBezTo>
                  <a:cubicBezTo>
                    <a:pt x="33" y="0"/>
                    <a:pt x="34" y="1"/>
                    <a:pt x="35" y="1"/>
                  </a:cubicBezTo>
                  <a:cubicBezTo>
                    <a:pt x="36" y="1"/>
                    <a:pt x="36" y="1"/>
                    <a:pt x="37" y="1"/>
                  </a:cubicBezTo>
                  <a:cubicBezTo>
                    <a:pt x="40" y="2"/>
                    <a:pt x="42" y="1"/>
                    <a:pt x="45" y="1"/>
                  </a:cubicBezTo>
                  <a:cubicBezTo>
                    <a:pt x="45" y="1"/>
                    <a:pt x="46" y="1"/>
                    <a:pt x="46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3"/>
                    <a:pt x="46" y="5"/>
                    <a:pt x="46" y="7"/>
                  </a:cubicBezTo>
                  <a:cubicBezTo>
                    <a:pt x="46" y="7"/>
                    <a:pt x="46" y="7"/>
                    <a:pt x="46" y="7"/>
                  </a:cubicBezTo>
                  <a:lnTo>
                    <a:pt x="45" y="8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0" name="Freeform 132"/>
            <p:cNvSpPr>
              <a:spLocks/>
            </p:cNvSpPr>
            <p:nvPr/>
          </p:nvSpPr>
          <p:spPr bwMode="auto">
            <a:xfrm>
              <a:off x="7033099" y="3401074"/>
              <a:ext cx="4515" cy="3785"/>
            </a:xfrm>
            <a:custGeom>
              <a:avLst/>
              <a:gdLst>
                <a:gd name="T0" fmla="*/ 11470653 w 9"/>
                <a:gd name="T1" fmla="*/ 5955246 h 8"/>
                <a:gd name="T2" fmla="*/ 10015063 w 9"/>
                <a:gd name="T3" fmla="*/ 5058432 h 8"/>
                <a:gd name="T4" fmla="*/ 6550065 w 9"/>
                <a:gd name="T5" fmla="*/ 896786 h 8"/>
                <a:gd name="T6" fmla="*/ 1324701 w 9"/>
                <a:gd name="T7" fmla="*/ 896786 h 8"/>
                <a:gd name="T8" fmla="*/ 1324701 w 9"/>
                <a:gd name="T9" fmla="*/ 2129866 h 8"/>
                <a:gd name="T10" fmla="*/ 4692541 w 9"/>
                <a:gd name="T11" fmla="*/ 5058432 h 8"/>
                <a:gd name="T12" fmla="*/ 7915496 w 9"/>
                <a:gd name="T13" fmla="*/ 7279645 h 8"/>
                <a:gd name="T14" fmla="*/ 13330806 w 9"/>
                <a:gd name="T15" fmla="*/ 7279645 h 8"/>
                <a:gd name="T16" fmla="*/ 11470653 w 9"/>
                <a:gd name="T17" fmla="*/ 5955246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8"/>
                <a:gd name="T29" fmla="*/ 9 w 9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8">
                  <a:moveTo>
                    <a:pt x="7" y="6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5" y="4"/>
                    <a:pt x="5" y="2"/>
                    <a:pt x="4" y="1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2" y="2"/>
                    <a:pt x="3" y="4"/>
                    <a:pt x="3" y="5"/>
                  </a:cubicBezTo>
                  <a:cubicBezTo>
                    <a:pt x="4" y="5"/>
                    <a:pt x="4" y="6"/>
                    <a:pt x="5" y="7"/>
                  </a:cubicBezTo>
                  <a:cubicBezTo>
                    <a:pt x="6" y="7"/>
                    <a:pt x="7" y="8"/>
                    <a:pt x="8" y="7"/>
                  </a:cubicBezTo>
                  <a:cubicBezTo>
                    <a:pt x="9" y="7"/>
                    <a:pt x="8" y="6"/>
                    <a:pt x="7" y="6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1" name="Freeform 134"/>
            <p:cNvSpPr>
              <a:spLocks/>
            </p:cNvSpPr>
            <p:nvPr/>
          </p:nvSpPr>
          <p:spPr bwMode="auto">
            <a:xfrm>
              <a:off x="7033099" y="3416485"/>
              <a:ext cx="11037" cy="3515"/>
            </a:xfrm>
            <a:custGeom>
              <a:avLst/>
              <a:gdLst>
                <a:gd name="T0" fmla="*/ 23001672 w 23"/>
                <a:gd name="T1" fmla="*/ 4210842 h 7"/>
                <a:gd name="T2" fmla="*/ 20557243 w 23"/>
                <a:gd name="T3" fmla="*/ 4210842 h 7"/>
                <a:gd name="T4" fmla="*/ 19578018 w 23"/>
                <a:gd name="T5" fmla="*/ 2947589 h 7"/>
                <a:gd name="T6" fmla="*/ 15806866 w 23"/>
                <a:gd name="T7" fmla="*/ 1213713 h 7"/>
                <a:gd name="T8" fmla="*/ 13817923 w 23"/>
                <a:gd name="T9" fmla="*/ 2947589 h 7"/>
                <a:gd name="T10" fmla="*/ 9017967 w 23"/>
                <a:gd name="T11" fmla="*/ 2947589 h 7"/>
                <a:gd name="T12" fmla="*/ 1010505 w 23"/>
                <a:gd name="T13" fmla="*/ 1213713 h 7"/>
                <a:gd name="T14" fmla="*/ 1010505 w 23"/>
                <a:gd name="T15" fmla="*/ 4210842 h 7"/>
                <a:gd name="T16" fmla="*/ 2416425 w 23"/>
                <a:gd name="T17" fmla="*/ 4210842 h 7"/>
                <a:gd name="T18" fmla="*/ 8187175 w 23"/>
                <a:gd name="T19" fmla="*/ 5930334 h 7"/>
                <a:gd name="T20" fmla="*/ 12380864 w 23"/>
                <a:gd name="T21" fmla="*/ 7158428 h 7"/>
                <a:gd name="T22" fmla="*/ 13817923 w 23"/>
                <a:gd name="T23" fmla="*/ 10226328 h 7"/>
                <a:gd name="T24" fmla="*/ 15806866 w 23"/>
                <a:gd name="T25" fmla="*/ 8872004 h 7"/>
                <a:gd name="T26" fmla="*/ 20557243 w 23"/>
                <a:gd name="T27" fmla="*/ 8872004 h 7"/>
                <a:gd name="T28" fmla="*/ 20557243 w 23"/>
                <a:gd name="T29" fmla="*/ 8872004 h 7"/>
                <a:gd name="T30" fmla="*/ 23001672 w 23"/>
                <a:gd name="T31" fmla="*/ 8872004 h 7"/>
                <a:gd name="T32" fmla="*/ 25410422 w 23"/>
                <a:gd name="T33" fmla="*/ 8872004 h 7"/>
                <a:gd name="T34" fmla="*/ 25410422 w 23"/>
                <a:gd name="T35" fmla="*/ 5930334 h 7"/>
                <a:gd name="T36" fmla="*/ 23001672 w 23"/>
                <a:gd name="T37" fmla="*/ 5930334 h 7"/>
                <a:gd name="T38" fmla="*/ 23001672 w 23"/>
                <a:gd name="T39" fmla="*/ 4210842 h 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3"/>
                <a:gd name="T61" fmla="*/ 0 h 7"/>
                <a:gd name="T62" fmla="*/ 23 w 23"/>
                <a:gd name="T63" fmla="*/ 7 h 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3" h="7">
                  <a:moveTo>
                    <a:pt x="20" y="3"/>
                  </a:moveTo>
                  <a:cubicBezTo>
                    <a:pt x="20" y="3"/>
                    <a:pt x="19" y="4"/>
                    <a:pt x="18" y="3"/>
                  </a:cubicBezTo>
                  <a:cubicBezTo>
                    <a:pt x="18" y="3"/>
                    <a:pt x="17" y="2"/>
                    <a:pt x="17" y="2"/>
                  </a:cubicBezTo>
                  <a:cubicBezTo>
                    <a:pt x="17" y="0"/>
                    <a:pt x="15" y="1"/>
                    <a:pt x="14" y="1"/>
                  </a:cubicBezTo>
                  <a:cubicBezTo>
                    <a:pt x="13" y="1"/>
                    <a:pt x="13" y="2"/>
                    <a:pt x="12" y="2"/>
                  </a:cubicBezTo>
                  <a:cubicBezTo>
                    <a:pt x="11" y="2"/>
                    <a:pt x="9" y="2"/>
                    <a:pt x="8" y="2"/>
                  </a:cubicBezTo>
                  <a:cubicBezTo>
                    <a:pt x="6" y="0"/>
                    <a:pt x="4" y="0"/>
                    <a:pt x="1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4" y="4"/>
                    <a:pt x="5" y="3"/>
                    <a:pt x="7" y="4"/>
                  </a:cubicBezTo>
                  <a:cubicBezTo>
                    <a:pt x="8" y="4"/>
                    <a:pt x="10" y="4"/>
                    <a:pt x="11" y="5"/>
                  </a:cubicBezTo>
                  <a:cubicBezTo>
                    <a:pt x="11" y="5"/>
                    <a:pt x="11" y="6"/>
                    <a:pt x="12" y="7"/>
                  </a:cubicBezTo>
                  <a:cubicBezTo>
                    <a:pt x="13" y="7"/>
                    <a:pt x="13" y="7"/>
                    <a:pt x="14" y="6"/>
                  </a:cubicBezTo>
                  <a:cubicBezTo>
                    <a:pt x="15" y="6"/>
                    <a:pt x="17" y="6"/>
                    <a:pt x="18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9" y="6"/>
                    <a:pt x="20" y="6"/>
                    <a:pt x="20" y="6"/>
                  </a:cubicBezTo>
                  <a:cubicBezTo>
                    <a:pt x="21" y="6"/>
                    <a:pt x="21" y="6"/>
                    <a:pt x="22" y="6"/>
                  </a:cubicBezTo>
                  <a:cubicBezTo>
                    <a:pt x="23" y="5"/>
                    <a:pt x="22" y="4"/>
                    <a:pt x="22" y="4"/>
                  </a:cubicBezTo>
                  <a:cubicBezTo>
                    <a:pt x="22" y="4"/>
                    <a:pt x="21" y="4"/>
                    <a:pt x="20" y="4"/>
                  </a:cubicBezTo>
                  <a:lnTo>
                    <a:pt x="20" y="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2" name="Freeform 135"/>
            <p:cNvSpPr>
              <a:spLocks/>
            </p:cNvSpPr>
            <p:nvPr/>
          </p:nvSpPr>
          <p:spPr bwMode="auto">
            <a:xfrm>
              <a:off x="7048149" y="3411889"/>
              <a:ext cx="2508" cy="3245"/>
            </a:xfrm>
            <a:custGeom>
              <a:avLst/>
              <a:gdLst>
                <a:gd name="T0" fmla="*/ 3577445 w 5"/>
                <a:gd name="T1" fmla="*/ 1156064 h 7"/>
                <a:gd name="T2" fmla="*/ 1064436 w 5"/>
                <a:gd name="T3" fmla="*/ 3397424 h 7"/>
                <a:gd name="T4" fmla="*/ 2554647 w 5"/>
                <a:gd name="T5" fmla="*/ 3397424 h 7"/>
                <a:gd name="T6" fmla="*/ 5085394 w 5"/>
                <a:gd name="T7" fmla="*/ 2234466 h 7"/>
                <a:gd name="T8" fmla="*/ 5085394 w 5"/>
                <a:gd name="T9" fmla="*/ 505778 h 7"/>
                <a:gd name="T10" fmla="*/ 3577445 w 5"/>
                <a:gd name="T11" fmla="*/ 1156064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7"/>
                <a:gd name="T20" fmla="*/ 5 w 5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7">
                  <a:moveTo>
                    <a:pt x="3" y="2"/>
                  </a:moveTo>
                  <a:cubicBezTo>
                    <a:pt x="2" y="3"/>
                    <a:pt x="0" y="4"/>
                    <a:pt x="1" y="6"/>
                  </a:cubicBezTo>
                  <a:cubicBezTo>
                    <a:pt x="1" y="6"/>
                    <a:pt x="2" y="7"/>
                    <a:pt x="2" y="6"/>
                  </a:cubicBezTo>
                  <a:cubicBezTo>
                    <a:pt x="3" y="6"/>
                    <a:pt x="3" y="5"/>
                    <a:pt x="4" y="4"/>
                  </a:cubicBezTo>
                  <a:cubicBezTo>
                    <a:pt x="5" y="3"/>
                    <a:pt x="5" y="2"/>
                    <a:pt x="4" y="1"/>
                  </a:cubicBezTo>
                  <a:cubicBezTo>
                    <a:pt x="4" y="0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3" name="Freeform 136"/>
            <p:cNvSpPr>
              <a:spLocks/>
            </p:cNvSpPr>
            <p:nvPr/>
          </p:nvSpPr>
          <p:spPr bwMode="auto">
            <a:xfrm>
              <a:off x="6915962" y="3375928"/>
              <a:ext cx="45902" cy="38123"/>
            </a:xfrm>
            <a:custGeom>
              <a:avLst/>
              <a:gdLst>
                <a:gd name="T0" fmla="*/ 18036114 w 99"/>
                <a:gd name="T1" fmla="*/ 65193969 h 79"/>
                <a:gd name="T2" fmla="*/ 21764423 w 99"/>
                <a:gd name="T3" fmla="*/ 71114491 h 79"/>
                <a:gd name="T4" fmla="*/ 24442630 w 99"/>
                <a:gd name="T5" fmla="*/ 75963007 h 79"/>
                <a:gd name="T6" fmla="*/ 31262589 w 99"/>
                <a:gd name="T7" fmla="*/ 73025697 h 79"/>
                <a:gd name="T8" fmla="*/ 41744245 w 99"/>
                <a:gd name="T9" fmla="*/ 69716698 h 79"/>
                <a:gd name="T10" fmla="*/ 55073902 w 99"/>
                <a:gd name="T11" fmla="*/ 66066270 h 79"/>
                <a:gd name="T12" fmla="*/ 62662080 w 99"/>
                <a:gd name="T13" fmla="*/ 61229495 h 79"/>
                <a:gd name="T14" fmla="*/ 61811511 w 99"/>
                <a:gd name="T15" fmla="*/ 59103320 h 79"/>
                <a:gd name="T16" fmla="*/ 62662080 w 99"/>
                <a:gd name="T17" fmla="*/ 56196953 h 79"/>
                <a:gd name="T18" fmla="*/ 68254555 w 99"/>
                <a:gd name="T19" fmla="*/ 50471138 h 79"/>
                <a:gd name="T20" fmla="*/ 66254012 w 99"/>
                <a:gd name="T21" fmla="*/ 45639818 h 79"/>
                <a:gd name="T22" fmla="*/ 65404162 w 99"/>
                <a:gd name="T23" fmla="*/ 39856057 h 79"/>
                <a:gd name="T24" fmla="*/ 70999284 w 99"/>
                <a:gd name="T25" fmla="*/ 33974914 h 79"/>
                <a:gd name="T26" fmla="*/ 81584722 w 99"/>
                <a:gd name="T27" fmla="*/ 24261446 h 79"/>
                <a:gd name="T28" fmla="*/ 84223750 w 99"/>
                <a:gd name="T29" fmla="*/ 23426603 h 79"/>
                <a:gd name="T30" fmla="*/ 87180526 w 99"/>
                <a:gd name="T31" fmla="*/ 20416444 h 79"/>
                <a:gd name="T32" fmla="*/ 91914075 w 99"/>
                <a:gd name="T33" fmla="*/ 19280994 h 79"/>
                <a:gd name="T34" fmla="*/ 93075320 w 99"/>
                <a:gd name="T35" fmla="*/ 12691979 h 79"/>
                <a:gd name="T36" fmla="*/ 91196210 w 99"/>
                <a:gd name="T37" fmla="*/ 11408714 h 79"/>
                <a:gd name="T38" fmla="*/ 79848566 w 99"/>
                <a:gd name="T39" fmla="*/ 13557310 h 79"/>
                <a:gd name="T40" fmla="*/ 65404162 w 99"/>
                <a:gd name="T41" fmla="*/ 9896805 h 79"/>
                <a:gd name="T42" fmla="*/ 58931733 w 99"/>
                <a:gd name="T43" fmla="*/ 7831966 h 79"/>
                <a:gd name="T44" fmla="*/ 55073902 w 99"/>
                <a:gd name="T45" fmla="*/ 3643773 h 79"/>
                <a:gd name="T46" fmla="*/ 52177673 w 99"/>
                <a:gd name="T47" fmla="*/ 3643773 h 79"/>
                <a:gd name="T48" fmla="*/ 33265628 w 99"/>
                <a:gd name="T49" fmla="*/ 3643773 h 79"/>
                <a:gd name="T50" fmla="*/ 20915084 w 99"/>
                <a:gd name="T51" fmla="*/ 2036141 h 79"/>
                <a:gd name="T52" fmla="*/ 11216146 w 99"/>
                <a:gd name="T53" fmla="*/ 0 h 79"/>
                <a:gd name="T54" fmla="*/ 9698940 w 99"/>
                <a:gd name="T55" fmla="*/ 860188 h 79"/>
                <a:gd name="T56" fmla="*/ 6840539 w 99"/>
                <a:gd name="T57" fmla="*/ 2943801 h 79"/>
                <a:gd name="T58" fmla="*/ 849380 w 99"/>
                <a:gd name="T59" fmla="*/ 4819725 h 79"/>
                <a:gd name="T60" fmla="*/ 849380 w 99"/>
                <a:gd name="T61" fmla="*/ 9896805 h 79"/>
                <a:gd name="T62" fmla="*/ 2894074 w 99"/>
                <a:gd name="T63" fmla="*/ 11408714 h 79"/>
                <a:gd name="T64" fmla="*/ 2894074 w 99"/>
                <a:gd name="T65" fmla="*/ 16494421 h 79"/>
                <a:gd name="T66" fmla="*/ 7630664 w 99"/>
                <a:gd name="T67" fmla="*/ 16494421 h 79"/>
                <a:gd name="T68" fmla="*/ 12441474 w 99"/>
                <a:gd name="T69" fmla="*/ 18538950 h 79"/>
                <a:gd name="T70" fmla="*/ 18036114 w 99"/>
                <a:gd name="T71" fmla="*/ 17632933 h 79"/>
                <a:gd name="T72" fmla="*/ 20044018 w 99"/>
                <a:gd name="T73" fmla="*/ 20416444 h 79"/>
                <a:gd name="T74" fmla="*/ 20915084 w 99"/>
                <a:gd name="T75" fmla="*/ 23426603 h 79"/>
                <a:gd name="T76" fmla="*/ 18036114 w 99"/>
                <a:gd name="T77" fmla="*/ 34874881 h 79"/>
                <a:gd name="T78" fmla="*/ 14073923 w 99"/>
                <a:gd name="T79" fmla="*/ 41738706 h 79"/>
                <a:gd name="T80" fmla="*/ 15293852 w 99"/>
                <a:gd name="T81" fmla="*/ 51336735 h 79"/>
                <a:gd name="T82" fmla="*/ 13226484 w 99"/>
                <a:gd name="T83" fmla="*/ 63924226 h 7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9"/>
                <a:gd name="T127" fmla="*/ 0 h 79"/>
                <a:gd name="T128" fmla="*/ 99 w 99"/>
                <a:gd name="T129" fmla="*/ 79 h 7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9" h="79">
                  <a:moveTo>
                    <a:pt x="14" y="67"/>
                  </a:moveTo>
                  <a:cubicBezTo>
                    <a:pt x="16" y="66"/>
                    <a:pt x="17" y="66"/>
                    <a:pt x="19" y="67"/>
                  </a:cubicBezTo>
                  <a:cubicBezTo>
                    <a:pt x="21" y="67"/>
                    <a:pt x="22" y="70"/>
                    <a:pt x="22" y="72"/>
                  </a:cubicBezTo>
                  <a:cubicBezTo>
                    <a:pt x="22" y="72"/>
                    <a:pt x="23" y="73"/>
                    <a:pt x="23" y="73"/>
                  </a:cubicBezTo>
                  <a:cubicBezTo>
                    <a:pt x="24" y="75"/>
                    <a:pt x="24" y="75"/>
                    <a:pt x="25" y="77"/>
                  </a:cubicBezTo>
                  <a:cubicBezTo>
                    <a:pt x="25" y="77"/>
                    <a:pt x="26" y="78"/>
                    <a:pt x="26" y="78"/>
                  </a:cubicBezTo>
                  <a:cubicBezTo>
                    <a:pt x="27" y="78"/>
                    <a:pt x="28" y="79"/>
                    <a:pt x="29" y="79"/>
                  </a:cubicBezTo>
                  <a:cubicBezTo>
                    <a:pt x="30" y="78"/>
                    <a:pt x="31" y="76"/>
                    <a:pt x="33" y="75"/>
                  </a:cubicBezTo>
                  <a:cubicBezTo>
                    <a:pt x="35" y="73"/>
                    <a:pt x="37" y="72"/>
                    <a:pt x="39" y="71"/>
                  </a:cubicBezTo>
                  <a:cubicBezTo>
                    <a:pt x="40" y="71"/>
                    <a:pt x="42" y="71"/>
                    <a:pt x="44" y="72"/>
                  </a:cubicBezTo>
                  <a:cubicBezTo>
                    <a:pt x="48" y="73"/>
                    <a:pt x="52" y="71"/>
                    <a:pt x="56" y="72"/>
                  </a:cubicBezTo>
                  <a:cubicBezTo>
                    <a:pt x="57" y="71"/>
                    <a:pt x="57" y="69"/>
                    <a:pt x="58" y="68"/>
                  </a:cubicBezTo>
                  <a:cubicBezTo>
                    <a:pt x="59" y="67"/>
                    <a:pt x="59" y="65"/>
                    <a:pt x="60" y="64"/>
                  </a:cubicBezTo>
                  <a:cubicBezTo>
                    <a:pt x="62" y="63"/>
                    <a:pt x="64" y="64"/>
                    <a:pt x="66" y="63"/>
                  </a:cubicBezTo>
                  <a:cubicBezTo>
                    <a:pt x="67" y="63"/>
                    <a:pt x="67" y="62"/>
                    <a:pt x="67" y="62"/>
                  </a:cubicBezTo>
                  <a:cubicBezTo>
                    <a:pt x="66" y="62"/>
                    <a:pt x="66" y="61"/>
                    <a:pt x="65" y="61"/>
                  </a:cubicBezTo>
                  <a:cubicBezTo>
                    <a:pt x="65" y="60"/>
                    <a:pt x="65" y="59"/>
                    <a:pt x="65" y="58"/>
                  </a:cubicBezTo>
                  <a:cubicBezTo>
                    <a:pt x="65" y="58"/>
                    <a:pt x="66" y="58"/>
                    <a:pt x="66" y="58"/>
                  </a:cubicBezTo>
                  <a:cubicBezTo>
                    <a:pt x="66" y="56"/>
                    <a:pt x="68" y="54"/>
                    <a:pt x="70" y="53"/>
                  </a:cubicBezTo>
                  <a:cubicBezTo>
                    <a:pt x="70" y="53"/>
                    <a:pt x="71" y="53"/>
                    <a:pt x="72" y="52"/>
                  </a:cubicBezTo>
                  <a:cubicBezTo>
                    <a:pt x="72" y="51"/>
                    <a:pt x="71" y="50"/>
                    <a:pt x="71" y="49"/>
                  </a:cubicBezTo>
                  <a:cubicBezTo>
                    <a:pt x="70" y="49"/>
                    <a:pt x="70" y="48"/>
                    <a:pt x="70" y="47"/>
                  </a:cubicBezTo>
                  <a:cubicBezTo>
                    <a:pt x="70" y="46"/>
                    <a:pt x="69" y="45"/>
                    <a:pt x="69" y="44"/>
                  </a:cubicBezTo>
                  <a:cubicBezTo>
                    <a:pt x="68" y="43"/>
                    <a:pt x="68" y="42"/>
                    <a:pt x="69" y="41"/>
                  </a:cubicBezTo>
                  <a:cubicBezTo>
                    <a:pt x="70" y="39"/>
                    <a:pt x="72" y="38"/>
                    <a:pt x="73" y="36"/>
                  </a:cubicBezTo>
                  <a:cubicBezTo>
                    <a:pt x="74" y="36"/>
                    <a:pt x="75" y="35"/>
                    <a:pt x="75" y="35"/>
                  </a:cubicBezTo>
                  <a:cubicBezTo>
                    <a:pt x="76" y="34"/>
                    <a:pt x="77" y="33"/>
                    <a:pt x="77" y="33"/>
                  </a:cubicBezTo>
                  <a:cubicBezTo>
                    <a:pt x="79" y="29"/>
                    <a:pt x="82" y="26"/>
                    <a:pt x="86" y="25"/>
                  </a:cubicBezTo>
                  <a:cubicBezTo>
                    <a:pt x="87" y="25"/>
                    <a:pt x="87" y="25"/>
                    <a:pt x="88" y="24"/>
                  </a:cubicBezTo>
                  <a:cubicBezTo>
                    <a:pt x="88" y="24"/>
                    <a:pt x="89" y="24"/>
                    <a:pt x="89" y="24"/>
                  </a:cubicBezTo>
                  <a:cubicBezTo>
                    <a:pt x="89" y="24"/>
                    <a:pt x="90" y="24"/>
                    <a:pt x="90" y="24"/>
                  </a:cubicBezTo>
                  <a:cubicBezTo>
                    <a:pt x="91" y="23"/>
                    <a:pt x="91" y="22"/>
                    <a:pt x="92" y="21"/>
                  </a:cubicBezTo>
                  <a:cubicBezTo>
                    <a:pt x="93" y="21"/>
                    <a:pt x="94" y="21"/>
                    <a:pt x="95" y="21"/>
                  </a:cubicBezTo>
                  <a:cubicBezTo>
                    <a:pt x="96" y="20"/>
                    <a:pt x="97" y="20"/>
                    <a:pt x="97" y="20"/>
                  </a:cubicBezTo>
                  <a:cubicBezTo>
                    <a:pt x="98" y="18"/>
                    <a:pt x="97" y="17"/>
                    <a:pt x="98" y="16"/>
                  </a:cubicBezTo>
                  <a:cubicBezTo>
                    <a:pt x="98" y="15"/>
                    <a:pt x="99" y="14"/>
                    <a:pt x="98" y="13"/>
                  </a:cubicBezTo>
                  <a:cubicBezTo>
                    <a:pt x="98" y="12"/>
                    <a:pt x="97" y="12"/>
                    <a:pt x="97" y="12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4" y="13"/>
                    <a:pt x="92" y="13"/>
                    <a:pt x="90" y="14"/>
                  </a:cubicBezTo>
                  <a:cubicBezTo>
                    <a:pt x="88" y="14"/>
                    <a:pt x="86" y="14"/>
                    <a:pt x="84" y="14"/>
                  </a:cubicBezTo>
                  <a:cubicBezTo>
                    <a:pt x="82" y="13"/>
                    <a:pt x="80" y="12"/>
                    <a:pt x="78" y="12"/>
                  </a:cubicBezTo>
                  <a:cubicBezTo>
                    <a:pt x="75" y="11"/>
                    <a:pt x="72" y="11"/>
                    <a:pt x="69" y="10"/>
                  </a:cubicBezTo>
                  <a:cubicBezTo>
                    <a:pt x="67" y="10"/>
                    <a:pt x="65" y="9"/>
                    <a:pt x="64" y="9"/>
                  </a:cubicBezTo>
                  <a:cubicBezTo>
                    <a:pt x="63" y="9"/>
                    <a:pt x="62" y="8"/>
                    <a:pt x="62" y="8"/>
                  </a:cubicBezTo>
                  <a:cubicBezTo>
                    <a:pt x="61" y="7"/>
                    <a:pt x="60" y="7"/>
                    <a:pt x="60" y="6"/>
                  </a:cubicBezTo>
                  <a:cubicBezTo>
                    <a:pt x="59" y="5"/>
                    <a:pt x="58" y="5"/>
                    <a:pt x="58" y="4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6" y="4"/>
                    <a:pt x="56" y="4"/>
                    <a:pt x="55" y="4"/>
                  </a:cubicBezTo>
                  <a:cubicBezTo>
                    <a:pt x="52" y="5"/>
                    <a:pt x="48" y="4"/>
                    <a:pt x="44" y="4"/>
                  </a:cubicBezTo>
                  <a:cubicBezTo>
                    <a:pt x="41" y="4"/>
                    <a:pt x="38" y="4"/>
                    <a:pt x="35" y="4"/>
                  </a:cubicBezTo>
                  <a:cubicBezTo>
                    <a:pt x="33" y="3"/>
                    <a:pt x="32" y="3"/>
                    <a:pt x="30" y="3"/>
                  </a:cubicBezTo>
                  <a:cubicBezTo>
                    <a:pt x="28" y="1"/>
                    <a:pt x="25" y="2"/>
                    <a:pt x="22" y="2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6" y="1"/>
                    <a:pt x="14" y="1"/>
                    <a:pt x="12" y="0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10" y="0"/>
                    <a:pt x="10" y="0"/>
                    <a:pt x="10" y="1"/>
                  </a:cubicBezTo>
                  <a:cubicBezTo>
                    <a:pt x="9" y="1"/>
                    <a:pt x="8" y="1"/>
                    <a:pt x="8" y="2"/>
                  </a:cubicBezTo>
                  <a:cubicBezTo>
                    <a:pt x="7" y="2"/>
                    <a:pt x="8" y="3"/>
                    <a:pt x="7" y="3"/>
                  </a:cubicBezTo>
                  <a:cubicBezTo>
                    <a:pt x="6" y="4"/>
                    <a:pt x="5" y="4"/>
                    <a:pt x="4" y="5"/>
                  </a:cubicBezTo>
                  <a:cubicBezTo>
                    <a:pt x="3" y="5"/>
                    <a:pt x="2" y="5"/>
                    <a:pt x="1" y="5"/>
                  </a:cubicBezTo>
                  <a:cubicBezTo>
                    <a:pt x="1" y="6"/>
                    <a:pt x="0" y="7"/>
                    <a:pt x="0" y="9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0"/>
                    <a:pt x="1" y="10"/>
                    <a:pt x="1" y="11"/>
                  </a:cubicBezTo>
                  <a:cubicBezTo>
                    <a:pt x="2" y="11"/>
                    <a:pt x="3" y="12"/>
                    <a:pt x="3" y="12"/>
                  </a:cubicBezTo>
                  <a:cubicBezTo>
                    <a:pt x="3" y="13"/>
                    <a:pt x="3" y="14"/>
                    <a:pt x="3" y="16"/>
                  </a:cubicBezTo>
                  <a:cubicBezTo>
                    <a:pt x="3" y="16"/>
                    <a:pt x="3" y="17"/>
                    <a:pt x="3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5" y="17"/>
                    <a:pt x="6" y="16"/>
                    <a:pt x="8" y="17"/>
                  </a:cubicBezTo>
                  <a:cubicBezTo>
                    <a:pt x="8" y="17"/>
                    <a:pt x="8" y="18"/>
                    <a:pt x="9" y="18"/>
                  </a:cubicBezTo>
                  <a:cubicBezTo>
                    <a:pt x="10" y="20"/>
                    <a:pt x="11" y="18"/>
                    <a:pt x="13" y="19"/>
                  </a:cubicBezTo>
                  <a:cubicBezTo>
                    <a:pt x="14" y="20"/>
                    <a:pt x="15" y="19"/>
                    <a:pt x="16" y="18"/>
                  </a:cubicBezTo>
                  <a:cubicBezTo>
                    <a:pt x="16" y="18"/>
                    <a:pt x="18" y="19"/>
                    <a:pt x="19" y="18"/>
                  </a:cubicBezTo>
                  <a:cubicBezTo>
                    <a:pt x="19" y="18"/>
                    <a:pt x="20" y="18"/>
                    <a:pt x="21" y="18"/>
                  </a:cubicBezTo>
                  <a:cubicBezTo>
                    <a:pt x="21" y="19"/>
                    <a:pt x="21" y="20"/>
                    <a:pt x="21" y="21"/>
                  </a:cubicBezTo>
                  <a:cubicBezTo>
                    <a:pt x="21" y="21"/>
                    <a:pt x="22" y="21"/>
                    <a:pt x="22" y="22"/>
                  </a:cubicBezTo>
                  <a:cubicBezTo>
                    <a:pt x="22" y="22"/>
                    <a:pt x="22" y="23"/>
                    <a:pt x="22" y="24"/>
                  </a:cubicBezTo>
                  <a:cubicBezTo>
                    <a:pt x="21" y="25"/>
                    <a:pt x="20" y="27"/>
                    <a:pt x="19" y="28"/>
                  </a:cubicBezTo>
                  <a:cubicBezTo>
                    <a:pt x="18" y="31"/>
                    <a:pt x="19" y="33"/>
                    <a:pt x="19" y="36"/>
                  </a:cubicBezTo>
                  <a:cubicBezTo>
                    <a:pt x="18" y="37"/>
                    <a:pt x="19" y="38"/>
                    <a:pt x="18" y="40"/>
                  </a:cubicBezTo>
                  <a:cubicBezTo>
                    <a:pt x="17" y="41"/>
                    <a:pt x="16" y="42"/>
                    <a:pt x="15" y="43"/>
                  </a:cubicBezTo>
                  <a:cubicBezTo>
                    <a:pt x="15" y="44"/>
                    <a:pt x="16" y="46"/>
                    <a:pt x="17" y="46"/>
                  </a:cubicBezTo>
                  <a:cubicBezTo>
                    <a:pt x="17" y="49"/>
                    <a:pt x="17" y="51"/>
                    <a:pt x="16" y="53"/>
                  </a:cubicBezTo>
                  <a:cubicBezTo>
                    <a:pt x="15" y="55"/>
                    <a:pt x="16" y="57"/>
                    <a:pt x="15" y="59"/>
                  </a:cubicBezTo>
                  <a:cubicBezTo>
                    <a:pt x="14" y="61"/>
                    <a:pt x="14" y="63"/>
                    <a:pt x="14" y="66"/>
                  </a:cubicBezTo>
                  <a:lnTo>
                    <a:pt x="14" y="67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4" name="Freeform 140"/>
            <p:cNvSpPr>
              <a:spLocks/>
            </p:cNvSpPr>
            <p:nvPr/>
          </p:nvSpPr>
          <p:spPr bwMode="auto">
            <a:xfrm>
              <a:off x="6914708" y="3383769"/>
              <a:ext cx="11538" cy="25416"/>
            </a:xfrm>
            <a:custGeom>
              <a:avLst/>
              <a:gdLst>
                <a:gd name="T0" fmla="*/ 15644591 w 25"/>
                <a:gd name="T1" fmla="*/ 46596156 h 53"/>
                <a:gd name="T2" fmla="*/ 12953021 w 25"/>
                <a:gd name="T3" fmla="*/ 47777703 h 53"/>
                <a:gd name="T4" fmla="*/ 12117629 w 25"/>
                <a:gd name="T5" fmla="*/ 48640344 h 53"/>
                <a:gd name="T6" fmla="*/ 10975465 w 25"/>
                <a:gd name="T7" fmla="*/ 47777703 h 53"/>
                <a:gd name="T8" fmla="*/ 9524393 w 25"/>
                <a:gd name="T9" fmla="*/ 47777703 h 53"/>
                <a:gd name="T10" fmla="*/ 8295957 w 25"/>
                <a:gd name="T11" fmla="*/ 48640344 h 53"/>
                <a:gd name="T12" fmla="*/ 5488568 w 25"/>
                <a:gd name="T13" fmla="*/ 47777703 h 53"/>
                <a:gd name="T14" fmla="*/ 6629066 w 25"/>
                <a:gd name="T15" fmla="*/ 44025101 h 53"/>
                <a:gd name="T16" fmla="*/ 6629066 w 25"/>
                <a:gd name="T17" fmla="*/ 40380309 h 53"/>
                <a:gd name="T18" fmla="*/ 5488568 w 25"/>
                <a:gd name="T19" fmla="*/ 39183621 h 53"/>
                <a:gd name="T20" fmla="*/ 5488568 w 25"/>
                <a:gd name="T21" fmla="*/ 37740697 h 53"/>
                <a:gd name="T22" fmla="*/ 4650620 w 25"/>
                <a:gd name="T23" fmla="*/ 33735471 h 53"/>
                <a:gd name="T24" fmla="*/ 3515237 w 25"/>
                <a:gd name="T25" fmla="*/ 32292396 h 53"/>
                <a:gd name="T26" fmla="*/ 2808927 w 25"/>
                <a:gd name="T27" fmla="*/ 32967604 h 53"/>
                <a:gd name="T28" fmla="*/ 835001 w 25"/>
                <a:gd name="T29" fmla="*/ 32292396 h 53"/>
                <a:gd name="T30" fmla="*/ 835001 w 25"/>
                <a:gd name="T31" fmla="*/ 26338794 h 53"/>
                <a:gd name="T32" fmla="*/ 2808927 w 25"/>
                <a:gd name="T33" fmla="*/ 25710908 h 53"/>
                <a:gd name="T34" fmla="*/ 5488568 w 25"/>
                <a:gd name="T35" fmla="*/ 20975834 h 53"/>
                <a:gd name="T36" fmla="*/ 6629066 w 25"/>
                <a:gd name="T37" fmla="*/ 19431358 h 53"/>
                <a:gd name="T38" fmla="*/ 4650620 w 25"/>
                <a:gd name="T39" fmla="*/ 18314169 h 53"/>
                <a:gd name="T40" fmla="*/ 5488568 w 25"/>
                <a:gd name="T41" fmla="*/ 12861086 h 53"/>
                <a:gd name="T42" fmla="*/ 6629066 w 25"/>
                <a:gd name="T43" fmla="*/ 6581986 h 53"/>
                <a:gd name="T44" fmla="*/ 5488568 w 25"/>
                <a:gd name="T45" fmla="*/ 830962 h 53"/>
                <a:gd name="T46" fmla="*/ 6629066 w 25"/>
                <a:gd name="T47" fmla="*/ 830962 h 53"/>
                <a:gd name="T48" fmla="*/ 10144084 w 25"/>
                <a:gd name="T49" fmla="*/ 830962 h 53"/>
                <a:gd name="T50" fmla="*/ 10975465 w 25"/>
                <a:gd name="T51" fmla="*/ 1959816 h 53"/>
                <a:gd name="T52" fmla="*/ 14926566 w 25"/>
                <a:gd name="T53" fmla="*/ 2790762 h 53"/>
                <a:gd name="T54" fmla="*/ 17606647 w 25"/>
                <a:gd name="T55" fmla="*/ 1959816 h 53"/>
                <a:gd name="T56" fmla="*/ 20413475 w 25"/>
                <a:gd name="T57" fmla="*/ 1959816 h 53"/>
                <a:gd name="T58" fmla="*/ 22477568 w 25"/>
                <a:gd name="T59" fmla="*/ 1959816 h 53"/>
                <a:gd name="T60" fmla="*/ 22477568 w 25"/>
                <a:gd name="T61" fmla="*/ 4622207 h 53"/>
                <a:gd name="T62" fmla="*/ 23108688 w 25"/>
                <a:gd name="T63" fmla="*/ 5453100 h 53"/>
                <a:gd name="T64" fmla="*/ 23108688 w 25"/>
                <a:gd name="T65" fmla="*/ 7412977 h 53"/>
                <a:gd name="T66" fmla="*/ 20413475 w 25"/>
                <a:gd name="T67" fmla="*/ 10901426 h 53"/>
                <a:gd name="T68" fmla="*/ 20413475 w 25"/>
                <a:gd name="T69" fmla="*/ 18314169 h 53"/>
                <a:gd name="T70" fmla="*/ 19578455 w 25"/>
                <a:gd name="T71" fmla="*/ 22068928 h 53"/>
                <a:gd name="T72" fmla="*/ 16480852 w 25"/>
                <a:gd name="T73" fmla="*/ 24879587 h 53"/>
                <a:gd name="T74" fmla="*/ 18442993 w 25"/>
                <a:gd name="T75" fmla="*/ 27515152 h 53"/>
                <a:gd name="T76" fmla="*/ 17606647 w 25"/>
                <a:gd name="T77" fmla="*/ 33735471 h 53"/>
                <a:gd name="T78" fmla="*/ 16480852 w 25"/>
                <a:gd name="T79" fmla="*/ 39183621 h 53"/>
                <a:gd name="T80" fmla="*/ 15644591 w 25"/>
                <a:gd name="T81" fmla="*/ 45828647 h 53"/>
                <a:gd name="T82" fmla="*/ 15644591 w 25"/>
                <a:gd name="T83" fmla="*/ 46596156 h 5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5"/>
                <a:gd name="T127" fmla="*/ 0 h 53"/>
                <a:gd name="T128" fmla="*/ 25 w 25"/>
                <a:gd name="T129" fmla="*/ 53 h 5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5" h="53">
                  <a:moveTo>
                    <a:pt x="17" y="51"/>
                  </a:moveTo>
                  <a:cubicBezTo>
                    <a:pt x="16" y="51"/>
                    <a:pt x="15" y="52"/>
                    <a:pt x="14" y="52"/>
                  </a:cubicBezTo>
                  <a:cubicBezTo>
                    <a:pt x="14" y="53"/>
                    <a:pt x="13" y="53"/>
                    <a:pt x="13" y="53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1" y="51"/>
                    <a:pt x="10" y="51"/>
                    <a:pt x="10" y="52"/>
                  </a:cubicBezTo>
                  <a:cubicBezTo>
                    <a:pt x="9" y="52"/>
                    <a:pt x="9" y="52"/>
                    <a:pt x="9" y="53"/>
                  </a:cubicBezTo>
                  <a:cubicBezTo>
                    <a:pt x="8" y="53"/>
                    <a:pt x="6" y="53"/>
                    <a:pt x="6" y="52"/>
                  </a:cubicBezTo>
                  <a:cubicBezTo>
                    <a:pt x="6" y="51"/>
                    <a:pt x="6" y="50"/>
                    <a:pt x="7" y="48"/>
                  </a:cubicBezTo>
                  <a:cubicBezTo>
                    <a:pt x="8" y="47"/>
                    <a:pt x="7" y="46"/>
                    <a:pt x="7" y="44"/>
                  </a:cubicBezTo>
                  <a:cubicBezTo>
                    <a:pt x="7" y="44"/>
                    <a:pt x="6" y="43"/>
                    <a:pt x="6" y="43"/>
                  </a:cubicBezTo>
                  <a:cubicBezTo>
                    <a:pt x="6" y="42"/>
                    <a:pt x="6" y="41"/>
                    <a:pt x="6" y="41"/>
                  </a:cubicBezTo>
                  <a:cubicBezTo>
                    <a:pt x="5" y="39"/>
                    <a:pt x="6" y="38"/>
                    <a:pt x="5" y="37"/>
                  </a:cubicBezTo>
                  <a:cubicBezTo>
                    <a:pt x="5" y="36"/>
                    <a:pt x="5" y="35"/>
                    <a:pt x="4" y="35"/>
                  </a:cubicBezTo>
                  <a:cubicBezTo>
                    <a:pt x="4" y="34"/>
                    <a:pt x="3" y="35"/>
                    <a:pt x="3" y="36"/>
                  </a:cubicBezTo>
                  <a:cubicBezTo>
                    <a:pt x="2" y="36"/>
                    <a:pt x="1" y="35"/>
                    <a:pt x="1" y="35"/>
                  </a:cubicBezTo>
                  <a:cubicBezTo>
                    <a:pt x="1" y="33"/>
                    <a:pt x="0" y="31"/>
                    <a:pt x="1" y="29"/>
                  </a:cubicBezTo>
                  <a:cubicBezTo>
                    <a:pt x="1" y="28"/>
                    <a:pt x="2" y="28"/>
                    <a:pt x="3" y="28"/>
                  </a:cubicBezTo>
                  <a:cubicBezTo>
                    <a:pt x="4" y="27"/>
                    <a:pt x="5" y="25"/>
                    <a:pt x="6" y="23"/>
                  </a:cubicBezTo>
                  <a:cubicBezTo>
                    <a:pt x="7" y="23"/>
                    <a:pt x="7" y="22"/>
                    <a:pt x="7" y="21"/>
                  </a:cubicBezTo>
                  <a:cubicBezTo>
                    <a:pt x="6" y="20"/>
                    <a:pt x="6" y="20"/>
                    <a:pt x="5" y="20"/>
                  </a:cubicBezTo>
                  <a:cubicBezTo>
                    <a:pt x="5" y="18"/>
                    <a:pt x="6" y="16"/>
                    <a:pt x="6" y="14"/>
                  </a:cubicBezTo>
                  <a:cubicBezTo>
                    <a:pt x="7" y="12"/>
                    <a:pt x="7" y="9"/>
                    <a:pt x="7" y="7"/>
                  </a:cubicBezTo>
                  <a:cubicBezTo>
                    <a:pt x="6" y="5"/>
                    <a:pt x="6" y="3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9" y="0"/>
                    <a:pt x="11" y="1"/>
                  </a:cubicBezTo>
                  <a:cubicBezTo>
                    <a:pt x="11" y="1"/>
                    <a:pt x="11" y="2"/>
                    <a:pt x="12" y="2"/>
                  </a:cubicBezTo>
                  <a:cubicBezTo>
                    <a:pt x="13" y="4"/>
                    <a:pt x="14" y="2"/>
                    <a:pt x="16" y="3"/>
                  </a:cubicBezTo>
                  <a:cubicBezTo>
                    <a:pt x="17" y="4"/>
                    <a:pt x="18" y="3"/>
                    <a:pt x="19" y="2"/>
                  </a:cubicBezTo>
                  <a:cubicBezTo>
                    <a:pt x="19" y="2"/>
                    <a:pt x="21" y="3"/>
                    <a:pt x="22" y="2"/>
                  </a:cubicBezTo>
                  <a:cubicBezTo>
                    <a:pt x="22" y="2"/>
                    <a:pt x="23" y="2"/>
                    <a:pt x="24" y="2"/>
                  </a:cubicBezTo>
                  <a:cubicBezTo>
                    <a:pt x="24" y="3"/>
                    <a:pt x="24" y="4"/>
                    <a:pt x="24" y="5"/>
                  </a:cubicBezTo>
                  <a:cubicBezTo>
                    <a:pt x="24" y="5"/>
                    <a:pt x="25" y="5"/>
                    <a:pt x="25" y="6"/>
                  </a:cubicBezTo>
                  <a:cubicBezTo>
                    <a:pt x="25" y="6"/>
                    <a:pt x="25" y="7"/>
                    <a:pt x="25" y="8"/>
                  </a:cubicBezTo>
                  <a:cubicBezTo>
                    <a:pt x="24" y="9"/>
                    <a:pt x="23" y="11"/>
                    <a:pt x="22" y="12"/>
                  </a:cubicBezTo>
                  <a:cubicBezTo>
                    <a:pt x="21" y="15"/>
                    <a:pt x="22" y="17"/>
                    <a:pt x="22" y="20"/>
                  </a:cubicBezTo>
                  <a:cubicBezTo>
                    <a:pt x="21" y="21"/>
                    <a:pt x="22" y="22"/>
                    <a:pt x="21" y="24"/>
                  </a:cubicBezTo>
                  <a:cubicBezTo>
                    <a:pt x="20" y="25"/>
                    <a:pt x="19" y="26"/>
                    <a:pt x="18" y="27"/>
                  </a:cubicBezTo>
                  <a:cubicBezTo>
                    <a:pt x="18" y="28"/>
                    <a:pt x="19" y="30"/>
                    <a:pt x="20" y="30"/>
                  </a:cubicBezTo>
                  <a:cubicBezTo>
                    <a:pt x="20" y="33"/>
                    <a:pt x="20" y="35"/>
                    <a:pt x="19" y="37"/>
                  </a:cubicBezTo>
                  <a:cubicBezTo>
                    <a:pt x="18" y="39"/>
                    <a:pt x="19" y="41"/>
                    <a:pt x="18" y="43"/>
                  </a:cubicBezTo>
                  <a:cubicBezTo>
                    <a:pt x="17" y="45"/>
                    <a:pt x="17" y="47"/>
                    <a:pt x="17" y="50"/>
                  </a:cubicBezTo>
                  <a:lnTo>
                    <a:pt x="17" y="51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5" name="Freeform 157"/>
            <p:cNvSpPr>
              <a:spLocks/>
            </p:cNvSpPr>
            <p:nvPr/>
          </p:nvSpPr>
          <p:spPr bwMode="auto">
            <a:xfrm>
              <a:off x="7041126" y="3225868"/>
              <a:ext cx="127672" cy="163309"/>
            </a:xfrm>
            <a:custGeom>
              <a:avLst/>
              <a:gdLst>
                <a:gd name="T0" fmla="*/ 157040035 w 274"/>
                <a:gd name="T1" fmla="*/ 217040031 h 337"/>
                <a:gd name="T2" fmla="*/ 150281542 w 274"/>
                <a:gd name="T3" fmla="*/ 226152201 h 337"/>
                <a:gd name="T4" fmla="*/ 142774380 w 274"/>
                <a:gd name="T5" fmla="*/ 246813387 h 337"/>
                <a:gd name="T6" fmla="*/ 154339146 w 274"/>
                <a:gd name="T7" fmla="*/ 262006333 h 337"/>
                <a:gd name="T8" fmla="*/ 155181285 w 274"/>
                <a:gd name="T9" fmla="*/ 315476804 h 337"/>
                <a:gd name="T10" fmla="*/ 140063442 w 274"/>
                <a:gd name="T11" fmla="*/ 302391608 h 337"/>
                <a:gd name="T12" fmla="*/ 120619750 w 274"/>
                <a:gd name="T13" fmla="*/ 297628421 h 337"/>
                <a:gd name="T14" fmla="*/ 98205564 w 274"/>
                <a:gd name="T15" fmla="*/ 292913911 h 337"/>
                <a:gd name="T16" fmla="*/ 78403387 w 274"/>
                <a:gd name="T17" fmla="*/ 279806342 h 337"/>
                <a:gd name="T18" fmla="*/ 82246490 w 274"/>
                <a:gd name="T19" fmla="*/ 264640303 h 337"/>
                <a:gd name="T20" fmla="*/ 83086588 w 274"/>
                <a:gd name="T21" fmla="*/ 257093036 h 337"/>
                <a:gd name="T22" fmla="*/ 94146675 w 274"/>
                <a:gd name="T23" fmla="*/ 238422898 h 337"/>
                <a:gd name="T24" fmla="*/ 81102935 w 274"/>
                <a:gd name="T25" fmla="*/ 228173483 h 337"/>
                <a:gd name="T26" fmla="*/ 60463984 w 274"/>
                <a:gd name="T27" fmla="*/ 215838690 h 337"/>
                <a:gd name="T28" fmla="*/ 54276097 w 274"/>
                <a:gd name="T29" fmla="*/ 210348229 h 337"/>
                <a:gd name="T30" fmla="*/ 33710867 w 274"/>
                <a:gd name="T31" fmla="*/ 206644889 h 337"/>
                <a:gd name="T32" fmla="*/ 38366677 w 274"/>
                <a:gd name="T33" fmla="*/ 192319199 h 337"/>
                <a:gd name="T34" fmla="*/ 28164578 w 274"/>
                <a:gd name="T35" fmla="*/ 179222061 h 337"/>
                <a:gd name="T36" fmla="*/ 8384703 w 274"/>
                <a:gd name="T37" fmla="*/ 163390878 h 337"/>
                <a:gd name="T38" fmla="*/ 2823151 w 274"/>
                <a:gd name="T39" fmla="*/ 144671648 h 337"/>
                <a:gd name="T40" fmla="*/ 13041753 w 274"/>
                <a:gd name="T41" fmla="*/ 121958418 h 337"/>
                <a:gd name="T42" fmla="*/ 6666343 w 274"/>
                <a:gd name="T43" fmla="*/ 114385451 h 337"/>
                <a:gd name="T44" fmla="*/ 15116232 w 274"/>
                <a:gd name="T45" fmla="*/ 101297383 h 337"/>
                <a:gd name="T46" fmla="*/ 17106432 w 274"/>
                <a:gd name="T47" fmla="*/ 73158373 h 337"/>
                <a:gd name="T48" fmla="*/ 12201683 w 274"/>
                <a:gd name="T49" fmla="*/ 49643644 h 337"/>
                <a:gd name="T50" fmla="*/ 6666343 w 274"/>
                <a:gd name="T51" fmla="*/ 24221511 h 337"/>
                <a:gd name="T52" fmla="*/ 11058458 w 274"/>
                <a:gd name="T53" fmla="*/ 3563664 h 337"/>
                <a:gd name="T54" fmla="*/ 24129339 w 274"/>
                <a:gd name="T55" fmla="*/ 5551559 h 337"/>
                <a:gd name="T56" fmla="*/ 41854119 w 274"/>
                <a:gd name="T57" fmla="*/ 9616047 h 337"/>
                <a:gd name="T58" fmla="*/ 79601895 w 274"/>
                <a:gd name="T59" fmla="*/ 27081856 h 337"/>
                <a:gd name="T60" fmla="*/ 75580239 w 274"/>
                <a:gd name="T61" fmla="*/ 46081269 h 337"/>
                <a:gd name="T62" fmla="*/ 30019568 w 274"/>
                <a:gd name="T63" fmla="*/ 35825798 h 337"/>
                <a:gd name="T64" fmla="*/ 40393656 w 274"/>
                <a:gd name="T65" fmla="*/ 44929398 h 337"/>
                <a:gd name="T66" fmla="*/ 46751406 w 274"/>
                <a:gd name="T67" fmla="*/ 66828886 h 337"/>
                <a:gd name="T68" fmla="*/ 64483240 w 274"/>
                <a:gd name="T69" fmla="*/ 75876696 h 337"/>
                <a:gd name="T70" fmla="*/ 54276097 w 274"/>
                <a:gd name="T71" fmla="*/ 63967822 h 337"/>
                <a:gd name="T72" fmla="*/ 68034126 w 274"/>
                <a:gd name="T73" fmla="*/ 63967822 h 337"/>
                <a:gd name="T74" fmla="*/ 85161899 w 274"/>
                <a:gd name="T75" fmla="*/ 67670557 h 337"/>
                <a:gd name="T76" fmla="*/ 88621128 w 274"/>
                <a:gd name="T77" fmla="*/ 47584116 h 337"/>
                <a:gd name="T78" fmla="*/ 105599760 w 274"/>
                <a:gd name="T79" fmla="*/ 48951290 h 337"/>
                <a:gd name="T80" fmla="*/ 104365228 w 274"/>
                <a:gd name="T81" fmla="*/ 17161371 h 337"/>
                <a:gd name="T82" fmla="*/ 113106997 w 274"/>
                <a:gd name="T83" fmla="*/ 27081856 h 337"/>
                <a:gd name="T84" fmla="*/ 124164213 w 274"/>
                <a:gd name="T85" fmla="*/ 38547370 h 337"/>
                <a:gd name="T86" fmla="*/ 136512103 w 274"/>
                <a:gd name="T87" fmla="*/ 27081856 h 337"/>
                <a:gd name="T88" fmla="*/ 157826711 w 274"/>
                <a:gd name="T89" fmla="*/ 17161371 h 337"/>
                <a:gd name="T90" fmla="*/ 166175897 w 274"/>
                <a:gd name="T91" fmla="*/ 18665097 h 337"/>
                <a:gd name="T92" fmla="*/ 171710512 w 274"/>
                <a:gd name="T93" fmla="*/ 20724365 h 337"/>
                <a:gd name="T94" fmla="*/ 187964958 w 274"/>
                <a:gd name="T95" fmla="*/ 17161371 h 337"/>
                <a:gd name="T96" fmla="*/ 201093858 w 274"/>
                <a:gd name="T97" fmla="*/ 17822197 h 337"/>
                <a:gd name="T98" fmla="*/ 213924891 w 274"/>
                <a:gd name="T99" fmla="*/ 13966035 h 337"/>
                <a:gd name="T100" fmla="*/ 230761165 w 274"/>
                <a:gd name="T101" fmla="*/ 2833087 h 337"/>
                <a:gd name="T102" fmla="*/ 237428455 w 274"/>
                <a:gd name="T103" fmla="*/ 187632958 h 337"/>
                <a:gd name="T104" fmla="*/ 240963094 w 274"/>
                <a:gd name="T105" fmla="*/ 197898850 h 337"/>
                <a:gd name="T106" fmla="*/ 240963094 w 274"/>
                <a:gd name="T107" fmla="*/ 212980536 h 337"/>
                <a:gd name="T108" fmla="*/ 221534741 w 274"/>
                <a:gd name="T109" fmla="*/ 215838690 h 337"/>
                <a:gd name="T110" fmla="*/ 199023459 w 274"/>
                <a:gd name="T111" fmla="*/ 221390072 h 337"/>
                <a:gd name="T112" fmla="*/ 185974806 w 274"/>
                <a:gd name="T113" fmla="*/ 210984348 h 33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74"/>
                <a:gd name="T172" fmla="*/ 0 h 337"/>
                <a:gd name="T173" fmla="*/ 274 w 274"/>
                <a:gd name="T174" fmla="*/ 337 h 33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74" h="337">
                  <a:moveTo>
                    <a:pt x="182" y="225"/>
                  </a:moveTo>
                  <a:cubicBezTo>
                    <a:pt x="180" y="225"/>
                    <a:pt x="179" y="225"/>
                    <a:pt x="178" y="226"/>
                  </a:cubicBezTo>
                  <a:cubicBezTo>
                    <a:pt x="177" y="226"/>
                    <a:pt x="177" y="227"/>
                    <a:pt x="176" y="229"/>
                  </a:cubicBezTo>
                  <a:cubicBezTo>
                    <a:pt x="176" y="229"/>
                    <a:pt x="175" y="230"/>
                    <a:pt x="175" y="230"/>
                  </a:cubicBezTo>
                  <a:cubicBezTo>
                    <a:pt x="173" y="230"/>
                    <a:pt x="172" y="230"/>
                    <a:pt x="171" y="230"/>
                  </a:cubicBezTo>
                  <a:cubicBezTo>
                    <a:pt x="170" y="229"/>
                    <a:pt x="169" y="229"/>
                    <a:pt x="168" y="230"/>
                  </a:cubicBezTo>
                  <a:cubicBezTo>
                    <a:pt x="168" y="230"/>
                    <a:pt x="168" y="231"/>
                    <a:pt x="168" y="231"/>
                  </a:cubicBezTo>
                  <a:cubicBezTo>
                    <a:pt x="168" y="231"/>
                    <a:pt x="169" y="232"/>
                    <a:pt x="169" y="232"/>
                  </a:cubicBezTo>
                  <a:cubicBezTo>
                    <a:pt x="169" y="233"/>
                    <a:pt x="169" y="235"/>
                    <a:pt x="169" y="235"/>
                  </a:cubicBezTo>
                  <a:cubicBezTo>
                    <a:pt x="167" y="235"/>
                    <a:pt x="165" y="235"/>
                    <a:pt x="164" y="237"/>
                  </a:cubicBezTo>
                  <a:cubicBezTo>
                    <a:pt x="164" y="237"/>
                    <a:pt x="164" y="237"/>
                    <a:pt x="164" y="238"/>
                  </a:cubicBezTo>
                  <a:cubicBezTo>
                    <a:pt x="164" y="238"/>
                    <a:pt x="164" y="239"/>
                    <a:pt x="164" y="240"/>
                  </a:cubicBezTo>
                  <a:cubicBezTo>
                    <a:pt x="165" y="241"/>
                    <a:pt x="165" y="242"/>
                    <a:pt x="165" y="243"/>
                  </a:cubicBezTo>
                  <a:cubicBezTo>
                    <a:pt x="163" y="244"/>
                    <a:pt x="162" y="242"/>
                    <a:pt x="161" y="241"/>
                  </a:cubicBezTo>
                  <a:cubicBezTo>
                    <a:pt x="159" y="239"/>
                    <a:pt x="157" y="238"/>
                    <a:pt x="155" y="239"/>
                  </a:cubicBezTo>
                  <a:cubicBezTo>
                    <a:pt x="154" y="239"/>
                    <a:pt x="154" y="241"/>
                    <a:pt x="153" y="242"/>
                  </a:cubicBezTo>
                  <a:cubicBezTo>
                    <a:pt x="152" y="243"/>
                    <a:pt x="152" y="245"/>
                    <a:pt x="152" y="246"/>
                  </a:cubicBezTo>
                  <a:cubicBezTo>
                    <a:pt x="151" y="247"/>
                    <a:pt x="151" y="249"/>
                    <a:pt x="152" y="250"/>
                  </a:cubicBezTo>
                  <a:cubicBezTo>
                    <a:pt x="152" y="251"/>
                    <a:pt x="152" y="252"/>
                    <a:pt x="151" y="253"/>
                  </a:cubicBezTo>
                  <a:cubicBezTo>
                    <a:pt x="149" y="255"/>
                    <a:pt x="151" y="258"/>
                    <a:pt x="151" y="261"/>
                  </a:cubicBezTo>
                  <a:cubicBezTo>
                    <a:pt x="151" y="262"/>
                    <a:pt x="153" y="262"/>
                    <a:pt x="153" y="263"/>
                  </a:cubicBezTo>
                  <a:cubicBezTo>
                    <a:pt x="154" y="264"/>
                    <a:pt x="154" y="265"/>
                    <a:pt x="155" y="266"/>
                  </a:cubicBezTo>
                  <a:cubicBezTo>
                    <a:pt x="155" y="267"/>
                    <a:pt x="156" y="267"/>
                    <a:pt x="157" y="267"/>
                  </a:cubicBezTo>
                  <a:cubicBezTo>
                    <a:pt x="158" y="268"/>
                    <a:pt x="159" y="267"/>
                    <a:pt x="160" y="268"/>
                  </a:cubicBezTo>
                  <a:cubicBezTo>
                    <a:pt x="161" y="269"/>
                    <a:pt x="162" y="270"/>
                    <a:pt x="163" y="270"/>
                  </a:cubicBezTo>
                  <a:cubicBezTo>
                    <a:pt x="164" y="271"/>
                    <a:pt x="166" y="272"/>
                    <a:pt x="167" y="273"/>
                  </a:cubicBezTo>
                  <a:cubicBezTo>
                    <a:pt x="167" y="274"/>
                    <a:pt x="167" y="275"/>
                    <a:pt x="167" y="276"/>
                  </a:cubicBezTo>
                  <a:cubicBezTo>
                    <a:pt x="166" y="278"/>
                    <a:pt x="165" y="278"/>
                    <a:pt x="165" y="279"/>
                  </a:cubicBezTo>
                  <a:cubicBezTo>
                    <a:pt x="165" y="280"/>
                    <a:pt x="165" y="282"/>
                    <a:pt x="164" y="283"/>
                  </a:cubicBezTo>
                  <a:cubicBezTo>
                    <a:pt x="163" y="284"/>
                    <a:pt x="162" y="285"/>
                    <a:pt x="162" y="286"/>
                  </a:cubicBezTo>
                  <a:cubicBezTo>
                    <a:pt x="161" y="288"/>
                    <a:pt x="161" y="290"/>
                    <a:pt x="162" y="292"/>
                  </a:cubicBezTo>
                  <a:cubicBezTo>
                    <a:pt x="162" y="292"/>
                    <a:pt x="162" y="292"/>
                    <a:pt x="163" y="292"/>
                  </a:cubicBezTo>
                  <a:cubicBezTo>
                    <a:pt x="170" y="327"/>
                    <a:pt x="170" y="327"/>
                    <a:pt x="170" y="327"/>
                  </a:cubicBezTo>
                  <a:cubicBezTo>
                    <a:pt x="169" y="329"/>
                    <a:pt x="168" y="330"/>
                    <a:pt x="167" y="332"/>
                  </a:cubicBezTo>
                  <a:cubicBezTo>
                    <a:pt x="167" y="333"/>
                    <a:pt x="167" y="335"/>
                    <a:pt x="166" y="336"/>
                  </a:cubicBezTo>
                  <a:cubicBezTo>
                    <a:pt x="166" y="337"/>
                    <a:pt x="166" y="336"/>
                    <a:pt x="166" y="336"/>
                  </a:cubicBezTo>
                  <a:cubicBezTo>
                    <a:pt x="164" y="335"/>
                    <a:pt x="163" y="333"/>
                    <a:pt x="162" y="332"/>
                  </a:cubicBezTo>
                  <a:cubicBezTo>
                    <a:pt x="161" y="332"/>
                    <a:pt x="161" y="332"/>
                    <a:pt x="161" y="332"/>
                  </a:cubicBezTo>
                  <a:cubicBezTo>
                    <a:pt x="160" y="331"/>
                    <a:pt x="159" y="331"/>
                    <a:pt x="159" y="330"/>
                  </a:cubicBezTo>
                  <a:cubicBezTo>
                    <a:pt x="158" y="330"/>
                    <a:pt x="157" y="330"/>
                    <a:pt x="157" y="330"/>
                  </a:cubicBezTo>
                  <a:cubicBezTo>
                    <a:pt x="156" y="328"/>
                    <a:pt x="153" y="326"/>
                    <a:pt x="151" y="324"/>
                  </a:cubicBezTo>
                  <a:cubicBezTo>
                    <a:pt x="150" y="324"/>
                    <a:pt x="150" y="323"/>
                    <a:pt x="150" y="322"/>
                  </a:cubicBezTo>
                  <a:cubicBezTo>
                    <a:pt x="149" y="322"/>
                    <a:pt x="149" y="321"/>
                    <a:pt x="149" y="321"/>
                  </a:cubicBezTo>
                  <a:cubicBezTo>
                    <a:pt x="147" y="321"/>
                    <a:pt x="145" y="322"/>
                    <a:pt x="143" y="321"/>
                  </a:cubicBezTo>
                  <a:cubicBezTo>
                    <a:pt x="142" y="320"/>
                    <a:pt x="142" y="320"/>
                    <a:pt x="141" y="320"/>
                  </a:cubicBezTo>
                  <a:cubicBezTo>
                    <a:pt x="141" y="320"/>
                    <a:pt x="140" y="320"/>
                    <a:pt x="139" y="320"/>
                  </a:cubicBezTo>
                  <a:cubicBezTo>
                    <a:pt x="138" y="321"/>
                    <a:pt x="138" y="322"/>
                    <a:pt x="137" y="322"/>
                  </a:cubicBezTo>
                  <a:cubicBezTo>
                    <a:pt x="136" y="322"/>
                    <a:pt x="135" y="322"/>
                    <a:pt x="134" y="322"/>
                  </a:cubicBezTo>
                  <a:cubicBezTo>
                    <a:pt x="132" y="320"/>
                    <a:pt x="131" y="318"/>
                    <a:pt x="129" y="317"/>
                  </a:cubicBezTo>
                  <a:cubicBezTo>
                    <a:pt x="128" y="317"/>
                    <a:pt x="126" y="317"/>
                    <a:pt x="124" y="317"/>
                  </a:cubicBezTo>
                  <a:cubicBezTo>
                    <a:pt x="124" y="316"/>
                    <a:pt x="123" y="316"/>
                    <a:pt x="123" y="315"/>
                  </a:cubicBezTo>
                  <a:cubicBezTo>
                    <a:pt x="122" y="315"/>
                    <a:pt x="121" y="315"/>
                    <a:pt x="121" y="315"/>
                  </a:cubicBezTo>
                  <a:cubicBezTo>
                    <a:pt x="119" y="314"/>
                    <a:pt x="117" y="315"/>
                    <a:pt x="116" y="314"/>
                  </a:cubicBezTo>
                  <a:cubicBezTo>
                    <a:pt x="114" y="314"/>
                    <a:pt x="113" y="313"/>
                    <a:pt x="112" y="312"/>
                  </a:cubicBezTo>
                  <a:cubicBezTo>
                    <a:pt x="110" y="311"/>
                    <a:pt x="108" y="312"/>
                    <a:pt x="106" y="312"/>
                  </a:cubicBezTo>
                  <a:cubicBezTo>
                    <a:pt x="105" y="312"/>
                    <a:pt x="105" y="312"/>
                    <a:pt x="105" y="312"/>
                  </a:cubicBezTo>
                  <a:cubicBezTo>
                    <a:pt x="104" y="311"/>
                    <a:pt x="104" y="311"/>
                    <a:pt x="103" y="310"/>
                  </a:cubicBezTo>
                  <a:cubicBezTo>
                    <a:pt x="102" y="309"/>
                    <a:pt x="101" y="308"/>
                    <a:pt x="100" y="307"/>
                  </a:cubicBezTo>
                  <a:cubicBezTo>
                    <a:pt x="98" y="306"/>
                    <a:pt x="97" y="305"/>
                    <a:pt x="95" y="304"/>
                  </a:cubicBezTo>
                  <a:cubicBezTo>
                    <a:pt x="94" y="303"/>
                    <a:pt x="92" y="302"/>
                    <a:pt x="90" y="301"/>
                  </a:cubicBezTo>
                  <a:cubicBezTo>
                    <a:pt x="89" y="300"/>
                    <a:pt x="88" y="300"/>
                    <a:pt x="86" y="300"/>
                  </a:cubicBezTo>
                  <a:cubicBezTo>
                    <a:pt x="86" y="300"/>
                    <a:pt x="85" y="299"/>
                    <a:pt x="84" y="298"/>
                  </a:cubicBezTo>
                  <a:cubicBezTo>
                    <a:pt x="84" y="298"/>
                    <a:pt x="84" y="298"/>
                    <a:pt x="84" y="298"/>
                  </a:cubicBezTo>
                  <a:cubicBezTo>
                    <a:pt x="83" y="298"/>
                    <a:pt x="82" y="297"/>
                    <a:pt x="82" y="296"/>
                  </a:cubicBezTo>
                  <a:cubicBezTo>
                    <a:pt x="81" y="295"/>
                    <a:pt x="82" y="294"/>
                    <a:pt x="81" y="293"/>
                  </a:cubicBezTo>
                  <a:cubicBezTo>
                    <a:pt x="83" y="293"/>
                    <a:pt x="84" y="294"/>
                    <a:pt x="85" y="293"/>
                  </a:cubicBezTo>
                  <a:cubicBezTo>
                    <a:pt x="85" y="293"/>
                    <a:pt x="86" y="293"/>
                    <a:pt x="86" y="292"/>
                  </a:cubicBezTo>
                  <a:cubicBezTo>
                    <a:pt x="86" y="290"/>
                    <a:pt x="87" y="288"/>
                    <a:pt x="88" y="286"/>
                  </a:cubicBezTo>
                  <a:cubicBezTo>
                    <a:pt x="88" y="286"/>
                    <a:pt x="89" y="285"/>
                    <a:pt x="89" y="285"/>
                  </a:cubicBezTo>
                  <a:cubicBezTo>
                    <a:pt x="89" y="284"/>
                    <a:pt x="89" y="282"/>
                    <a:pt x="88" y="282"/>
                  </a:cubicBezTo>
                  <a:cubicBezTo>
                    <a:pt x="87" y="281"/>
                    <a:pt x="88" y="280"/>
                    <a:pt x="88" y="280"/>
                  </a:cubicBezTo>
                  <a:cubicBezTo>
                    <a:pt x="89" y="280"/>
                    <a:pt x="90" y="280"/>
                    <a:pt x="91" y="279"/>
                  </a:cubicBezTo>
                  <a:cubicBezTo>
                    <a:pt x="91" y="278"/>
                    <a:pt x="91" y="277"/>
                    <a:pt x="92" y="277"/>
                  </a:cubicBezTo>
                  <a:cubicBezTo>
                    <a:pt x="94" y="275"/>
                    <a:pt x="96" y="276"/>
                    <a:pt x="97" y="274"/>
                  </a:cubicBezTo>
                  <a:cubicBezTo>
                    <a:pt x="97" y="274"/>
                    <a:pt x="97" y="273"/>
                    <a:pt x="97" y="273"/>
                  </a:cubicBezTo>
                  <a:cubicBezTo>
                    <a:pt x="96" y="273"/>
                    <a:pt x="95" y="273"/>
                    <a:pt x="93" y="274"/>
                  </a:cubicBezTo>
                  <a:cubicBezTo>
                    <a:pt x="92" y="274"/>
                    <a:pt x="90" y="274"/>
                    <a:pt x="89" y="274"/>
                  </a:cubicBezTo>
                  <a:cubicBezTo>
                    <a:pt x="89" y="273"/>
                    <a:pt x="89" y="273"/>
                    <a:pt x="89" y="273"/>
                  </a:cubicBezTo>
                  <a:cubicBezTo>
                    <a:pt x="89" y="270"/>
                    <a:pt x="90" y="268"/>
                    <a:pt x="92" y="266"/>
                  </a:cubicBezTo>
                  <a:cubicBezTo>
                    <a:pt x="94" y="265"/>
                    <a:pt x="96" y="266"/>
                    <a:pt x="98" y="265"/>
                  </a:cubicBezTo>
                  <a:cubicBezTo>
                    <a:pt x="99" y="265"/>
                    <a:pt x="100" y="264"/>
                    <a:pt x="100" y="263"/>
                  </a:cubicBezTo>
                  <a:cubicBezTo>
                    <a:pt x="101" y="262"/>
                    <a:pt x="101" y="261"/>
                    <a:pt x="101" y="260"/>
                  </a:cubicBezTo>
                  <a:cubicBezTo>
                    <a:pt x="100" y="259"/>
                    <a:pt x="99" y="258"/>
                    <a:pt x="100" y="257"/>
                  </a:cubicBezTo>
                  <a:cubicBezTo>
                    <a:pt x="101" y="256"/>
                    <a:pt x="102" y="255"/>
                    <a:pt x="101" y="254"/>
                  </a:cubicBezTo>
                  <a:cubicBezTo>
                    <a:pt x="101" y="253"/>
                    <a:pt x="100" y="253"/>
                    <a:pt x="99" y="252"/>
                  </a:cubicBezTo>
                  <a:cubicBezTo>
                    <a:pt x="98" y="252"/>
                    <a:pt x="98" y="251"/>
                    <a:pt x="98" y="251"/>
                  </a:cubicBezTo>
                  <a:cubicBezTo>
                    <a:pt x="98" y="250"/>
                    <a:pt x="98" y="249"/>
                    <a:pt x="98" y="248"/>
                  </a:cubicBezTo>
                  <a:cubicBezTo>
                    <a:pt x="99" y="247"/>
                    <a:pt x="99" y="247"/>
                    <a:pt x="99" y="247"/>
                  </a:cubicBezTo>
                  <a:cubicBezTo>
                    <a:pt x="98" y="246"/>
                    <a:pt x="96" y="247"/>
                    <a:pt x="95" y="246"/>
                  </a:cubicBezTo>
                  <a:cubicBezTo>
                    <a:pt x="93" y="244"/>
                    <a:pt x="92" y="242"/>
                    <a:pt x="90" y="242"/>
                  </a:cubicBezTo>
                  <a:cubicBezTo>
                    <a:pt x="89" y="244"/>
                    <a:pt x="88" y="243"/>
                    <a:pt x="87" y="243"/>
                  </a:cubicBezTo>
                  <a:cubicBezTo>
                    <a:pt x="86" y="243"/>
                    <a:pt x="85" y="242"/>
                    <a:pt x="84" y="241"/>
                  </a:cubicBezTo>
                  <a:cubicBezTo>
                    <a:pt x="83" y="240"/>
                    <a:pt x="83" y="239"/>
                    <a:pt x="82" y="239"/>
                  </a:cubicBezTo>
                  <a:cubicBezTo>
                    <a:pt x="80" y="238"/>
                    <a:pt x="79" y="239"/>
                    <a:pt x="77" y="238"/>
                  </a:cubicBezTo>
                  <a:cubicBezTo>
                    <a:pt x="76" y="240"/>
                    <a:pt x="74" y="240"/>
                    <a:pt x="72" y="239"/>
                  </a:cubicBezTo>
                  <a:cubicBezTo>
                    <a:pt x="71" y="239"/>
                    <a:pt x="70" y="238"/>
                    <a:pt x="70" y="237"/>
                  </a:cubicBezTo>
                  <a:cubicBezTo>
                    <a:pt x="68" y="236"/>
                    <a:pt x="67" y="238"/>
                    <a:pt x="66" y="236"/>
                  </a:cubicBezTo>
                  <a:cubicBezTo>
                    <a:pt x="65" y="234"/>
                    <a:pt x="66" y="232"/>
                    <a:pt x="65" y="230"/>
                  </a:cubicBezTo>
                  <a:cubicBezTo>
                    <a:pt x="65" y="229"/>
                    <a:pt x="64" y="228"/>
                    <a:pt x="64" y="228"/>
                  </a:cubicBezTo>
                  <a:cubicBezTo>
                    <a:pt x="63" y="228"/>
                    <a:pt x="62" y="228"/>
                    <a:pt x="62" y="228"/>
                  </a:cubicBezTo>
                  <a:cubicBezTo>
                    <a:pt x="61" y="228"/>
                    <a:pt x="60" y="229"/>
                    <a:pt x="59" y="230"/>
                  </a:cubicBezTo>
                  <a:cubicBezTo>
                    <a:pt x="58" y="230"/>
                    <a:pt x="57" y="230"/>
                    <a:pt x="57" y="230"/>
                  </a:cubicBezTo>
                  <a:cubicBezTo>
                    <a:pt x="57" y="230"/>
                    <a:pt x="56" y="229"/>
                    <a:pt x="56" y="229"/>
                  </a:cubicBezTo>
                  <a:cubicBezTo>
                    <a:pt x="56" y="228"/>
                    <a:pt x="56" y="227"/>
                    <a:pt x="56" y="226"/>
                  </a:cubicBezTo>
                  <a:cubicBezTo>
                    <a:pt x="57" y="226"/>
                    <a:pt x="57" y="225"/>
                    <a:pt x="58" y="224"/>
                  </a:cubicBezTo>
                  <a:cubicBezTo>
                    <a:pt x="58" y="224"/>
                    <a:pt x="58" y="223"/>
                    <a:pt x="58" y="223"/>
                  </a:cubicBezTo>
                  <a:cubicBezTo>
                    <a:pt x="57" y="221"/>
                    <a:pt x="56" y="220"/>
                    <a:pt x="55" y="219"/>
                  </a:cubicBezTo>
                  <a:cubicBezTo>
                    <a:pt x="55" y="219"/>
                    <a:pt x="54" y="218"/>
                    <a:pt x="54" y="218"/>
                  </a:cubicBezTo>
                  <a:cubicBezTo>
                    <a:pt x="52" y="217"/>
                    <a:pt x="51" y="218"/>
                    <a:pt x="50" y="218"/>
                  </a:cubicBezTo>
                  <a:cubicBezTo>
                    <a:pt x="47" y="217"/>
                    <a:pt x="45" y="217"/>
                    <a:pt x="43" y="218"/>
                  </a:cubicBezTo>
                  <a:cubicBezTo>
                    <a:pt x="42" y="218"/>
                    <a:pt x="42" y="219"/>
                    <a:pt x="41" y="220"/>
                  </a:cubicBezTo>
                  <a:cubicBezTo>
                    <a:pt x="39" y="221"/>
                    <a:pt x="37" y="220"/>
                    <a:pt x="36" y="220"/>
                  </a:cubicBezTo>
                  <a:cubicBezTo>
                    <a:pt x="36" y="220"/>
                    <a:pt x="35" y="219"/>
                    <a:pt x="35" y="219"/>
                  </a:cubicBezTo>
                  <a:cubicBezTo>
                    <a:pt x="35" y="216"/>
                    <a:pt x="35" y="212"/>
                    <a:pt x="35" y="209"/>
                  </a:cubicBezTo>
                  <a:cubicBezTo>
                    <a:pt x="35" y="208"/>
                    <a:pt x="36" y="208"/>
                    <a:pt x="37" y="208"/>
                  </a:cubicBezTo>
                  <a:cubicBezTo>
                    <a:pt x="37" y="209"/>
                    <a:pt x="37" y="209"/>
                    <a:pt x="38" y="209"/>
                  </a:cubicBezTo>
                  <a:cubicBezTo>
                    <a:pt x="38" y="210"/>
                    <a:pt x="39" y="210"/>
                    <a:pt x="39" y="210"/>
                  </a:cubicBezTo>
                  <a:cubicBezTo>
                    <a:pt x="39" y="209"/>
                    <a:pt x="40" y="209"/>
                    <a:pt x="40" y="209"/>
                  </a:cubicBezTo>
                  <a:cubicBezTo>
                    <a:pt x="42" y="208"/>
                    <a:pt x="41" y="206"/>
                    <a:pt x="41" y="205"/>
                  </a:cubicBezTo>
                  <a:cubicBezTo>
                    <a:pt x="40" y="204"/>
                    <a:pt x="38" y="203"/>
                    <a:pt x="38" y="202"/>
                  </a:cubicBezTo>
                  <a:cubicBezTo>
                    <a:pt x="37" y="201"/>
                    <a:pt x="38" y="199"/>
                    <a:pt x="37" y="198"/>
                  </a:cubicBezTo>
                  <a:cubicBezTo>
                    <a:pt x="37" y="198"/>
                    <a:pt x="37" y="198"/>
                    <a:pt x="36" y="198"/>
                  </a:cubicBezTo>
                  <a:cubicBezTo>
                    <a:pt x="36" y="197"/>
                    <a:pt x="35" y="198"/>
                    <a:pt x="34" y="197"/>
                  </a:cubicBezTo>
                  <a:cubicBezTo>
                    <a:pt x="33" y="197"/>
                    <a:pt x="33" y="197"/>
                    <a:pt x="32" y="196"/>
                  </a:cubicBezTo>
                  <a:cubicBezTo>
                    <a:pt x="32" y="195"/>
                    <a:pt x="32" y="194"/>
                    <a:pt x="32" y="193"/>
                  </a:cubicBezTo>
                  <a:cubicBezTo>
                    <a:pt x="31" y="192"/>
                    <a:pt x="30" y="191"/>
                    <a:pt x="30" y="191"/>
                  </a:cubicBezTo>
                  <a:cubicBezTo>
                    <a:pt x="27" y="189"/>
                    <a:pt x="29" y="185"/>
                    <a:pt x="28" y="182"/>
                  </a:cubicBezTo>
                  <a:cubicBezTo>
                    <a:pt x="28" y="181"/>
                    <a:pt x="26" y="179"/>
                    <a:pt x="25" y="178"/>
                  </a:cubicBezTo>
                  <a:cubicBezTo>
                    <a:pt x="24" y="178"/>
                    <a:pt x="24" y="178"/>
                    <a:pt x="23" y="178"/>
                  </a:cubicBezTo>
                  <a:cubicBezTo>
                    <a:pt x="23" y="178"/>
                    <a:pt x="23" y="179"/>
                    <a:pt x="22" y="179"/>
                  </a:cubicBezTo>
                  <a:cubicBezTo>
                    <a:pt x="20" y="179"/>
                    <a:pt x="19" y="180"/>
                    <a:pt x="18" y="179"/>
                  </a:cubicBezTo>
                  <a:cubicBezTo>
                    <a:pt x="17" y="178"/>
                    <a:pt x="18" y="176"/>
                    <a:pt x="17" y="175"/>
                  </a:cubicBezTo>
                  <a:cubicBezTo>
                    <a:pt x="14" y="174"/>
                    <a:pt x="11" y="175"/>
                    <a:pt x="9" y="174"/>
                  </a:cubicBezTo>
                  <a:cubicBezTo>
                    <a:pt x="8" y="171"/>
                    <a:pt x="5" y="170"/>
                    <a:pt x="4" y="168"/>
                  </a:cubicBezTo>
                  <a:cubicBezTo>
                    <a:pt x="4" y="166"/>
                    <a:pt x="4" y="164"/>
                    <a:pt x="5" y="162"/>
                  </a:cubicBezTo>
                  <a:cubicBezTo>
                    <a:pt x="5" y="162"/>
                    <a:pt x="4" y="162"/>
                    <a:pt x="4" y="161"/>
                  </a:cubicBezTo>
                  <a:cubicBezTo>
                    <a:pt x="4" y="161"/>
                    <a:pt x="4" y="161"/>
                    <a:pt x="4" y="161"/>
                  </a:cubicBezTo>
                  <a:cubicBezTo>
                    <a:pt x="3" y="160"/>
                    <a:pt x="2" y="159"/>
                    <a:pt x="2" y="158"/>
                  </a:cubicBezTo>
                  <a:cubicBezTo>
                    <a:pt x="1" y="157"/>
                    <a:pt x="2" y="157"/>
                    <a:pt x="2" y="156"/>
                  </a:cubicBezTo>
                  <a:cubicBezTo>
                    <a:pt x="2" y="155"/>
                    <a:pt x="3" y="155"/>
                    <a:pt x="3" y="154"/>
                  </a:cubicBezTo>
                  <a:cubicBezTo>
                    <a:pt x="4" y="154"/>
                    <a:pt x="4" y="153"/>
                    <a:pt x="5" y="152"/>
                  </a:cubicBezTo>
                  <a:cubicBezTo>
                    <a:pt x="6" y="151"/>
                    <a:pt x="3" y="150"/>
                    <a:pt x="2" y="149"/>
                  </a:cubicBezTo>
                  <a:cubicBezTo>
                    <a:pt x="2" y="146"/>
                    <a:pt x="2" y="143"/>
                    <a:pt x="2" y="140"/>
                  </a:cubicBezTo>
                  <a:cubicBezTo>
                    <a:pt x="4" y="139"/>
                    <a:pt x="6" y="137"/>
                    <a:pt x="6" y="134"/>
                  </a:cubicBezTo>
                  <a:cubicBezTo>
                    <a:pt x="5" y="134"/>
                    <a:pt x="5" y="134"/>
                    <a:pt x="5" y="134"/>
                  </a:cubicBezTo>
                  <a:cubicBezTo>
                    <a:pt x="6" y="134"/>
                    <a:pt x="5" y="132"/>
                    <a:pt x="5" y="131"/>
                  </a:cubicBezTo>
                  <a:cubicBezTo>
                    <a:pt x="8" y="131"/>
                    <a:pt x="11" y="132"/>
                    <a:pt x="14" y="130"/>
                  </a:cubicBezTo>
                  <a:cubicBezTo>
                    <a:pt x="16" y="130"/>
                    <a:pt x="19" y="130"/>
                    <a:pt x="21" y="129"/>
                  </a:cubicBezTo>
                  <a:cubicBezTo>
                    <a:pt x="21" y="129"/>
                    <a:pt x="21" y="128"/>
                    <a:pt x="21" y="128"/>
                  </a:cubicBezTo>
                  <a:cubicBezTo>
                    <a:pt x="20" y="127"/>
                    <a:pt x="19" y="125"/>
                    <a:pt x="17" y="125"/>
                  </a:cubicBezTo>
                  <a:cubicBezTo>
                    <a:pt x="15" y="124"/>
                    <a:pt x="14" y="125"/>
                    <a:pt x="12" y="124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10" y="123"/>
                    <a:pt x="10" y="122"/>
                    <a:pt x="9" y="122"/>
                  </a:cubicBezTo>
                  <a:cubicBezTo>
                    <a:pt x="8" y="121"/>
                    <a:pt x="8" y="121"/>
                    <a:pt x="7" y="122"/>
                  </a:cubicBezTo>
                  <a:cubicBezTo>
                    <a:pt x="6" y="122"/>
                    <a:pt x="5" y="122"/>
                    <a:pt x="4" y="122"/>
                  </a:cubicBezTo>
                  <a:cubicBezTo>
                    <a:pt x="4" y="121"/>
                    <a:pt x="4" y="121"/>
                    <a:pt x="4" y="121"/>
                  </a:cubicBezTo>
                  <a:cubicBezTo>
                    <a:pt x="4" y="120"/>
                    <a:pt x="4" y="120"/>
                    <a:pt x="4" y="119"/>
                  </a:cubicBezTo>
                  <a:cubicBezTo>
                    <a:pt x="5" y="119"/>
                    <a:pt x="6" y="118"/>
                    <a:pt x="7" y="118"/>
                  </a:cubicBezTo>
                  <a:cubicBezTo>
                    <a:pt x="8" y="117"/>
                    <a:pt x="9" y="116"/>
                    <a:pt x="10" y="115"/>
                  </a:cubicBezTo>
                  <a:cubicBezTo>
                    <a:pt x="11" y="114"/>
                    <a:pt x="11" y="113"/>
                    <a:pt x="12" y="112"/>
                  </a:cubicBezTo>
                  <a:cubicBezTo>
                    <a:pt x="13" y="110"/>
                    <a:pt x="15" y="109"/>
                    <a:pt x="16" y="108"/>
                  </a:cubicBezTo>
                  <a:cubicBezTo>
                    <a:pt x="17" y="107"/>
                    <a:pt x="17" y="106"/>
                    <a:pt x="18" y="105"/>
                  </a:cubicBezTo>
                  <a:cubicBezTo>
                    <a:pt x="20" y="101"/>
                    <a:pt x="23" y="98"/>
                    <a:pt x="25" y="94"/>
                  </a:cubicBezTo>
                  <a:cubicBezTo>
                    <a:pt x="26" y="93"/>
                    <a:pt x="26" y="91"/>
                    <a:pt x="26" y="89"/>
                  </a:cubicBezTo>
                  <a:cubicBezTo>
                    <a:pt x="23" y="88"/>
                    <a:pt x="21" y="86"/>
                    <a:pt x="19" y="84"/>
                  </a:cubicBezTo>
                  <a:cubicBezTo>
                    <a:pt x="19" y="84"/>
                    <a:pt x="18" y="84"/>
                    <a:pt x="17" y="84"/>
                  </a:cubicBezTo>
                  <a:cubicBezTo>
                    <a:pt x="16" y="83"/>
                    <a:pt x="16" y="81"/>
                    <a:pt x="16" y="80"/>
                  </a:cubicBezTo>
                  <a:cubicBezTo>
                    <a:pt x="16" y="79"/>
                    <a:pt x="18" y="79"/>
                    <a:pt x="18" y="78"/>
                  </a:cubicBezTo>
                  <a:cubicBezTo>
                    <a:pt x="18" y="77"/>
                    <a:pt x="18" y="76"/>
                    <a:pt x="18" y="76"/>
                  </a:cubicBezTo>
                  <a:cubicBezTo>
                    <a:pt x="17" y="75"/>
                    <a:pt x="16" y="75"/>
                    <a:pt x="15" y="75"/>
                  </a:cubicBezTo>
                  <a:cubicBezTo>
                    <a:pt x="14" y="74"/>
                    <a:pt x="14" y="72"/>
                    <a:pt x="13" y="71"/>
                  </a:cubicBezTo>
                  <a:cubicBezTo>
                    <a:pt x="13" y="70"/>
                    <a:pt x="13" y="70"/>
                    <a:pt x="12" y="69"/>
                  </a:cubicBezTo>
                  <a:cubicBezTo>
                    <a:pt x="12" y="68"/>
                    <a:pt x="12" y="67"/>
                    <a:pt x="12" y="66"/>
                  </a:cubicBezTo>
                  <a:cubicBezTo>
                    <a:pt x="12" y="64"/>
                    <a:pt x="12" y="62"/>
                    <a:pt x="12" y="60"/>
                  </a:cubicBezTo>
                  <a:cubicBezTo>
                    <a:pt x="13" y="58"/>
                    <a:pt x="14" y="56"/>
                    <a:pt x="13" y="53"/>
                  </a:cubicBezTo>
                  <a:cubicBezTo>
                    <a:pt x="12" y="49"/>
                    <a:pt x="8" y="46"/>
                    <a:pt x="6" y="42"/>
                  </a:cubicBezTo>
                  <a:cubicBezTo>
                    <a:pt x="6" y="41"/>
                    <a:pt x="6" y="40"/>
                    <a:pt x="6" y="39"/>
                  </a:cubicBezTo>
                  <a:cubicBezTo>
                    <a:pt x="6" y="38"/>
                    <a:pt x="7" y="37"/>
                    <a:pt x="7" y="36"/>
                  </a:cubicBezTo>
                  <a:cubicBezTo>
                    <a:pt x="8" y="36"/>
                    <a:pt x="8" y="35"/>
                    <a:pt x="8" y="35"/>
                  </a:cubicBezTo>
                  <a:cubicBezTo>
                    <a:pt x="9" y="34"/>
                    <a:pt x="9" y="34"/>
                    <a:pt x="10" y="33"/>
                  </a:cubicBezTo>
                  <a:cubicBezTo>
                    <a:pt x="11" y="32"/>
                    <a:pt x="11" y="31"/>
                    <a:pt x="10" y="30"/>
                  </a:cubicBezTo>
                  <a:cubicBezTo>
                    <a:pt x="10" y="28"/>
                    <a:pt x="8" y="27"/>
                    <a:pt x="7" y="26"/>
                  </a:cubicBezTo>
                  <a:cubicBezTo>
                    <a:pt x="6" y="24"/>
                    <a:pt x="3" y="25"/>
                    <a:pt x="2" y="24"/>
                  </a:cubicBezTo>
                  <a:cubicBezTo>
                    <a:pt x="0" y="23"/>
                    <a:pt x="1" y="21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18"/>
                    <a:pt x="0" y="16"/>
                    <a:pt x="1" y="14"/>
                  </a:cubicBezTo>
                  <a:cubicBezTo>
                    <a:pt x="1" y="14"/>
                    <a:pt x="2" y="13"/>
                    <a:pt x="2" y="13"/>
                  </a:cubicBezTo>
                  <a:cubicBezTo>
                    <a:pt x="3" y="12"/>
                    <a:pt x="3" y="12"/>
                    <a:pt x="4" y="11"/>
                  </a:cubicBezTo>
                  <a:cubicBezTo>
                    <a:pt x="7" y="9"/>
                    <a:pt x="10" y="7"/>
                    <a:pt x="12" y="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6" y="4"/>
                    <a:pt x="19" y="5"/>
                    <a:pt x="22" y="3"/>
                  </a:cubicBezTo>
                  <a:cubicBezTo>
                    <a:pt x="22" y="3"/>
                    <a:pt x="23" y="2"/>
                    <a:pt x="23" y="1"/>
                  </a:cubicBezTo>
                  <a:cubicBezTo>
                    <a:pt x="26" y="1"/>
                    <a:pt x="29" y="2"/>
                    <a:pt x="32" y="3"/>
                  </a:cubicBezTo>
                  <a:cubicBezTo>
                    <a:pt x="32" y="3"/>
                    <a:pt x="32" y="4"/>
                    <a:pt x="31" y="5"/>
                  </a:cubicBezTo>
                  <a:cubicBezTo>
                    <a:pt x="29" y="5"/>
                    <a:pt x="28" y="5"/>
                    <a:pt x="26" y="5"/>
                  </a:cubicBezTo>
                  <a:cubicBezTo>
                    <a:pt x="26" y="5"/>
                    <a:pt x="26" y="6"/>
                    <a:pt x="26" y="6"/>
                  </a:cubicBezTo>
                  <a:cubicBezTo>
                    <a:pt x="27" y="7"/>
                    <a:pt x="29" y="7"/>
                    <a:pt x="31" y="7"/>
                  </a:cubicBezTo>
                  <a:cubicBezTo>
                    <a:pt x="31" y="7"/>
                    <a:pt x="31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3" y="8"/>
                    <a:pt x="33" y="9"/>
                    <a:pt x="34" y="9"/>
                  </a:cubicBezTo>
                  <a:cubicBezTo>
                    <a:pt x="35" y="10"/>
                    <a:pt x="36" y="10"/>
                    <a:pt x="36" y="9"/>
                  </a:cubicBezTo>
                  <a:cubicBezTo>
                    <a:pt x="38" y="9"/>
                    <a:pt x="41" y="9"/>
                    <a:pt x="43" y="9"/>
                  </a:cubicBezTo>
                  <a:cubicBezTo>
                    <a:pt x="44" y="9"/>
                    <a:pt x="45" y="10"/>
                    <a:pt x="45" y="10"/>
                  </a:cubicBezTo>
                  <a:cubicBezTo>
                    <a:pt x="50" y="11"/>
                    <a:pt x="55" y="12"/>
                    <a:pt x="59" y="14"/>
                  </a:cubicBezTo>
                  <a:cubicBezTo>
                    <a:pt x="61" y="14"/>
                    <a:pt x="62" y="16"/>
                    <a:pt x="64" y="17"/>
                  </a:cubicBezTo>
                  <a:cubicBezTo>
                    <a:pt x="66" y="18"/>
                    <a:pt x="69" y="20"/>
                    <a:pt x="71" y="22"/>
                  </a:cubicBezTo>
                  <a:cubicBezTo>
                    <a:pt x="72" y="22"/>
                    <a:pt x="73" y="22"/>
                    <a:pt x="74" y="23"/>
                  </a:cubicBezTo>
                  <a:cubicBezTo>
                    <a:pt x="74" y="23"/>
                    <a:pt x="75" y="24"/>
                    <a:pt x="76" y="25"/>
                  </a:cubicBezTo>
                  <a:cubicBezTo>
                    <a:pt x="78" y="25"/>
                    <a:pt x="80" y="24"/>
                    <a:pt x="81" y="25"/>
                  </a:cubicBezTo>
                  <a:cubicBezTo>
                    <a:pt x="83" y="26"/>
                    <a:pt x="84" y="27"/>
                    <a:pt x="85" y="29"/>
                  </a:cubicBezTo>
                  <a:cubicBezTo>
                    <a:pt x="85" y="29"/>
                    <a:pt x="86" y="30"/>
                    <a:pt x="87" y="30"/>
                  </a:cubicBezTo>
                  <a:cubicBezTo>
                    <a:pt x="88" y="30"/>
                    <a:pt x="88" y="30"/>
                    <a:pt x="89" y="31"/>
                  </a:cubicBezTo>
                  <a:cubicBezTo>
                    <a:pt x="91" y="33"/>
                    <a:pt x="92" y="36"/>
                    <a:pt x="90" y="38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90" y="40"/>
                    <a:pt x="90" y="40"/>
                    <a:pt x="90" y="41"/>
                  </a:cubicBezTo>
                  <a:cubicBezTo>
                    <a:pt x="89" y="42"/>
                    <a:pt x="89" y="44"/>
                    <a:pt x="87" y="45"/>
                  </a:cubicBezTo>
                  <a:cubicBezTo>
                    <a:pt x="85" y="46"/>
                    <a:pt x="83" y="47"/>
                    <a:pt x="81" y="49"/>
                  </a:cubicBezTo>
                  <a:cubicBezTo>
                    <a:pt x="77" y="49"/>
                    <a:pt x="72" y="50"/>
                    <a:pt x="68" y="48"/>
                  </a:cubicBezTo>
                  <a:cubicBezTo>
                    <a:pt x="66" y="47"/>
                    <a:pt x="64" y="47"/>
                    <a:pt x="62" y="46"/>
                  </a:cubicBezTo>
                  <a:cubicBezTo>
                    <a:pt x="59" y="46"/>
                    <a:pt x="56" y="46"/>
                    <a:pt x="54" y="46"/>
                  </a:cubicBezTo>
                  <a:cubicBezTo>
                    <a:pt x="52" y="45"/>
                    <a:pt x="51" y="44"/>
                    <a:pt x="50" y="44"/>
                  </a:cubicBezTo>
                  <a:cubicBezTo>
                    <a:pt x="48" y="43"/>
                    <a:pt x="45" y="44"/>
                    <a:pt x="44" y="43"/>
                  </a:cubicBezTo>
                  <a:cubicBezTo>
                    <a:pt x="42" y="42"/>
                    <a:pt x="39" y="43"/>
                    <a:pt x="37" y="42"/>
                  </a:cubicBezTo>
                  <a:cubicBezTo>
                    <a:pt x="35" y="41"/>
                    <a:pt x="35" y="38"/>
                    <a:pt x="32" y="38"/>
                  </a:cubicBezTo>
                  <a:cubicBezTo>
                    <a:pt x="31" y="38"/>
                    <a:pt x="30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9"/>
                    <a:pt x="32" y="39"/>
                    <a:pt x="32" y="40"/>
                  </a:cubicBezTo>
                  <a:cubicBezTo>
                    <a:pt x="32" y="41"/>
                    <a:pt x="33" y="41"/>
                    <a:pt x="33" y="42"/>
                  </a:cubicBezTo>
                  <a:cubicBezTo>
                    <a:pt x="35" y="43"/>
                    <a:pt x="37" y="44"/>
                    <a:pt x="38" y="45"/>
                  </a:cubicBezTo>
                  <a:cubicBezTo>
                    <a:pt x="39" y="47"/>
                    <a:pt x="39" y="48"/>
                    <a:pt x="40" y="48"/>
                  </a:cubicBezTo>
                  <a:cubicBezTo>
                    <a:pt x="41" y="48"/>
                    <a:pt x="42" y="48"/>
                    <a:pt x="43" y="48"/>
                  </a:cubicBezTo>
                  <a:cubicBezTo>
                    <a:pt x="44" y="49"/>
                    <a:pt x="45" y="49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7" y="51"/>
                    <a:pt x="48" y="52"/>
                    <a:pt x="49" y="54"/>
                  </a:cubicBezTo>
                  <a:cubicBezTo>
                    <a:pt x="49" y="55"/>
                    <a:pt x="49" y="56"/>
                    <a:pt x="49" y="56"/>
                  </a:cubicBezTo>
                  <a:cubicBezTo>
                    <a:pt x="49" y="57"/>
                    <a:pt x="48" y="57"/>
                    <a:pt x="48" y="58"/>
                  </a:cubicBezTo>
                  <a:cubicBezTo>
                    <a:pt x="47" y="61"/>
                    <a:pt x="48" y="64"/>
                    <a:pt x="50" y="66"/>
                  </a:cubicBezTo>
                  <a:cubicBezTo>
                    <a:pt x="50" y="68"/>
                    <a:pt x="50" y="70"/>
                    <a:pt x="50" y="71"/>
                  </a:cubicBezTo>
                  <a:cubicBezTo>
                    <a:pt x="50" y="72"/>
                    <a:pt x="51" y="72"/>
                    <a:pt x="52" y="73"/>
                  </a:cubicBezTo>
                  <a:cubicBezTo>
                    <a:pt x="53" y="73"/>
                    <a:pt x="54" y="73"/>
                    <a:pt x="56" y="73"/>
                  </a:cubicBezTo>
                  <a:cubicBezTo>
                    <a:pt x="57" y="74"/>
                    <a:pt x="57" y="75"/>
                    <a:pt x="58" y="76"/>
                  </a:cubicBezTo>
                  <a:cubicBezTo>
                    <a:pt x="59" y="77"/>
                    <a:pt x="60" y="78"/>
                    <a:pt x="61" y="79"/>
                  </a:cubicBezTo>
                  <a:cubicBezTo>
                    <a:pt x="63" y="79"/>
                    <a:pt x="64" y="79"/>
                    <a:pt x="65" y="79"/>
                  </a:cubicBezTo>
                  <a:cubicBezTo>
                    <a:pt x="66" y="80"/>
                    <a:pt x="66" y="80"/>
                    <a:pt x="67" y="81"/>
                  </a:cubicBezTo>
                  <a:cubicBezTo>
                    <a:pt x="68" y="81"/>
                    <a:pt x="68" y="81"/>
                    <a:pt x="69" y="81"/>
                  </a:cubicBezTo>
                  <a:cubicBezTo>
                    <a:pt x="70" y="81"/>
                    <a:pt x="70" y="80"/>
                    <a:pt x="71" y="80"/>
                  </a:cubicBezTo>
                  <a:cubicBezTo>
                    <a:pt x="71" y="80"/>
                    <a:pt x="73" y="80"/>
                    <a:pt x="73" y="80"/>
                  </a:cubicBezTo>
                  <a:cubicBezTo>
                    <a:pt x="73" y="79"/>
                    <a:pt x="73" y="78"/>
                    <a:pt x="73" y="77"/>
                  </a:cubicBezTo>
                  <a:cubicBezTo>
                    <a:pt x="71" y="76"/>
                    <a:pt x="72" y="74"/>
                    <a:pt x="71" y="74"/>
                  </a:cubicBezTo>
                  <a:cubicBezTo>
                    <a:pt x="69" y="73"/>
                    <a:pt x="68" y="74"/>
                    <a:pt x="66" y="74"/>
                  </a:cubicBezTo>
                  <a:cubicBezTo>
                    <a:pt x="63" y="72"/>
                    <a:pt x="62" y="70"/>
                    <a:pt x="59" y="68"/>
                  </a:cubicBezTo>
                  <a:cubicBezTo>
                    <a:pt x="59" y="68"/>
                    <a:pt x="58" y="68"/>
                    <a:pt x="58" y="68"/>
                  </a:cubicBezTo>
                  <a:cubicBezTo>
                    <a:pt x="58" y="67"/>
                    <a:pt x="58" y="67"/>
                    <a:pt x="58" y="67"/>
                  </a:cubicBezTo>
                  <a:cubicBezTo>
                    <a:pt x="59" y="66"/>
                    <a:pt x="61" y="67"/>
                    <a:pt x="62" y="66"/>
                  </a:cubicBezTo>
                  <a:cubicBezTo>
                    <a:pt x="62" y="65"/>
                    <a:pt x="62" y="63"/>
                    <a:pt x="62" y="61"/>
                  </a:cubicBezTo>
                  <a:cubicBezTo>
                    <a:pt x="63" y="61"/>
                    <a:pt x="65" y="61"/>
                    <a:pt x="66" y="62"/>
                  </a:cubicBezTo>
                  <a:cubicBezTo>
                    <a:pt x="67" y="63"/>
                    <a:pt x="68" y="64"/>
                    <a:pt x="69" y="64"/>
                  </a:cubicBezTo>
                  <a:cubicBezTo>
                    <a:pt x="70" y="65"/>
                    <a:pt x="71" y="65"/>
                    <a:pt x="72" y="65"/>
                  </a:cubicBezTo>
                  <a:cubicBezTo>
                    <a:pt x="73" y="66"/>
                    <a:pt x="73" y="67"/>
                    <a:pt x="73" y="68"/>
                  </a:cubicBezTo>
                  <a:cubicBezTo>
                    <a:pt x="74" y="68"/>
                    <a:pt x="75" y="68"/>
                    <a:pt x="75" y="67"/>
                  </a:cubicBezTo>
                  <a:cubicBezTo>
                    <a:pt x="76" y="67"/>
                    <a:pt x="76" y="67"/>
                    <a:pt x="77" y="67"/>
                  </a:cubicBezTo>
                  <a:cubicBezTo>
                    <a:pt x="78" y="68"/>
                    <a:pt x="80" y="69"/>
                    <a:pt x="81" y="70"/>
                  </a:cubicBezTo>
                  <a:cubicBezTo>
                    <a:pt x="82" y="71"/>
                    <a:pt x="84" y="70"/>
                    <a:pt x="84" y="70"/>
                  </a:cubicBezTo>
                  <a:cubicBezTo>
                    <a:pt x="84" y="69"/>
                    <a:pt x="85" y="69"/>
                    <a:pt x="86" y="70"/>
                  </a:cubicBezTo>
                  <a:cubicBezTo>
                    <a:pt x="87" y="70"/>
                    <a:pt x="88" y="71"/>
                    <a:pt x="89" y="72"/>
                  </a:cubicBezTo>
                  <a:cubicBezTo>
                    <a:pt x="90" y="72"/>
                    <a:pt x="91" y="72"/>
                    <a:pt x="91" y="72"/>
                  </a:cubicBezTo>
                  <a:cubicBezTo>
                    <a:pt x="92" y="71"/>
                    <a:pt x="92" y="69"/>
                    <a:pt x="91" y="68"/>
                  </a:cubicBezTo>
                  <a:cubicBezTo>
                    <a:pt x="91" y="67"/>
                    <a:pt x="90" y="66"/>
                    <a:pt x="90" y="65"/>
                  </a:cubicBezTo>
                  <a:cubicBezTo>
                    <a:pt x="89" y="64"/>
                    <a:pt x="88" y="63"/>
                    <a:pt x="88" y="63"/>
                  </a:cubicBezTo>
                  <a:cubicBezTo>
                    <a:pt x="86" y="62"/>
                    <a:pt x="84" y="61"/>
                    <a:pt x="83" y="60"/>
                  </a:cubicBezTo>
                  <a:cubicBezTo>
                    <a:pt x="83" y="59"/>
                    <a:pt x="83" y="58"/>
                    <a:pt x="84" y="57"/>
                  </a:cubicBezTo>
                  <a:cubicBezTo>
                    <a:pt x="85" y="56"/>
                    <a:pt x="86" y="55"/>
                    <a:pt x="87" y="55"/>
                  </a:cubicBezTo>
                  <a:cubicBezTo>
                    <a:pt x="90" y="53"/>
                    <a:pt x="92" y="52"/>
                    <a:pt x="95" y="51"/>
                  </a:cubicBezTo>
                  <a:cubicBezTo>
                    <a:pt x="96" y="50"/>
                    <a:pt x="97" y="49"/>
                    <a:pt x="97" y="48"/>
                  </a:cubicBezTo>
                  <a:cubicBezTo>
                    <a:pt x="97" y="47"/>
                    <a:pt x="98" y="47"/>
                    <a:pt x="98" y="46"/>
                  </a:cubicBezTo>
                  <a:cubicBezTo>
                    <a:pt x="98" y="45"/>
                    <a:pt x="100" y="45"/>
                    <a:pt x="101" y="45"/>
                  </a:cubicBezTo>
                  <a:cubicBezTo>
                    <a:pt x="102" y="46"/>
                    <a:pt x="102" y="47"/>
                    <a:pt x="104" y="47"/>
                  </a:cubicBezTo>
                  <a:cubicBezTo>
                    <a:pt x="107" y="48"/>
                    <a:pt x="109" y="49"/>
                    <a:pt x="111" y="51"/>
                  </a:cubicBezTo>
                  <a:cubicBezTo>
                    <a:pt x="112" y="51"/>
                    <a:pt x="112" y="52"/>
                    <a:pt x="112" y="52"/>
                  </a:cubicBezTo>
                  <a:cubicBezTo>
                    <a:pt x="113" y="52"/>
                    <a:pt x="113" y="52"/>
                    <a:pt x="113" y="52"/>
                  </a:cubicBezTo>
                  <a:cubicBezTo>
                    <a:pt x="114" y="48"/>
                    <a:pt x="114" y="44"/>
                    <a:pt x="113" y="40"/>
                  </a:cubicBezTo>
                  <a:cubicBezTo>
                    <a:pt x="113" y="39"/>
                    <a:pt x="111" y="39"/>
                    <a:pt x="111" y="38"/>
                  </a:cubicBezTo>
                  <a:cubicBezTo>
                    <a:pt x="110" y="37"/>
                    <a:pt x="111" y="36"/>
                    <a:pt x="111" y="35"/>
                  </a:cubicBezTo>
                  <a:cubicBezTo>
                    <a:pt x="112" y="30"/>
                    <a:pt x="110" y="26"/>
                    <a:pt x="110" y="22"/>
                  </a:cubicBezTo>
                  <a:cubicBezTo>
                    <a:pt x="109" y="20"/>
                    <a:pt x="107" y="19"/>
                    <a:pt x="104" y="18"/>
                  </a:cubicBezTo>
                  <a:cubicBezTo>
                    <a:pt x="103" y="17"/>
                    <a:pt x="103" y="16"/>
                    <a:pt x="103" y="15"/>
                  </a:cubicBezTo>
                  <a:cubicBezTo>
                    <a:pt x="106" y="15"/>
                    <a:pt x="109" y="18"/>
                    <a:pt x="112" y="18"/>
                  </a:cubicBezTo>
                  <a:cubicBezTo>
                    <a:pt x="113" y="18"/>
                    <a:pt x="114" y="18"/>
                    <a:pt x="115" y="18"/>
                  </a:cubicBezTo>
                  <a:cubicBezTo>
                    <a:pt x="116" y="17"/>
                    <a:pt x="118" y="16"/>
                    <a:pt x="119" y="17"/>
                  </a:cubicBezTo>
                  <a:cubicBezTo>
                    <a:pt x="120" y="17"/>
                    <a:pt x="120" y="18"/>
                    <a:pt x="121" y="18"/>
                  </a:cubicBezTo>
                  <a:cubicBezTo>
                    <a:pt x="122" y="19"/>
                    <a:pt x="122" y="20"/>
                    <a:pt x="123" y="21"/>
                  </a:cubicBezTo>
                  <a:cubicBezTo>
                    <a:pt x="124" y="23"/>
                    <a:pt x="126" y="25"/>
                    <a:pt x="128" y="27"/>
                  </a:cubicBezTo>
                  <a:cubicBezTo>
                    <a:pt x="129" y="27"/>
                    <a:pt x="128" y="28"/>
                    <a:pt x="127" y="29"/>
                  </a:cubicBezTo>
                  <a:cubicBezTo>
                    <a:pt x="125" y="29"/>
                    <a:pt x="123" y="28"/>
                    <a:pt x="121" y="29"/>
                  </a:cubicBezTo>
                  <a:cubicBezTo>
                    <a:pt x="120" y="29"/>
                    <a:pt x="120" y="31"/>
                    <a:pt x="120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9" y="33"/>
                    <a:pt x="119" y="34"/>
                    <a:pt x="119" y="34"/>
                  </a:cubicBezTo>
                  <a:cubicBezTo>
                    <a:pt x="121" y="36"/>
                    <a:pt x="122" y="38"/>
                    <a:pt x="124" y="41"/>
                  </a:cubicBezTo>
                  <a:cubicBezTo>
                    <a:pt x="124" y="41"/>
                    <a:pt x="124" y="42"/>
                    <a:pt x="125" y="42"/>
                  </a:cubicBezTo>
                  <a:cubicBezTo>
                    <a:pt x="127" y="43"/>
                    <a:pt x="129" y="43"/>
                    <a:pt x="131" y="42"/>
                  </a:cubicBezTo>
                  <a:cubicBezTo>
                    <a:pt x="131" y="42"/>
                    <a:pt x="132" y="42"/>
                    <a:pt x="133" y="41"/>
                  </a:cubicBezTo>
                  <a:cubicBezTo>
                    <a:pt x="134" y="41"/>
                    <a:pt x="135" y="41"/>
                    <a:pt x="136" y="41"/>
                  </a:cubicBezTo>
                  <a:cubicBezTo>
                    <a:pt x="137" y="40"/>
                    <a:pt x="137" y="40"/>
                    <a:pt x="138" y="39"/>
                  </a:cubicBezTo>
                  <a:cubicBezTo>
                    <a:pt x="138" y="37"/>
                    <a:pt x="138" y="35"/>
                    <a:pt x="139" y="34"/>
                  </a:cubicBezTo>
                  <a:cubicBezTo>
                    <a:pt x="139" y="33"/>
                    <a:pt x="140" y="32"/>
                    <a:pt x="141" y="32"/>
                  </a:cubicBezTo>
                  <a:cubicBezTo>
                    <a:pt x="142" y="32"/>
                    <a:pt x="142" y="32"/>
                    <a:pt x="143" y="32"/>
                  </a:cubicBezTo>
                  <a:cubicBezTo>
                    <a:pt x="143" y="32"/>
                    <a:pt x="144" y="31"/>
                    <a:pt x="144" y="30"/>
                  </a:cubicBezTo>
                  <a:cubicBezTo>
                    <a:pt x="144" y="30"/>
                    <a:pt x="145" y="29"/>
                    <a:pt x="146" y="29"/>
                  </a:cubicBezTo>
                  <a:cubicBezTo>
                    <a:pt x="147" y="28"/>
                    <a:pt x="148" y="29"/>
                    <a:pt x="149" y="28"/>
                  </a:cubicBezTo>
                  <a:cubicBezTo>
                    <a:pt x="151" y="26"/>
                    <a:pt x="152" y="25"/>
                    <a:pt x="154" y="24"/>
                  </a:cubicBezTo>
                  <a:cubicBezTo>
                    <a:pt x="155" y="23"/>
                    <a:pt x="155" y="22"/>
                    <a:pt x="156" y="22"/>
                  </a:cubicBezTo>
                  <a:cubicBezTo>
                    <a:pt x="157" y="21"/>
                    <a:pt x="158" y="22"/>
                    <a:pt x="159" y="22"/>
                  </a:cubicBezTo>
                  <a:cubicBezTo>
                    <a:pt x="161" y="22"/>
                    <a:pt x="163" y="21"/>
                    <a:pt x="164" y="20"/>
                  </a:cubicBezTo>
                  <a:cubicBezTo>
                    <a:pt x="165" y="19"/>
                    <a:pt x="166" y="19"/>
                    <a:pt x="167" y="19"/>
                  </a:cubicBezTo>
                  <a:cubicBezTo>
                    <a:pt x="167" y="19"/>
                    <a:pt x="168" y="18"/>
                    <a:pt x="169" y="18"/>
                  </a:cubicBezTo>
                  <a:cubicBezTo>
                    <a:pt x="170" y="17"/>
                    <a:pt x="170" y="17"/>
                    <a:pt x="171" y="16"/>
                  </a:cubicBezTo>
                  <a:cubicBezTo>
                    <a:pt x="173" y="15"/>
                    <a:pt x="175" y="14"/>
                    <a:pt x="177" y="13"/>
                  </a:cubicBezTo>
                  <a:cubicBezTo>
                    <a:pt x="179" y="12"/>
                    <a:pt x="180" y="12"/>
                    <a:pt x="181" y="13"/>
                  </a:cubicBezTo>
                  <a:cubicBezTo>
                    <a:pt x="182" y="13"/>
                    <a:pt x="181" y="14"/>
                    <a:pt x="181" y="14"/>
                  </a:cubicBezTo>
                  <a:cubicBezTo>
                    <a:pt x="180" y="14"/>
                    <a:pt x="179" y="14"/>
                    <a:pt x="178" y="15"/>
                  </a:cubicBezTo>
                  <a:cubicBezTo>
                    <a:pt x="177" y="15"/>
                    <a:pt x="177" y="16"/>
                    <a:pt x="178" y="17"/>
                  </a:cubicBezTo>
                  <a:cubicBezTo>
                    <a:pt x="179" y="18"/>
                    <a:pt x="178" y="19"/>
                    <a:pt x="178" y="20"/>
                  </a:cubicBezTo>
                  <a:cubicBezTo>
                    <a:pt x="177" y="20"/>
                    <a:pt x="176" y="20"/>
                    <a:pt x="175" y="20"/>
                  </a:cubicBezTo>
                  <a:cubicBezTo>
                    <a:pt x="175" y="21"/>
                    <a:pt x="175" y="21"/>
                    <a:pt x="175" y="21"/>
                  </a:cubicBezTo>
                  <a:cubicBezTo>
                    <a:pt x="176" y="22"/>
                    <a:pt x="178" y="21"/>
                    <a:pt x="179" y="22"/>
                  </a:cubicBezTo>
                  <a:cubicBezTo>
                    <a:pt x="180" y="23"/>
                    <a:pt x="179" y="24"/>
                    <a:pt x="180" y="25"/>
                  </a:cubicBezTo>
                  <a:cubicBezTo>
                    <a:pt x="180" y="25"/>
                    <a:pt x="180" y="25"/>
                    <a:pt x="181" y="25"/>
                  </a:cubicBezTo>
                  <a:cubicBezTo>
                    <a:pt x="181" y="24"/>
                    <a:pt x="182" y="23"/>
                    <a:pt x="182" y="22"/>
                  </a:cubicBezTo>
                  <a:cubicBezTo>
                    <a:pt x="183" y="21"/>
                    <a:pt x="184" y="21"/>
                    <a:pt x="184" y="22"/>
                  </a:cubicBezTo>
                  <a:cubicBezTo>
                    <a:pt x="184" y="22"/>
                    <a:pt x="184" y="23"/>
                    <a:pt x="185" y="23"/>
                  </a:cubicBezTo>
                  <a:cubicBezTo>
                    <a:pt x="185" y="23"/>
                    <a:pt x="186" y="23"/>
                    <a:pt x="186" y="23"/>
                  </a:cubicBezTo>
                  <a:cubicBezTo>
                    <a:pt x="186" y="22"/>
                    <a:pt x="186" y="20"/>
                    <a:pt x="186" y="19"/>
                  </a:cubicBezTo>
                  <a:cubicBezTo>
                    <a:pt x="187" y="18"/>
                    <a:pt x="189" y="17"/>
                    <a:pt x="191" y="17"/>
                  </a:cubicBezTo>
                  <a:cubicBezTo>
                    <a:pt x="192" y="16"/>
                    <a:pt x="194" y="17"/>
                    <a:pt x="195" y="16"/>
                  </a:cubicBezTo>
                  <a:cubicBezTo>
                    <a:pt x="197" y="16"/>
                    <a:pt x="199" y="16"/>
                    <a:pt x="200" y="18"/>
                  </a:cubicBezTo>
                  <a:cubicBezTo>
                    <a:pt x="200" y="18"/>
                    <a:pt x="201" y="18"/>
                    <a:pt x="201" y="18"/>
                  </a:cubicBezTo>
                  <a:cubicBezTo>
                    <a:pt x="202" y="18"/>
                    <a:pt x="202" y="17"/>
                    <a:pt x="202" y="17"/>
                  </a:cubicBezTo>
                  <a:cubicBezTo>
                    <a:pt x="203" y="17"/>
                    <a:pt x="204" y="16"/>
                    <a:pt x="204" y="16"/>
                  </a:cubicBezTo>
                  <a:cubicBezTo>
                    <a:pt x="205" y="16"/>
                    <a:pt x="206" y="15"/>
                    <a:pt x="207" y="15"/>
                  </a:cubicBezTo>
                  <a:cubicBezTo>
                    <a:pt x="208" y="14"/>
                    <a:pt x="209" y="14"/>
                    <a:pt x="211" y="13"/>
                  </a:cubicBezTo>
                  <a:cubicBezTo>
                    <a:pt x="212" y="12"/>
                    <a:pt x="214" y="13"/>
                    <a:pt x="215" y="15"/>
                  </a:cubicBezTo>
                  <a:cubicBezTo>
                    <a:pt x="215" y="15"/>
                    <a:pt x="216" y="16"/>
                    <a:pt x="216" y="16"/>
                  </a:cubicBezTo>
                  <a:cubicBezTo>
                    <a:pt x="216" y="17"/>
                    <a:pt x="216" y="18"/>
                    <a:pt x="215" y="19"/>
                  </a:cubicBezTo>
                  <a:cubicBezTo>
                    <a:pt x="215" y="19"/>
                    <a:pt x="215" y="20"/>
                    <a:pt x="215" y="21"/>
                  </a:cubicBezTo>
                  <a:cubicBezTo>
                    <a:pt x="215" y="22"/>
                    <a:pt x="216" y="22"/>
                    <a:pt x="216" y="22"/>
                  </a:cubicBezTo>
                  <a:cubicBezTo>
                    <a:pt x="218" y="22"/>
                    <a:pt x="219" y="22"/>
                    <a:pt x="220" y="22"/>
                  </a:cubicBezTo>
                  <a:cubicBezTo>
                    <a:pt x="220" y="22"/>
                    <a:pt x="220" y="21"/>
                    <a:pt x="220" y="20"/>
                  </a:cubicBezTo>
                  <a:cubicBezTo>
                    <a:pt x="220" y="19"/>
                    <a:pt x="221" y="19"/>
                    <a:pt x="221" y="19"/>
                  </a:cubicBezTo>
                  <a:cubicBezTo>
                    <a:pt x="224" y="19"/>
                    <a:pt x="227" y="18"/>
                    <a:pt x="229" y="16"/>
                  </a:cubicBezTo>
                  <a:cubicBezTo>
                    <a:pt x="229" y="16"/>
                    <a:pt x="229" y="15"/>
                    <a:pt x="229" y="15"/>
                  </a:cubicBezTo>
                  <a:cubicBezTo>
                    <a:pt x="228" y="14"/>
                    <a:pt x="226" y="13"/>
                    <a:pt x="226" y="12"/>
                  </a:cubicBezTo>
                  <a:cubicBezTo>
                    <a:pt x="224" y="9"/>
                    <a:pt x="222" y="7"/>
                    <a:pt x="220" y="7"/>
                  </a:cubicBezTo>
                  <a:cubicBezTo>
                    <a:pt x="220" y="5"/>
                    <a:pt x="220" y="5"/>
                    <a:pt x="221" y="4"/>
                  </a:cubicBezTo>
                  <a:cubicBezTo>
                    <a:pt x="222" y="3"/>
                    <a:pt x="224" y="4"/>
                    <a:pt x="224" y="3"/>
                  </a:cubicBezTo>
                  <a:cubicBezTo>
                    <a:pt x="224" y="2"/>
                    <a:pt x="224" y="1"/>
                    <a:pt x="225" y="1"/>
                  </a:cubicBezTo>
                  <a:cubicBezTo>
                    <a:pt x="227" y="0"/>
                    <a:pt x="230" y="0"/>
                    <a:pt x="232" y="2"/>
                  </a:cubicBezTo>
                  <a:cubicBezTo>
                    <a:pt x="237" y="3"/>
                    <a:pt x="242" y="2"/>
                    <a:pt x="247" y="3"/>
                  </a:cubicBezTo>
                  <a:cubicBezTo>
                    <a:pt x="248" y="3"/>
                    <a:pt x="249" y="3"/>
                    <a:pt x="250" y="4"/>
                  </a:cubicBezTo>
                  <a:cubicBezTo>
                    <a:pt x="274" y="119"/>
                    <a:pt x="274" y="119"/>
                    <a:pt x="274" y="119"/>
                  </a:cubicBezTo>
                  <a:cubicBezTo>
                    <a:pt x="264" y="198"/>
                    <a:pt x="264" y="198"/>
                    <a:pt x="264" y="198"/>
                  </a:cubicBezTo>
                  <a:cubicBezTo>
                    <a:pt x="263" y="198"/>
                    <a:pt x="262" y="199"/>
                    <a:pt x="261" y="199"/>
                  </a:cubicBezTo>
                  <a:cubicBezTo>
                    <a:pt x="260" y="199"/>
                    <a:pt x="259" y="199"/>
                    <a:pt x="259" y="199"/>
                  </a:cubicBezTo>
                  <a:cubicBezTo>
                    <a:pt x="258" y="198"/>
                    <a:pt x="255" y="197"/>
                    <a:pt x="254" y="199"/>
                  </a:cubicBezTo>
                  <a:cubicBezTo>
                    <a:pt x="254" y="199"/>
                    <a:pt x="254" y="199"/>
                    <a:pt x="254" y="200"/>
                  </a:cubicBezTo>
                  <a:cubicBezTo>
                    <a:pt x="253" y="201"/>
                    <a:pt x="253" y="201"/>
                    <a:pt x="252" y="202"/>
                  </a:cubicBezTo>
                  <a:cubicBezTo>
                    <a:pt x="252" y="203"/>
                    <a:pt x="252" y="204"/>
                    <a:pt x="252" y="204"/>
                  </a:cubicBezTo>
                  <a:cubicBezTo>
                    <a:pt x="253" y="205"/>
                    <a:pt x="253" y="205"/>
                    <a:pt x="254" y="206"/>
                  </a:cubicBezTo>
                  <a:cubicBezTo>
                    <a:pt x="255" y="207"/>
                    <a:pt x="257" y="206"/>
                    <a:pt x="258" y="207"/>
                  </a:cubicBezTo>
                  <a:cubicBezTo>
                    <a:pt x="259" y="208"/>
                    <a:pt x="259" y="209"/>
                    <a:pt x="259" y="210"/>
                  </a:cubicBezTo>
                  <a:cubicBezTo>
                    <a:pt x="259" y="210"/>
                    <a:pt x="259" y="211"/>
                    <a:pt x="258" y="211"/>
                  </a:cubicBezTo>
                  <a:cubicBezTo>
                    <a:pt x="258" y="211"/>
                    <a:pt x="258" y="211"/>
                    <a:pt x="258" y="211"/>
                  </a:cubicBezTo>
                  <a:cubicBezTo>
                    <a:pt x="257" y="211"/>
                    <a:pt x="255" y="210"/>
                    <a:pt x="254" y="211"/>
                  </a:cubicBezTo>
                  <a:cubicBezTo>
                    <a:pt x="252" y="212"/>
                    <a:pt x="251" y="213"/>
                    <a:pt x="249" y="213"/>
                  </a:cubicBezTo>
                  <a:cubicBezTo>
                    <a:pt x="249" y="215"/>
                    <a:pt x="250" y="217"/>
                    <a:pt x="252" y="217"/>
                  </a:cubicBezTo>
                  <a:cubicBezTo>
                    <a:pt x="252" y="219"/>
                    <a:pt x="250" y="220"/>
                    <a:pt x="249" y="221"/>
                  </a:cubicBezTo>
                  <a:cubicBezTo>
                    <a:pt x="248" y="221"/>
                    <a:pt x="249" y="222"/>
                    <a:pt x="249" y="222"/>
                  </a:cubicBezTo>
                  <a:cubicBezTo>
                    <a:pt x="249" y="223"/>
                    <a:pt x="250" y="225"/>
                    <a:pt x="251" y="225"/>
                  </a:cubicBezTo>
                  <a:cubicBezTo>
                    <a:pt x="254" y="226"/>
                    <a:pt x="257" y="225"/>
                    <a:pt x="258" y="227"/>
                  </a:cubicBezTo>
                  <a:cubicBezTo>
                    <a:pt x="258" y="229"/>
                    <a:pt x="258" y="231"/>
                    <a:pt x="257" y="233"/>
                  </a:cubicBezTo>
                  <a:cubicBezTo>
                    <a:pt x="257" y="234"/>
                    <a:pt x="256" y="236"/>
                    <a:pt x="255" y="236"/>
                  </a:cubicBezTo>
                  <a:cubicBezTo>
                    <a:pt x="254" y="236"/>
                    <a:pt x="253" y="236"/>
                    <a:pt x="252" y="236"/>
                  </a:cubicBezTo>
                  <a:cubicBezTo>
                    <a:pt x="251" y="236"/>
                    <a:pt x="250" y="235"/>
                    <a:pt x="250" y="235"/>
                  </a:cubicBezTo>
                  <a:cubicBezTo>
                    <a:pt x="248" y="234"/>
                    <a:pt x="246" y="235"/>
                    <a:pt x="244" y="234"/>
                  </a:cubicBezTo>
                  <a:cubicBezTo>
                    <a:pt x="242" y="234"/>
                    <a:pt x="241" y="232"/>
                    <a:pt x="240" y="231"/>
                  </a:cubicBezTo>
                  <a:cubicBezTo>
                    <a:pt x="240" y="230"/>
                    <a:pt x="238" y="230"/>
                    <a:pt x="237" y="230"/>
                  </a:cubicBezTo>
                  <a:cubicBezTo>
                    <a:pt x="235" y="230"/>
                    <a:pt x="234" y="231"/>
                    <a:pt x="232" y="232"/>
                  </a:cubicBezTo>
                  <a:cubicBezTo>
                    <a:pt x="231" y="232"/>
                    <a:pt x="229" y="232"/>
                    <a:pt x="228" y="232"/>
                  </a:cubicBezTo>
                  <a:cubicBezTo>
                    <a:pt x="227" y="231"/>
                    <a:pt x="226" y="231"/>
                    <a:pt x="226" y="231"/>
                  </a:cubicBezTo>
                  <a:cubicBezTo>
                    <a:pt x="225" y="230"/>
                    <a:pt x="223" y="230"/>
                    <a:pt x="222" y="230"/>
                  </a:cubicBezTo>
                  <a:cubicBezTo>
                    <a:pt x="220" y="231"/>
                    <a:pt x="219" y="233"/>
                    <a:pt x="218" y="234"/>
                  </a:cubicBezTo>
                  <a:cubicBezTo>
                    <a:pt x="218" y="235"/>
                    <a:pt x="218" y="236"/>
                    <a:pt x="217" y="236"/>
                  </a:cubicBezTo>
                  <a:cubicBezTo>
                    <a:pt x="216" y="238"/>
                    <a:pt x="214" y="237"/>
                    <a:pt x="213" y="236"/>
                  </a:cubicBezTo>
                  <a:cubicBezTo>
                    <a:pt x="212" y="235"/>
                    <a:pt x="211" y="234"/>
                    <a:pt x="210" y="232"/>
                  </a:cubicBezTo>
                  <a:cubicBezTo>
                    <a:pt x="210" y="232"/>
                    <a:pt x="209" y="232"/>
                    <a:pt x="209" y="232"/>
                  </a:cubicBezTo>
                  <a:cubicBezTo>
                    <a:pt x="208" y="233"/>
                    <a:pt x="208" y="235"/>
                    <a:pt x="207" y="236"/>
                  </a:cubicBezTo>
                  <a:cubicBezTo>
                    <a:pt x="207" y="236"/>
                    <a:pt x="206" y="236"/>
                    <a:pt x="205" y="236"/>
                  </a:cubicBezTo>
                  <a:cubicBezTo>
                    <a:pt x="204" y="235"/>
                    <a:pt x="204" y="233"/>
                    <a:pt x="203" y="232"/>
                  </a:cubicBezTo>
                  <a:cubicBezTo>
                    <a:pt x="201" y="230"/>
                    <a:pt x="200" y="229"/>
                    <a:pt x="199" y="227"/>
                  </a:cubicBezTo>
                  <a:cubicBezTo>
                    <a:pt x="199" y="226"/>
                    <a:pt x="199" y="226"/>
                    <a:pt x="199" y="225"/>
                  </a:cubicBezTo>
                  <a:cubicBezTo>
                    <a:pt x="198" y="224"/>
                    <a:pt x="196" y="225"/>
                    <a:pt x="195" y="225"/>
                  </a:cubicBezTo>
                  <a:cubicBezTo>
                    <a:pt x="195" y="225"/>
                    <a:pt x="195" y="225"/>
                    <a:pt x="195" y="225"/>
                  </a:cubicBezTo>
                  <a:cubicBezTo>
                    <a:pt x="194" y="225"/>
                    <a:pt x="194" y="225"/>
                    <a:pt x="193" y="225"/>
                  </a:cubicBezTo>
                  <a:cubicBezTo>
                    <a:pt x="193" y="225"/>
                    <a:pt x="192" y="226"/>
                    <a:pt x="192" y="226"/>
                  </a:cubicBezTo>
                  <a:cubicBezTo>
                    <a:pt x="190" y="227"/>
                    <a:pt x="188" y="226"/>
                    <a:pt x="186" y="226"/>
                  </a:cubicBezTo>
                  <a:cubicBezTo>
                    <a:pt x="185" y="225"/>
                    <a:pt x="183" y="225"/>
                    <a:pt x="182" y="22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6" name="Freeform 167"/>
            <p:cNvSpPr>
              <a:spLocks/>
            </p:cNvSpPr>
            <p:nvPr/>
          </p:nvSpPr>
          <p:spPr bwMode="auto">
            <a:xfrm>
              <a:off x="7513940" y="3626840"/>
              <a:ext cx="752" cy="1622"/>
            </a:xfrm>
            <a:custGeom>
              <a:avLst/>
              <a:gdLst>
                <a:gd name="T0" fmla="*/ 131072 w 2"/>
                <a:gd name="T1" fmla="*/ 727531 h 3"/>
                <a:gd name="T2" fmla="*/ 65536 w 2"/>
                <a:gd name="T3" fmla="*/ 727531 h 3"/>
                <a:gd name="T4" fmla="*/ 0 w 2"/>
                <a:gd name="T5" fmla="*/ 0 h 3"/>
                <a:gd name="T6" fmla="*/ 0 w 2"/>
                <a:gd name="T7" fmla="*/ 1697572 h 3"/>
                <a:gd name="T8" fmla="*/ 131072 w 2"/>
                <a:gd name="T9" fmla="*/ 2243220 h 3"/>
                <a:gd name="T10" fmla="*/ 131072 w 2"/>
                <a:gd name="T11" fmla="*/ 727531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3"/>
                <a:gd name="T20" fmla="*/ 2 w 2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3">
                  <a:moveTo>
                    <a:pt x="2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2" y="2"/>
                    <a:pt x="2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7" name="Freeform 168"/>
            <p:cNvSpPr>
              <a:spLocks/>
            </p:cNvSpPr>
            <p:nvPr/>
          </p:nvSpPr>
          <p:spPr bwMode="auto">
            <a:xfrm>
              <a:off x="7516950" y="3626299"/>
              <a:ext cx="1003" cy="541"/>
            </a:xfrm>
            <a:custGeom>
              <a:avLst/>
              <a:gdLst>
                <a:gd name="T0" fmla="*/ 2497529 w 2"/>
                <a:gd name="T1" fmla="*/ 0 h 1"/>
                <a:gd name="T2" fmla="*/ 0 w 2"/>
                <a:gd name="T3" fmla="*/ 43046679 h 1"/>
                <a:gd name="T4" fmla="*/ 4450654 w 2"/>
                <a:gd name="T5" fmla="*/ 43046679 h 1"/>
                <a:gd name="T6" fmla="*/ 4450654 w 2"/>
                <a:gd name="T7" fmla="*/ 0 h 1"/>
                <a:gd name="T8" fmla="*/ 2497529 w 2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1"/>
                <a:gd name="T17" fmla="*/ 2 w 2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1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8" name="Freeform 169"/>
            <p:cNvSpPr>
              <a:spLocks/>
            </p:cNvSpPr>
            <p:nvPr/>
          </p:nvSpPr>
          <p:spPr bwMode="auto">
            <a:xfrm>
              <a:off x="7469041" y="3588176"/>
              <a:ext cx="34865" cy="35420"/>
            </a:xfrm>
            <a:custGeom>
              <a:avLst/>
              <a:gdLst>
                <a:gd name="T0" fmla="*/ 16480841 w 75"/>
                <a:gd name="T1" fmla="*/ 52493153 h 73"/>
                <a:gd name="T2" fmla="*/ 15644589 w 75"/>
                <a:gd name="T3" fmla="*/ 48563449 h 73"/>
                <a:gd name="T4" fmla="*/ 13821179 w 75"/>
                <a:gd name="T5" fmla="*/ 46016229 h 73"/>
                <a:gd name="T6" fmla="*/ 20413454 w 75"/>
                <a:gd name="T7" fmla="*/ 45172874 h 73"/>
                <a:gd name="T8" fmla="*/ 25070638 w 75"/>
                <a:gd name="T9" fmla="*/ 40628004 h 73"/>
                <a:gd name="T10" fmla="*/ 32617972 w 75"/>
                <a:gd name="T11" fmla="*/ 42563413 h 73"/>
                <a:gd name="T12" fmla="*/ 38036473 w 75"/>
                <a:gd name="T13" fmla="*/ 46016229 h 73"/>
                <a:gd name="T14" fmla="*/ 39573285 w 75"/>
                <a:gd name="T15" fmla="*/ 47941535 h 73"/>
                <a:gd name="T16" fmla="*/ 42780609 w 75"/>
                <a:gd name="T17" fmla="*/ 53943645 h 73"/>
                <a:gd name="T18" fmla="*/ 46205137 w 75"/>
                <a:gd name="T19" fmla="*/ 57870973 h 73"/>
                <a:gd name="T20" fmla="*/ 49885830 w 75"/>
                <a:gd name="T21" fmla="*/ 61238892 h 73"/>
                <a:gd name="T22" fmla="*/ 51847801 w 75"/>
                <a:gd name="T23" fmla="*/ 61238892 h 73"/>
                <a:gd name="T24" fmla="*/ 69464193 w 75"/>
                <a:gd name="T25" fmla="*/ 65189631 h 73"/>
                <a:gd name="T26" fmla="*/ 64656478 w 75"/>
                <a:gd name="T27" fmla="*/ 60417251 h 73"/>
                <a:gd name="T28" fmla="*/ 64656478 w 75"/>
                <a:gd name="T29" fmla="*/ 58493151 h 73"/>
                <a:gd name="T30" fmla="*/ 61128865 w 75"/>
                <a:gd name="T31" fmla="*/ 55946798 h 73"/>
                <a:gd name="T32" fmla="*/ 60029898 w 75"/>
                <a:gd name="T33" fmla="*/ 52493153 h 73"/>
                <a:gd name="T34" fmla="*/ 54536463 w 75"/>
                <a:gd name="T35" fmla="*/ 50552579 h 73"/>
                <a:gd name="T36" fmla="*/ 51847801 w 75"/>
                <a:gd name="T37" fmla="*/ 44083233 h 73"/>
                <a:gd name="T38" fmla="*/ 48175718 w 75"/>
                <a:gd name="T39" fmla="*/ 40628004 h 73"/>
                <a:gd name="T40" fmla="*/ 45582437 w 75"/>
                <a:gd name="T41" fmla="*/ 32486168 h 73"/>
                <a:gd name="T42" fmla="*/ 51076024 w 75"/>
                <a:gd name="T43" fmla="*/ 31385143 h 73"/>
                <a:gd name="T44" fmla="*/ 41551521 w 75"/>
                <a:gd name="T45" fmla="*/ 24561524 h 73"/>
                <a:gd name="T46" fmla="*/ 36921213 w 75"/>
                <a:gd name="T47" fmla="*/ 21804153 h 73"/>
                <a:gd name="T48" fmla="*/ 35226658 w 75"/>
                <a:gd name="T49" fmla="*/ 15254202 h 73"/>
                <a:gd name="T50" fmla="*/ 30569096 w 75"/>
                <a:gd name="T51" fmla="*/ 11854730 h 73"/>
                <a:gd name="T52" fmla="*/ 28597590 w 75"/>
                <a:gd name="T53" fmla="*/ 10773911 h 73"/>
                <a:gd name="T54" fmla="*/ 23108686 w 75"/>
                <a:gd name="T55" fmla="*/ 7940768 h 73"/>
                <a:gd name="T56" fmla="*/ 18442963 w 75"/>
                <a:gd name="T57" fmla="*/ 5393058 h 73"/>
                <a:gd name="T58" fmla="*/ 10975463 w 75"/>
                <a:gd name="T59" fmla="*/ 3370210 h 73"/>
                <a:gd name="T60" fmla="*/ 1970602 w 75"/>
                <a:gd name="T61" fmla="*/ 0 h 73"/>
                <a:gd name="T62" fmla="*/ 0 w 75"/>
                <a:gd name="T63" fmla="*/ 50552579 h 7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5"/>
                <a:gd name="T97" fmla="*/ 0 h 73"/>
                <a:gd name="T98" fmla="*/ 75 w 75"/>
                <a:gd name="T99" fmla="*/ 73 h 7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5" h="73">
                  <a:moveTo>
                    <a:pt x="1" y="59"/>
                  </a:moveTo>
                  <a:cubicBezTo>
                    <a:pt x="6" y="59"/>
                    <a:pt x="12" y="59"/>
                    <a:pt x="18" y="58"/>
                  </a:cubicBezTo>
                  <a:cubicBezTo>
                    <a:pt x="19" y="58"/>
                    <a:pt x="20" y="56"/>
                    <a:pt x="19" y="55"/>
                  </a:cubicBezTo>
                  <a:cubicBezTo>
                    <a:pt x="19" y="54"/>
                    <a:pt x="18" y="54"/>
                    <a:pt x="17" y="54"/>
                  </a:cubicBezTo>
                  <a:cubicBezTo>
                    <a:pt x="16" y="54"/>
                    <a:pt x="16" y="53"/>
                    <a:pt x="15" y="52"/>
                  </a:cubicBezTo>
                  <a:cubicBezTo>
                    <a:pt x="15" y="52"/>
                    <a:pt x="14" y="51"/>
                    <a:pt x="15" y="51"/>
                  </a:cubicBezTo>
                  <a:cubicBezTo>
                    <a:pt x="17" y="51"/>
                    <a:pt x="19" y="52"/>
                    <a:pt x="21" y="51"/>
                  </a:cubicBezTo>
                  <a:cubicBezTo>
                    <a:pt x="21" y="51"/>
                    <a:pt x="22" y="50"/>
                    <a:pt x="22" y="50"/>
                  </a:cubicBezTo>
                  <a:cubicBezTo>
                    <a:pt x="23" y="49"/>
                    <a:pt x="23" y="47"/>
                    <a:pt x="24" y="46"/>
                  </a:cubicBezTo>
                  <a:cubicBezTo>
                    <a:pt x="25" y="45"/>
                    <a:pt x="26" y="45"/>
                    <a:pt x="27" y="45"/>
                  </a:cubicBezTo>
                  <a:cubicBezTo>
                    <a:pt x="29" y="45"/>
                    <a:pt x="31" y="45"/>
                    <a:pt x="32" y="46"/>
                  </a:cubicBezTo>
                  <a:cubicBezTo>
                    <a:pt x="33" y="46"/>
                    <a:pt x="34" y="47"/>
                    <a:pt x="35" y="47"/>
                  </a:cubicBezTo>
                  <a:cubicBezTo>
                    <a:pt x="36" y="47"/>
                    <a:pt x="36" y="47"/>
                    <a:pt x="36" y="48"/>
                  </a:cubicBezTo>
                  <a:cubicBezTo>
                    <a:pt x="38" y="48"/>
                    <a:pt x="40" y="49"/>
                    <a:pt x="41" y="51"/>
                  </a:cubicBezTo>
                  <a:cubicBezTo>
                    <a:pt x="41" y="51"/>
                    <a:pt x="42" y="51"/>
                    <a:pt x="42" y="52"/>
                  </a:cubicBezTo>
                  <a:cubicBezTo>
                    <a:pt x="42" y="52"/>
                    <a:pt x="43" y="53"/>
                    <a:pt x="43" y="53"/>
                  </a:cubicBezTo>
                  <a:cubicBezTo>
                    <a:pt x="43" y="55"/>
                    <a:pt x="43" y="56"/>
                    <a:pt x="43" y="57"/>
                  </a:cubicBezTo>
                  <a:cubicBezTo>
                    <a:pt x="44" y="59"/>
                    <a:pt x="45" y="59"/>
                    <a:pt x="46" y="60"/>
                  </a:cubicBezTo>
                  <a:cubicBezTo>
                    <a:pt x="47" y="60"/>
                    <a:pt x="48" y="61"/>
                    <a:pt x="49" y="62"/>
                  </a:cubicBezTo>
                  <a:cubicBezTo>
                    <a:pt x="50" y="63"/>
                    <a:pt x="50" y="63"/>
                    <a:pt x="50" y="64"/>
                  </a:cubicBezTo>
                  <a:cubicBezTo>
                    <a:pt x="50" y="65"/>
                    <a:pt x="50" y="66"/>
                    <a:pt x="51" y="66"/>
                  </a:cubicBezTo>
                  <a:cubicBezTo>
                    <a:pt x="52" y="67"/>
                    <a:pt x="53" y="67"/>
                    <a:pt x="54" y="68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5" y="68"/>
                    <a:pt x="56" y="68"/>
                    <a:pt x="56" y="68"/>
                  </a:cubicBezTo>
                  <a:cubicBezTo>
                    <a:pt x="61" y="69"/>
                    <a:pt x="66" y="69"/>
                    <a:pt x="71" y="71"/>
                  </a:cubicBezTo>
                  <a:cubicBezTo>
                    <a:pt x="72" y="72"/>
                    <a:pt x="73" y="73"/>
                    <a:pt x="75" y="72"/>
                  </a:cubicBezTo>
                  <a:cubicBezTo>
                    <a:pt x="75" y="71"/>
                    <a:pt x="75" y="70"/>
                    <a:pt x="75" y="70"/>
                  </a:cubicBezTo>
                  <a:cubicBezTo>
                    <a:pt x="74" y="68"/>
                    <a:pt x="71" y="68"/>
                    <a:pt x="70" y="67"/>
                  </a:cubicBezTo>
                  <a:cubicBezTo>
                    <a:pt x="70" y="67"/>
                    <a:pt x="69" y="66"/>
                    <a:pt x="69" y="66"/>
                  </a:cubicBezTo>
                  <a:cubicBezTo>
                    <a:pt x="70" y="66"/>
                    <a:pt x="71" y="65"/>
                    <a:pt x="70" y="65"/>
                  </a:cubicBezTo>
                  <a:cubicBezTo>
                    <a:pt x="70" y="64"/>
                    <a:pt x="68" y="64"/>
                    <a:pt x="68" y="64"/>
                  </a:cubicBezTo>
                  <a:cubicBezTo>
                    <a:pt x="67" y="64"/>
                    <a:pt x="67" y="63"/>
                    <a:pt x="66" y="62"/>
                  </a:cubicBezTo>
                  <a:cubicBezTo>
                    <a:pt x="65" y="61"/>
                    <a:pt x="66" y="60"/>
                    <a:pt x="65" y="59"/>
                  </a:cubicBezTo>
                  <a:cubicBezTo>
                    <a:pt x="65" y="59"/>
                    <a:pt x="65" y="58"/>
                    <a:pt x="65" y="58"/>
                  </a:cubicBezTo>
                  <a:cubicBezTo>
                    <a:pt x="63" y="57"/>
                    <a:pt x="61" y="58"/>
                    <a:pt x="60" y="57"/>
                  </a:cubicBezTo>
                  <a:cubicBezTo>
                    <a:pt x="60" y="57"/>
                    <a:pt x="59" y="57"/>
                    <a:pt x="59" y="56"/>
                  </a:cubicBezTo>
                  <a:cubicBezTo>
                    <a:pt x="59" y="55"/>
                    <a:pt x="58" y="55"/>
                    <a:pt x="58" y="54"/>
                  </a:cubicBezTo>
                  <a:cubicBezTo>
                    <a:pt x="57" y="53"/>
                    <a:pt x="58" y="50"/>
                    <a:pt x="56" y="49"/>
                  </a:cubicBezTo>
                  <a:cubicBezTo>
                    <a:pt x="54" y="49"/>
                    <a:pt x="53" y="47"/>
                    <a:pt x="52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51" y="42"/>
                    <a:pt x="49" y="41"/>
                    <a:pt x="49" y="39"/>
                  </a:cubicBezTo>
                  <a:cubicBezTo>
                    <a:pt x="48" y="38"/>
                    <a:pt x="48" y="37"/>
                    <a:pt x="49" y="36"/>
                  </a:cubicBezTo>
                  <a:cubicBezTo>
                    <a:pt x="50" y="35"/>
                    <a:pt x="52" y="36"/>
                    <a:pt x="54" y="36"/>
                  </a:cubicBezTo>
                  <a:cubicBezTo>
                    <a:pt x="54" y="36"/>
                    <a:pt x="54" y="35"/>
                    <a:pt x="55" y="35"/>
                  </a:cubicBezTo>
                  <a:cubicBezTo>
                    <a:pt x="55" y="33"/>
                    <a:pt x="54" y="32"/>
                    <a:pt x="54" y="31"/>
                  </a:cubicBezTo>
                  <a:cubicBezTo>
                    <a:pt x="52" y="29"/>
                    <a:pt x="48" y="29"/>
                    <a:pt x="45" y="27"/>
                  </a:cubicBezTo>
                  <a:cubicBezTo>
                    <a:pt x="43" y="27"/>
                    <a:pt x="42" y="26"/>
                    <a:pt x="41" y="24"/>
                  </a:cubicBezTo>
                  <a:cubicBezTo>
                    <a:pt x="41" y="24"/>
                    <a:pt x="41" y="24"/>
                    <a:pt x="40" y="24"/>
                  </a:cubicBezTo>
                  <a:cubicBezTo>
                    <a:pt x="40" y="24"/>
                    <a:pt x="40" y="24"/>
                    <a:pt x="39" y="23"/>
                  </a:cubicBezTo>
                  <a:cubicBezTo>
                    <a:pt x="39" y="21"/>
                    <a:pt x="39" y="19"/>
                    <a:pt x="38" y="17"/>
                  </a:cubicBezTo>
                  <a:cubicBezTo>
                    <a:pt x="37" y="16"/>
                    <a:pt x="36" y="16"/>
                    <a:pt x="35" y="14"/>
                  </a:cubicBezTo>
                  <a:cubicBezTo>
                    <a:pt x="34" y="14"/>
                    <a:pt x="34" y="14"/>
                    <a:pt x="33" y="13"/>
                  </a:cubicBezTo>
                  <a:cubicBezTo>
                    <a:pt x="33" y="13"/>
                    <a:pt x="32" y="13"/>
                    <a:pt x="32" y="1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0" y="11"/>
                    <a:pt x="31" y="10"/>
                    <a:pt x="30" y="10"/>
                  </a:cubicBezTo>
                  <a:cubicBezTo>
                    <a:pt x="28" y="9"/>
                    <a:pt x="27" y="9"/>
                    <a:pt x="25" y="9"/>
                  </a:cubicBezTo>
                  <a:cubicBezTo>
                    <a:pt x="24" y="8"/>
                    <a:pt x="23" y="8"/>
                    <a:pt x="22" y="7"/>
                  </a:cubicBezTo>
                  <a:cubicBezTo>
                    <a:pt x="21" y="7"/>
                    <a:pt x="20" y="6"/>
                    <a:pt x="20" y="6"/>
                  </a:cubicBezTo>
                  <a:cubicBezTo>
                    <a:pt x="18" y="5"/>
                    <a:pt x="16" y="6"/>
                    <a:pt x="14" y="5"/>
                  </a:cubicBezTo>
                  <a:cubicBezTo>
                    <a:pt x="13" y="5"/>
                    <a:pt x="13" y="4"/>
                    <a:pt x="12" y="4"/>
                  </a:cubicBezTo>
                  <a:cubicBezTo>
                    <a:pt x="10" y="4"/>
                    <a:pt x="9" y="2"/>
                    <a:pt x="6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0" y="56"/>
                    <a:pt x="0" y="56"/>
                    <a:pt x="0" y="56"/>
                  </a:cubicBezTo>
                  <a:lnTo>
                    <a:pt x="1" y="59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9" name="Freeform 170"/>
            <p:cNvSpPr>
              <a:spLocks/>
            </p:cNvSpPr>
            <p:nvPr/>
          </p:nvSpPr>
          <p:spPr bwMode="auto">
            <a:xfrm>
              <a:off x="7505411" y="3620080"/>
              <a:ext cx="1254" cy="1622"/>
            </a:xfrm>
            <a:custGeom>
              <a:avLst/>
              <a:gdLst>
                <a:gd name="T0" fmla="*/ 727531 w 3"/>
                <a:gd name="T1" fmla="*/ 0 h 3"/>
                <a:gd name="T2" fmla="*/ 0 w 3"/>
                <a:gd name="T3" fmla="*/ 1697572 h 3"/>
                <a:gd name="T4" fmla="*/ 1697572 w 3"/>
                <a:gd name="T5" fmla="*/ 0 h 3"/>
                <a:gd name="T6" fmla="*/ 727531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1" y="3"/>
                    <a:pt x="3" y="1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0" name="Freeform 171"/>
            <p:cNvSpPr>
              <a:spLocks/>
            </p:cNvSpPr>
            <p:nvPr/>
          </p:nvSpPr>
          <p:spPr bwMode="auto">
            <a:xfrm>
              <a:off x="7490362" y="3584661"/>
              <a:ext cx="3010" cy="1352"/>
            </a:xfrm>
            <a:custGeom>
              <a:avLst/>
              <a:gdLst>
                <a:gd name="T0" fmla="*/ 7438980 w 6"/>
                <a:gd name="T1" fmla="*/ 0 h 3"/>
                <a:gd name="T2" fmla="*/ 2975593 w 6"/>
                <a:gd name="T3" fmla="*/ 0 h 3"/>
                <a:gd name="T4" fmla="*/ 2975593 w 6"/>
                <a:gd name="T5" fmla="*/ 1697572 h 3"/>
                <a:gd name="T6" fmla="*/ 13878121 w 6"/>
                <a:gd name="T7" fmla="*/ 1697572 h 3"/>
                <a:gd name="T8" fmla="*/ 13878121 w 6"/>
                <a:gd name="T9" fmla="*/ 727531 h 3"/>
                <a:gd name="T10" fmla="*/ 7438980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1"/>
                    <a:pt x="1" y="2"/>
                  </a:cubicBezTo>
                  <a:cubicBezTo>
                    <a:pt x="2" y="3"/>
                    <a:pt x="4" y="2"/>
                    <a:pt x="6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5" y="0"/>
                    <a:pt x="4" y="1"/>
                    <a:pt x="3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1" name="Freeform 172"/>
            <p:cNvSpPr>
              <a:spLocks/>
            </p:cNvSpPr>
            <p:nvPr/>
          </p:nvSpPr>
          <p:spPr bwMode="auto">
            <a:xfrm>
              <a:off x="7500395" y="3580876"/>
              <a:ext cx="2257" cy="1893"/>
            </a:xfrm>
            <a:custGeom>
              <a:avLst/>
              <a:gdLst>
                <a:gd name="T0" fmla="*/ 6243820 w 4"/>
                <a:gd name="T1" fmla="*/ 4450654 h 4"/>
                <a:gd name="T2" fmla="*/ 4450654 w 4"/>
                <a:gd name="T3" fmla="*/ 2497529 h 4"/>
                <a:gd name="T4" fmla="*/ 2497529 w 4"/>
                <a:gd name="T5" fmla="*/ 4450654 h 4"/>
                <a:gd name="T6" fmla="*/ 6243820 w 4"/>
                <a:gd name="T7" fmla="*/ 6243820 h 4"/>
                <a:gd name="T8" fmla="*/ 6243820 w 4"/>
                <a:gd name="T9" fmla="*/ 445065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3" y="2"/>
                  </a:moveTo>
                  <a:cubicBezTo>
                    <a:pt x="3" y="1"/>
                    <a:pt x="3" y="1"/>
                    <a:pt x="2" y="1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4"/>
                    <a:pt x="3" y="3"/>
                  </a:cubicBezTo>
                  <a:cubicBezTo>
                    <a:pt x="3" y="3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2" name="Freeform 173"/>
            <p:cNvSpPr>
              <a:spLocks/>
            </p:cNvSpPr>
            <p:nvPr/>
          </p:nvSpPr>
          <p:spPr bwMode="auto">
            <a:xfrm>
              <a:off x="7502652" y="3586013"/>
              <a:ext cx="2508" cy="1893"/>
            </a:xfrm>
            <a:custGeom>
              <a:avLst/>
              <a:gdLst>
                <a:gd name="T0" fmla="*/ 2554647 w 5"/>
                <a:gd name="T1" fmla="*/ 7221760 h 3"/>
                <a:gd name="T2" fmla="*/ 1064436 w 5"/>
                <a:gd name="T3" fmla="*/ 19258026 h 3"/>
                <a:gd name="T4" fmla="*/ 5085394 w 5"/>
                <a:gd name="T5" fmla="*/ 19258026 h 3"/>
                <a:gd name="T6" fmla="*/ 5085394 w 5"/>
                <a:gd name="T7" fmla="*/ 7221760 h 3"/>
                <a:gd name="T8" fmla="*/ 2554647 w 5"/>
                <a:gd name="T9" fmla="*/ 722176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2" y="1"/>
                  </a:move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3" y="3"/>
                    <a:pt x="4" y="3"/>
                  </a:cubicBezTo>
                  <a:cubicBezTo>
                    <a:pt x="4" y="3"/>
                    <a:pt x="5" y="2"/>
                    <a:pt x="4" y="1"/>
                  </a:cubicBezTo>
                  <a:cubicBezTo>
                    <a:pt x="4" y="0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3" name="Freeform 174"/>
            <p:cNvSpPr>
              <a:spLocks/>
            </p:cNvSpPr>
            <p:nvPr/>
          </p:nvSpPr>
          <p:spPr bwMode="auto">
            <a:xfrm>
              <a:off x="7506164" y="3587905"/>
              <a:ext cx="8528" cy="8922"/>
            </a:xfrm>
            <a:custGeom>
              <a:avLst/>
              <a:gdLst>
                <a:gd name="T0" fmla="*/ 10939908 w 18"/>
                <a:gd name="T1" fmla="*/ 7376632 h 19"/>
                <a:gd name="T2" fmla="*/ 8614987 w 18"/>
                <a:gd name="T3" fmla="*/ 5620625 h 19"/>
                <a:gd name="T4" fmla="*/ 3961001 w 18"/>
                <a:gd name="T5" fmla="*/ 2045643 h 19"/>
                <a:gd name="T6" fmla="*/ 1697572 w 18"/>
                <a:gd name="T7" fmla="*/ 670752 h 19"/>
                <a:gd name="T8" fmla="*/ 0 w 18"/>
                <a:gd name="T9" fmla="*/ 0 h 19"/>
                <a:gd name="T10" fmla="*/ 0 w 18"/>
                <a:gd name="T11" fmla="*/ 670752 h 19"/>
                <a:gd name="T12" fmla="*/ 8614987 w 18"/>
                <a:gd name="T13" fmla="*/ 6779427 h 19"/>
                <a:gd name="T14" fmla="*/ 9902490 w 18"/>
                <a:gd name="T15" fmla="*/ 8823513 h 19"/>
                <a:gd name="T16" fmla="*/ 11620009 w 18"/>
                <a:gd name="T17" fmla="*/ 12399237 h 19"/>
                <a:gd name="T18" fmla="*/ 13184928 w 18"/>
                <a:gd name="T19" fmla="*/ 12399237 h 19"/>
                <a:gd name="T20" fmla="*/ 13184928 w 18"/>
                <a:gd name="T21" fmla="*/ 12399237 h 19"/>
                <a:gd name="T22" fmla="*/ 13184928 w 18"/>
                <a:gd name="T23" fmla="*/ 9422159 h 19"/>
                <a:gd name="T24" fmla="*/ 10939908 w 18"/>
                <a:gd name="T25" fmla="*/ 7376632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8"/>
                <a:gd name="T40" fmla="*/ 0 h 19"/>
                <a:gd name="T41" fmla="*/ 18 w 18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8" h="19">
                  <a:moveTo>
                    <a:pt x="14" y="11"/>
                  </a:moveTo>
                  <a:cubicBezTo>
                    <a:pt x="13" y="10"/>
                    <a:pt x="13" y="9"/>
                    <a:pt x="11" y="8"/>
                  </a:cubicBezTo>
                  <a:cubicBezTo>
                    <a:pt x="9" y="7"/>
                    <a:pt x="7" y="5"/>
                    <a:pt x="5" y="3"/>
                  </a:cubicBezTo>
                  <a:cubicBezTo>
                    <a:pt x="4" y="2"/>
                    <a:pt x="3" y="1"/>
                    <a:pt x="2" y="1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3" y="4"/>
                    <a:pt x="8" y="6"/>
                    <a:pt x="11" y="10"/>
                  </a:cubicBezTo>
                  <a:cubicBezTo>
                    <a:pt x="11" y="11"/>
                    <a:pt x="12" y="12"/>
                    <a:pt x="13" y="13"/>
                  </a:cubicBezTo>
                  <a:cubicBezTo>
                    <a:pt x="14" y="15"/>
                    <a:pt x="14" y="17"/>
                    <a:pt x="15" y="18"/>
                  </a:cubicBezTo>
                  <a:cubicBezTo>
                    <a:pt x="15" y="19"/>
                    <a:pt x="16" y="19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8" y="16"/>
                    <a:pt x="18" y="15"/>
                    <a:pt x="17" y="14"/>
                  </a:cubicBezTo>
                  <a:cubicBezTo>
                    <a:pt x="17" y="13"/>
                    <a:pt x="16" y="12"/>
                    <a:pt x="14" y="1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4" name="Freeform 175"/>
            <p:cNvSpPr>
              <a:spLocks/>
            </p:cNvSpPr>
            <p:nvPr/>
          </p:nvSpPr>
          <p:spPr bwMode="auto">
            <a:xfrm>
              <a:off x="7496883" y="3594935"/>
              <a:ext cx="14548" cy="8652"/>
            </a:xfrm>
            <a:custGeom>
              <a:avLst/>
              <a:gdLst>
                <a:gd name="T0" fmla="*/ 32206539 w 31"/>
                <a:gd name="T1" fmla="*/ 0 h 18"/>
                <a:gd name="T2" fmla="*/ 28853739 w 31"/>
                <a:gd name="T3" fmla="*/ 0 h 18"/>
                <a:gd name="T4" fmla="*/ 27862635 w 31"/>
                <a:gd name="T5" fmla="*/ 3961001 h 18"/>
                <a:gd name="T6" fmla="*/ 24751676 w 31"/>
                <a:gd name="T7" fmla="*/ 4688532 h 18"/>
                <a:gd name="T8" fmla="*/ 23201725 w 31"/>
                <a:gd name="T9" fmla="*/ 6931749 h 18"/>
                <a:gd name="T10" fmla="*/ 20088589 w 31"/>
                <a:gd name="T11" fmla="*/ 8614987 h 18"/>
                <a:gd name="T12" fmla="*/ 16735831 w 31"/>
                <a:gd name="T13" fmla="*/ 8614987 h 18"/>
                <a:gd name="T14" fmla="*/ 14483816 w 31"/>
                <a:gd name="T15" fmla="*/ 6931749 h 18"/>
                <a:gd name="T16" fmla="*/ 13491930 w 31"/>
                <a:gd name="T17" fmla="*/ 6931749 h 18"/>
                <a:gd name="T18" fmla="*/ 13491930 w 31"/>
                <a:gd name="T19" fmla="*/ 7659273 h 18"/>
                <a:gd name="T20" fmla="*/ 991891 w 31"/>
                <a:gd name="T21" fmla="*/ 8614987 h 18"/>
                <a:gd name="T22" fmla="*/ 0 w 31"/>
                <a:gd name="T23" fmla="*/ 9902490 h 18"/>
                <a:gd name="T24" fmla="*/ 3356989 w 31"/>
                <a:gd name="T25" fmla="*/ 12213086 h 18"/>
                <a:gd name="T26" fmla="*/ 8735528 w 31"/>
                <a:gd name="T27" fmla="*/ 12213086 h 18"/>
                <a:gd name="T28" fmla="*/ 12087381 w 31"/>
                <a:gd name="T29" fmla="*/ 13906432 h 18"/>
                <a:gd name="T30" fmla="*/ 19128895 w 31"/>
                <a:gd name="T31" fmla="*/ 13184928 h 18"/>
                <a:gd name="T32" fmla="*/ 22456359 w 31"/>
                <a:gd name="T33" fmla="*/ 12213086 h 18"/>
                <a:gd name="T34" fmla="*/ 31221490 w 31"/>
                <a:gd name="T35" fmla="*/ 8614987 h 18"/>
                <a:gd name="T36" fmla="*/ 31221490 w 31"/>
                <a:gd name="T37" fmla="*/ 6931749 h 18"/>
                <a:gd name="T38" fmla="*/ 31221490 w 31"/>
                <a:gd name="T39" fmla="*/ 5234180 h 18"/>
                <a:gd name="T40" fmla="*/ 33587484 w 31"/>
                <a:gd name="T41" fmla="*/ 2243220 h 18"/>
                <a:gd name="T42" fmla="*/ 33587484 w 31"/>
                <a:gd name="T43" fmla="*/ 0 h 18"/>
                <a:gd name="T44" fmla="*/ 32206539 w 31"/>
                <a:gd name="T45" fmla="*/ 0 h 1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1"/>
                <a:gd name="T70" fmla="*/ 0 h 18"/>
                <a:gd name="T71" fmla="*/ 31 w 31"/>
                <a:gd name="T72" fmla="*/ 18 h 1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1" h="18">
                  <a:moveTo>
                    <a:pt x="29" y="0"/>
                  </a:moveTo>
                  <a:cubicBezTo>
                    <a:pt x="28" y="0"/>
                    <a:pt x="27" y="0"/>
                    <a:pt x="26" y="0"/>
                  </a:cubicBezTo>
                  <a:cubicBezTo>
                    <a:pt x="25" y="1"/>
                    <a:pt x="25" y="3"/>
                    <a:pt x="25" y="5"/>
                  </a:cubicBezTo>
                  <a:cubicBezTo>
                    <a:pt x="24" y="6"/>
                    <a:pt x="23" y="5"/>
                    <a:pt x="22" y="6"/>
                  </a:cubicBezTo>
                  <a:cubicBezTo>
                    <a:pt x="21" y="7"/>
                    <a:pt x="22" y="8"/>
                    <a:pt x="21" y="9"/>
                  </a:cubicBezTo>
                  <a:cubicBezTo>
                    <a:pt x="20" y="10"/>
                    <a:pt x="19" y="11"/>
                    <a:pt x="18" y="11"/>
                  </a:cubicBezTo>
                  <a:cubicBezTo>
                    <a:pt x="17" y="12"/>
                    <a:pt x="16" y="11"/>
                    <a:pt x="15" y="11"/>
                  </a:cubicBezTo>
                  <a:cubicBezTo>
                    <a:pt x="14" y="11"/>
                    <a:pt x="14" y="10"/>
                    <a:pt x="13" y="9"/>
                  </a:cubicBezTo>
                  <a:cubicBezTo>
                    <a:pt x="13" y="9"/>
                    <a:pt x="13" y="9"/>
                    <a:pt x="12" y="9"/>
                  </a:cubicBezTo>
                  <a:cubicBezTo>
                    <a:pt x="12" y="9"/>
                    <a:pt x="12" y="10"/>
                    <a:pt x="12" y="10"/>
                  </a:cubicBezTo>
                  <a:cubicBezTo>
                    <a:pt x="8" y="11"/>
                    <a:pt x="4" y="10"/>
                    <a:pt x="1" y="11"/>
                  </a:cubicBezTo>
                  <a:cubicBezTo>
                    <a:pt x="0" y="11"/>
                    <a:pt x="0" y="13"/>
                    <a:pt x="0" y="13"/>
                  </a:cubicBezTo>
                  <a:cubicBezTo>
                    <a:pt x="1" y="14"/>
                    <a:pt x="2" y="15"/>
                    <a:pt x="3" y="16"/>
                  </a:cubicBezTo>
                  <a:cubicBezTo>
                    <a:pt x="5" y="16"/>
                    <a:pt x="6" y="16"/>
                    <a:pt x="8" y="16"/>
                  </a:cubicBezTo>
                  <a:cubicBezTo>
                    <a:pt x="9" y="17"/>
                    <a:pt x="10" y="18"/>
                    <a:pt x="11" y="18"/>
                  </a:cubicBezTo>
                  <a:cubicBezTo>
                    <a:pt x="13" y="18"/>
                    <a:pt x="15" y="17"/>
                    <a:pt x="17" y="17"/>
                  </a:cubicBezTo>
                  <a:cubicBezTo>
                    <a:pt x="18" y="17"/>
                    <a:pt x="19" y="17"/>
                    <a:pt x="20" y="16"/>
                  </a:cubicBezTo>
                  <a:cubicBezTo>
                    <a:pt x="23" y="15"/>
                    <a:pt x="25" y="12"/>
                    <a:pt x="28" y="11"/>
                  </a:cubicBezTo>
                  <a:cubicBezTo>
                    <a:pt x="29" y="11"/>
                    <a:pt x="29" y="10"/>
                    <a:pt x="28" y="9"/>
                  </a:cubicBezTo>
                  <a:cubicBezTo>
                    <a:pt x="28" y="8"/>
                    <a:pt x="28" y="7"/>
                    <a:pt x="28" y="7"/>
                  </a:cubicBezTo>
                  <a:cubicBezTo>
                    <a:pt x="29" y="5"/>
                    <a:pt x="29" y="4"/>
                    <a:pt x="30" y="3"/>
                  </a:cubicBezTo>
                  <a:cubicBezTo>
                    <a:pt x="30" y="2"/>
                    <a:pt x="31" y="1"/>
                    <a:pt x="30" y="0"/>
                  </a:cubicBezTo>
                  <a:cubicBezTo>
                    <a:pt x="30" y="0"/>
                    <a:pt x="29" y="1"/>
                    <a:pt x="29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5" name="Freeform 176"/>
            <p:cNvSpPr>
              <a:spLocks/>
            </p:cNvSpPr>
            <p:nvPr/>
          </p:nvSpPr>
          <p:spPr bwMode="auto">
            <a:xfrm>
              <a:off x="7521715" y="3596017"/>
              <a:ext cx="1254" cy="811"/>
            </a:xfrm>
            <a:custGeom>
              <a:avLst/>
              <a:gdLst>
                <a:gd name="T0" fmla="*/ 1697572 w 3"/>
                <a:gd name="T1" fmla="*/ 65536 h 2"/>
                <a:gd name="T2" fmla="*/ 0 w 3"/>
                <a:gd name="T3" fmla="*/ 131072 h 2"/>
                <a:gd name="T4" fmla="*/ 1697572 w 3"/>
                <a:gd name="T5" fmla="*/ 131072 h 2"/>
                <a:gd name="T6" fmla="*/ 1697572 w 3"/>
                <a:gd name="T7" fmla="*/ 65536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2" y="1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3" y="2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6" name="Freeform 177"/>
            <p:cNvSpPr>
              <a:spLocks/>
            </p:cNvSpPr>
            <p:nvPr/>
          </p:nvSpPr>
          <p:spPr bwMode="auto">
            <a:xfrm>
              <a:off x="7519709" y="3597909"/>
              <a:ext cx="753" cy="811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4450654 h 2"/>
                <a:gd name="T4" fmla="*/ 43046679 w 1"/>
                <a:gd name="T5" fmla="*/ 4450654 h 2"/>
                <a:gd name="T6" fmla="*/ 43046679 w 1"/>
                <a:gd name="T7" fmla="*/ 2497529 h 2"/>
                <a:gd name="T8" fmla="*/ 0 w 1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0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7" name="Freeform 178"/>
            <p:cNvSpPr>
              <a:spLocks/>
            </p:cNvSpPr>
            <p:nvPr/>
          </p:nvSpPr>
          <p:spPr bwMode="auto">
            <a:xfrm>
              <a:off x="7519709" y="3600072"/>
              <a:ext cx="5268" cy="6760"/>
            </a:xfrm>
            <a:custGeom>
              <a:avLst/>
              <a:gdLst>
                <a:gd name="T0" fmla="*/ 7630664 w 11"/>
                <a:gd name="T1" fmla="*/ 6350665 h 13"/>
                <a:gd name="T2" fmla="*/ 5595820 w 11"/>
                <a:gd name="T3" fmla="*/ 5569804 h 13"/>
                <a:gd name="T4" fmla="*/ 3587761 w 11"/>
                <a:gd name="T5" fmla="*/ 4595099 h 13"/>
                <a:gd name="T6" fmla="*/ 3587761 w 11"/>
                <a:gd name="T7" fmla="*/ 0 h 13"/>
                <a:gd name="T8" fmla="*/ 849380 w 11"/>
                <a:gd name="T9" fmla="*/ 979497 h 13"/>
                <a:gd name="T10" fmla="*/ 849380 w 11"/>
                <a:gd name="T11" fmla="*/ 4595099 h 13"/>
                <a:gd name="T12" fmla="*/ 3587761 w 11"/>
                <a:gd name="T13" fmla="*/ 7913775 h 13"/>
                <a:gd name="T14" fmla="*/ 3587761 w 11"/>
                <a:gd name="T15" fmla="*/ 11938254 h 13"/>
                <a:gd name="T16" fmla="*/ 7630664 w 11"/>
                <a:gd name="T17" fmla="*/ 13281841 h 13"/>
                <a:gd name="T18" fmla="*/ 9698926 w 11"/>
                <a:gd name="T19" fmla="*/ 8621839 h 13"/>
                <a:gd name="T20" fmla="*/ 7630664 w 11"/>
                <a:gd name="T21" fmla="*/ 6350665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13"/>
                <a:gd name="T35" fmla="*/ 11 w 11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13">
                  <a:moveTo>
                    <a:pt x="8" y="6"/>
                  </a:moveTo>
                  <a:cubicBezTo>
                    <a:pt x="8" y="6"/>
                    <a:pt x="7" y="6"/>
                    <a:pt x="6" y="5"/>
                  </a:cubicBezTo>
                  <a:cubicBezTo>
                    <a:pt x="6" y="5"/>
                    <a:pt x="5" y="5"/>
                    <a:pt x="4" y="4"/>
                  </a:cubicBezTo>
                  <a:cubicBezTo>
                    <a:pt x="4" y="3"/>
                    <a:pt x="5" y="1"/>
                    <a:pt x="4" y="0"/>
                  </a:cubicBezTo>
                  <a:cubicBezTo>
                    <a:pt x="3" y="0"/>
                    <a:pt x="1" y="0"/>
                    <a:pt x="1" y="1"/>
                  </a:cubicBezTo>
                  <a:cubicBezTo>
                    <a:pt x="0" y="2"/>
                    <a:pt x="1" y="3"/>
                    <a:pt x="1" y="4"/>
                  </a:cubicBezTo>
                  <a:cubicBezTo>
                    <a:pt x="1" y="6"/>
                    <a:pt x="3" y="6"/>
                    <a:pt x="4" y="7"/>
                  </a:cubicBezTo>
                  <a:cubicBezTo>
                    <a:pt x="4" y="8"/>
                    <a:pt x="3" y="10"/>
                    <a:pt x="4" y="11"/>
                  </a:cubicBezTo>
                  <a:cubicBezTo>
                    <a:pt x="5" y="12"/>
                    <a:pt x="6" y="13"/>
                    <a:pt x="8" y="12"/>
                  </a:cubicBezTo>
                  <a:cubicBezTo>
                    <a:pt x="8" y="10"/>
                    <a:pt x="11" y="10"/>
                    <a:pt x="10" y="8"/>
                  </a:cubicBezTo>
                  <a:cubicBezTo>
                    <a:pt x="10" y="7"/>
                    <a:pt x="9" y="7"/>
                    <a:pt x="8" y="6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8" name="Freeform 179"/>
            <p:cNvSpPr>
              <a:spLocks/>
            </p:cNvSpPr>
            <p:nvPr/>
          </p:nvSpPr>
          <p:spPr bwMode="auto">
            <a:xfrm>
              <a:off x="7538521" y="3627381"/>
              <a:ext cx="1254" cy="1082"/>
            </a:xfrm>
            <a:custGeom>
              <a:avLst/>
              <a:gdLst>
                <a:gd name="T0" fmla="*/ 1697572 w 3"/>
                <a:gd name="T1" fmla="*/ 0 h 2"/>
                <a:gd name="T2" fmla="*/ 727531 w 3"/>
                <a:gd name="T3" fmla="*/ 2497529 h 2"/>
                <a:gd name="T4" fmla="*/ 2243220 w 3"/>
                <a:gd name="T5" fmla="*/ 2497529 h 2"/>
                <a:gd name="T6" fmla="*/ 2243220 w 3"/>
                <a:gd name="T7" fmla="*/ 0 h 2"/>
                <a:gd name="T8" fmla="*/ 1697572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1" y="0"/>
                    <a:pt x="0" y="0"/>
                    <a:pt x="1" y="1"/>
                  </a:cubicBezTo>
                  <a:cubicBezTo>
                    <a:pt x="1" y="2"/>
                    <a:pt x="2" y="2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9" name="Freeform 180"/>
            <p:cNvSpPr>
              <a:spLocks/>
            </p:cNvSpPr>
            <p:nvPr/>
          </p:nvSpPr>
          <p:spPr bwMode="auto">
            <a:xfrm>
              <a:off x="7462520" y="3762570"/>
              <a:ext cx="12541" cy="15141"/>
            </a:xfrm>
            <a:custGeom>
              <a:avLst/>
              <a:gdLst>
                <a:gd name="T0" fmla="*/ 14590763 w 27"/>
                <a:gd name="T1" fmla="*/ 2596311 h 31"/>
                <a:gd name="T2" fmla="*/ 14590763 w 27"/>
                <a:gd name="T3" fmla="*/ 3344312 h 31"/>
                <a:gd name="T4" fmla="*/ 10939910 w 27"/>
                <a:gd name="T5" fmla="*/ 4509328 h 31"/>
                <a:gd name="T6" fmla="*/ 8614989 w 27"/>
                <a:gd name="T7" fmla="*/ 3344312 h 31"/>
                <a:gd name="T8" fmla="*/ 5234181 w 27"/>
                <a:gd name="T9" fmla="*/ 813185 h 31"/>
                <a:gd name="T10" fmla="*/ 1697572 w 27"/>
                <a:gd name="T11" fmla="*/ 813185 h 31"/>
                <a:gd name="T12" fmla="*/ 727531 w 27"/>
                <a:gd name="T13" fmla="*/ 2596311 h 31"/>
                <a:gd name="T14" fmla="*/ 727531 w 27"/>
                <a:gd name="T15" fmla="*/ 9852626 h 31"/>
                <a:gd name="T16" fmla="*/ 1697572 w 27"/>
                <a:gd name="T17" fmla="*/ 15128078 h 31"/>
                <a:gd name="T18" fmla="*/ 1697572 w 27"/>
                <a:gd name="T19" fmla="*/ 18545099 h 31"/>
                <a:gd name="T20" fmla="*/ 2970751 w 27"/>
                <a:gd name="T21" fmla="*/ 24361375 h 31"/>
                <a:gd name="T22" fmla="*/ 4688532 w 27"/>
                <a:gd name="T23" fmla="*/ 25817776 h 31"/>
                <a:gd name="T24" fmla="*/ 6253185 w 27"/>
                <a:gd name="T25" fmla="*/ 25817776 h 31"/>
                <a:gd name="T26" fmla="*/ 8614989 w 27"/>
                <a:gd name="T27" fmla="*/ 26893598 h 31"/>
                <a:gd name="T28" fmla="*/ 13184930 w 27"/>
                <a:gd name="T29" fmla="*/ 22384253 h 31"/>
                <a:gd name="T30" fmla="*/ 15628443 w 27"/>
                <a:gd name="T31" fmla="*/ 21634510 h 31"/>
                <a:gd name="T32" fmla="*/ 16174079 w 27"/>
                <a:gd name="T33" fmla="*/ 15964809 h 31"/>
                <a:gd name="T34" fmla="*/ 19144831 w 27"/>
                <a:gd name="T35" fmla="*/ 12593830 h 31"/>
                <a:gd name="T36" fmla="*/ 20101633 w 27"/>
                <a:gd name="T37" fmla="*/ 9852626 h 31"/>
                <a:gd name="T38" fmla="*/ 20837921 w 27"/>
                <a:gd name="T39" fmla="*/ 5348066 h 31"/>
                <a:gd name="T40" fmla="*/ 20837921 w 27"/>
                <a:gd name="T41" fmla="*/ 1914920 h 31"/>
                <a:gd name="T42" fmla="*/ 17871662 w 27"/>
                <a:gd name="T43" fmla="*/ 1914920 h 31"/>
                <a:gd name="T44" fmla="*/ 14590763 w 27"/>
                <a:gd name="T45" fmla="*/ 2596311 h 3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7"/>
                <a:gd name="T70" fmla="*/ 0 h 31"/>
                <a:gd name="T71" fmla="*/ 27 w 27"/>
                <a:gd name="T72" fmla="*/ 31 h 3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7" h="31">
                  <a:moveTo>
                    <a:pt x="19" y="3"/>
                  </a:moveTo>
                  <a:cubicBezTo>
                    <a:pt x="19" y="3"/>
                    <a:pt x="19" y="4"/>
                    <a:pt x="19" y="4"/>
                  </a:cubicBezTo>
                  <a:cubicBezTo>
                    <a:pt x="17" y="5"/>
                    <a:pt x="16" y="4"/>
                    <a:pt x="14" y="5"/>
                  </a:cubicBezTo>
                  <a:cubicBezTo>
                    <a:pt x="13" y="5"/>
                    <a:pt x="11" y="5"/>
                    <a:pt x="11" y="4"/>
                  </a:cubicBezTo>
                  <a:cubicBezTo>
                    <a:pt x="10" y="3"/>
                    <a:pt x="8" y="2"/>
                    <a:pt x="7" y="1"/>
                  </a:cubicBezTo>
                  <a:cubicBezTo>
                    <a:pt x="5" y="0"/>
                    <a:pt x="3" y="1"/>
                    <a:pt x="2" y="1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5"/>
                    <a:pt x="0" y="8"/>
                    <a:pt x="1" y="11"/>
                  </a:cubicBezTo>
                  <a:cubicBezTo>
                    <a:pt x="2" y="13"/>
                    <a:pt x="3" y="15"/>
                    <a:pt x="2" y="17"/>
                  </a:cubicBezTo>
                  <a:cubicBezTo>
                    <a:pt x="2" y="18"/>
                    <a:pt x="1" y="20"/>
                    <a:pt x="2" y="21"/>
                  </a:cubicBezTo>
                  <a:cubicBezTo>
                    <a:pt x="3" y="23"/>
                    <a:pt x="3" y="25"/>
                    <a:pt x="4" y="27"/>
                  </a:cubicBezTo>
                  <a:cubicBezTo>
                    <a:pt x="4" y="28"/>
                    <a:pt x="5" y="30"/>
                    <a:pt x="6" y="29"/>
                  </a:cubicBezTo>
                  <a:cubicBezTo>
                    <a:pt x="7" y="29"/>
                    <a:pt x="8" y="29"/>
                    <a:pt x="8" y="29"/>
                  </a:cubicBezTo>
                  <a:cubicBezTo>
                    <a:pt x="9" y="30"/>
                    <a:pt x="10" y="31"/>
                    <a:pt x="11" y="30"/>
                  </a:cubicBezTo>
                  <a:cubicBezTo>
                    <a:pt x="13" y="28"/>
                    <a:pt x="14" y="26"/>
                    <a:pt x="17" y="25"/>
                  </a:cubicBezTo>
                  <a:cubicBezTo>
                    <a:pt x="18" y="24"/>
                    <a:pt x="19" y="25"/>
                    <a:pt x="20" y="24"/>
                  </a:cubicBezTo>
                  <a:cubicBezTo>
                    <a:pt x="22" y="23"/>
                    <a:pt x="20" y="20"/>
                    <a:pt x="21" y="18"/>
                  </a:cubicBezTo>
                  <a:cubicBezTo>
                    <a:pt x="22" y="16"/>
                    <a:pt x="24" y="15"/>
                    <a:pt x="25" y="14"/>
                  </a:cubicBezTo>
                  <a:cubicBezTo>
                    <a:pt x="25" y="13"/>
                    <a:pt x="26" y="12"/>
                    <a:pt x="26" y="11"/>
                  </a:cubicBezTo>
                  <a:cubicBezTo>
                    <a:pt x="26" y="9"/>
                    <a:pt x="26" y="8"/>
                    <a:pt x="27" y="6"/>
                  </a:cubicBezTo>
                  <a:cubicBezTo>
                    <a:pt x="27" y="5"/>
                    <a:pt x="27" y="3"/>
                    <a:pt x="27" y="2"/>
                  </a:cubicBezTo>
                  <a:cubicBezTo>
                    <a:pt x="26" y="1"/>
                    <a:pt x="24" y="2"/>
                    <a:pt x="23" y="2"/>
                  </a:cubicBezTo>
                  <a:cubicBezTo>
                    <a:pt x="22" y="3"/>
                    <a:pt x="20" y="2"/>
                    <a:pt x="19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0" name="Freeform 181"/>
            <p:cNvSpPr>
              <a:spLocks/>
            </p:cNvSpPr>
            <p:nvPr/>
          </p:nvSpPr>
          <p:spPr bwMode="auto">
            <a:xfrm>
              <a:off x="7474559" y="3757162"/>
              <a:ext cx="2508" cy="4596"/>
            </a:xfrm>
            <a:custGeom>
              <a:avLst/>
              <a:gdLst>
                <a:gd name="T0" fmla="*/ 2554647 w 5"/>
                <a:gd name="T1" fmla="*/ 7915496 h 9"/>
                <a:gd name="T2" fmla="*/ 3577445 w 5"/>
                <a:gd name="T3" fmla="*/ 10015063 h 9"/>
                <a:gd name="T4" fmla="*/ 5085394 w 5"/>
                <a:gd name="T5" fmla="*/ 13330806 h 9"/>
                <a:gd name="T6" fmla="*/ 6131150 w 5"/>
                <a:gd name="T7" fmla="*/ 14708563 h 9"/>
                <a:gd name="T8" fmla="*/ 5085394 w 5"/>
                <a:gd name="T9" fmla="*/ 10015063 h 9"/>
                <a:gd name="T10" fmla="*/ 5085394 w 5"/>
                <a:gd name="T11" fmla="*/ 3238158 h 9"/>
                <a:gd name="T12" fmla="*/ 1064436 w 5"/>
                <a:gd name="T13" fmla="*/ 1324701 h 9"/>
                <a:gd name="T14" fmla="*/ 0 w 5"/>
                <a:gd name="T15" fmla="*/ 3238158 h 9"/>
                <a:gd name="T16" fmla="*/ 2554647 w 5"/>
                <a:gd name="T17" fmla="*/ 7915496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9"/>
                <a:gd name="T29" fmla="*/ 5 w 5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9">
                  <a:moveTo>
                    <a:pt x="2" y="5"/>
                  </a:moveTo>
                  <a:cubicBezTo>
                    <a:pt x="2" y="6"/>
                    <a:pt x="3" y="6"/>
                    <a:pt x="3" y="6"/>
                  </a:cubicBezTo>
                  <a:cubicBezTo>
                    <a:pt x="3" y="7"/>
                    <a:pt x="3" y="7"/>
                    <a:pt x="4" y="8"/>
                  </a:cubicBezTo>
                  <a:cubicBezTo>
                    <a:pt x="4" y="8"/>
                    <a:pt x="4" y="9"/>
                    <a:pt x="5" y="9"/>
                  </a:cubicBezTo>
                  <a:cubicBezTo>
                    <a:pt x="5" y="8"/>
                    <a:pt x="5" y="7"/>
                    <a:pt x="4" y="6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1"/>
                    <a:pt x="2" y="0"/>
                    <a:pt x="1" y="1"/>
                  </a:cubicBezTo>
                  <a:cubicBezTo>
                    <a:pt x="1" y="1"/>
                    <a:pt x="1" y="2"/>
                    <a:pt x="0" y="2"/>
                  </a:cubicBezTo>
                  <a:cubicBezTo>
                    <a:pt x="0" y="3"/>
                    <a:pt x="1" y="4"/>
                    <a:pt x="2" y="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1" name="Freeform 182"/>
            <p:cNvSpPr>
              <a:spLocks/>
            </p:cNvSpPr>
            <p:nvPr/>
          </p:nvSpPr>
          <p:spPr bwMode="auto">
            <a:xfrm>
              <a:off x="7460513" y="3757162"/>
              <a:ext cx="1254" cy="2974"/>
            </a:xfrm>
            <a:custGeom>
              <a:avLst/>
              <a:gdLst>
                <a:gd name="T0" fmla="*/ 1697572 w 3"/>
                <a:gd name="T1" fmla="*/ 727531 h 6"/>
                <a:gd name="T2" fmla="*/ 0 w 3"/>
                <a:gd name="T3" fmla="*/ 4688532 h 6"/>
                <a:gd name="T4" fmla="*/ 2243220 w 3"/>
                <a:gd name="T5" fmla="*/ 0 h 6"/>
                <a:gd name="T6" fmla="*/ 1697572 w 3"/>
                <a:gd name="T7" fmla="*/ 727531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6"/>
                <a:gd name="T14" fmla="*/ 3 w 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6">
                  <a:moveTo>
                    <a:pt x="2" y="1"/>
                  </a:moveTo>
                  <a:cubicBezTo>
                    <a:pt x="1" y="2"/>
                    <a:pt x="0" y="4"/>
                    <a:pt x="0" y="6"/>
                  </a:cubicBezTo>
                  <a:cubicBezTo>
                    <a:pt x="3" y="6"/>
                    <a:pt x="3" y="2"/>
                    <a:pt x="3" y="0"/>
                  </a:cubicBezTo>
                  <a:cubicBezTo>
                    <a:pt x="3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2" name="Freeform 183"/>
            <p:cNvSpPr>
              <a:spLocks/>
            </p:cNvSpPr>
            <p:nvPr/>
          </p:nvSpPr>
          <p:spPr bwMode="auto">
            <a:xfrm>
              <a:off x="7359930" y="3624136"/>
              <a:ext cx="146234" cy="130323"/>
            </a:xfrm>
            <a:custGeom>
              <a:avLst/>
              <a:gdLst>
                <a:gd name="T0" fmla="*/ 257120878 w 314"/>
                <a:gd name="T1" fmla="*/ 224041193 h 269"/>
                <a:gd name="T2" fmla="*/ 281713906 w 314"/>
                <a:gd name="T3" fmla="*/ 189859645 h 269"/>
                <a:gd name="T4" fmla="*/ 294864447 w 314"/>
                <a:gd name="T5" fmla="*/ 149615072 h 269"/>
                <a:gd name="T6" fmla="*/ 292017588 w 314"/>
                <a:gd name="T7" fmla="*/ 118958098 h 269"/>
                <a:gd name="T8" fmla="*/ 276828995 w 314"/>
                <a:gd name="T9" fmla="*/ 98448656 h 269"/>
                <a:gd name="T10" fmla="*/ 272375560 w 314"/>
                <a:gd name="T11" fmla="*/ 86589788 h 269"/>
                <a:gd name="T12" fmla="*/ 264791700 w 314"/>
                <a:gd name="T13" fmla="*/ 77874042 h 269"/>
                <a:gd name="T14" fmla="*/ 253242138 w 314"/>
                <a:gd name="T15" fmla="*/ 66232576 h 269"/>
                <a:gd name="T16" fmla="*/ 248394432 w 314"/>
                <a:gd name="T17" fmla="*/ 40205500 h 269"/>
                <a:gd name="T18" fmla="*/ 237992749 w 314"/>
                <a:gd name="T19" fmla="*/ 23172693 h 269"/>
                <a:gd name="T20" fmla="*/ 233627334 w 314"/>
                <a:gd name="T21" fmla="*/ 2815614 h 269"/>
                <a:gd name="T22" fmla="*/ 224798047 w 314"/>
                <a:gd name="T23" fmla="*/ 13861477 h 269"/>
                <a:gd name="T24" fmla="*/ 223311553 w 314"/>
                <a:gd name="T25" fmla="*/ 35339193 h 269"/>
                <a:gd name="T26" fmla="*/ 203185420 w 314"/>
                <a:gd name="T27" fmla="*/ 55893968 h 269"/>
                <a:gd name="T28" fmla="*/ 189905724 w 314"/>
                <a:gd name="T29" fmla="*/ 45724606 h 269"/>
                <a:gd name="T30" fmla="*/ 176756241 w 314"/>
                <a:gd name="T31" fmla="*/ 33510922 h 269"/>
                <a:gd name="T32" fmla="*/ 184324525 w 314"/>
                <a:gd name="T33" fmla="*/ 19733511 h 269"/>
                <a:gd name="T34" fmla="*/ 183185418 w 314"/>
                <a:gd name="T35" fmla="*/ 14970465 h 269"/>
                <a:gd name="T36" fmla="*/ 172868276 w 314"/>
                <a:gd name="T37" fmla="*/ 12147214 h 269"/>
                <a:gd name="T38" fmla="*/ 157987637 w 314"/>
                <a:gd name="T39" fmla="*/ 6646523 h 269"/>
                <a:gd name="T40" fmla="*/ 157987637 w 314"/>
                <a:gd name="T41" fmla="*/ 12147214 h 269"/>
                <a:gd name="T42" fmla="*/ 137969260 w 314"/>
                <a:gd name="T43" fmla="*/ 18505303 h 269"/>
                <a:gd name="T44" fmla="*/ 131181579 w 314"/>
                <a:gd name="T45" fmla="*/ 28674632 h 269"/>
                <a:gd name="T46" fmla="*/ 132388515 w 314"/>
                <a:gd name="T47" fmla="*/ 35339193 h 269"/>
                <a:gd name="T48" fmla="*/ 124780986 w 314"/>
                <a:gd name="T49" fmla="*/ 35339193 h 269"/>
                <a:gd name="T50" fmla="*/ 117993683 w 314"/>
                <a:gd name="T51" fmla="*/ 32721313 h 269"/>
                <a:gd name="T52" fmla="*/ 105956689 w 314"/>
                <a:gd name="T53" fmla="*/ 28674632 h 269"/>
                <a:gd name="T54" fmla="*/ 99224587 w 314"/>
                <a:gd name="T55" fmla="*/ 34221593 h 269"/>
                <a:gd name="T56" fmla="*/ 92771439 w 314"/>
                <a:gd name="T57" fmla="*/ 41705025 h 269"/>
                <a:gd name="T58" fmla="*/ 85984136 w 314"/>
                <a:gd name="T59" fmla="*/ 46582805 h 269"/>
                <a:gd name="T60" fmla="*/ 82471160 w 314"/>
                <a:gd name="T61" fmla="*/ 51226678 h 269"/>
                <a:gd name="T62" fmla="*/ 74799828 w 314"/>
                <a:gd name="T63" fmla="*/ 58737860 h 269"/>
                <a:gd name="T64" fmla="*/ 60455849 w 314"/>
                <a:gd name="T65" fmla="*/ 77874042 h 269"/>
                <a:gd name="T66" fmla="*/ 34900197 w 314"/>
                <a:gd name="T67" fmla="*/ 85447336 h 269"/>
                <a:gd name="T68" fmla="*/ 25583744 w 314"/>
                <a:gd name="T69" fmla="*/ 88260786 h 269"/>
                <a:gd name="T70" fmla="*/ 15256266 w 314"/>
                <a:gd name="T71" fmla="*/ 95783413 h 269"/>
                <a:gd name="T72" fmla="*/ 12395852 w 314"/>
                <a:gd name="T73" fmla="*/ 93807766 h 269"/>
                <a:gd name="T74" fmla="*/ 5581022 w 314"/>
                <a:gd name="T75" fmla="*/ 116104310 h 269"/>
                <a:gd name="T76" fmla="*/ 9675239 w 314"/>
                <a:gd name="T77" fmla="*/ 131106205 h 269"/>
                <a:gd name="T78" fmla="*/ 3577118 w 314"/>
                <a:gd name="T79" fmla="*/ 128511667 h 269"/>
                <a:gd name="T80" fmla="*/ 2003750 w 314"/>
                <a:gd name="T81" fmla="*/ 134645056 h 269"/>
                <a:gd name="T82" fmla="*/ 8452934 w 314"/>
                <a:gd name="T83" fmla="*/ 155155556 h 269"/>
                <a:gd name="T84" fmla="*/ 13188270 w 314"/>
                <a:gd name="T85" fmla="*/ 185878135 h 269"/>
                <a:gd name="T86" fmla="*/ 5581022 w 314"/>
                <a:gd name="T87" fmla="*/ 200868548 h 269"/>
                <a:gd name="T88" fmla="*/ 26440266 w 314"/>
                <a:gd name="T89" fmla="*/ 213865032 h 269"/>
                <a:gd name="T90" fmla="*/ 55513507 w 314"/>
                <a:gd name="T91" fmla="*/ 202845857 h 269"/>
                <a:gd name="T92" fmla="*/ 70063734 w 314"/>
                <a:gd name="T93" fmla="*/ 198885951 h 269"/>
                <a:gd name="T94" fmla="*/ 98351428 w 314"/>
                <a:gd name="T95" fmla="*/ 189859645 h 269"/>
                <a:gd name="T96" fmla="*/ 116479436 w 314"/>
                <a:gd name="T97" fmla="*/ 183196652 h 269"/>
                <a:gd name="T98" fmla="*/ 139971695 w 314"/>
                <a:gd name="T99" fmla="*/ 186736410 h 269"/>
                <a:gd name="T100" fmla="*/ 150532175 w 314"/>
                <a:gd name="T101" fmla="*/ 198024958 h 269"/>
                <a:gd name="T102" fmla="*/ 156737221 w 314"/>
                <a:gd name="T103" fmla="*/ 211049543 h 269"/>
                <a:gd name="T104" fmla="*/ 169289437 w 314"/>
                <a:gd name="T105" fmla="*/ 196197669 h 269"/>
                <a:gd name="T106" fmla="*/ 168443425 w 314"/>
                <a:gd name="T107" fmla="*/ 207218960 h 269"/>
                <a:gd name="T108" fmla="*/ 170017636 w 314"/>
                <a:gd name="T109" fmla="*/ 213032291 h 269"/>
                <a:gd name="T110" fmla="*/ 176087326 w 314"/>
                <a:gd name="T111" fmla="*/ 211049543 h 269"/>
                <a:gd name="T112" fmla="*/ 177601194 w 314"/>
                <a:gd name="T113" fmla="*/ 219372883 h 269"/>
                <a:gd name="T114" fmla="*/ 180473461 w 314"/>
                <a:gd name="T115" fmla="*/ 234426899 h 269"/>
                <a:gd name="T116" fmla="*/ 192840904 w 314"/>
                <a:gd name="T117" fmla="*/ 243422083 h 269"/>
                <a:gd name="T118" fmla="*/ 215703948 w 314"/>
                <a:gd name="T119" fmla="*/ 240564141 h 269"/>
                <a:gd name="T120" fmla="*/ 221953911 w 314"/>
                <a:gd name="T121" fmla="*/ 249278320 h 269"/>
                <a:gd name="T122" fmla="*/ 235142109 w 314"/>
                <a:gd name="T123" fmla="*/ 239944872 h 26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4"/>
                <a:gd name="T187" fmla="*/ 0 h 269"/>
                <a:gd name="T188" fmla="*/ 314 w 314"/>
                <a:gd name="T189" fmla="*/ 269 h 26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4" h="269">
                  <a:moveTo>
                    <a:pt x="249" y="259"/>
                  </a:moveTo>
                  <a:cubicBezTo>
                    <a:pt x="251" y="257"/>
                    <a:pt x="254" y="258"/>
                    <a:pt x="256" y="257"/>
                  </a:cubicBezTo>
                  <a:cubicBezTo>
                    <a:pt x="257" y="257"/>
                    <a:pt x="258" y="257"/>
                    <a:pt x="259" y="256"/>
                  </a:cubicBezTo>
                  <a:cubicBezTo>
                    <a:pt x="261" y="256"/>
                    <a:pt x="264" y="256"/>
                    <a:pt x="266" y="255"/>
                  </a:cubicBezTo>
                  <a:cubicBezTo>
                    <a:pt x="268" y="252"/>
                    <a:pt x="269" y="248"/>
                    <a:pt x="270" y="244"/>
                  </a:cubicBezTo>
                  <a:cubicBezTo>
                    <a:pt x="271" y="243"/>
                    <a:pt x="272" y="242"/>
                    <a:pt x="272" y="241"/>
                  </a:cubicBezTo>
                  <a:cubicBezTo>
                    <a:pt x="273" y="237"/>
                    <a:pt x="274" y="234"/>
                    <a:pt x="277" y="232"/>
                  </a:cubicBezTo>
                  <a:cubicBezTo>
                    <a:pt x="279" y="229"/>
                    <a:pt x="280" y="227"/>
                    <a:pt x="281" y="224"/>
                  </a:cubicBezTo>
                  <a:cubicBezTo>
                    <a:pt x="283" y="221"/>
                    <a:pt x="287" y="219"/>
                    <a:pt x="287" y="215"/>
                  </a:cubicBezTo>
                  <a:cubicBezTo>
                    <a:pt x="288" y="213"/>
                    <a:pt x="289" y="212"/>
                    <a:pt x="290" y="210"/>
                  </a:cubicBezTo>
                  <a:cubicBezTo>
                    <a:pt x="292" y="208"/>
                    <a:pt x="294" y="207"/>
                    <a:pt x="296" y="206"/>
                  </a:cubicBezTo>
                  <a:cubicBezTo>
                    <a:pt x="297" y="205"/>
                    <a:pt x="297" y="205"/>
                    <a:pt x="298" y="204"/>
                  </a:cubicBezTo>
                  <a:cubicBezTo>
                    <a:pt x="301" y="199"/>
                    <a:pt x="303" y="195"/>
                    <a:pt x="305" y="190"/>
                  </a:cubicBezTo>
                  <a:cubicBezTo>
                    <a:pt x="305" y="189"/>
                    <a:pt x="305" y="187"/>
                    <a:pt x="305" y="185"/>
                  </a:cubicBezTo>
                  <a:cubicBezTo>
                    <a:pt x="307" y="181"/>
                    <a:pt x="309" y="177"/>
                    <a:pt x="310" y="173"/>
                  </a:cubicBezTo>
                  <a:cubicBezTo>
                    <a:pt x="310" y="172"/>
                    <a:pt x="311" y="171"/>
                    <a:pt x="311" y="170"/>
                  </a:cubicBezTo>
                  <a:cubicBezTo>
                    <a:pt x="312" y="169"/>
                    <a:pt x="312" y="167"/>
                    <a:pt x="312" y="165"/>
                  </a:cubicBezTo>
                  <a:cubicBezTo>
                    <a:pt x="312" y="164"/>
                    <a:pt x="312" y="162"/>
                    <a:pt x="312" y="161"/>
                  </a:cubicBezTo>
                  <a:cubicBezTo>
                    <a:pt x="312" y="156"/>
                    <a:pt x="313" y="151"/>
                    <a:pt x="313" y="147"/>
                  </a:cubicBezTo>
                  <a:cubicBezTo>
                    <a:pt x="313" y="145"/>
                    <a:pt x="313" y="143"/>
                    <a:pt x="314" y="142"/>
                  </a:cubicBezTo>
                  <a:cubicBezTo>
                    <a:pt x="314" y="141"/>
                    <a:pt x="314" y="140"/>
                    <a:pt x="314" y="140"/>
                  </a:cubicBezTo>
                  <a:cubicBezTo>
                    <a:pt x="313" y="138"/>
                    <a:pt x="312" y="137"/>
                    <a:pt x="311" y="136"/>
                  </a:cubicBezTo>
                  <a:cubicBezTo>
                    <a:pt x="311" y="135"/>
                    <a:pt x="312" y="134"/>
                    <a:pt x="311" y="133"/>
                  </a:cubicBezTo>
                  <a:cubicBezTo>
                    <a:pt x="310" y="131"/>
                    <a:pt x="310" y="130"/>
                    <a:pt x="309" y="128"/>
                  </a:cubicBezTo>
                  <a:cubicBezTo>
                    <a:pt x="307" y="125"/>
                    <a:pt x="304" y="122"/>
                    <a:pt x="301" y="120"/>
                  </a:cubicBezTo>
                  <a:cubicBezTo>
                    <a:pt x="301" y="119"/>
                    <a:pt x="300" y="118"/>
                    <a:pt x="300" y="118"/>
                  </a:cubicBezTo>
                  <a:cubicBezTo>
                    <a:pt x="300" y="118"/>
                    <a:pt x="300" y="118"/>
                    <a:pt x="300" y="118"/>
                  </a:cubicBezTo>
                  <a:cubicBezTo>
                    <a:pt x="298" y="115"/>
                    <a:pt x="300" y="112"/>
                    <a:pt x="298" y="109"/>
                  </a:cubicBezTo>
                  <a:cubicBezTo>
                    <a:pt x="297" y="108"/>
                    <a:pt x="296" y="107"/>
                    <a:pt x="295" y="106"/>
                  </a:cubicBezTo>
                  <a:cubicBezTo>
                    <a:pt x="294" y="106"/>
                    <a:pt x="294" y="106"/>
                    <a:pt x="293" y="106"/>
                  </a:cubicBezTo>
                  <a:cubicBezTo>
                    <a:pt x="292" y="107"/>
                    <a:pt x="293" y="108"/>
                    <a:pt x="293" y="108"/>
                  </a:cubicBezTo>
                  <a:cubicBezTo>
                    <a:pt x="292" y="109"/>
                    <a:pt x="291" y="109"/>
                    <a:pt x="291" y="108"/>
                  </a:cubicBezTo>
                  <a:cubicBezTo>
                    <a:pt x="289" y="107"/>
                    <a:pt x="290" y="106"/>
                    <a:pt x="289" y="104"/>
                  </a:cubicBezTo>
                  <a:cubicBezTo>
                    <a:pt x="288" y="102"/>
                    <a:pt x="289" y="100"/>
                    <a:pt x="289" y="98"/>
                  </a:cubicBezTo>
                  <a:cubicBezTo>
                    <a:pt x="288" y="96"/>
                    <a:pt x="288" y="95"/>
                    <a:pt x="288" y="93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88" y="92"/>
                    <a:pt x="287" y="91"/>
                    <a:pt x="287" y="91"/>
                  </a:cubicBezTo>
                  <a:cubicBezTo>
                    <a:pt x="286" y="90"/>
                    <a:pt x="285" y="90"/>
                    <a:pt x="285" y="90"/>
                  </a:cubicBezTo>
                  <a:cubicBezTo>
                    <a:pt x="285" y="89"/>
                    <a:pt x="285" y="89"/>
                    <a:pt x="285" y="89"/>
                  </a:cubicBezTo>
                  <a:cubicBezTo>
                    <a:pt x="285" y="89"/>
                    <a:pt x="286" y="89"/>
                    <a:pt x="286" y="88"/>
                  </a:cubicBezTo>
                  <a:cubicBezTo>
                    <a:pt x="286" y="87"/>
                    <a:pt x="286" y="87"/>
                    <a:pt x="286" y="86"/>
                  </a:cubicBezTo>
                  <a:cubicBezTo>
                    <a:pt x="284" y="85"/>
                    <a:pt x="282" y="85"/>
                    <a:pt x="280" y="84"/>
                  </a:cubicBezTo>
                  <a:cubicBezTo>
                    <a:pt x="279" y="84"/>
                    <a:pt x="279" y="83"/>
                    <a:pt x="278" y="82"/>
                  </a:cubicBezTo>
                  <a:cubicBezTo>
                    <a:pt x="277" y="81"/>
                    <a:pt x="277" y="80"/>
                    <a:pt x="276" y="79"/>
                  </a:cubicBezTo>
                  <a:cubicBezTo>
                    <a:pt x="276" y="79"/>
                    <a:pt x="274" y="78"/>
                    <a:pt x="274" y="77"/>
                  </a:cubicBezTo>
                  <a:cubicBezTo>
                    <a:pt x="273" y="77"/>
                    <a:pt x="272" y="77"/>
                    <a:pt x="272" y="77"/>
                  </a:cubicBezTo>
                  <a:cubicBezTo>
                    <a:pt x="271" y="78"/>
                    <a:pt x="269" y="78"/>
                    <a:pt x="269" y="78"/>
                  </a:cubicBezTo>
                  <a:cubicBezTo>
                    <a:pt x="268" y="76"/>
                    <a:pt x="268" y="73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67"/>
                    <a:pt x="269" y="63"/>
                    <a:pt x="268" y="59"/>
                  </a:cubicBezTo>
                  <a:cubicBezTo>
                    <a:pt x="268" y="56"/>
                    <a:pt x="266" y="55"/>
                    <a:pt x="264" y="56"/>
                  </a:cubicBezTo>
                  <a:cubicBezTo>
                    <a:pt x="264" y="56"/>
                    <a:pt x="264" y="55"/>
                    <a:pt x="264" y="56"/>
                  </a:cubicBezTo>
                  <a:cubicBezTo>
                    <a:pt x="264" y="53"/>
                    <a:pt x="264" y="50"/>
                    <a:pt x="264" y="47"/>
                  </a:cubicBezTo>
                  <a:cubicBezTo>
                    <a:pt x="263" y="46"/>
                    <a:pt x="262" y="44"/>
                    <a:pt x="263" y="43"/>
                  </a:cubicBezTo>
                  <a:cubicBezTo>
                    <a:pt x="264" y="41"/>
                    <a:pt x="264" y="39"/>
                    <a:pt x="264" y="37"/>
                  </a:cubicBezTo>
                  <a:cubicBezTo>
                    <a:pt x="262" y="35"/>
                    <a:pt x="261" y="33"/>
                    <a:pt x="259" y="32"/>
                  </a:cubicBezTo>
                  <a:cubicBezTo>
                    <a:pt x="258" y="31"/>
                    <a:pt x="257" y="31"/>
                    <a:pt x="257" y="32"/>
                  </a:cubicBezTo>
                  <a:cubicBezTo>
                    <a:pt x="256" y="32"/>
                    <a:pt x="256" y="33"/>
                    <a:pt x="255" y="33"/>
                  </a:cubicBezTo>
                  <a:cubicBezTo>
                    <a:pt x="254" y="34"/>
                    <a:pt x="254" y="34"/>
                    <a:pt x="253" y="34"/>
                  </a:cubicBezTo>
                  <a:cubicBezTo>
                    <a:pt x="253" y="31"/>
                    <a:pt x="253" y="28"/>
                    <a:pt x="252" y="25"/>
                  </a:cubicBezTo>
                  <a:cubicBezTo>
                    <a:pt x="252" y="23"/>
                    <a:pt x="253" y="21"/>
                    <a:pt x="252" y="19"/>
                  </a:cubicBezTo>
                  <a:cubicBezTo>
                    <a:pt x="252" y="18"/>
                    <a:pt x="251" y="19"/>
                    <a:pt x="251" y="18"/>
                  </a:cubicBezTo>
                  <a:cubicBezTo>
                    <a:pt x="250" y="17"/>
                    <a:pt x="250" y="15"/>
                    <a:pt x="250" y="14"/>
                  </a:cubicBezTo>
                  <a:cubicBezTo>
                    <a:pt x="249" y="13"/>
                    <a:pt x="250" y="11"/>
                    <a:pt x="249" y="10"/>
                  </a:cubicBezTo>
                  <a:cubicBezTo>
                    <a:pt x="249" y="9"/>
                    <a:pt x="248" y="9"/>
                    <a:pt x="247" y="8"/>
                  </a:cubicBezTo>
                  <a:cubicBezTo>
                    <a:pt x="247" y="6"/>
                    <a:pt x="247" y="5"/>
                    <a:pt x="247" y="3"/>
                  </a:cubicBezTo>
                  <a:cubicBezTo>
                    <a:pt x="246" y="2"/>
                    <a:pt x="245" y="2"/>
                    <a:pt x="245" y="1"/>
                  </a:cubicBezTo>
                  <a:cubicBezTo>
                    <a:pt x="244" y="0"/>
                    <a:pt x="243" y="0"/>
                    <a:pt x="243" y="1"/>
                  </a:cubicBezTo>
                  <a:cubicBezTo>
                    <a:pt x="242" y="2"/>
                    <a:pt x="242" y="4"/>
                    <a:pt x="241" y="5"/>
                  </a:cubicBezTo>
                  <a:cubicBezTo>
                    <a:pt x="241" y="7"/>
                    <a:pt x="241" y="8"/>
                    <a:pt x="241" y="9"/>
                  </a:cubicBezTo>
                  <a:cubicBezTo>
                    <a:pt x="240" y="11"/>
                    <a:pt x="239" y="12"/>
                    <a:pt x="238" y="13"/>
                  </a:cubicBezTo>
                  <a:cubicBezTo>
                    <a:pt x="238" y="14"/>
                    <a:pt x="238" y="15"/>
                    <a:pt x="238" y="15"/>
                  </a:cubicBezTo>
                  <a:cubicBezTo>
                    <a:pt x="239" y="16"/>
                    <a:pt x="239" y="17"/>
                    <a:pt x="238" y="17"/>
                  </a:cubicBezTo>
                  <a:cubicBezTo>
                    <a:pt x="238" y="18"/>
                    <a:pt x="237" y="19"/>
                    <a:pt x="237" y="19"/>
                  </a:cubicBezTo>
                  <a:cubicBezTo>
                    <a:pt x="235" y="21"/>
                    <a:pt x="237" y="24"/>
                    <a:pt x="236" y="26"/>
                  </a:cubicBezTo>
                  <a:cubicBezTo>
                    <a:pt x="236" y="28"/>
                    <a:pt x="234" y="29"/>
                    <a:pt x="235" y="31"/>
                  </a:cubicBezTo>
                  <a:cubicBezTo>
                    <a:pt x="235" y="31"/>
                    <a:pt x="235" y="32"/>
                    <a:pt x="235" y="32"/>
                  </a:cubicBezTo>
                  <a:cubicBezTo>
                    <a:pt x="236" y="34"/>
                    <a:pt x="236" y="36"/>
                    <a:pt x="236" y="38"/>
                  </a:cubicBezTo>
                  <a:cubicBezTo>
                    <a:pt x="234" y="42"/>
                    <a:pt x="233" y="47"/>
                    <a:pt x="231" y="51"/>
                  </a:cubicBezTo>
                  <a:cubicBezTo>
                    <a:pt x="231" y="52"/>
                    <a:pt x="230" y="52"/>
                    <a:pt x="230" y="53"/>
                  </a:cubicBezTo>
                  <a:cubicBezTo>
                    <a:pt x="229" y="55"/>
                    <a:pt x="230" y="56"/>
                    <a:pt x="229" y="58"/>
                  </a:cubicBezTo>
                  <a:cubicBezTo>
                    <a:pt x="227" y="59"/>
                    <a:pt x="226" y="62"/>
                    <a:pt x="224" y="63"/>
                  </a:cubicBezTo>
                  <a:cubicBezTo>
                    <a:pt x="222" y="63"/>
                    <a:pt x="220" y="63"/>
                    <a:pt x="218" y="62"/>
                  </a:cubicBezTo>
                  <a:cubicBezTo>
                    <a:pt x="217" y="62"/>
                    <a:pt x="216" y="61"/>
                    <a:pt x="215" y="60"/>
                  </a:cubicBezTo>
                  <a:cubicBezTo>
                    <a:pt x="214" y="59"/>
                    <a:pt x="213" y="58"/>
                    <a:pt x="213" y="57"/>
                  </a:cubicBezTo>
                  <a:cubicBezTo>
                    <a:pt x="213" y="56"/>
                    <a:pt x="212" y="55"/>
                    <a:pt x="211" y="55"/>
                  </a:cubicBezTo>
                  <a:cubicBezTo>
                    <a:pt x="211" y="55"/>
                    <a:pt x="210" y="55"/>
                    <a:pt x="210" y="55"/>
                  </a:cubicBezTo>
                  <a:cubicBezTo>
                    <a:pt x="209" y="55"/>
                    <a:pt x="208" y="54"/>
                    <a:pt x="207" y="54"/>
                  </a:cubicBezTo>
                  <a:cubicBezTo>
                    <a:pt x="206" y="53"/>
                    <a:pt x="206" y="51"/>
                    <a:pt x="205" y="51"/>
                  </a:cubicBezTo>
                  <a:cubicBezTo>
                    <a:pt x="204" y="50"/>
                    <a:pt x="202" y="50"/>
                    <a:pt x="201" y="49"/>
                  </a:cubicBezTo>
                  <a:cubicBezTo>
                    <a:pt x="199" y="48"/>
                    <a:pt x="199" y="46"/>
                    <a:pt x="197" y="45"/>
                  </a:cubicBezTo>
                  <a:cubicBezTo>
                    <a:pt x="196" y="45"/>
                    <a:pt x="195" y="45"/>
                    <a:pt x="194" y="44"/>
                  </a:cubicBezTo>
                  <a:cubicBezTo>
                    <a:pt x="193" y="44"/>
                    <a:pt x="193" y="43"/>
                    <a:pt x="192" y="42"/>
                  </a:cubicBezTo>
                  <a:cubicBezTo>
                    <a:pt x="191" y="42"/>
                    <a:pt x="190" y="42"/>
                    <a:pt x="189" y="42"/>
                  </a:cubicBezTo>
                  <a:cubicBezTo>
                    <a:pt x="188" y="41"/>
                    <a:pt x="188" y="40"/>
                    <a:pt x="187" y="39"/>
                  </a:cubicBezTo>
                  <a:cubicBezTo>
                    <a:pt x="187" y="38"/>
                    <a:pt x="187" y="37"/>
                    <a:pt x="187" y="36"/>
                  </a:cubicBezTo>
                  <a:cubicBezTo>
                    <a:pt x="187" y="35"/>
                    <a:pt x="188" y="34"/>
                    <a:pt x="188" y="33"/>
                  </a:cubicBezTo>
                  <a:cubicBezTo>
                    <a:pt x="188" y="33"/>
                    <a:pt x="189" y="33"/>
                    <a:pt x="189" y="32"/>
                  </a:cubicBezTo>
                  <a:cubicBezTo>
                    <a:pt x="190" y="32"/>
                    <a:pt x="191" y="30"/>
                    <a:pt x="191" y="30"/>
                  </a:cubicBezTo>
                  <a:cubicBezTo>
                    <a:pt x="190" y="28"/>
                    <a:pt x="191" y="27"/>
                    <a:pt x="191" y="26"/>
                  </a:cubicBezTo>
                  <a:cubicBezTo>
                    <a:pt x="190" y="25"/>
                    <a:pt x="190" y="23"/>
                    <a:pt x="191" y="22"/>
                  </a:cubicBezTo>
                  <a:cubicBezTo>
                    <a:pt x="192" y="22"/>
                    <a:pt x="194" y="22"/>
                    <a:pt x="195" y="21"/>
                  </a:cubicBezTo>
                  <a:cubicBezTo>
                    <a:pt x="196" y="20"/>
                    <a:pt x="195" y="18"/>
                    <a:pt x="196" y="18"/>
                  </a:cubicBezTo>
                  <a:cubicBezTo>
                    <a:pt x="197" y="17"/>
                    <a:pt x="198" y="15"/>
                    <a:pt x="198" y="13"/>
                  </a:cubicBezTo>
                  <a:cubicBezTo>
                    <a:pt x="198" y="14"/>
                    <a:pt x="197" y="13"/>
                    <a:pt x="196" y="13"/>
                  </a:cubicBezTo>
                  <a:cubicBezTo>
                    <a:pt x="196" y="13"/>
                    <a:pt x="195" y="11"/>
                    <a:pt x="195" y="12"/>
                  </a:cubicBezTo>
                  <a:cubicBezTo>
                    <a:pt x="194" y="12"/>
                    <a:pt x="194" y="13"/>
                    <a:pt x="194" y="14"/>
                  </a:cubicBezTo>
                  <a:cubicBezTo>
                    <a:pt x="194" y="14"/>
                    <a:pt x="194" y="15"/>
                    <a:pt x="194" y="16"/>
                  </a:cubicBezTo>
                  <a:cubicBezTo>
                    <a:pt x="194" y="16"/>
                    <a:pt x="193" y="16"/>
                    <a:pt x="193" y="16"/>
                  </a:cubicBezTo>
                  <a:cubicBezTo>
                    <a:pt x="192" y="15"/>
                    <a:pt x="193" y="14"/>
                    <a:pt x="192" y="13"/>
                  </a:cubicBezTo>
                  <a:cubicBezTo>
                    <a:pt x="191" y="12"/>
                    <a:pt x="190" y="12"/>
                    <a:pt x="189" y="11"/>
                  </a:cubicBezTo>
                  <a:cubicBezTo>
                    <a:pt x="189" y="11"/>
                    <a:pt x="188" y="11"/>
                    <a:pt x="188" y="11"/>
                  </a:cubicBezTo>
                  <a:cubicBezTo>
                    <a:pt x="187" y="11"/>
                    <a:pt x="187" y="12"/>
                    <a:pt x="186" y="13"/>
                  </a:cubicBezTo>
                  <a:cubicBezTo>
                    <a:pt x="185" y="13"/>
                    <a:pt x="184" y="13"/>
                    <a:pt x="183" y="13"/>
                  </a:cubicBezTo>
                  <a:cubicBezTo>
                    <a:pt x="183" y="13"/>
                    <a:pt x="183" y="12"/>
                    <a:pt x="182" y="12"/>
                  </a:cubicBezTo>
                  <a:cubicBezTo>
                    <a:pt x="181" y="11"/>
                    <a:pt x="179" y="12"/>
                    <a:pt x="177" y="11"/>
                  </a:cubicBezTo>
                  <a:cubicBezTo>
                    <a:pt x="177" y="11"/>
                    <a:pt x="176" y="10"/>
                    <a:pt x="175" y="10"/>
                  </a:cubicBezTo>
                  <a:cubicBezTo>
                    <a:pt x="174" y="9"/>
                    <a:pt x="173" y="10"/>
                    <a:pt x="172" y="9"/>
                  </a:cubicBezTo>
                  <a:cubicBezTo>
                    <a:pt x="171" y="9"/>
                    <a:pt x="171" y="8"/>
                    <a:pt x="170" y="7"/>
                  </a:cubicBezTo>
                  <a:cubicBezTo>
                    <a:pt x="169" y="7"/>
                    <a:pt x="168" y="7"/>
                    <a:pt x="167" y="7"/>
                  </a:cubicBezTo>
                  <a:cubicBezTo>
                    <a:pt x="166" y="6"/>
                    <a:pt x="165" y="5"/>
                    <a:pt x="164" y="5"/>
                  </a:cubicBezTo>
                  <a:cubicBezTo>
                    <a:pt x="163" y="5"/>
                    <a:pt x="162" y="4"/>
                    <a:pt x="161" y="5"/>
                  </a:cubicBezTo>
                  <a:cubicBezTo>
                    <a:pt x="161" y="5"/>
                    <a:pt x="161" y="6"/>
                    <a:pt x="161" y="7"/>
                  </a:cubicBezTo>
                  <a:cubicBezTo>
                    <a:pt x="162" y="7"/>
                    <a:pt x="163" y="7"/>
                    <a:pt x="164" y="8"/>
                  </a:cubicBezTo>
                  <a:cubicBezTo>
                    <a:pt x="164" y="8"/>
                    <a:pt x="166" y="7"/>
                    <a:pt x="166" y="8"/>
                  </a:cubicBezTo>
                  <a:cubicBezTo>
                    <a:pt x="167" y="10"/>
                    <a:pt x="167" y="11"/>
                    <a:pt x="167" y="13"/>
                  </a:cubicBezTo>
                  <a:cubicBezTo>
                    <a:pt x="162" y="14"/>
                    <a:pt x="158" y="12"/>
                    <a:pt x="154" y="14"/>
                  </a:cubicBezTo>
                  <a:cubicBezTo>
                    <a:pt x="153" y="14"/>
                    <a:pt x="153" y="14"/>
                    <a:pt x="152" y="14"/>
                  </a:cubicBezTo>
                  <a:cubicBezTo>
                    <a:pt x="151" y="15"/>
                    <a:pt x="151" y="15"/>
                    <a:pt x="150" y="15"/>
                  </a:cubicBezTo>
                  <a:cubicBezTo>
                    <a:pt x="149" y="15"/>
                    <a:pt x="149" y="16"/>
                    <a:pt x="148" y="16"/>
                  </a:cubicBezTo>
                  <a:cubicBezTo>
                    <a:pt x="148" y="17"/>
                    <a:pt x="148" y="18"/>
                    <a:pt x="147" y="19"/>
                  </a:cubicBezTo>
                  <a:cubicBezTo>
                    <a:pt x="147" y="19"/>
                    <a:pt x="146" y="20"/>
                    <a:pt x="146" y="20"/>
                  </a:cubicBezTo>
                  <a:cubicBezTo>
                    <a:pt x="145" y="21"/>
                    <a:pt x="145" y="21"/>
                    <a:pt x="146" y="22"/>
                  </a:cubicBezTo>
                  <a:cubicBezTo>
                    <a:pt x="146" y="22"/>
                    <a:pt x="146" y="23"/>
                    <a:pt x="146" y="24"/>
                  </a:cubicBezTo>
                  <a:cubicBezTo>
                    <a:pt x="146" y="24"/>
                    <a:pt x="146" y="25"/>
                    <a:pt x="146" y="25"/>
                  </a:cubicBezTo>
                  <a:cubicBezTo>
                    <a:pt x="145" y="25"/>
                    <a:pt x="144" y="25"/>
                    <a:pt x="143" y="25"/>
                  </a:cubicBezTo>
                  <a:cubicBezTo>
                    <a:pt x="142" y="25"/>
                    <a:pt x="142" y="27"/>
                    <a:pt x="142" y="28"/>
                  </a:cubicBezTo>
                  <a:cubicBezTo>
                    <a:pt x="141" y="29"/>
                    <a:pt x="140" y="30"/>
                    <a:pt x="139" y="31"/>
                  </a:cubicBezTo>
                  <a:cubicBezTo>
                    <a:pt x="138" y="32"/>
                    <a:pt x="138" y="33"/>
                    <a:pt x="137" y="33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8" y="35"/>
                    <a:pt x="139" y="35"/>
                    <a:pt x="139" y="36"/>
                  </a:cubicBezTo>
                  <a:cubicBezTo>
                    <a:pt x="140" y="37"/>
                    <a:pt x="141" y="36"/>
                    <a:pt x="142" y="37"/>
                  </a:cubicBezTo>
                  <a:cubicBezTo>
                    <a:pt x="142" y="37"/>
                    <a:pt x="142" y="38"/>
                    <a:pt x="142" y="38"/>
                  </a:cubicBezTo>
                  <a:cubicBezTo>
                    <a:pt x="142" y="38"/>
                    <a:pt x="141" y="38"/>
                    <a:pt x="140" y="38"/>
                  </a:cubicBezTo>
                  <a:cubicBezTo>
                    <a:pt x="140" y="39"/>
                    <a:pt x="140" y="39"/>
                    <a:pt x="140" y="39"/>
                  </a:cubicBezTo>
                  <a:cubicBezTo>
                    <a:pt x="141" y="40"/>
                    <a:pt x="142" y="41"/>
                    <a:pt x="142" y="42"/>
                  </a:cubicBezTo>
                  <a:cubicBezTo>
                    <a:pt x="140" y="43"/>
                    <a:pt x="139" y="40"/>
                    <a:pt x="137" y="38"/>
                  </a:cubicBezTo>
                  <a:cubicBezTo>
                    <a:pt x="137" y="38"/>
                    <a:pt x="137" y="38"/>
                    <a:pt x="137" y="38"/>
                  </a:cubicBezTo>
                  <a:cubicBezTo>
                    <a:pt x="137" y="39"/>
                    <a:pt x="136" y="40"/>
                    <a:pt x="136" y="39"/>
                  </a:cubicBezTo>
                  <a:cubicBezTo>
                    <a:pt x="135" y="38"/>
                    <a:pt x="133" y="37"/>
                    <a:pt x="132" y="38"/>
                  </a:cubicBezTo>
                  <a:cubicBezTo>
                    <a:pt x="131" y="38"/>
                    <a:pt x="131" y="39"/>
                    <a:pt x="130" y="40"/>
                  </a:cubicBezTo>
                  <a:cubicBezTo>
                    <a:pt x="129" y="40"/>
                    <a:pt x="129" y="41"/>
                    <a:pt x="129" y="42"/>
                  </a:cubicBezTo>
                  <a:cubicBezTo>
                    <a:pt x="129" y="42"/>
                    <a:pt x="128" y="42"/>
                    <a:pt x="128" y="41"/>
                  </a:cubicBezTo>
                  <a:cubicBezTo>
                    <a:pt x="128" y="40"/>
                    <a:pt x="128" y="39"/>
                    <a:pt x="128" y="39"/>
                  </a:cubicBezTo>
                  <a:cubicBezTo>
                    <a:pt x="127" y="38"/>
                    <a:pt x="127" y="37"/>
                    <a:pt x="126" y="36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5" y="34"/>
                    <a:pt x="124" y="34"/>
                    <a:pt x="124" y="33"/>
                  </a:cubicBezTo>
                  <a:cubicBezTo>
                    <a:pt x="124" y="32"/>
                    <a:pt x="124" y="31"/>
                    <a:pt x="123" y="30"/>
                  </a:cubicBezTo>
                  <a:cubicBezTo>
                    <a:pt x="123" y="29"/>
                    <a:pt x="122" y="29"/>
                    <a:pt x="121" y="28"/>
                  </a:cubicBezTo>
                  <a:cubicBezTo>
                    <a:pt x="120" y="27"/>
                    <a:pt x="119" y="28"/>
                    <a:pt x="118" y="28"/>
                  </a:cubicBezTo>
                  <a:cubicBezTo>
                    <a:pt x="118" y="30"/>
                    <a:pt x="116" y="32"/>
                    <a:pt x="114" y="31"/>
                  </a:cubicBezTo>
                  <a:cubicBezTo>
                    <a:pt x="113" y="31"/>
                    <a:pt x="112" y="30"/>
                    <a:pt x="112" y="31"/>
                  </a:cubicBezTo>
                  <a:cubicBezTo>
                    <a:pt x="111" y="31"/>
                    <a:pt x="112" y="33"/>
                    <a:pt x="112" y="33"/>
                  </a:cubicBezTo>
                  <a:cubicBezTo>
                    <a:pt x="111" y="34"/>
                    <a:pt x="111" y="35"/>
                    <a:pt x="110" y="35"/>
                  </a:cubicBezTo>
                  <a:cubicBezTo>
                    <a:pt x="110" y="35"/>
                    <a:pt x="110" y="34"/>
                    <a:pt x="110" y="34"/>
                  </a:cubicBezTo>
                  <a:cubicBezTo>
                    <a:pt x="110" y="34"/>
                    <a:pt x="109" y="34"/>
                    <a:pt x="109" y="34"/>
                  </a:cubicBezTo>
                  <a:cubicBezTo>
                    <a:pt x="108" y="36"/>
                    <a:pt x="106" y="35"/>
                    <a:pt x="105" y="36"/>
                  </a:cubicBezTo>
                  <a:cubicBezTo>
                    <a:pt x="104" y="36"/>
                    <a:pt x="104" y="37"/>
                    <a:pt x="105" y="37"/>
                  </a:cubicBezTo>
                  <a:cubicBezTo>
                    <a:pt x="105" y="38"/>
                    <a:pt x="105" y="38"/>
                    <a:pt x="105" y="39"/>
                  </a:cubicBezTo>
                  <a:cubicBezTo>
                    <a:pt x="106" y="39"/>
                    <a:pt x="106" y="40"/>
                    <a:pt x="106" y="40"/>
                  </a:cubicBezTo>
                  <a:cubicBezTo>
                    <a:pt x="105" y="41"/>
                    <a:pt x="104" y="40"/>
                    <a:pt x="104" y="41"/>
                  </a:cubicBezTo>
                  <a:cubicBezTo>
                    <a:pt x="103" y="41"/>
                    <a:pt x="103" y="43"/>
                    <a:pt x="103" y="44"/>
                  </a:cubicBezTo>
                  <a:cubicBezTo>
                    <a:pt x="102" y="44"/>
                    <a:pt x="100" y="43"/>
                    <a:pt x="99" y="44"/>
                  </a:cubicBezTo>
                  <a:cubicBezTo>
                    <a:pt x="98" y="44"/>
                    <a:pt x="98" y="44"/>
                    <a:pt x="98" y="45"/>
                  </a:cubicBezTo>
                  <a:cubicBezTo>
                    <a:pt x="98" y="46"/>
                    <a:pt x="98" y="47"/>
                    <a:pt x="99" y="48"/>
                  </a:cubicBezTo>
                  <a:cubicBezTo>
                    <a:pt x="99" y="48"/>
                    <a:pt x="99" y="49"/>
                    <a:pt x="99" y="50"/>
                  </a:cubicBezTo>
                  <a:cubicBezTo>
                    <a:pt x="99" y="51"/>
                    <a:pt x="100" y="52"/>
                    <a:pt x="99" y="52"/>
                  </a:cubicBezTo>
                  <a:cubicBezTo>
                    <a:pt x="99" y="52"/>
                    <a:pt x="98" y="52"/>
                    <a:pt x="98" y="52"/>
                  </a:cubicBezTo>
                  <a:cubicBezTo>
                    <a:pt x="97" y="51"/>
                    <a:pt x="96" y="51"/>
                    <a:pt x="95" y="50"/>
                  </a:cubicBezTo>
                  <a:cubicBezTo>
                    <a:pt x="94" y="50"/>
                    <a:pt x="92" y="50"/>
                    <a:pt x="91" y="50"/>
                  </a:cubicBezTo>
                  <a:cubicBezTo>
                    <a:pt x="90" y="51"/>
                    <a:pt x="90" y="53"/>
                    <a:pt x="91" y="54"/>
                  </a:cubicBezTo>
                  <a:cubicBezTo>
                    <a:pt x="91" y="55"/>
                    <a:pt x="92" y="56"/>
                    <a:pt x="93" y="57"/>
                  </a:cubicBezTo>
                  <a:cubicBezTo>
                    <a:pt x="93" y="57"/>
                    <a:pt x="93" y="58"/>
                    <a:pt x="93" y="59"/>
                  </a:cubicBezTo>
                  <a:cubicBezTo>
                    <a:pt x="91" y="59"/>
                    <a:pt x="91" y="61"/>
                    <a:pt x="89" y="62"/>
                  </a:cubicBezTo>
                  <a:cubicBezTo>
                    <a:pt x="89" y="62"/>
                    <a:pt x="89" y="62"/>
                    <a:pt x="88" y="62"/>
                  </a:cubicBezTo>
                  <a:cubicBezTo>
                    <a:pt x="89" y="60"/>
                    <a:pt x="87" y="58"/>
                    <a:pt x="87" y="55"/>
                  </a:cubicBezTo>
                  <a:cubicBezTo>
                    <a:pt x="86" y="54"/>
                    <a:pt x="87" y="52"/>
                    <a:pt x="87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5" y="52"/>
                    <a:pt x="85" y="53"/>
                    <a:pt x="83" y="54"/>
                  </a:cubicBezTo>
                  <a:cubicBezTo>
                    <a:pt x="82" y="55"/>
                    <a:pt x="81" y="56"/>
                    <a:pt x="80" y="57"/>
                  </a:cubicBezTo>
                  <a:cubicBezTo>
                    <a:pt x="80" y="57"/>
                    <a:pt x="80" y="57"/>
                    <a:pt x="80" y="58"/>
                  </a:cubicBezTo>
                  <a:cubicBezTo>
                    <a:pt x="79" y="59"/>
                    <a:pt x="80" y="61"/>
                    <a:pt x="79" y="63"/>
                  </a:cubicBezTo>
                  <a:cubicBezTo>
                    <a:pt x="78" y="65"/>
                    <a:pt x="79" y="68"/>
                    <a:pt x="78" y="70"/>
                  </a:cubicBezTo>
                  <a:cubicBezTo>
                    <a:pt x="77" y="71"/>
                    <a:pt x="75" y="71"/>
                    <a:pt x="74" y="72"/>
                  </a:cubicBezTo>
                  <a:cubicBezTo>
                    <a:pt x="74" y="74"/>
                    <a:pt x="75" y="75"/>
                    <a:pt x="74" y="76"/>
                  </a:cubicBezTo>
                  <a:cubicBezTo>
                    <a:pt x="73" y="78"/>
                    <a:pt x="71" y="80"/>
                    <a:pt x="70" y="81"/>
                  </a:cubicBezTo>
                  <a:cubicBezTo>
                    <a:pt x="69" y="82"/>
                    <a:pt x="67" y="82"/>
                    <a:pt x="66" y="83"/>
                  </a:cubicBezTo>
                  <a:cubicBezTo>
                    <a:pt x="66" y="83"/>
                    <a:pt x="64" y="85"/>
                    <a:pt x="64" y="84"/>
                  </a:cubicBezTo>
                  <a:cubicBezTo>
                    <a:pt x="64" y="86"/>
                    <a:pt x="61" y="85"/>
                    <a:pt x="59" y="86"/>
                  </a:cubicBezTo>
                  <a:cubicBezTo>
                    <a:pt x="57" y="87"/>
                    <a:pt x="54" y="86"/>
                    <a:pt x="52" y="87"/>
                  </a:cubicBezTo>
                  <a:cubicBezTo>
                    <a:pt x="51" y="89"/>
                    <a:pt x="48" y="89"/>
                    <a:pt x="45" y="89"/>
                  </a:cubicBezTo>
                  <a:cubicBezTo>
                    <a:pt x="45" y="89"/>
                    <a:pt x="45" y="90"/>
                    <a:pt x="44" y="90"/>
                  </a:cubicBezTo>
                  <a:cubicBezTo>
                    <a:pt x="44" y="91"/>
                    <a:pt x="43" y="92"/>
                    <a:pt x="43" y="92"/>
                  </a:cubicBezTo>
                  <a:cubicBezTo>
                    <a:pt x="41" y="92"/>
                    <a:pt x="39" y="92"/>
                    <a:pt x="37" y="92"/>
                  </a:cubicBezTo>
                  <a:cubicBezTo>
                    <a:pt x="36" y="92"/>
                    <a:pt x="36" y="92"/>
                    <a:pt x="36" y="93"/>
                  </a:cubicBezTo>
                  <a:cubicBezTo>
                    <a:pt x="35" y="93"/>
                    <a:pt x="34" y="92"/>
                    <a:pt x="34" y="91"/>
                  </a:cubicBezTo>
                  <a:cubicBezTo>
                    <a:pt x="34" y="91"/>
                    <a:pt x="33" y="91"/>
                    <a:pt x="33" y="91"/>
                  </a:cubicBezTo>
                  <a:cubicBezTo>
                    <a:pt x="33" y="92"/>
                    <a:pt x="33" y="92"/>
                    <a:pt x="32" y="93"/>
                  </a:cubicBezTo>
                  <a:cubicBezTo>
                    <a:pt x="31" y="93"/>
                    <a:pt x="30" y="93"/>
                    <a:pt x="29" y="93"/>
                  </a:cubicBezTo>
                  <a:cubicBezTo>
                    <a:pt x="28" y="94"/>
                    <a:pt x="28" y="94"/>
                    <a:pt x="27" y="95"/>
                  </a:cubicBezTo>
                  <a:cubicBezTo>
                    <a:pt x="27" y="96"/>
                    <a:pt x="27" y="97"/>
                    <a:pt x="26" y="98"/>
                  </a:cubicBezTo>
                  <a:cubicBezTo>
                    <a:pt x="24" y="99"/>
                    <a:pt x="23" y="100"/>
                    <a:pt x="22" y="100"/>
                  </a:cubicBezTo>
                  <a:cubicBezTo>
                    <a:pt x="21" y="100"/>
                    <a:pt x="21" y="101"/>
                    <a:pt x="21" y="101"/>
                  </a:cubicBezTo>
                  <a:cubicBezTo>
                    <a:pt x="20" y="101"/>
                    <a:pt x="19" y="101"/>
                    <a:pt x="19" y="101"/>
                  </a:cubicBezTo>
                  <a:cubicBezTo>
                    <a:pt x="18" y="101"/>
                    <a:pt x="18" y="102"/>
                    <a:pt x="17" y="102"/>
                  </a:cubicBezTo>
                  <a:cubicBezTo>
                    <a:pt x="17" y="102"/>
                    <a:pt x="16" y="102"/>
                    <a:pt x="16" y="103"/>
                  </a:cubicBezTo>
                  <a:cubicBezTo>
                    <a:pt x="16" y="104"/>
                    <a:pt x="16" y="105"/>
                    <a:pt x="16" y="106"/>
                  </a:cubicBezTo>
                  <a:cubicBezTo>
                    <a:pt x="15" y="106"/>
                    <a:pt x="14" y="107"/>
                    <a:pt x="14" y="108"/>
                  </a:cubicBezTo>
                  <a:cubicBezTo>
                    <a:pt x="14" y="108"/>
                    <a:pt x="13" y="108"/>
                    <a:pt x="13" y="108"/>
                  </a:cubicBezTo>
                  <a:cubicBezTo>
                    <a:pt x="12" y="106"/>
                    <a:pt x="12" y="105"/>
                    <a:pt x="13" y="103"/>
                  </a:cubicBezTo>
                  <a:cubicBezTo>
                    <a:pt x="13" y="103"/>
                    <a:pt x="13" y="103"/>
                    <a:pt x="13" y="102"/>
                  </a:cubicBezTo>
                  <a:cubicBezTo>
                    <a:pt x="13" y="102"/>
                    <a:pt x="13" y="102"/>
                    <a:pt x="13" y="101"/>
                  </a:cubicBezTo>
                  <a:cubicBezTo>
                    <a:pt x="13" y="101"/>
                    <a:pt x="12" y="101"/>
                    <a:pt x="12" y="101"/>
                  </a:cubicBezTo>
                  <a:cubicBezTo>
                    <a:pt x="11" y="103"/>
                    <a:pt x="10" y="105"/>
                    <a:pt x="9" y="106"/>
                  </a:cubicBezTo>
                  <a:cubicBezTo>
                    <a:pt x="9" y="107"/>
                    <a:pt x="9" y="109"/>
                    <a:pt x="8" y="110"/>
                  </a:cubicBezTo>
                  <a:cubicBezTo>
                    <a:pt x="8" y="112"/>
                    <a:pt x="9" y="114"/>
                    <a:pt x="8" y="116"/>
                  </a:cubicBezTo>
                  <a:cubicBezTo>
                    <a:pt x="8" y="118"/>
                    <a:pt x="7" y="120"/>
                    <a:pt x="6" y="122"/>
                  </a:cubicBezTo>
                  <a:cubicBezTo>
                    <a:pt x="6" y="123"/>
                    <a:pt x="6" y="124"/>
                    <a:pt x="6" y="125"/>
                  </a:cubicBezTo>
                  <a:cubicBezTo>
                    <a:pt x="6" y="125"/>
                    <a:pt x="5" y="125"/>
                    <a:pt x="5" y="125"/>
                  </a:cubicBezTo>
                  <a:cubicBezTo>
                    <a:pt x="5" y="127"/>
                    <a:pt x="5" y="129"/>
                    <a:pt x="6" y="131"/>
                  </a:cubicBezTo>
                  <a:cubicBezTo>
                    <a:pt x="6" y="132"/>
                    <a:pt x="7" y="133"/>
                    <a:pt x="7" y="134"/>
                  </a:cubicBezTo>
                  <a:cubicBezTo>
                    <a:pt x="7" y="134"/>
                    <a:pt x="8" y="134"/>
                    <a:pt x="8" y="134"/>
                  </a:cubicBezTo>
                  <a:cubicBezTo>
                    <a:pt x="7" y="136"/>
                    <a:pt x="9" y="137"/>
                    <a:pt x="10" y="139"/>
                  </a:cubicBezTo>
                  <a:cubicBezTo>
                    <a:pt x="10" y="140"/>
                    <a:pt x="10" y="141"/>
                    <a:pt x="10" y="141"/>
                  </a:cubicBezTo>
                  <a:cubicBezTo>
                    <a:pt x="10" y="142"/>
                    <a:pt x="10" y="143"/>
                    <a:pt x="10" y="144"/>
                  </a:cubicBezTo>
                  <a:cubicBezTo>
                    <a:pt x="10" y="145"/>
                    <a:pt x="10" y="146"/>
                    <a:pt x="9" y="147"/>
                  </a:cubicBezTo>
                  <a:cubicBezTo>
                    <a:pt x="9" y="147"/>
                    <a:pt x="8" y="147"/>
                    <a:pt x="8" y="147"/>
                  </a:cubicBezTo>
                  <a:cubicBezTo>
                    <a:pt x="7" y="146"/>
                    <a:pt x="8" y="145"/>
                    <a:pt x="7" y="144"/>
                  </a:cubicBezTo>
                  <a:cubicBezTo>
                    <a:pt x="6" y="143"/>
                    <a:pt x="6" y="141"/>
                    <a:pt x="5" y="140"/>
                  </a:cubicBezTo>
                  <a:cubicBezTo>
                    <a:pt x="5" y="139"/>
                    <a:pt x="5" y="138"/>
                    <a:pt x="4" y="138"/>
                  </a:cubicBezTo>
                  <a:cubicBezTo>
                    <a:pt x="3" y="139"/>
                    <a:pt x="3" y="141"/>
                    <a:pt x="4" y="142"/>
                  </a:cubicBezTo>
                  <a:cubicBezTo>
                    <a:pt x="4" y="143"/>
                    <a:pt x="6" y="145"/>
                    <a:pt x="6" y="147"/>
                  </a:cubicBezTo>
                  <a:cubicBezTo>
                    <a:pt x="3" y="146"/>
                    <a:pt x="4" y="142"/>
                    <a:pt x="2" y="140"/>
                  </a:cubicBezTo>
                  <a:cubicBezTo>
                    <a:pt x="2" y="140"/>
                    <a:pt x="1" y="140"/>
                    <a:pt x="0" y="140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1" y="142"/>
                    <a:pt x="2" y="144"/>
                    <a:pt x="2" y="145"/>
                  </a:cubicBezTo>
                  <a:cubicBezTo>
                    <a:pt x="2" y="145"/>
                    <a:pt x="3" y="145"/>
                    <a:pt x="3" y="146"/>
                  </a:cubicBezTo>
                  <a:cubicBezTo>
                    <a:pt x="3" y="147"/>
                    <a:pt x="3" y="149"/>
                    <a:pt x="4" y="151"/>
                  </a:cubicBezTo>
                  <a:cubicBezTo>
                    <a:pt x="4" y="152"/>
                    <a:pt x="6" y="153"/>
                    <a:pt x="7" y="155"/>
                  </a:cubicBezTo>
                  <a:cubicBezTo>
                    <a:pt x="8" y="156"/>
                    <a:pt x="8" y="159"/>
                    <a:pt x="7" y="161"/>
                  </a:cubicBezTo>
                  <a:cubicBezTo>
                    <a:pt x="7" y="162"/>
                    <a:pt x="7" y="163"/>
                    <a:pt x="7" y="163"/>
                  </a:cubicBezTo>
                  <a:cubicBezTo>
                    <a:pt x="8" y="164"/>
                    <a:pt x="7" y="166"/>
                    <a:pt x="9" y="167"/>
                  </a:cubicBezTo>
                  <a:cubicBezTo>
                    <a:pt x="10" y="169"/>
                    <a:pt x="11" y="171"/>
                    <a:pt x="11" y="173"/>
                  </a:cubicBezTo>
                  <a:cubicBezTo>
                    <a:pt x="12" y="175"/>
                    <a:pt x="12" y="176"/>
                    <a:pt x="11" y="177"/>
                  </a:cubicBezTo>
                  <a:cubicBezTo>
                    <a:pt x="11" y="179"/>
                    <a:pt x="10" y="180"/>
                    <a:pt x="10" y="182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2" y="188"/>
                    <a:pt x="13" y="192"/>
                    <a:pt x="13" y="198"/>
                  </a:cubicBezTo>
                  <a:cubicBezTo>
                    <a:pt x="13" y="198"/>
                    <a:pt x="14" y="199"/>
                    <a:pt x="14" y="200"/>
                  </a:cubicBezTo>
                  <a:cubicBezTo>
                    <a:pt x="14" y="201"/>
                    <a:pt x="14" y="202"/>
                    <a:pt x="14" y="203"/>
                  </a:cubicBezTo>
                  <a:cubicBezTo>
                    <a:pt x="14" y="204"/>
                    <a:pt x="13" y="204"/>
                    <a:pt x="13" y="205"/>
                  </a:cubicBezTo>
                  <a:cubicBezTo>
                    <a:pt x="13" y="208"/>
                    <a:pt x="12" y="211"/>
                    <a:pt x="11" y="213"/>
                  </a:cubicBezTo>
                  <a:cubicBezTo>
                    <a:pt x="11" y="214"/>
                    <a:pt x="11" y="215"/>
                    <a:pt x="10" y="215"/>
                  </a:cubicBezTo>
                  <a:cubicBezTo>
                    <a:pt x="10" y="216"/>
                    <a:pt x="9" y="216"/>
                    <a:pt x="9" y="216"/>
                  </a:cubicBezTo>
                  <a:cubicBezTo>
                    <a:pt x="8" y="216"/>
                    <a:pt x="7" y="216"/>
                    <a:pt x="6" y="216"/>
                  </a:cubicBezTo>
                  <a:cubicBezTo>
                    <a:pt x="5" y="218"/>
                    <a:pt x="6" y="220"/>
                    <a:pt x="6" y="221"/>
                  </a:cubicBezTo>
                  <a:cubicBezTo>
                    <a:pt x="7" y="222"/>
                    <a:pt x="8" y="223"/>
                    <a:pt x="9" y="224"/>
                  </a:cubicBezTo>
                  <a:cubicBezTo>
                    <a:pt x="10" y="225"/>
                    <a:pt x="12" y="226"/>
                    <a:pt x="14" y="228"/>
                  </a:cubicBezTo>
                  <a:cubicBezTo>
                    <a:pt x="15" y="229"/>
                    <a:pt x="17" y="228"/>
                    <a:pt x="18" y="228"/>
                  </a:cubicBezTo>
                  <a:cubicBezTo>
                    <a:pt x="19" y="228"/>
                    <a:pt x="19" y="229"/>
                    <a:pt x="20" y="230"/>
                  </a:cubicBezTo>
                  <a:cubicBezTo>
                    <a:pt x="23" y="231"/>
                    <a:pt x="25" y="230"/>
                    <a:pt x="28" y="230"/>
                  </a:cubicBezTo>
                  <a:cubicBezTo>
                    <a:pt x="31" y="228"/>
                    <a:pt x="33" y="226"/>
                    <a:pt x="37" y="224"/>
                  </a:cubicBezTo>
                  <a:cubicBezTo>
                    <a:pt x="37" y="224"/>
                    <a:pt x="38" y="224"/>
                    <a:pt x="39" y="224"/>
                  </a:cubicBezTo>
                  <a:cubicBezTo>
                    <a:pt x="40" y="224"/>
                    <a:pt x="40" y="223"/>
                    <a:pt x="41" y="222"/>
                  </a:cubicBezTo>
                  <a:cubicBezTo>
                    <a:pt x="42" y="221"/>
                    <a:pt x="43" y="219"/>
                    <a:pt x="44" y="219"/>
                  </a:cubicBezTo>
                  <a:cubicBezTo>
                    <a:pt x="46" y="218"/>
                    <a:pt x="49" y="219"/>
                    <a:pt x="51" y="218"/>
                  </a:cubicBezTo>
                  <a:cubicBezTo>
                    <a:pt x="54" y="217"/>
                    <a:pt x="56" y="218"/>
                    <a:pt x="59" y="218"/>
                  </a:cubicBezTo>
                  <a:cubicBezTo>
                    <a:pt x="60" y="218"/>
                    <a:pt x="61" y="219"/>
                    <a:pt x="62" y="219"/>
                  </a:cubicBezTo>
                  <a:cubicBezTo>
                    <a:pt x="63" y="219"/>
                    <a:pt x="63" y="219"/>
                    <a:pt x="64" y="219"/>
                  </a:cubicBezTo>
                  <a:cubicBezTo>
                    <a:pt x="66" y="218"/>
                    <a:pt x="68" y="218"/>
                    <a:pt x="69" y="218"/>
                  </a:cubicBezTo>
                  <a:cubicBezTo>
                    <a:pt x="70" y="218"/>
                    <a:pt x="70" y="218"/>
                    <a:pt x="70" y="218"/>
                  </a:cubicBezTo>
                  <a:cubicBezTo>
                    <a:pt x="71" y="218"/>
                    <a:pt x="72" y="218"/>
                    <a:pt x="73" y="217"/>
                  </a:cubicBezTo>
                  <a:cubicBezTo>
                    <a:pt x="74" y="216"/>
                    <a:pt x="74" y="215"/>
                    <a:pt x="74" y="214"/>
                  </a:cubicBezTo>
                  <a:cubicBezTo>
                    <a:pt x="76" y="211"/>
                    <a:pt x="79" y="210"/>
                    <a:pt x="81" y="209"/>
                  </a:cubicBezTo>
                  <a:cubicBezTo>
                    <a:pt x="82" y="209"/>
                    <a:pt x="83" y="208"/>
                    <a:pt x="83" y="207"/>
                  </a:cubicBezTo>
                  <a:cubicBezTo>
                    <a:pt x="85" y="207"/>
                    <a:pt x="88" y="206"/>
                    <a:pt x="90" y="205"/>
                  </a:cubicBezTo>
                  <a:cubicBezTo>
                    <a:pt x="91" y="204"/>
                    <a:pt x="93" y="202"/>
                    <a:pt x="95" y="203"/>
                  </a:cubicBezTo>
                  <a:cubicBezTo>
                    <a:pt x="97" y="204"/>
                    <a:pt x="98" y="205"/>
                    <a:pt x="100" y="204"/>
                  </a:cubicBezTo>
                  <a:cubicBezTo>
                    <a:pt x="101" y="203"/>
                    <a:pt x="103" y="204"/>
                    <a:pt x="104" y="204"/>
                  </a:cubicBezTo>
                  <a:cubicBezTo>
                    <a:pt x="104" y="203"/>
                    <a:pt x="104" y="203"/>
                    <a:pt x="105" y="202"/>
                  </a:cubicBezTo>
                  <a:cubicBezTo>
                    <a:pt x="106" y="202"/>
                    <a:pt x="107" y="202"/>
                    <a:pt x="108" y="202"/>
                  </a:cubicBezTo>
                  <a:cubicBezTo>
                    <a:pt x="109" y="201"/>
                    <a:pt x="111" y="200"/>
                    <a:pt x="112" y="199"/>
                  </a:cubicBezTo>
                  <a:cubicBezTo>
                    <a:pt x="113" y="199"/>
                    <a:pt x="113" y="199"/>
                    <a:pt x="114" y="198"/>
                  </a:cubicBezTo>
                  <a:cubicBezTo>
                    <a:pt x="115" y="198"/>
                    <a:pt x="116" y="198"/>
                    <a:pt x="117" y="197"/>
                  </a:cubicBezTo>
                  <a:cubicBezTo>
                    <a:pt x="119" y="197"/>
                    <a:pt x="121" y="197"/>
                    <a:pt x="123" y="197"/>
                  </a:cubicBezTo>
                  <a:cubicBezTo>
                    <a:pt x="126" y="196"/>
                    <a:pt x="128" y="197"/>
                    <a:pt x="131" y="196"/>
                  </a:cubicBezTo>
                  <a:cubicBezTo>
                    <a:pt x="132" y="196"/>
                    <a:pt x="133" y="194"/>
                    <a:pt x="134" y="194"/>
                  </a:cubicBezTo>
                  <a:cubicBezTo>
                    <a:pt x="135" y="194"/>
                    <a:pt x="136" y="194"/>
                    <a:pt x="136" y="194"/>
                  </a:cubicBezTo>
                  <a:cubicBezTo>
                    <a:pt x="137" y="196"/>
                    <a:pt x="138" y="198"/>
                    <a:pt x="139" y="199"/>
                  </a:cubicBezTo>
                  <a:cubicBezTo>
                    <a:pt x="140" y="200"/>
                    <a:pt x="141" y="200"/>
                    <a:pt x="142" y="201"/>
                  </a:cubicBezTo>
                  <a:cubicBezTo>
                    <a:pt x="144" y="201"/>
                    <a:pt x="146" y="200"/>
                    <a:pt x="148" y="201"/>
                  </a:cubicBezTo>
                  <a:cubicBezTo>
                    <a:pt x="148" y="201"/>
                    <a:pt x="148" y="202"/>
                    <a:pt x="149" y="202"/>
                  </a:cubicBezTo>
                  <a:cubicBezTo>
                    <a:pt x="150" y="203"/>
                    <a:pt x="152" y="202"/>
                    <a:pt x="154" y="203"/>
                  </a:cubicBezTo>
                  <a:cubicBezTo>
                    <a:pt x="155" y="203"/>
                    <a:pt x="155" y="204"/>
                    <a:pt x="155" y="205"/>
                  </a:cubicBezTo>
                  <a:cubicBezTo>
                    <a:pt x="155" y="205"/>
                    <a:pt x="155" y="205"/>
                    <a:pt x="155" y="205"/>
                  </a:cubicBezTo>
                  <a:cubicBezTo>
                    <a:pt x="155" y="207"/>
                    <a:pt x="155" y="208"/>
                    <a:pt x="156" y="210"/>
                  </a:cubicBezTo>
                  <a:cubicBezTo>
                    <a:pt x="156" y="211"/>
                    <a:pt x="158" y="212"/>
                    <a:pt x="159" y="213"/>
                  </a:cubicBezTo>
                  <a:cubicBezTo>
                    <a:pt x="160" y="214"/>
                    <a:pt x="159" y="216"/>
                    <a:pt x="160" y="217"/>
                  </a:cubicBezTo>
                  <a:cubicBezTo>
                    <a:pt x="160" y="218"/>
                    <a:pt x="160" y="218"/>
                    <a:pt x="161" y="219"/>
                  </a:cubicBezTo>
                  <a:cubicBezTo>
                    <a:pt x="161" y="219"/>
                    <a:pt x="161" y="219"/>
                    <a:pt x="161" y="220"/>
                  </a:cubicBezTo>
                  <a:cubicBezTo>
                    <a:pt x="161" y="220"/>
                    <a:pt x="162" y="220"/>
                    <a:pt x="162" y="220"/>
                  </a:cubicBezTo>
                  <a:cubicBezTo>
                    <a:pt x="162" y="222"/>
                    <a:pt x="162" y="224"/>
                    <a:pt x="162" y="226"/>
                  </a:cubicBezTo>
                  <a:cubicBezTo>
                    <a:pt x="163" y="227"/>
                    <a:pt x="165" y="228"/>
                    <a:pt x="166" y="227"/>
                  </a:cubicBezTo>
                  <a:cubicBezTo>
                    <a:pt x="167" y="226"/>
                    <a:pt x="167" y="224"/>
                    <a:pt x="168" y="222"/>
                  </a:cubicBezTo>
                  <a:cubicBezTo>
                    <a:pt x="168" y="222"/>
                    <a:pt x="169" y="221"/>
                    <a:pt x="170" y="221"/>
                  </a:cubicBezTo>
                  <a:cubicBezTo>
                    <a:pt x="171" y="220"/>
                    <a:pt x="172" y="218"/>
                    <a:pt x="173" y="217"/>
                  </a:cubicBezTo>
                  <a:cubicBezTo>
                    <a:pt x="174" y="216"/>
                    <a:pt x="174" y="217"/>
                    <a:pt x="175" y="216"/>
                  </a:cubicBezTo>
                  <a:cubicBezTo>
                    <a:pt x="176" y="216"/>
                    <a:pt x="176" y="216"/>
                    <a:pt x="177" y="215"/>
                  </a:cubicBezTo>
                  <a:cubicBezTo>
                    <a:pt x="178" y="213"/>
                    <a:pt x="178" y="212"/>
                    <a:pt x="179" y="211"/>
                  </a:cubicBezTo>
                  <a:cubicBezTo>
                    <a:pt x="180" y="210"/>
                    <a:pt x="181" y="210"/>
                    <a:pt x="182" y="209"/>
                  </a:cubicBezTo>
                  <a:cubicBezTo>
                    <a:pt x="183" y="209"/>
                    <a:pt x="183" y="208"/>
                    <a:pt x="183" y="208"/>
                  </a:cubicBezTo>
                  <a:cubicBezTo>
                    <a:pt x="184" y="210"/>
                    <a:pt x="184" y="211"/>
                    <a:pt x="183" y="212"/>
                  </a:cubicBezTo>
                  <a:cubicBezTo>
                    <a:pt x="183" y="213"/>
                    <a:pt x="183" y="213"/>
                    <a:pt x="183" y="214"/>
                  </a:cubicBezTo>
                  <a:cubicBezTo>
                    <a:pt x="181" y="217"/>
                    <a:pt x="180" y="219"/>
                    <a:pt x="179" y="221"/>
                  </a:cubicBezTo>
                  <a:cubicBezTo>
                    <a:pt x="179" y="222"/>
                    <a:pt x="178" y="222"/>
                    <a:pt x="178" y="223"/>
                  </a:cubicBezTo>
                  <a:cubicBezTo>
                    <a:pt x="178" y="224"/>
                    <a:pt x="178" y="225"/>
                    <a:pt x="178" y="226"/>
                  </a:cubicBezTo>
                  <a:cubicBezTo>
                    <a:pt x="178" y="226"/>
                    <a:pt x="177" y="227"/>
                    <a:pt x="177" y="227"/>
                  </a:cubicBezTo>
                  <a:cubicBezTo>
                    <a:pt x="175" y="228"/>
                    <a:pt x="173" y="229"/>
                    <a:pt x="174" y="230"/>
                  </a:cubicBezTo>
                  <a:cubicBezTo>
                    <a:pt x="174" y="231"/>
                    <a:pt x="175" y="231"/>
                    <a:pt x="176" y="230"/>
                  </a:cubicBezTo>
                  <a:cubicBezTo>
                    <a:pt x="176" y="230"/>
                    <a:pt x="176" y="230"/>
                    <a:pt x="177" y="230"/>
                  </a:cubicBezTo>
                  <a:cubicBezTo>
                    <a:pt x="178" y="230"/>
                    <a:pt x="179" y="230"/>
                    <a:pt x="180" y="229"/>
                  </a:cubicBezTo>
                  <a:cubicBezTo>
                    <a:pt x="180" y="227"/>
                    <a:pt x="181" y="226"/>
                    <a:pt x="182" y="225"/>
                  </a:cubicBezTo>
                  <a:cubicBezTo>
                    <a:pt x="183" y="223"/>
                    <a:pt x="183" y="221"/>
                    <a:pt x="183" y="219"/>
                  </a:cubicBezTo>
                  <a:cubicBezTo>
                    <a:pt x="183" y="219"/>
                    <a:pt x="183" y="219"/>
                    <a:pt x="183" y="219"/>
                  </a:cubicBezTo>
                  <a:cubicBezTo>
                    <a:pt x="184" y="220"/>
                    <a:pt x="183" y="221"/>
                    <a:pt x="184" y="223"/>
                  </a:cubicBezTo>
                  <a:cubicBezTo>
                    <a:pt x="184" y="224"/>
                    <a:pt x="184" y="224"/>
                    <a:pt x="185" y="225"/>
                  </a:cubicBezTo>
                  <a:cubicBezTo>
                    <a:pt x="185" y="226"/>
                    <a:pt x="186" y="226"/>
                    <a:pt x="186" y="227"/>
                  </a:cubicBezTo>
                  <a:cubicBezTo>
                    <a:pt x="186" y="227"/>
                    <a:pt x="186" y="228"/>
                    <a:pt x="186" y="229"/>
                  </a:cubicBezTo>
                  <a:cubicBezTo>
                    <a:pt x="185" y="229"/>
                    <a:pt x="184" y="230"/>
                    <a:pt x="183" y="231"/>
                  </a:cubicBezTo>
                  <a:cubicBezTo>
                    <a:pt x="183" y="231"/>
                    <a:pt x="183" y="232"/>
                    <a:pt x="182" y="233"/>
                  </a:cubicBezTo>
                  <a:cubicBezTo>
                    <a:pt x="182" y="233"/>
                    <a:pt x="182" y="233"/>
                    <a:pt x="182" y="233"/>
                  </a:cubicBezTo>
                  <a:cubicBezTo>
                    <a:pt x="182" y="234"/>
                    <a:pt x="182" y="235"/>
                    <a:pt x="182" y="236"/>
                  </a:cubicBezTo>
                  <a:cubicBezTo>
                    <a:pt x="184" y="236"/>
                    <a:pt x="186" y="236"/>
                    <a:pt x="188" y="236"/>
                  </a:cubicBezTo>
                  <a:cubicBezTo>
                    <a:pt x="188" y="236"/>
                    <a:pt x="188" y="237"/>
                    <a:pt x="188" y="237"/>
                  </a:cubicBezTo>
                  <a:cubicBezTo>
                    <a:pt x="189" y="237"/>
                    <a:pt x="190" y="238"/>
                    <a:pt x="191" y="239"/>
                  </a:cubicBezTo>
                  <a:cubicBezTo>
                    <a:pt x="191" y="240"/>
                    <a:pt x="191" y="240"/>
                    <a:pt x="191" y="241"/>
                  </a:cubicBezTo>
                  <a:cubicBezTo>
                    <a:pt x="192" y="241"/>
                    <a:pt x="192" y="241"/>
                    <a:pt x="192" y="242"/>
                  </a:cubicBezTo>
                  <a:cubicBezTo>
                    <a:pt x="193" y="243"/>
                    <a:pt x="193" y="244"/>
                    <a:pt x="192" y="245"/>
                  </a:cubicBezTo>
                  <a:cubicBezTo>
                    <a:pt x="191" y="247"/>
                    <a:pt x="191" y="249"/>
                    <a:pt x="191" y="252"/>
                  </a:cubicBezTo>
                  <a:cubicBezTo>
                    <a:pt x="191" y="252"/>
                    <a:pt x="191" y="253"/>
                    <a:pt x="191" y="254"/>
                  </a:cubicBezTo>
                  <a:cubicBezTo>
                    <a:pt x="191" y="255"/>
                    <a:pt x="192" y="255"/>
                    <a:pt x="193" y="255"/>
                  </a:cubicBezTo>
                  <a:cubicBezTo>
                    <a:pt x="193" y="255"/>
                    <a:pt x="193" y="255"/>
                    <a:pt x="193" y="255"/>
                  </a:cubicBezTo>
                  <a:cubicBezTo>
                    <a:pt x="194" y="257"/>
                    <a:pt x="194" y="258"/>
                    <a:pt x="196" y="259"/>
                  </a:cubicBezTo>
                  <a:cubicBezTo>
                    <a:pt x="197" y="259"/>
                    <a:pt x="197" y="259"/>
                    <a:pt x="198" y="260"/>
                  </a:cubicBezTo>
                  <a:cubicBezTo>
                    <a:pt x="200" y="261"/>
                    <a:pt x="202" y="262"/>
                    <a:pt x="204" y="262"/>
                  </a:cubicBezTo>
                  <a:cubicBezTo>
                    <a:pt x="205" y="262"/>
                    <a:pt x="206" y="262"/>
                    <a:pt x="206" y="262"/>
                  </a:cubicBezTo>
                  <a:cubicBezTo>
                    <a:pt x="210" y="261"/>
                    <a:pt x="212" y="265"/>
                    <a:pt x="215" y="267"/>
                  </a:cubicBezTo>
                  <a:cubicBezTo>
                    <a:pt x="215" y="267"/>
                    <a:pt x="216" y="267"/>
                    <a:pt x="217" y="267"/>
                  </a:cubicBezTo>
                  <a:cubicBezTo>
                    <a:pt x="217" y="266"/>
                    <a:pt x="218" y="266"/>
                    <a:pt x="218" y="266"/>
                  </a:cubicBezTo>
                  <a:cubicBezTo>
                    <a:pt x="220" y="265"/>
                    <a:pt x="221" y="264"/>
                    <a:pt x="222" y="263"/>
                  </a:cubicBezTo>
                  <a:cubicBezTo>
                    <a:pt x="224" y="261"/>
                    <a:pt x="226" y="258"/>
                    <a:pt x="228" y="259"/>
                  </a:cubicBezTo>
                  <a:cubicBezTo>
                    <a:pt x="229" y="259"/>
                    <a:pt x="229" y="261"/>
                    <a:pt x="228" y="261"/>
                  </a:cubicBezTo>
                  <a:cubicBezTo>
                    <a:pt x="228" y="261"/>
                    <a:pt x="228" y="262"/>
                    <a:pt x="228" y="262"/>
                  </a:cubicBezTo>
                  <a:cubicBezTo>
                    <a:pt x="229" y="262"/>
                    <a:pt x="231" y="261"/>
                    <a:pt x="232" y="262"/>
                  </a:cubicBezTo>
                  <a:cubicBezTo>
                    <a:pt x="232" y="262"/>
                    <a:pt x="232" y="263"/>
                    <a:pt x="232" y="264"/>
                  </a:cubicBezTo>
                  <a:cubicBezTo>
                    <a:pt x="232" y="265"/>
                    <a:pt x="233" y="265"/>
                    <a:pt x="233" y="266"/>
                  </a:cubicBezTo>
                  <a:cubicBezTo>
                    <a:pt x="234" y="267"/>
                    <a:pt x="234" y="268"/>
                    <a:pt x="235" y="268"/>
                  </a:cubicBezTo>
                  <a:cubicBezTo>
                    <a:pt x="236" y="269"/>
                    <a:pt x="237" y="269"/>
                    <a:pt x="237" y="268"/>
                  </a:cubicBezTo>
                  <a:cubicBezTo>
                    <a:pt x="238" y="268"/>
                    <a:pt x="237" y="267"/>
                    <a:pt x="238" y="266"/>
                  </a:cubicBezTo>
                  <a:cubicBezTo>
                    <a:pt x="239" y="265"/>
                    <a:pt x="241" y="266"/>
                    <a:pt x="242" y="266"/>
                  </a:cubicBezTo>
                  <a:cubicBezTo>
                    <a:pt x="242" y="265"/>
                    <a:pt x="243" y="265"/>
                    <a:pt x="243" y="265"/>
                  </a:cubicBezTo>
                  <a:cubicBezTo>
                    <a:pt x="244" y="264"/>
                    <a:pt x="245" y="263"/>
                    <a:pt x="246" y="262"/>
                  </a:cubicBezTo>
                  <a:cubicBezTo>
                    <a:pt x="248" y="261"/>
                    <a:pt x="250" y="260"/>
                    <a:pt x="249" y="258"/>
                  </a:cubicBezTo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3" name="Freeform 184"/>
            <p:cNvSpPr>
              <a:spLocks/>
            </p:cNvSpPr>
            <p:nvPr/>
          </p:nvSpPr>
          <p:spPr bwMode="auto">
            <a:xfrm>
              <a:off x="7449727" y="3636574"/>
              <a:ext cx="2508" cy="2974"/>
            </a:xfrm>
            <a:custGeom>
              <a:avLst/>
              <a:gdLst>
                <a:gd name="T0" fmla="*/ 5085394 w 5"/>
                <a:gd name="T1" fmla="*/ 2970751 h 6"/>
                <a:gd name="T2" fmla="*/ 5085394 w 5"/>
                <a:gd name="T3" fmla="*/ 727531 h 6"/>
                <a:gd name="T4" fmla="*/ 1064436 w 5"/>
                <a:gd name="T5" fmla="*/ 727531 h 6"/>
                <a:gd name="T6" fmla="*/ 1064436 w 5"/>
                <a:gd name="T7" fmla="*/ 2970751 h 6"/>
                <a:gd name="T8" fmla="*/ 6131150 w 5"/>
                <a:gd name="T9" fmla="*/ 3961001 h 6"/>
                <a:gd name="T10" fmla="*/ 5085394 w 5"/>
                <a:gd name="T11" fmla="*/ 2970751 h 6"/>
                <a:gd name="T12" fmla="*/ 5085394 w 5"/>
                <a:gd name="T13" fmla="*/ 2970751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4" y="4"/>
                  </a:moveTo>
                  <a:cubicBezTo>
                    <a:pt x="4" y="3"/>
                    <a:pt x="3" y="2"/>
                    <a:pt x="4" y="1"/>
                  </a:cubicBezTo>
                  <a:cubicBezTo>
                    <a:pt x="3" y="1"/>
                    <a:pt x="1" y="0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2" y="6"/>
                    <a:pt x="4" y="6"/>
                    <a:pt x="5" y="5"/>
                  </a:cubicBezTo>
                  <a:cubicBezTo>
                    <a:pt x="5" y="5"/>
                    <a:pt x="4" y="5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4" name="Freeform 185"/>
            <p:cNvSpPr>
              <a:spLocks/>
            </p:cNvSpPr>
            <p:nvPr/>
          </p:nvSpPr>
          <p:spPr bwMode="auto">
            <a:xfrm>
              <a:off x="7460262" y="3648740"/>
              <a:ext cx="1505" cy="1352"/>
            </a:xfrm>
            <a:custGeom>
              <a:avLst/>
              <a:gdLst>
                <a:gd name="T0" fmla="*/ 941139 w 4"/>
                <a:gd name="T1" fmla="*/ 0 h 3"/>
                <a:gd name="T2" fmla="*/ 418284 w 4"/>
                <a:gd name="T3" fmla="*/ 727531 h 3"/>
                <a:gd name="T4" fmla="*/ 0 w 4"/>
                <a:gd name="T5" fmla="*/ 1697572 h 3"/>
                <a:gd name="T6" fmla="*/ 941139 w 4"/>
                <a:gd name="T7" fmla="*/ 2243220 h 3"/>
                <a:gd name="T8" fmla="*/ 1359459 w 4"/>
                <a:gd name="T9" fmla="*/ 727531 h 3"/>
                <a:gd name="T10" fmla="*/ 941139 w 4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0"/>
                  </a:moveTo>
                  <a:cubicBezTo>
                    <a:pt x="2" y="0"/>
                    <a:pt x="1" y="1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3" y="2"/>
                    <a:pt x="4" y="2"/>
                    <a:pt x="3" y="1"/>
                  </a:cubicBezTo>
                  <a:cubicBezTo>
                    <a:pt x="3" y="0"/>
                    <a:pt x="3" y="1"/>
                    <a:pt x="2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5" name="Freeform 186"/>
            <p:cNvSpPr>
              <a:spLocks/>
            </p:cNvSpPr>
            <p:nvPr/>
          </p:nvSpPr>
          <p:spPr bwMode="auto">
            <a:xfrm>
              <a:off x="7428407" y="3626299"/>
              <a:ext cx="5017" cy="2163"/>
            </a:xfrm>
            <a:custGeom>
              <a:avLst/>
              <a:gdLst>
                <a:gd name="T0" fmla="*/ 6840539 w 11"/>
                <a:gd name="T1" fmla="*/ 0 h 4"/>
                <a:gd name="T2" fmla="*/ 849380 w 11"/>
                <a:gd name="T3" fmla="*/ 2497529 h 4"/>
                <a:gd name="T4" fmla="*/ 0 w 11"/>
                <a:gd name="T5" fmla="*/ 6243820 h 4"/>
                <a:gd name="T6" fmla="*/ 2007625 w 11"/>
                <a:gd name="T7" fmla="*/ 9219213 h 4"/>
                <a:gd name="T8" fmla="*/ 5595820 w 11"/>
                <a:gd name="T9" fmla="*/ 9219213 h 4"/>
                <a:gd name="T10" fmla="*/ 9698926 w 11"/>
                <a:gd name="T11" fmla="*/ 0 h 4"/>
                <a:gd name="T12" fmla="*/ 6840539 w 11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4"/>
                <a:gd name="T23" fmla="*/ 11 w 11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4">
                  <a:moveTo>
                    <a:pt x="7" y="0"/>
                  </a:moveTo>
                  <a:cubicBezTo>
                    <a:pt x="5" y="1"/>
                    <a:pt x="3" y="0"/>
                    <a:pt x="1" y="1"/>
                  </a:cubicBezTo>
                  <a:cubicBezTo>
                    <a:pt x="0" y="1"/>
                    <a:pt x="0" y="3"/>
                    <a:pt x="0" y="3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3" y="3"/>
                    <a:pt x="5" y="4"/>
                    <a:pt x="6" y="4"/>
                  </a:cubicBezTo>
                  <a:cubicBezTo>
                    <a:pt x="8" y="3"/>
                    <a:pt x="11" y="2"/>
                    <a:pt x="10" y="0"/>
                  </a:cubicBezTo>
                  <a:cubicBezTo>
                    <a:pt x="9" y="0"/>
                    <a:pt x="8" y="0"/>
                    <a:pt x="7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6" name="Freeform 187"/>
            <p:cNvSpPr>
              <a:spLocks/>
            </p:cNvSpPr>
            <p:nvPr/>
          </p:nvSpPr>
          <p:spPr bwMode="auto">
            <a:xfrm>
              <a:off x="7526983" y="3605210"/>
              <a:ext cx="3010" cy="3515"/>
            </a:xfrm>
            <a:custGeom>
              <a:avLst/>
              <a:gdLst>
                <a:gd name="T0" fmla="*/ 2642432 w 7"/>
                <a:gd name="T1" fmla="*/ 1699274 h 8"/>
                <a:gd name="T2" fmla="*/ 0 w 7"/>
                <a:gd name="T3" fmla="*/ 418284 h 8"/>
                <a:gd name="T4" fmla="*/ 0 w 7"/>
                <a:gd name="T5" fmla="*/ 941139 h 8"/>
                <a:gd name="T6" fmla="*/ 1724631 w 7"/>
                <a:gd name="T7" fmla="*/ 2453348 h 8"/>
                <a:gd name="T8" fmla="*/ 3942014 w 7"/>
                <a:gd name="T9" fmla="*/ 3058782 h 8"/>
                <a:gd name="T10" fmla="*/ 3942014 w 7"/>
                <a:gd name="T11" fmla="*/ 2453348 h 8"/>
                <a:gd name="T12" fmla="*/ 2642432 w 7"/>
                <a:gd name="T13" fmla="*/ 1699274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8"/>
                <a:gd name="T23" fmla="*/ 7 w 7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8">
                  <a:moveTo>
                    <a:pt x="5" y="4"/>
                  </a:moveTo>
                  <a:cubicBezTo>
                    <a:pt x="4" y="3"/>
                    <a:pt x="2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2" y="5"/>
                    <a:pt x="3" y="6"/>
                  </a:cubicBezTo>
                  <a:cubicBezTo>
                    <a:pt x="4" y="7"/>
                    <a:pt x="5" y="8"/>
                    <a:pt x="7" y="7"/>
                  </a:cubicBezTo>
                  <a:cubicBezTo>
                    <a:pt x="7" y="7"/>
                    <a:pt x="7" y="6"/>
                    <a:pt x="7" y="6"/>
                  </a:cubicBezTo>
                  <a:cubicBezTo>
                    <a:pt x="6" y="6"/>
                    <a:pt x="6" y="5"/>
                    <a:pt x="5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7" name="Freeform 188"/>
            <p:cNvSpPr>
              <a:spLocks/>
            </p:cNvSpPr>
            <p:nvPr/>
          </p:nvSpPr>
          <p:spPr bwMode="auto">
            <a:xfrm>
              <a:off x="7528989" y="3610887"/>
              <a:ext cx="2007" cy="2974"/>
            </a:xfrm>
            <a:custGeom>
              <a:avLst/>
              <a:gdLst>
                <a:gd name="T0" fmla="*/ 9219213 w 4"/>
                <a:gd name="T1" fmla="*/ 2243220 h 6"/>
                <a:gd name="T2" fmla="*/ 4450654 w 4"/>
                <a:gd name="T3" fmla="*/ 727531 h 6"/>
                <a:gd name="T4" fmla="*/ 2497529 w 4"/>
                <a:gd name="T5" fmla="*/ 0 h 6"/>
                <a:gd name="T6" fmla="*/ 0 w 4"/>
                <a:gd name="T7" fmla="*/ 1697572 h 6"/>
                <a:gd name="T8" fmla="*/ 0 w 4"/>
                <a:gd name="T9" fmla="*/ 2970751 h 6"/>
                <a:gd name="T10" fmla="*/ 6243820 w 4"/>
                <a:gd name="T11" fmla="*/ 3961001 h 6"/>
                <a:gd name="T12" fmla="*/ 9219213 w 4"/>
                <a:gd name="T13" fmla="*/ 2243220 h 6"/>
                <a:gd name="T14" fmla="*/ 9219213 w 4"/>
                <a:gd name="T15" fmla="*/ 224322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6"/>
                <a:gd name="T26" fmla="*/ 4 w 4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6">
                  <a:moveTo>
                    <a:pt x="4" y="3"/>
                  </a:moveTo>
                  <a:cubicBezTo>
                    <a:pt x="3" y="2"/>
                    <a:pt x="2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4" y="5"/>
                    <a:pt x="4" y="4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8" name="Freeform 189"/>
            <p:cNvSpPr>
              <a:spLocks/>
            </p:cNvSpPr>
            <p:nvPr/>
          </p:nvSpPr>
          <p:spPr bwMode="auto">
            <a:xfrm>
              <a:off x="7533504" y="3610076"/>
              <a:ext cx="5017" cy="3515"/>
            </a:xfrm>
            <a:custGeom>
              <a:avLst/>
              <a:gdLst>
                <a:gd name="T0" fmla="*/ 7630664 w 11"/>
                <a:gd name="T1" fmla="*/ 2947589 h 7"/>
                <a:gd name="T2" fmla="*/ 6840539 w 11"/>
                <a:gd name="T3" fmla="*/ 2947589 h 7"/>
                <a:gd name="T4" fmla="*/ 3587761 w 11"/>
                <a:gd name="T5" fmla="*/ 1213713 h 7"/>
                <a:gd name="T6" fmla="*/ 0 w 11"/>
                <a:gd name="T7" fmla="*/ 0 h 7"/>
                <a:gd name="T8" fmla="*/ 0 w 11"/>
                <a:gd name="T9" fmla="*/ 1213713 h 7"/>
                <a:gd name="T10" fmla="*/ 3587761 w 11"/>
                <a:gd name="T11" fmla="*/ 5930334 h 7"/>
                <a:gd name="T12" fmla="*/ 6840539 w 11"/>
                <a:gd name="T13" fmla="*/ 7158428 h 7"/>
                <a:gd name="T14" fmla="*/ 8480159 w 11"/>
                <a:gd name="T15" fmla="*/ 10226328 h 7"/>
                <a:gd name="T16" fmla="*/ 10341118 w 11"/>
                <a:gd name="T17" fmla="*/ 10226328 h 7"/>
                <a:gd name="T18" fmla="*/ 10341118 w 11"/>
                <a:gd name="T19" fmla="*/ 7158428 h 7"/>
                <a:gd name="T20" fmla="*/ 7630664 w 11"/>
                <a:gd name="T21" fmla="*/ 2947589 h 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7"/>
                <a:gd name="T35" fmla="*/ 11 w 11"/>
                <a:gd name="T36" fmla="*/ 7 h 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7">
                  <a:moveTo>
                    <a:pt x="8" y="2"/>
                  </a:moveTo>
                  <a:cubicBezTo>
                    <a:pt x="8" y="2"/>
                    <a:pt x="7" y="2"/>
                    <a:pt x="7" y="2"/>
                  </a:cubicBezTo>
                  <a:cubicBezTo>
                    <a:pt x="6" y="1"/>
                    <a:pt x="5" y="2"/>
                    <a:pt x="4" y="1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2"/>
                    <a:pt x="2" y="4"/>
                    <a:pt x="4" y="4"/>
                  </a:cubicBezTo>
                  <a:cubicBezTo>
                    <a:pt x="5" y="5"/>
                    <a:pt x="6" y="5"/>
                    <a:pt x="7" y="5"/>
                  </a:cubicBezTo>
                  <a:cubicBezTo>
                    <a:pt x="8" y="6"/>
                    <a:pt x="9" y="6"/>
                    <a:pt x="9" y="7"/>
                  </a:cubicBezTo>
                  <a:cubicBezTo>
                    <a:pt x="10" y="7"/>
                    <a:pt x="11" y="7"/>
                    <a:pt x="11" y="7"/>
                  </a:cubicBezTo>
                  <a:cubicBezTo>
                    <a:pt x="11" y="6"/>
                    <a:pt x="11" y="6"/>
                    <a:pt x="11" y="5"/>
                  </a:cubicBezTo>
                  <a:cubicBezTo>
                    <a:pt x="10" y="4"/>
                    <a:pt x="9" y="4"/>
                    <a:pt x="8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9" name="Freeform 190"/>
            <p:cNvSpPr>
              <a:spLocks/>
            </p:cNvSpPr>
            <p:nvPr/>
          </p:nvSpPr>
          <p:spPr bwMode="auto">
            <a:xfrm>
              <a:off x="7541280" y="3612780"/>
              <a:ext cx="3261" cy="5948"/>
            </a:xfrm>
            <a:custGeom>
              <a:avLst/>
              <a:gdLst>
                <a:gd name="T0" fmla="*/ 3397424 w 7"/>
                <a:gd name="T1" fmla="*/ 13411727 h 12"/>
                <a:gd name="T2" fmla="*/ 1724631 w 7"/>
                <a:gd name="T3" fmla="*/ 2772543 h 12"/>
                <a:gd name="T4" fmla="*/ 1724631 w 7"/>
                <a:gd name="T5" fmla="*/ 1147259 h 12"/>
                <a:gd name="T6" fmla="*/ 505778 w 7"/>
                <a:gd name="T7" fmla="*/ 0 h 12"/>
                <a:gd name="T8" fmla="*/ 505778 w 7"/>
                <a:gd name="T9" fmla="*/ 8321772 h 12"/>
                <a:gd name="T10" fmla="*/ 2642432 w 7"/>
                <a:gd name="T11" fmla="*/ 16192411 h 12"/>
                <a:gd name="T12" fmla="*/ 3942014 w 7"/>
                <a:gd name="T13" fmla="*/ 16192411 h 12"/>
                <a:gd name="T14" fmla="*/ 3397424 w 7"/>
                <a:gd name="T15" fmla="*/ 1341172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12"/>
                <a:gd name="T26" fmla="*/ 7 w 7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12">
                  <a:moveTo>
                    <a:pt x="6" y="10"/>
                  </a:moveTo>
                  <a:cubicBezTo>
                    <a:pt x="4" y="8"/>
                    <a:pt x="5" y="5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0" y="2"/>
                    <a:pt x="1" y="4"/>
                    <a:pt x="1" y="6"/>
                  </a:cubicBezTo>
                  <a:cubicBezTo>
                    <a:pt x="2" y="8"/>
                    <a:pt x="3" y="10"/>
                    <a:pt x="5" y="12"/>
                  </a:cubicBezTo>
                  <a:cubicBezTo>
                    <a:pt x="6" y="12"/>
                    <a:pt x="6" y="12"/>
                    <a:pt x="7" y="12"/>
                  </a:cubicBezTo>
                  <a:cubicBezTo>
                    <a:pt x="7" y="12"/>
                    <a:pt x="7" y="11"/>
                    <a:pt x="6" y="1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0" name="Freeform 191"/>
            <p:cNvSpPr>
              <a:spLocks/>
            </p:cNvSpPr>
            <p:nvPr/>
          </p:nvSpPr>
          <p:spPr bwMode="auto">
            <a:xfrm>
              <a:off x="7537016" y="3617647"/>
              <a:ext cx="4264" cy="1893"/>
            </a:xfrm>
            <a:custGeom>
              <a:avLst/>
              <a:gdLst>
                <a:gd name="T0" fmla="*/ 6253179 w 9"/>
                <a:gd name="T1" fmla="*/ 941139 h 4"/>
                <a:gd name="T2" fmla="*/ 5234180 w 9"/>
                <a:gd name="T3" fmla="*/ 418284 h 4"/>
                <a:gd name="T4" fmla="*/ 0 w 9"/>
                <a:gd name="T5" fmla="*/ 0 h 4"/>
                <a:gd name="T6" fmla="*/ 1697572 w 9"/>
                <a:gd name="T7" fmla="*/ 1359459 h 4"/>
                <a:gd name="T8" fmla="*/ 6931749 w 9"/>
                <a:gd name="T9" fmla="*/ 1699274 h 4"/>
                <a:gd name="T10" fmla="*/ 6253179 w 9"/>
                <a:gd name="T11" fmla="*/ 941139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4"/>
                <a:gd name="T20" fmla="*/ 9 w 9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4">
                  <a:moveTo>
                    <a:pt x="8" y="2"/>
                  </a:moveTo>
                  <a:cubicBezTo>
                    <a:pt x="8" y="1"/>
                    <a:pt x="7" y="1"/>
                    <a:pt x="7" y="1"/>
                  </a:cubicBezTo>
                  <a:cubicBezTo>
                    <a:pt x="5" y="0"/>
                    <a:pt x="2" y="1"/>
                    <a:pt x="0" y="0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4" y="4"/>
                    <a:pt x="7" y="4"/>
                    <a:pt x="9" y="4"/>
                  </a:cubicBezTo>
                  <a:cubicBezTo>
                    <a:pt x="9" y="3"/>
                    <a:pt x="9" y="2"/>
                    <a:pt x="8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1" name="Freeform 192"/>
            <p:cNvSpPr>
              <a:spLocks/>
            </p:cNvSpPr>
            <p:nvPr/>
          </p:nvSpPr>
          <p:spPr bwMode="auto">
            <a:xfrm>
              <a:off x="7543036" y="3621162"/>
              <a:ext cx="4264" cy="2974"/>
            </a:xfrm>
            <a:custGeom>
              <a:avLst/>
              <a:gdLst>
                <a:gd name="T0" fmla="*/ 13330806 w 9"/>
                <a:gd name="T1" fmla="*/ 2243220 h 6"/>
                <a:gd name="T2" fmla="*/ 6550065 w 9"/>
                <a:gd name="T3" fmla="*/ 727531 h 6"/>
                <a:gd name="T4" fmla="*/ 4692541 w 9"/>
                <a:gd name="T5" fmla="*/ 0 h 6"/>
                <a:gd name="T6" fmla="*/ 1324701 w 9"/>
                <a:gd name="T7" fmla="*/ 0 h 6"/>
                <a:gd name="T8" fmla="*/ 1324701 w 9"/>
                <a:gd name="T9" fmla="*/ 1697572 h 6"/>
                <a:gd name="T10" fmla="*/ 7915496 w 9"/>
                <a:gd name="T11" fmla="*/ 4688532 h 6"/>
                <a:gd name="T12" fmla="*/ 14708563 w 9"/>
                <a:gd name="T13" fmla="*/ 4688532 h 6"/>
                <a:gd name="T14" fmla="*/ 14708563 w 9"/>
                <a:gd name="T15" fmla="*/ 2970751 h 6"/>
                <a:gd name="T16" fmla="*/ 11470653 w 9"/>
                <a:gd name="T17" fmla="*/ 224322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6"/>
                <a:gd name="T29" fmla="*/ 9 w 9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6">
                  <a:moveTo>
                    <a:pt x="8" y="3"/>
                  </a:moveTo>
                  <a:cubicBezTo>
                    <a:pt x="6" y="2"/>
                    <a:pt x="5" y="2"/>
                    <a:pt x="4" y="1"/>
                  </a:cubicBezTo>
                  <a:cubicBezTo>
                    <a:pt x="4" y="1"/>
                    <a:pt x="3" y="1"/>
                    <a:pt x="3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2" y="4"/>
                    <a:pt x="3" y="5"/>
                    <a:pt x="5" y="6"/>
                  </a:cubicBezTo>
                  <a:cubicBezTo>
                    <a:pt x="6" y="6"/>
                    <a:pt x="8" y="6"/>
                    <a:pt x="9" y="6"/>
                  </a:cubicBezTo>
                  <a:cubicBezTo>
                    <a:pt x="9" y="5"/>
                    <a:pt x="9" y="4"/>
                    <a:pt x="9" y="4"/>
                  </a:cubicBezTo>
                  <a:cubicBezTo>
                    <a:pt x="8" y="3"/>
                    <a:pt x="8" y="3"/>
                    <a:pt x="7" y="3"/>
                  </a:cubicBezTo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2" name="Freeform 193"/>
            <p:cNvSpPr>
              <a:spLocks/>
            </p:cNvSpPr>
            <p:nvPr/>
          </p:nvSpPr>
          <p:spPr bwMode="auto">
            <a:xfrm>
              <a:off x="7559089" y="3622784"/>
              <a:ext cx="2257" cy="1352"/>
            </a:xfrm>
            <a:custGeom>
              <a:avLst/>
              <a:gdLst>
                <a:gd name="T0" fmla="*/ 940581 w 5"/>
                <a:gd name="T1" fmla="*/ 0 h 3"/>
                <a:gd name="T2" fmla="*/ 257371 w 5"/>
                <a:gd name="T3" fmla="*/ 1697572 h 3"/>
                <a:gd name="T4" fmla="*/ 1245675 w 5"/>
                <a:gd name="T5" fmla="*/ 1697572 h 3"/>
                <a:gd name="T6" fmla="*/ 1500783 w 5"/>
                <a:gd name="T7" fmla="*/ 0 h 3"/>
                <a:gd name="T8" fmla="*/ 940581 w 5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3" y="0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5" y="2"/>
                    <a:pt x="5" y="1"/>
                    <a:pt x="5" y="0"/>
                  </a:cubicBezTo>
                  <a:cubicBezTo>
                    <a:pt x="4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3" name="Freeform 194"/>
            <p:cNvSpPr>
              <a:spLocks/>
            </p:cNvSpPr>
            <p:nvPr/>
          </p:nvSpPr>
          <p:spPr bwMode="auto">
            <a:xfrm>
              <a:off x="7549307" y="3665774"/>
              <a:ext cx="10033" cy="10004"/>
            </a:xfrm>
            <a:custGeom>
              <a:avLst/>
              <a:gdLst>
                <a:gd name="T0" fmla="*/ 18819602 w 22"/>
                <a:gd name="T1" fmla="*/ 12213087 h 21"/>
                <a:gd name="T2" fmla="*/ 16168539 w 22"/>
                <a:gd name="T3" fmla="*/ 9242332 h 21"/>
                <a:gd name="T4" fmla="*/ 15293852 w 22"/>
                <a:gd name="T5" fmla="*/ 8614988 h 21"/>
                <a:gd name="T6" fmla="*/ 11216146 w 22"/>
                <a:gd name="T7" fmla="*/ 7659274 h 21"/>
                <a:gd name="T8" fmla="*/ 9698926 w 22"/>
                <a:gd name="T9" fmla="*/ 6931750 h 21"/>
                <a:gd name="T10" fmla="*/ 8480159 w 22"/>
                <a:gd name="T11" fmla="*/ 4688532 h 21"/>
                <a:gd name="T12" fmla="*/ 2894074 w 22"/>
                <a:gd name="T13" fmla="*/ 727531 h 21"/>
                <a:gd name="T14" fmla="*/ 2007625 w 22"/>
                <a:gd name="T15" fmla="*/ 0 h 21"/>
                <a:gd name="T16" fmla="*/ 0 w 22"/>
                <a:gd name="T17" fmla="*/ 0 h 21"/>
                <a:gd name="T18" fmla="*/ 0 w 22"/>
                <a:gd name="T19" fmla="*/ 1697572 h 21"/>
                <a:gd name="T20" fmla="*/ 4745295 w 22"/>
                <a:gd name="T21" fmla="*/ 7659274 h 21"/>
                <a:gd name="T22" fmla="*/ 7630664 w 22"/>
                <a:gd name="T23" fmla="*/ 8614988 h 21"/>
                <a:gd name="T24" fmla="*/ 10341118 w 22"/>
                <a:gd name="T25" fmla="*/ 10939909 h 21"/>
                <a:gd name="T26" fmla="*/ 14073923 w 22"/>
                <a:gd name="T27" fmla="*/ 11620010 h 21"/>
                <a:gd name="T28" fmla="*/ 14073923 w 22"/>
                <a:gd name="T29" fmla="*/ 12213087 h 21"/>
                <a:gd name="T30" fmla="*/ 15293852 w 22"/>
                <a:gd name="T31" fmla="*/ 14590762 h 21"/>
                <a:gd name="T32" fmla="*/ 20043998 w 22"/>
                <a:gd name="T33" fmla="*/ 15628432 h 21"/>
                <a:gd name="T34" fmla="*/ 20043998 w 22"/>
                <a:gd name="T35" fmla="*/ 13184929 h 21"/>
                <a:gd name="T36" fmla="*/ 18819602 w 22"/>
                <a:gd name="T37" fmla="*/ 12213087 h 21"/>
                <a:gd name="T38" fmla="*/ 18819602 w 22"/>
                <a:gd name="T39" fmla="*/ 12213087 h 2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"/>
                <a:gd name="T61" fmla="*/ 0 h 21"/>
                <a:gd name="T62" fmla="*/ 22 w 22"/>
                <a:gd name="T63" fmla="*/ 21 h 2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" h="21">
                  <a:moveTo>
                    <a:pt x="20" y="16"/>
                  </a:moveTo>
                  <a:cubicBezTo>
                    <a:pt x="19" y="15"/>
                    <a:pt x="18" y="14"/>
                    <a:pt x="17" y="12"/>
                  </a:cubicBezTo>
                  <a:cubicBezTo>
                    <a:pt x="17" y="12"/>
                    <a:pt x="17" y="11"/>
                    <a:pt x="16" y="11"/>
                  </a:cubicBezTo>
                  <a:cubicBezTo>
                    <a:pt x="15" y="11"/>
                    <a:pt x="13" y="11"/>
                    <a:pt x="12" y="10"/>
                  </a:cubicBezTo>
                  <a:cubicBezTo>
                    <a:pt x="11" y="10"/>
                    <a:pt x="11" y="9"/>
                    <a:pt x="10" y="9"/>
                  </a:cubicBezTo>
                  <a:cubicBezTo>
                    <a:pt x="10" y="8"/>
                    <a:pt x="10" y="7"/>
                    <a:pt x="9" y="6"/>
                  </a:cubicBezTo>
                  <a:cubicBezTo>
                    <a:pt x="8" y="4"/>
                    <a:pt x="5" y="3"/>
                    <a:pt x="3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2"/>
                    <a:pt x="0" y="2"/>
                  </a:cubicBezTo>
                  <a:cubicBezTo>
                    <a:pt x="2" y="5"/>
                    <a:pt x="3" y="7"/>
                    <a:pt x="5" y="10"/>
                  </a:cubicBezTo>
                  <a:cubicBezTo>
                    <a:pt x="6" y="11"/>
                    <a:pt x="7" y="11"/>
                    <a:pt x="8" y="11"/>
                  </a:cubicBezTo>
                  <a:cubicBezTo>
                    <a:pt x="9" y="12"/>
                    <a:pt x="10" y="13"/>
                    <a:pt x="11" y="14"/>
                  </a:cubicBezTo>
                  <a:cubicBezTo>
                    <a:pt x="12" y="16"/>
                    <a:pt x="13" y="15"/>
                    <a:pt x="15" y="15"/>
                  </a:cubicBezTo>
                  <a:cubicBezTo>
                    <a:pt x="15" y="15"/>
                    <a:pt x="15" y="16"/>
                    <a:pt x="15" y="16"/>
                  </a:cubicBezTo>
                  <a:cubicBezTo>
                    <a:pt x="16" y="17"/>
                    <a:pt x="15" y="18"/>
                    <a:pt x="16" y="19"/>
                  </a:cubicBezTo>
                  <a:cubicBezTo>
                    <a:pt x="17" y="20"/>
                    <a:pt x="19" y="21"/>
                    <a:pt x="21" y="20"/>
                  </a:cubicBezTo>
                  <a:cubicBezTo>
                    <a:pt x="22" y="20"/>
                    <a:pt x="22" y="19"/>
                    <a:pt x="21" y="17"/>
                  </a:cubicBezTo>
                  <a:cubicBezTo>
                    <a:pt x="21" y="17"/>
                    <a:pt x="21" y="17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4" name="Freeform 195"/>
            <p:cNvSpPr>
              <a:spLocks/>
            </p:cNvSpPr>
            <p:nvPr/>
          </p:nvSpPr>
          <p:spPr bwMode="auto">
            <a:xfrm>
              <a:off x="7559340" y="3667126"/>
              <a:ext cx="1505" cy="3245"/>
            </a:xfrm>
            <a:custGeom>
              <a:avLst/>
              <a:gdLst>
                <a:gd name="T0" fmla="*/ 2243220 w 3"/>
                <a:gd name="T1" fmla="*/ 2642432 h 7"/>
                <a:gd name="T2" fmla="*/ 2243220 w 3"/>
                <a:gd name="T3" fmla="*/ 1156064 h 7"/>
                <a:gd name="T4" fmla="*/ 727531 w 3"/>
                <a:gd name="T5" fmla="*/ 505778 h 7"/>
                <a:gd name="T6" fmla="*/ 0 w 3"/>
                <a:gd name="T7" fmla="*/ 2234466 h 7"/>
                <a:gd name="T8" fmla="*/ 727531 w 3"/>
                <a:gd name="T9" fmla="*/ 3397424 h 7"/>
                <a:gd name="T10" fmla="*/ 1697572 w 3"/>
                <a:gd name="T11" fmla="*/ 3942014 h 7"/>
                <a:gd name="T12" fmla="*/ 2243220 w 3"/>
                <a:gd name="T13" fmla="*/ 2642432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7"/>
                <a:gd name="T23" fmla="*/ 3 w 3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7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2" y="1"/>
                    <a:pt x="1" y="0"/>
                    <a:pt x="1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6"/>
                    <a:pt x="2" y="7"/>
                    <a:pt x="2" y="7"/>
                  </a:cubicBezTo>
                  <a:cubicBezTo>
                    <a:pt x="3" y="6"/>
                    <a:pt x="3" y="6"/>
                    <a:pt x="3" y="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5" name="Freeform 196"/>
            <p:cNvSpPr>
              <a:spLocks/>
            </p:cNvSpPr>
            <p:nvPr/>
          </p:nvSpPr>
          <p:spPr bwMode="auto">
            <a:xfrm>
              <a:off x="7562601" y="3671182"/>
              <a:ext cx="1003" cy="1352"/>
            </a:xfrm>
            <a:custGeom>
              <a:avLst/>
              <a:gdLst>
                <a:gd name="T0" fmla="*/ 65536 w 2"/>
                <a:gd name="T1" fmla="*/ 0 h 3"/>
                <a:gd name="T2" fmla="*/ 0 w 2"/>
                <a:gd name="T3" fmla="*/ 0 h 3"/>
                <a:gd name="T4" fmla="*/ 0 w 2"/>
                <a:gd name="T5" fmla="*/ 1697572 h 3"/>
                <a:gd name="T6" fmla="*/ 65536 w 2"/>
                <a:gd name="T7" fmla="*/ 2243220 h 3"/>
                <a:gd name="T8" fmla="*/ 65536 w 2"/>
                <a:gd name="T9" fmla="*/ 0 h 3"/>
                <a:gd name="T10" fmla="*/ 65536 w 2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3"/>
                <a:gd name="T20" fmla="*/ 2 w 2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3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2"/>
                    <a:pt x="2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6" name="Freeform 197"/>
            <p:cNvSpPr>
              <a:spLocks/>
            </p:cNvSpPr>
            <p:nvPr/>
          </p:nvSpPr>
          <p:spPr bwMode="auto">
            <a:xfrm>
              <a:off x="7535009" y="3793664"/>
              <a:ext cx="2508" cy="2974"/>
            </a:xfrm>
            <a:custGeom>
              <a:avLst/>
              <a:gdLst>
                <a:gd name="T0" fmla="*/ 6131150 w 5"/>
                <a:gd name="T1" fmla="*/ 4768082 h 6"/>
                <a:gd name="T2" fmla="*/ 6131150 w 5"/>
                <a:gd name="T3" fmla="*/ 2975593 h 6"/>
                <a:gd name="T4" fmla="*/ 5085394 w 5"/>
                <a:gd name="T5" fmla="*/ 0 h 6"/>
                <a:gd name="T6" fmla="*/ 3577445 w 5"/>
                <a:gd name="T7" fmla="*/ 0 h 6"/>
                <a:gd name="T8" fmla="*/ 2554647 w 5"/>
                <a:gd name="T9" fmla="*/ 7438980 h 6"/>
                <a:gd name="T10" fmla="*/ 0 w 5"/>
                <a:gd name="T11" fmla="*/ 11920201 h 6"/>
                <a:gd name="T12" fmla="*/ 0 w 5"/>
                <a:gd name="T13" fmla="*/ 13878121 h 6"/>
                <a:gd name="T14" fmla="*/ 1064436 w 5"/>
                <a:gd name="T15" fmla="*/ 13878121 h 6"/>
                <a:gd name="T16" fmla="*/ 2554647 w 5"/>
                <a:gd name="T17" fmla="*/ 11920201 h 6"/>
                <a:gd name="T18" fmla="*/ 5085394 w 5"/>
                <a:gd name="T19" fmla="*/ 11920201 h 6"/>
                <a:gd name="T20" fmla="*/ 6131150 w 5"/>
                <a:gd name="T21" fmla="*/ 4768082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"/>
                <a:gd name="T34" fmla="*/ 0 h 6"/>
                <a:gd name="T35" fmla="*/ 5 w 5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" h="6">
                  <a:moveTo>
                    <a:pt x="5" y="2"/>
                  </a:moveTo>
                  <a:cubicBezTo>
                    <a:pt x="5" y="2"/>
                    <a:pt x="5" y="2"/>
                    <a:pt x="5" y="1"/>
                  </a:cubicBezTo>
                  <a:cubicBezTo>
                    <a:pt x="5" y="1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1"/>
                    <a:pt x="3" y="2"/>
                    <a:pt x="2" y="3"/>
                  </a:cubicBezTo>
                  <a:cubicBezTo>
                    <a:pt x="1" y="4"/>
                    <a:pt x="1" y="4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2" y="5"/>
                    <a:pt x="2" y="5"/>
                  </a:cubicBezTo>
                  <a:cubicBezTo>
                    <a:pt x="3" y="5"/>
                    <a:pt x="4" y="5"/>
                    <a:pt x="4" y="5"/>
                  </a:cubicBezTo>
                  <a:cubicBezTo>
                    <a:pt x="5" y="4"/>
                    <a:pt x="5" y="3"/>
                    <a:pt x="5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7" name="Freeform 198"/>
            <p:cNvSpPr>
              <a:spLocks/>
            </p:cNvSpPr>
            <p:nvPr/>
          </p:nvSpPr>
          <p:spPr bwMode="auto">
            <a:xfrm>
              <a:off x="7532752" y="3761759"/>
              <a:ext cx="34614" cy="31905"/>
            </a:xfrm>
            <a:custGeom>
              <a:avLst/>
              <a:gdLst>
                <a:gd name="T0" fmla="*/ 32344177 w 74"/>
                <a:gd name="T1" fmla="*/ 26575640 h 66"/>
                <a:gd name="T2" fmla="*/ 25822810 w 74"/>
                <a:gd name="T3" fmla="*/ 29952252 h 66"/>
                <a:gd name="T4" fmla="*/ 23962210 w 74"/>
                <a:gd name="T5" fmla="*/ 31080370 h 66"/>
                <a:gd name="T6" fmla="*/ 18968408 w 74"/>
                <a:gd name="T7" fmla="*/ 31667115 h 66"/>
                <a:gd name="T8" fmla="*/ 12510731 w 74"/>
                <a:gd name="T9" fmla="*/ 37552171 h 66"/>
                <a:gd name="T10" fmla="*/ 9756111 w 74"/>
                <a:gd name="T11" fmla="*/ 39471342 h 66"/>
                <a:gd name="T12" fmla="*/ 5628738 w 74"/>
                <a:gd name="T13" fmla="*/ 41916133 h 66"/>
                <a:gd name="T14" fmla="*/ 2910108 w 74"/>
                <a:gd name="T15" fmla="*/ 43774065 h 66"/>
                <a:gd name="T16" fmla="*/ 0 w 74"/>
                <a:gd name="T17" fmla="*/ 50638176 h 66"/>
                <a:gd name="T18" fmla="*/ 0 w 74"/>
                <a:gd name="T19" fmla="*/ 51372932 h 66"/>
                <a:gd name="T20" fmla="*/ 3611742 w 74"/>
                <a:gd name="T21" fmla="*/ 52164089 h 66"/>
                <a:gd name="T22" fmla="*/ 4776873 w 74"/>
                <a:gd name="T23" fmla="*/ 52164089 h 66"/>
                <a:gd name="T24" fmla="*/ 6882012 w 74"/>
                <a:gd name="T25" fmla="*/ 51372932 h 66"/>
                <a:gd name="T26" fmla="*/ 8541281 w 74"/>
                <a:gd name="T27" fmla="*/ 51372932 h 66"/>
                <a:gd name="T28" fmla="*/ 10426217 w 74"/>
                <a:gd name="T29" fmla="*/ 53287566 h 66"/>
                <a:gd name="T30" fmla="*/ 11296657 w 74"/>
                <a:gd name="T31" fmla="*/ 53287566 h 66"/>
                <a:gd name="T32" fmla="*/ 12510731 w 74"/>
                <a:gd name="T33" fmla="*/ 54665206 h 66"/>
                <a:gd name="T34" fmla="*/ 16275026 w 74"/>
                <a:gd name="T35" fmla="*/ 55730365 h 66"/>
                <a:gd name="T36" fmla="*/ 18968408 w 74"/>
                <a:gd name="T37" fmla="*/ 56521522 h 66"/>
                <a:gd name="T38" fmla="*/ 21943090 w 74"/>
                <a:gd name="T39" fmla="*/ 54022397 h 66"/>
                <a:gd name="T40" fmla="*/ 24656591 w 74"/>
                <a:gd name="T41" fmla="*/ 52164089 h 66"/>
                <a:gd name="T42" fmla="*/ 29586178 w 74"/>
                <a:gd name="T43" fmla="*/ 49514774 h 66"/>
                <a:gd name="T44" fmla="*/ 32344177 w 74"/>
                <a:gd name="T45" fmla="*/ 48928104 h 66"/>
                <a:gd name="T46" fmla="*/ 32344177 w 74"/>
                <a:gd name="T47" fmla="*/ 48137360 h 66"/>
                <a:gd name="T48" fmla="*/ 33558960 w 74"/>
                <a:gd name="T49" fmla="*/ 44564433 h 66"/>
                <a:gd name="T50" fmla="*/ 37327078 w 74"/>
                <a:gd name="T51" fmla="*/ 42706163 h 66"/>
                <a:gd name="T52" fmla="*/ 38488226 w 74"/>
                <a:gd name="T53" fmla="*/ 41916133 h 66"/>
                <a:gd name="T54" fmla="*/ 39227047 w 74"/>
                <a:gd name="T55" fmla="*/ 36821961 h 66"/>
                <a:gd name="T56" fmla="*/ 39227047 w 74"/>
                <a:gd name="T57" fmla="*/ 34316467 h 66"/>
                <a:gd name="T58" fmla="*/ 46229021 w 74"/>
                <a:gd name="T59" fmla="*/ 31667115 h 66"/>
                <a:gd name="T60" fmla="*/ 46229021 w 74"/>
                <a:gd name="T61" fmla="*/ 31667115 h 66"/>
                <a:gd name="T62" fmla="*/ 46874648 w 74"/>
                <a:gd name="T63" fmla="*/ 31080370 h 66"/>
                <a:gd name="T64" fmla="*/ 48922280 w 74"/>
                <a:gd name="T65" fmla="*/ 31080370 h 66"/>
                <a:gd name="T66" fmla="*/ 50639095 w 74"/>
                <a:gd name="T67" fmla="*/ 29952252 h 66"/>
                <a:gd name="T68" fmla="*/ 52526143 w 74"/>
                <a:gd name="T69" fmla="*/ 29222099 h 66"/>
                <a:gd name="T70" fmla="*/ 53395619 w 74"/>
                <a:gd name="T71" fmla="*/ 29952252 h 66"/>
                <a:gd name="T72" fmla="*/ 54561818 w 74"/>
                <a:gd name="T73" fmla="*/ 29952252 h 66"/>
                <a:gd name="T74" fmla="*/ 55415931 w 74"/>
                <a:gd name="T75" fmla="*/ 29222099 h 66"/>
                <a:gd name="T76" fmla="*/ 53395619 w 74"/>
                <a:gd name="T77" fmla="*/ 28431073 h 66"/>
                <a:gd name="T78" fmla="*/ 53395619 w 74"/>
                <a:gd name="T79" fmla="*/ 25447898 h 66"/>
                <a:gd name="T80" fmla="*/ 54561818 w 74"/>
                <a:gd name="T81" fmla="*/ 24858522 h 66"/>
                <a:gd name="T82" fmla="*/ 61067426 w 74"/>
                <a:gd name="T83" fmla="*/ 19704277 h 66"/>
                <a:gd name="T84" fmla="*/ 65842332 w 74"/>
                <a:gd name="T85" fmla="*/ 13820897 h 66"/>
                <a:gd name="T86" fmla="*/ 70837190 w 74"/>
                <a:gd name="T87" fmla="*/ 8390214 h 66"/>
                <a:gd name="T88" fmla="*/ 68819866 w 74"/>
                <a:gd name="T89" fmla="*/ 7013129 h 66"/>
                <a:gd name="T90" fmla="*/ 68819866 w 74"/>
                <a:gd name="T91" fmla="*/ 5885030 h 66"/>
                <a:gd name="T92" fmla="*/ 69967298 w 74"/>
                <a:gd name="T93" fmla="*/ 5154873 h 66"/>
                <a:gd name="T94" fmla="*/ 67950277 w 74"/>
                <a:gd name="T95" fmla="*/ 4363662 h 66"/>
                <a:gd name="T96" fmla="*/ 65208095 w 74"/>
                <a:gd name="T97" fmla="*/ 7013129 h 66"/>
                <a:gd name="T98" fmla="*/ 63177490 w 74"/>
                <a:gd name="T99" fmla="*/ 7599865 h 66"/>
                <a:gd name="T100" fmla="*/ 63177490 w 74"/>
                <a:gd name="T101" fmla="*/ 5154873 h 66"/>
                <a:gd name="T102" fmla="*/ 63177490 w 74"/>
                <a:gd name="T103" fmla="*/ 2505885 h 66"/>
                <a:gd name="T104" fmla="*/ 62298026 w 74"/>
                <a:gd name="T105" fmla="*/ 791181 h 66"/>
                <a:gd name="T106" fmla="*/ 54561818 w 74"/>
                <a:gd name="T107" fmla="*/ 5154873 h 66"/>
                <a:gd name="T108" fmla="*/ 54561818 w 74"/>
                <a:gd name="T109" fmla="*/ 7013129 h 66"/>
                <a:gd name="T110" fmla="*/ 53395619 w 74"/>
                <a:gd name="T111" fmla="*/ 7599865 h 66"/>
                <a:gd name="T112" fmla="*/ 47767810 w 74"/>
                <a:gd name="T113" fmla="*/ 12753868 h 66"/>
                <a:gd name="T114" fmla="*/ 46874648 w 74"/>
                <a:gd name="T115" fmla="*/ 14612177 h 66"/>
                <a:gd name="T116" fmla="*/ 46874648 w 74"/>
                <a:gd name="T117" fmla="*/ 14612177 h 66"/>
                <a:gd name="T118" fmla="*/ 42990066 w 74"/>
                <a:gd name="T119" fmla="*/ 19704277 h 66"/>
                <a:gd name="T120" fmla="*/ 40020440 w 74"/>
                <a:gd name="T121" fmla="*/ 21562078 h 66"/>
                <a:gd name="T122" fmla="*/ 33558960 w 74"/>
                <a:gd name="T123" fmla="*/ 25447898 h 66"/>
                <a:gd name="T124" fmla="*/ 32344177 w 74"/>
                <a:gd name="T125" fmla="*/ 26575640 h 6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4"/>
                <a:gd name="T190" fmla="*/ 0 h 66"/>
                <a:gd name="T191" fmla="*/ 74 w 74"/>
                <a:gd name="T192" fmla="*/ 66 h 6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4" h="66">
                  <a:moveTo>
                    <a:pt x="34" y="31"/>
                  </a:moveTo>
                  <a:cubicBezTo>
                    <a:pt x="31" y="31"/>
                    <a:pt x="30" y="33"/>
                    <a:pt x="27" y="35"/>
                  </a:cubicBezTo>
                  <a:cubicBezTo>
                    <a:pt x="26" y="35"/>
                    <a:pt x="26" y="36"/>
                    <a:pt x="25" y="36"/>
                  </a:cubicBezTo>
                  <a:cubicBezTo>
                    <a:pt x="23" y="37"/>
                    <a:pt x="22" y="37"/>
                    <a:pt x="20" y="37"/>
                  </a:cubicBezTo>
                  <a:cubicBezTo>
                    <a:pt x="18" y="39"/>
                    <a:pt x="15" y="42"/>
                    <a:pt x="13" y="44"/>
                  </a:cubicBezTo>
                  <a:cubicBezTo>
                    <a:pt x="12" y="45"/>
                    <a:pt x="11" y="45"/>
                    <a:pt x="10" y="46"/>
                  </a:cubicBezTo>
                  <a:cubicBezTo>
                    <a:pt x="9" y="47"/>
                    <a:pt x="7" y="48"/>
                    <a:pt x="6" y="49"/>
                  </a:cubicBezTo>
                  <a:cubicBezTo>
                    <a:pt x="4" y="50"/>
                    <a:pt x="3" y="50"/>
                    <a:pt x="3" y="51"/>
                  </a:cubicBezTo>
                  <a:cubicBezTo>
                    <a:pt x="2" y="54"/>
                    <a:pt x="2" y="56"/>
                    <a:pt x="0" y="59"/>
                  </a:cubicBezTo>
                  <a:cubicBezTo>
                    <a:pt x="0" y="59"/>
                    <a:pt x="0" y="60"/>
                    <a:pt x="0" y="60"/>
                  </a:cubicBezTo>
                  <a:cubicBezTo>
                    <a:pt x="2" y="60"/>
                    <a:pt x="3" y="60"/>
                    <a:pt x="4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" y="61"/>
                    <a:pt x="6" y="60"/>
                    <a:pt x="7" y="60"/>
                  </a:cubicBezTo>
                  <a:cubicBezTo>
                    <a:pt x="8" y="60"/>
                    <a:pt x="9" y="60"/>
                    <a:pt x="9" y="60"/>
                  </a:cubicBezTo>
                  <a:cubicBezTo>
                    <a:pt x="10" y="61"/>
                    <a:pt x="11" y="61"/>
                    <a:pt x="11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3" y="63"/>
                    <a:pt x="13" y="64"/>
                    <a:pt x="13" y="64"/>
                  </a:cubicBezTo>
                  <a:cubicBezTo>
                    <a:pt x="14" y="65"/>
                    <a:pt x="16" y="64"/>
                    <a:pt x="17" y="65"/>
                  </a:cubicBezTo>
                  <a:cubicBezTo>
                    <a:pt x="18" y="66"/>
                    <a:pt x="19" y="66"/>
                    <a:pt x="20" y="66"/>
                  </a:cubicBezTo>
                  <a:cubicBezTo>
                    <a:pt x="22" y="65"/>
                    <a:pt x="22" y="64"/>
                    <a:pt x="23" y="63"/>
                  </a:cubicBezTo>
                  <a:cubicBezTo>
                    <a:pt x="24" y="62"/>
                    <a:pt x="25" y="61"/>
                    <a:pt x="26" y="61"/>
                  </a:cubicBezTo>
                  <a:cubicBezTo>
                    <a:pt x="28" y="60"/>
                    <a:pt x="29" y="59"/>
                    <a:pt x="31" y="58"/>
                  </a:cubicBezTo>
                  <a:cubicBezTo>
                    <a:pt x="32" y="58"/>
                    <a:pt x="33" y="57"/>
                    <a:pt x="34" y="57"/>
                  </a:cubicBezTo>
                  <a:cubicBezTo>
                    <a:pt x="34" y="57"/>
                    <a:pt x="34" y="56"/>
                    <a:pt x="34" y="56"/>
                  </a:cubicBezTo>
                  <a:cubicBezTo>
                    <a:pt x="35" y="55"/>
                    <a:pt x="34" y="53"/>
                    <a:pt x="35" y="52"/>
                  </a:cubicBezTo>
                  <a:cubicBezTo>
                    <a:pt x="35" y="51"/>
                    <a:pt x="37" y="50"/>
                    <a:pt x="39" y="50"/>
                  </a:cubicBezTo>
                  <a:cubicBezTo>
                    <a:pt x="39" y="49"/>
                    <a:pt x="39" y="49"/>
                    <a:pt x="40" y="49"/>
                  </a:cubicBezTo>
                  <a:cubicBezTo>
                    <a:pt x="41" y="47"/>
                    <a:pt x="40" y="45"/>
                    <a:pt x="41" y="43"/>
                  </a:cubicBezTo>
                  <a:cubicBezTo>
                    <a:pt x="41" y="42"/>
                    <a:pt x="41" y="41"/>
                    <a:pt x="41" y="40"/>
                  </a:cubicBezTo>
                  <a:cubicBezTo>
                    <a:pt x="43" y="38"/>
                    <a:pt x="46" y="38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6"/>
                    <a:pt x="49" y="36"/>
                    <a:pt x="49" y="36"/>
                  </a:cubicBezTo>
                  <a:cubicBezTo>
                    <a:pt x="50" y="36"/>
                    <a:pt x="51" y="36"/>
                    <a:pt x="51" y="36"/>
                  </a:cubicBezTo>
                  <a:cubicBezTo>
                    <a:pt x="52" y="35"/>
                    <a:pt x="52" y="35"/>
                    <a:pt x="53" y="35"/>
                  </a:cubicBezTo>
                  <a:cubicBezTo>
                    <a:pt x="53" y="34"/>
                    <a:pt x="54" y="34"/>
                    <a:pt x="55" y="34"/>
                  </a:cubicBezTo>
                  <a:cubicBezTo>
                    <a:pt x="55" y="35"/>
                    <a:pt x="56" y="35"/>
                    <a:pt x="56" y="35"/>
                  </a:cubicBezTo>
                  <a:cubicBezTo>
                    <a:pt x="56" y="36"/>
                    <a:pt x="57" y="36"/>
                    <a:pt x="57" y="35"/>
                  </a:cubicBezTo>
                  <a:cubicBezTo>
                    <a:pt x="58" y="35"/>
                    <a:pt x="58" y="34"/>
                    <a:pt x="58" y="34"/>
                  </a:cubicBezTo>
                  <a:cubicBezTo>
                    <a:pt x="57" y="33"/>
                    <a:pt x="56" y="34"/>
                    <a:pt x="56" y="33"/>
                  </a:cubicBezTo>
                  <a:cubicBezTo>
                    <a:pt x="55" y="32"/>
                    <a:pt x="55" y="31"/>
                    <a:pt x="56" y="30"/>
                  </a:cubicBezTo>
                  <a:cubicBezTo>
                    <a:pt x="56" y="30"/>
                    <a:pt x="57" y="29"/>
                    <a:pt x="57" y="29"/>
                  </a:cubicBezTo>
                  <a:cubicBezTo>
                    <a:pt x="60" y="27"/>
                    <a:pt x="63" y="26"/>
                    <a:pt x="64" y="23"/>
                  </a:cubicBezTo>
                  <a:cubicBezTo>
                    <a:pt x="66" y="20"/>
                    <a:pt x="68" y="18"/>
                    <a:pt x="69" y="16"/>
                  </a:cubicBezTo>
                  <a:cubicBezTo>
                    <a:pt x="71" y="13"/>
                    <a:pt x="72" y="12"/>
                    <a:pt x="74" y="10"/>
                  </a:cubicBezTo>
                  <a:cubicBezTo>
                    <a:pt x="74" y="9"/>
                    <a:pt x="73" y="9"/>
                    <a:pt x="72" y="8"/>
                  </a:cubicBezTo>
                  <a:cubicBezTo>
                    <a:pt x="72" y="8"/>
                    <a:pt x="72" y="7"/>
                    <a:pt x="72" y="7"/>
                  </a:cubicBezTo>
                  <a:cubicBezTo>
                    <a:pt x="73" y="7"/>
                    <a:pt x="73" y="6"/>
                    <a:pt x="73" y="6"/>
                  </a:cubicBezTo>
                  <a:cubicBezTo>
                    <a:pt x="72" y="5"/>
                    <a:pt x="71" y="5"/>
                    <a:pt x="71" y="5"/>
                  </a:cubicBezTo>
                  <a:cubicBezTo>
                    <a:pt x="69" y="6"/>
                    <a:pt x="69" y="8"/>
                    <a:pt x="68" y="8"/>
                  </a:cubicBezTo>
                  <a:cubicBezTo>
                    <a:pt x="68" y="9"/>
                    <a:pt x="67" y="9"/>
                    <a:pt x="66" y="9"/>
                  </a:cubicBezTo>
                  <a:cubicBezTo>
                    <a:pt x="65" y="8"/>
                    <a:pt x="65" y="6"/>
                    <a:pt x="66" y="6"/>
                  </a:cubicBezTo>
                  <a:cubicBezTo>
                    <a:pt x="66" y="5"/>
                    <a:pt x="67" y="4"/>
                    <a:pt x="66" y="3"/>
                  </a:cubicBezTo>
                  <a:cubicBezTo>
                    <a:pt x="65" y="2"/>
                    <a:pt x="65" y="1"/>
                    <a:pt x="65" y="1"/>
                  </a:cubicBezTo>
                  <a:cubicBezTo>
                    <a:pt x="62" y="0"/>
                    <a:pt x="59" y="3"/>
                    <a:pt x="57" y="6"/>
                  </a:cubicBezTo>
                  <a:cubicBezTo>
                    <a:pt x="57" y="6"/>
                    <a:pt x="57" y="7"/>
                    <a:pt x="57" y="8"/>
                  </a:cubicBezTo>
                  <a:cubicBezTo>
                    <a:pt x="57" y="9"/>
                    <a:pt x="57" y="9"/>
                    <a:pt x="56" y="9"/>
                  </a:cubicBezTo>
                  <a:cubicBezTo>
                    <a:pt x="54" y="11"/>
                    <a:pt x="51" y="13"/>
                    <a:pt x="50" y="15"/>
                  </a:cubicBezTo>
                  <a:cubicBezTo>
                    <a:pt x="50" y="16"/>
                    <a:pt x="49" y="16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8" y="19"/>
                    <a:pt x="48" y="22"/>
                    <a:pt x="45" y="23"/>
                  </a:cubicBezTo>
                  <a:cubicBezTo>
                    <a:pt x="44" y="23"/>
                    <a:pt x="43" y="24"/>
                    <a:pt x="42" y="25"/>
                  </a:cubicBezTo>
                  <a:cubicBezTo>
                    <a:pt x="40" y="26"/>
                    <a:pt x="38" y="28"/>
                    <a:pt x="35" y="30"/>
                  </a:cubicBezTo>
                  <a:lnTo>
                    <a:pt x="34" y="31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8" name="Freeform 199"/>
            <p:cNvSpPr>
              <a:spLocks/>
            </p:cNvSpPr>
            <p:nvPr/>
          </p:nvSpPr>
          <p:spPr bwMode="auto">
            <a:xfrm>
              <a:off x="7568119" y="3731476"/>
              <a:ext cx="16053" cy="35960"/>
            </a:xfrm>
            <a:custGeom>
              <a:avLst/>
              <a:gdLst>
                <a:gd name="T0" fmla="*/ 17230952 w 35"/>
                <a:gd name="T1" fmla="*/ 56667379 h 74"/>
                <a:gd name="T2" fmla="*/ 13075344 w 35"/>
                <a:gd name="T3" fmla="*/ 61067426 h 74"/>
                <a:gd name="T4" fmla="*/ 7354678 w 35"/>
                <a:gd name="T5" fmla="*/ 68819866 h 74"/>
                <a:gd name="T6" fmla="*/ 5580943 w 35"/>
                <a:gd name="T7" fmla="*/ 70837190 h 74"/>
                <a:gd name="T8" fmla="*/ 4234493 w 35"/>
                <a:gd name="T9" fmla="*/ 70837190 h 74"/>
                <a:gd name="T10" fmla="*/ 4234493 w 35"/>
                <a:gd name="T11" fmla="*/ 68819866 h 74"/>
                <a:gd name="T12" fmla="*/ 3139192 w 35"/>
                <a:gd name="T13" fmla="*/ 67950277 h 74"/>
                <a:gd name="T14" fmla="*/ 771454 w 35"/>
                <a:gd name="T15" fmla="*/ 67226402 h 74"/>
                <a:gd name="T16" fmla="*/ 771454 w 35"/>
                <a:gd name="T17" fmla="*/ 65842332 h 74"/>
                <a:gd name="T18" fmla="*/ 4234493 w 35"/>
                <a:gd name="T19" fmla="*/ 63177490 h 74"/>
                <a:gd name="T20" fmla="*/ 4234493 w 35"/>
                <a:gd name="T21" fmla="*/ 60214524 h 74"/>
                <a:gd name="T22" fmla="*/ 6722687 w 35"/>
                <a:gd name="T23" fmla="*/ 58309465 h 74"/>
                <a:gd name="T24" fmla="*/ 5580943 w 35"/>
                <a:gd name="T25" fmla="*/ 53395619 h 74"/>
                <a:gd name="T26" fmla="*/ 0 w 35"/>
                <a:gd name="T27" fmla="*/ 48922280 h 74"/>
                <a:gd name="T28" fmla="*/ 771454 w 35"/>
                <a:gd name="T29" fmla="*/ 46874648 h 74"/>
                <a:gd name="T30" fmla="*/ 3139192 w 35"/>
                <a:gd name="T31" fmla="*/ 44857703 h 74"/>
                <a:gd name="T32" fmla="*/ 6722687 w 35"/>
                <a:gd name="T33" fmla="*/ 41246083 h 74"/>
                <a:gd name="T34" fmla="*/ 6722687 w 35"/>
                <a:gd name="T35" fmla="*/ 39227047 h 74"/>
                <a:gd name="T36" fmla="*/ 7354678 w 35"/>
                <a:gd name="T37" fmla="*/ 38488226 h 74"/>
                <a:gd name="T38" fmla="*/ 9163700 w 35"/>
                <a:gd name="T39" fmla="*/ 35615295 h 74"/>
                <a:gd name="T40" fmla="*/ 9920810 w 35"/>
                <a:gd name="T41" fmla="*/ 26715063 h 74"/>
                <a:gd name="T42" fmla="*/ 10508174 w 35"/>
                <a:gd name="T43" fmla="*/ 23071868 h 74"/>
                <a:gd name="T44" fmla="*/ 9920810 w 35"/>
                <a:gd name="T45" fmla="*/ 21943090 h 74"/>
                <a:gd name="T46" fmla="*/ 9163700 w 35"/>
                <a:gd name="T47" fmla="*/ 18178657 h 74"/>
                <a:gd name="T48" fmla="*/ 5580943 w 35"/>
                <a:gd name="T49" fmla="*/ 13311199 h 74"/>
                <a:gd name="T50" fmla="*/ 4234493 w 35"/>
                <a:gd name="T51" fmla="*/ 10426217 h 74"/>
                <a:gd name="T52" fmla="*/ 4234493 w 35"/>
                <a:gd name="T53" fmla="*/ 5628738 h 74"/>
                <a:gd name="T54" fmla="*/ 2382111 w 35"/>
                <a:gd name="T55" fmla="*/ 2910108 h 74"/>
                <a:gd name="T56" fmla="*/ 2382111 w 35"/>
                <a:gd name="T57" fmla="*/ 854144 h 74"/>
                <a:gd name="T58" fmla="*/ 4234493 w 35"/>
                <a:gd name="T59" fmla="*/ 854144 h 74"/>
                <a:gd name="T60" fmla="*/ 4927212 w 35"/>
                <a:gd name="T61" fmla="*/ 5628738 h 74"/>
                <a:gd name="T62" fmla="*/ 6722687 w 35"/>
                <a:gd name="T63" fmla="*/ 5628738 h 74"/>
                <a:gd name="T64" fmla="*/ 8146942 w 35"/>
                <a:gd name="T65" fmla="*/ 5628738 h 74"/>
                <a:gd name="T66" fmla="*/ 10508174 w 35"/>
                <a:gd name="T67" fmla="*/ 7686978 h 74"/>
                <a:gd name="T68" fmla="*/ 12302867 w 35"/>
                <a:gd name="T69" fmla="*/ 9756111 h 74"/>
                <a:gd name="T70" fmla="*/ 12302867 w 35"/>
                <a:gd name="T71" fmla="*/ 10426217 h 74"/>
                <a:gd name="T72" fmla="*/ 12302867 w 35"/>
                <a:gd name="T73" fmla="*/ 14190654 h 74"/>
                <a:gd name="T74" fmla="*/ 13075344 w 35"/>
                <a:gd name="T75" fmla="*/ 16275026 h 74"/>
                <a:gd name="T76" fmla="*/ 13075344 w 35"/>
                <a:gd name="T77" fmla="*/ 18968408 h 74"/>
                <a:gd name="T78" fmla="*/ 12302867 w 35"/>
                <a:gd name="T79" fmla="*/ 20198974 h 74"/>
                <a:gd name="T80" fmla="*/ 12302867 w 35"/>
                <a:gd name="T81" fmla="*/ 21943090 h 74"/>
                <a:gd name="T82" fmla="*/ 14092125 w 35"/>
                <a:gd name="T83" fmla="*/ 23962210 h 74"/>
                <a:gd name="T84" fmla="*/ 14092125 w 35"/>
                <a:gd name="T85" fmla="*/ 28733276 h 74"/>
                <a:gd name="T86" fmla="*/ 14744498 w 35"/>
                <a:gd name="T87" fmla="*/ 28733276 h 74"/>
                <a:gd name="T88" fmla="*/ 15750286 w 35"/>
                <a:gd name="T89" fmla="*/ 24656591 h 74"/>
                <a:gd name="T90" fmla="*/ 16518377 w 35"/>
                <a:gd name="T91" fmla="*/ 21052066 h 74"/>
                <a:gd name="T92" fmla="*/ 17230952 w 35"/>
                <a:gd name="T93" fmla="*/ 21052066 h 74"/>
                <a:gd name="T94" fmla="*/ 18325741 w 35"/>
                <a:gd name="T95" fmla="*/ 24656591 h 74"/>
                <a:gd name="T96" fmla="*/ 21469231 w 35"/>
                <a:gd name="T97" fmla="*/ 39227047 h 74"/>
                <a:gd name="T98" fmla="*/ 27045359 w 35"/>
                <a:gd name="T99" fmla="*/ 41246083 h 74"/>
                <a:gd name="T100" fmla="*/ 25680074 w 35"/>
                <a:gd name="T101" fmla="*/ 46874648 h 74"/>
                <a:gd name="T102" fmla="*/ 21469231 w 35"/>
                <a:gd name="T103" fmla="*/ 49785285 h 74"/>
                <a:gd name="T104" fmla="*/ 18325741 w 35"/>
                <a:gd name="T105" fmla="*/ 54561818 h 74"/>
                <a:gd name="T106" fmla="*/ 17230952 w 35"/>
                <a:gd name="T107" fmla="*/ 56667379 h 7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5"/>
                <a:gd name="T163" fmla="*/ 0 h 74"/>
                <a:gd name="T164" fmla="*/ 35 w 35"/>
                <a:gd name="T165" fmla="*/ 74 h 7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5" h="74">
                  <a:moveTo>
                    <a:pt x="21" y="59"/>
                  </a:moveTo>
                  <a:cubicBezTo>
                    <a:pt x="20" y="61"/>
                    <a:pt x="18" y="62"/>
                    <a:pt x="16" y="64"/>
                  </a:cubicBezTo>
                  <a:cubicBezTo>
                    <a:pt x="14" y="67"/>
                    <a:pt x="11" y="69"/>
                    <a:pt x="9" y="72"/>
                  </a:cubicBezTo>
                  <a:cubicBezTo>
                    <a:pt x="9" y="73"/>
                    <a:pt x="8" y="73"/>
                    <a:pt x="7" y="74"/>
                  </a:cubicBezTo>
                  <a:cubicBezTo>
                    <a:pt x="7" y="74"/>
                    <a:pt x="6" y="74"/>
                    <a:pt x="5" y="74"/>
                  </a:cubicBezTo>
                  <a:cubicBezTo>
                    <a:pt x="4" y="73"/>
                    <a:pt x="5" y="72"/>
                    <a:pt x="5" y="72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3" y="71"/>
                    <a:pt x="2" y="71"/>
                    <a:pt x="1" y="70"/>
                  </a:cubicBezTo>
                  <a:cubicBezTo>
                    <a:pt x="1" y="70"/>
                    <a:pt x="1" y="69"/>
                    <a:pt x="1" y="69"/>
                  </a:cubicBezTo>
                  <a:cubicBezTo>
                    <a:pt x="3" y="68"/>
                    <a:pt x="4" y="67"/>
                    <a:pt x="5" y="66"/>
                  </a:cubicBezTo>
                  <a:cubicBezTo>
                    <a:pt x="5" y="65"/>
                    <a:pt x="5" y="64"/>
                    <a:pt x="5" y="63"/>
                  </a:cubicBezTo>
                  <a:cubicBezTo>
                    <a:pt x="6" y="63"/>
                    <a:pt x="8" y="62"/>
                    <a:pt x="8" y="61"/>
                  </a:cubicBezTo>
                  <a:cubicBezTo>
                    <a:pt x="8" y="60"/>
                    <a:pt x="9" y="57"/>
                    <a:pt x="7" y="56"/>
                  </a:cubicBezTo>
                  <a:cubicBezTo>
                    <a:pt x="4" y="55"/>
                    <a:pt x="2" y="53"/>
                    <a:pt x="0" y="51"/>
                  </a:cubicBezTo>
                  <a:cubicBezTo>
                    <a:pt x="0" y="50"/>
                    <a:pt x="0" y="49"/>
                    <a:pt x="1" y="49"/>
                  </a:cubicBezTo>
                  <a:cubicBezTo>
                    <a:pt x="2" y="48"/>
                    <a:pt x="4" y="48"/>
                    <a:pt x="4" y="47"/>
                  </a:cubicBezTo>
                  <a:cubicBezTo>
                    <a:pt x="6" y="46"/>
                    <a:pt x="7" y="45"/>
                    <a:pt x="8" y="43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9" y="41"/>
                    <a:pt x="9" y="40"/>
                    <a:pt x="9" y="40"/>
                  </a:cubicBezTo>
                  <a:cubicBezTo>
                    <a:pt x="10" y="39"/>
                    <a:pt x="10" y="38"/>
                    <a:pt x="11" y="37"/>
                  </a:cubicBezTo>
                  <a:cubicBezTo>
                    <a:pt x="13" y="34"/>
                    <a:pt x="11" y="31"/>
                    <a:pt x="12" y="28"/>
                  </a:cubicBezTo>
                  <a:cubicBezTo>
                    <a:pt x="13" y="27"/>
                    <a:pt x="13" y="26"/>
                    <a:pt x="13" y="24"/>
                  </a:cubicBezTo>
                  <a:cubicBezTo>
                    <a:pt x="13" y="24"/>
                    <a:pt x="12" y="24"/>
                    <a:pt x="12" y="23"/>
                  </a:cubicBezTo>
                  <a:cubicBezTo>
                    <a:pt x="12" y="22"/>
                    <a:pt x="12" y="20"/>
                    <a:pt x="11" y="19"/>
                  </a:cubicBezTo>
                  <a:cubicBezTo>
                    <a:pt x="10" y="17"/>
                    <a:pt x="8" y="16"/>
                    <a:pt x="7" y="14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5" y="9"/>
                    <a:pt x="5" y="8"/>
                    <a:pt x="5" y="6"/>
                  </a:cubicBezTo>
                  <a:cubicBezTo>
                    <a:pt x="4" y="5"/>
                    <a:pt x="4" y="4"/>
                    <a:pt x="3" y="3"/>
                  </a:cubicBezTo>
                  <a:cubicBezTo>
                    <a:pt x="3" y="3"/>
                    <a:pt x="3" y="1"/>
                    <a:pt x="3" y="1"/>
                  </a:cubicBezTo>
                  <a:cubicBezTo>
                    <a:pt x="4" y="0"/>
                    <a:pt x="4" y="1"/>
                    <a:pt x="5" y="1"/>
                  </a:cubicBezTo>
                  <a:cubicBezTo>
                    <a:pt x="5" y="3"/>
                    <a:pt x="5" y="5"/>
                    <a:pt x="6" y="6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9" y="5"/>
                    <a:pt x="10" y="5"/>
                    <a:pt x="10" y="6"/>
                  </a:cubicBezTo>
                  <a:cubicBezTo>
                    <a:pt x="11" y="7"/>
                    <a:pt x="12" y="7"/>
                    <a:pt x="13" y="8"/>
                  </a:cubicBezTo>
                  <a:cubicBezTo>
                    <a:pt x="13" y="9"/>
                    <a:pt x="14" y="9"/>
                    <a:pt x="15" y="10"/>
                  </a:cubicBezTo>
                  <a:cubicBezTo>
                    <a:pt x="15" y="10"/>
                    <a:pt x="15" y="10"/>
                    <a:pt x="15" y="11"/>
                  </a:cubicBezTo>
                  <a:cubicBezTo>
                    <a:pt x="15" y="12"/>
                    <a:pt x="14" y="13"/>
                    <a:pt x="15" y="15"/>
                  </a:cubicBezTo>
                  <a:cubicBezTo>
                    <a:pt x="15" y="16"/>
                    <a:pt x="16" y="16"/>
                    <a:pt x="16" y="17"/>
                  </a:cubicBezTo>
                  <a:cubicBezTo>
                    <a:pt x="17" y="18"/>
                    <a:pt x="16" y="19"/>
                    <a:pt x="16" y="20"/>
                  </a:cubicBezTo>
                  <a:cubicBezTo>
                    <a:pt x="16" y="21"/>
                    <a:pt x="15" y="21"/>
                    <a:pt x="15" y="21"/>
                  </a:cubicBezTo>
                  <a:cubicBezTo>
                    <a:pt x="14" y="22"/>
                    <a:pt x="14" y="23"/>
                    <a:pt x="15" y="23"/>
                  </a:cubicBezTo>
                  <a:cubicBezTo>
                    <a:pt x="15" y="24"/>
                    <a:pt x="17" y="24"/>
                    <a:pt x="17" y="25"/>
                  </a:cubicBezTo>
                  <a:cubicBezTo>
                    <a:pt x="18" y="27"/>
                    <a:pt x="17" y="28"/>
                    <a:pt x="17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9" y="28"/>
                    <a:pt x="19" y="26"/>
                  </a:cubicBezTo>
                  <a:cubicBezTo>
                    <a:pt x="19" y="25"/>
                    <a:pt x="18" y="23"/>
                    <a:pt x="20" y="22"/>
                  </a:cubicBezTo>
                  <a:cubicBezTo>
                    <a:pt x="20" y="21"/>
                    <a:pt x="21" y="22"/>
                    <a:pt x="21" y="22"/>
                  </a:cubicBezTo>
                  <a:cubicBezTo>
                    <a:pt x="22" y="23"/>
                    <a:pt x="22" y="24"/>
                    <a:pt x="22" y="26"/>
                  </a:cubicBezTo>
                  <a:cubicBezTo>
                    <a:pt x="22" y="31"/>
                    <a:pt x="22" y="37"/>
                    <a:pt x="26" y="41"/>
                  </a:cubicBezTo>
                  <a:cubicBezTo>
                    <a:pt x="27" y="43"/>
                    <a:pt x="31" y="41"/>
                    <a:pt x="33" y="43"/>
                  </a:cubicBezTo>
                  <a:cubicBezTo>
                    <a:pt x="35" y="44"/>
                    <a:pt x="33" y="47"/>
                    <a:pt x="31" y="49"/>
                  </a:cubicBezTo>
                  <a:cubicBezTo>
                    <a:pt x="30" y="50"/>
                    <a:pt x="27" y="50"/>
                    <a:pt x="26" y="52"/>
                  </a:cubicBezTo>
                  <a:cubicBezTo>
                    <a:pt x="25" y="54"/>
                    <a:pt x="25" y="57"/>
                    <a:pt x="22" y="57"/>
                  </a:cubicBezTo>
                  <a:lnTo>
                    <a:pt x="21" y="59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9" name="Freeform 200"/>
            <p:cNvSpPr>
              <a:spLocks/>
            </p:cNvSpPr>
            <p:nvPr/>
          </p:nvSpPr>
          <p:spPr bwMode="auto">
            <a:xfrm>
              <a:off x="7102579" y="3387284"/>
              <a:ext cx="11789" cy="12167"/>
            </a:xfrm>
            <a:custGeom>
              <a:avLst/>
              <a:gdLst>
                <a:gd name="T0" fmla="*/ 23108688 w 25"/>
                <a:gd name="T1" fmla="*/ 21138070 h 25"/>
                <a:gd name="T2" fmla="*/ 22477568 w 25"/>
                <a:gd name="T3" fmla="*/ 21138070 h 25"/>
                <a:gd name="T4" fmla="*/ 21138070 w 25"/>
                <a:gd name="T5" fmla="*/ 14926566 h 25"/>
                <a:gd name="T6" fmla="*/ 21138070 w 25"/>
                <a:gd name="T7" fmla="*/ 14926566 h 25"/>
                <a:gd name="T8" fmla="*/ 18442993 w 25"/>
                <a:gd name="T9" fmla="*/ 13821180 h 25"/>
                <a:gd name="T10" fmla="*/ 16480852 w 25"/>
                <a:gd name="T11" fmla="*/ 9524393 h 25"/>
                <a:gd name="T12" fmla="*/ 13821180 w 25"/>
                <a:gd name="T13" fmla="*/ 6629066 h 25"/>
                <a:gd name="T14" fmla="*/ 12953021 w 25"/>
                <a:gd name="T15" fmla="*/ 2808927 h 25"/>
                <a:gd name="T16" fmla="*/ 12117629 w 25"/>
                <a:gd name="T17" fmla="*/ 1970602 h 25"/>
                <a:gd name="T18" fmla="*/ 10975465 w 25"/>
                <a:gd name="T19" fmla="*/ 835001 h 25"/>
                <a:gd name="T20" fmla="*/ 9524393 w 25"/>
                <a:gd name="T21" fmla="*/ 835001 h 25"/>
                <a:gd name="T22" fmla="*/ 6629066 w 25"/>
                <a:gd name="T23" fmla="*/ 835001 h 25"/>
                <a:gd name="T24" fmla="*/ 2808927 w 25"/>
                <a:gd name="T25" fmla="*/ 835001 h 25"/>
                <a:gd name="T26" fmla="*/ 835001 w 25"/>
                <a:gd name="T27" fmla="*/ 1970602 h 25"/>
                <a:gd name="T28" fmla="*/ 835001 w 25"/>
                <a:gd name="T29" fmla="*/ 2808927 h 25"/>
                <a:gd name="T30" fmla="*/ 835001 w 25"/>
                <a:gd name="T31" fmla="*/ 10144084 h 25"/>
                <a:gd name="T32" fmla="*/ 1970602 w 25"/>
                <a:gd name="T33" fmla="*/ 10975465 h 25"/>
                <a:gd name="T34" fmla="*/ 5488568 w 25"/>
                <a:gd name="T35" fmla="*/ 12117629 h 25"/>
                <a:gd name="T36" fmla="*/ 6629066 w 25"/>
                <a:gd name="T37" fmla="*/ 12953021 h 25"/>
                <a:gd name="T38" fmla="*/ 12953021 w 25"/>
                <a:gd name="T39" fmla="*/ 13821180 h 25"/>
                <a:gd name="T40" fmla="*/ 14926566 w 25"/>
                <a:gd name="T41" fmla="*/ 15644591 h 25"/>
                <a:gd name="T42" fmla="*/ 17606647 w 25"/>
                <a:gd name="T43" fmla="*/ 19578455 h 25"/>
                <a:gd name="T44" fmla="*/ 17606647 w 25"/>
                <a:gd name="T45" fmla="*/ 22477568 h 25"/>
                <a:gd name="T46" fmla="*/ 17606647 w 25"/>
                <a:gd name="T47" fmla="*/ 22477568 h 25"/>
                <a:gd name="T48" fmla="*/ 21138070 w 25"/>
                <a:gd name="T49" fmla="*/ 23108688 h 25"/>
                <a:gd name="T50" fmla="*/ 23108688 w 25"/>
                <a:gd name="T51" fmla="*/ 21138070 h 2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5"/>
                <a:gd name="T79" fmla="*/ 0 h 25"/>
                <a:gd name="T80" fmla="*/ 25 w 25"/>
                <a:gd name="T81" fmla="*/ 25 h 2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5" h="25">
                  <a:moveTo>
                    <a:pt x="25" y="23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3" y="21"/>
                    <a:pt x="24" y="18"/>
                    <a:pt x="23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19" y="14"/>
                    <a:pt x="19" y="11"/>
                    <a:pt x="18" y="10"/>
                  </a:cubicBezTo>
                  <a:cubicBezTo>
                    <a:pt x="17" y="9"/>
                    <a:pt x="15" y="9"/>
                    <a:pt x="15" y="7"/>
                  </a:cubicBezTo>
                  <a:cubicBezTo>
                    <a:pt x="14" y="5"/>
                    <a:pt x="15" y="4"/>
                    <a:pt x="14" y="3"/>
                  </a:cubicBezTo>
                  <a:cubicBezTo>
                    <a:pt x="14" y="2"/>
                    <a:pt x="14" y="2"/>
                    <a:pt x="13" y="2"/>
                  </a:cubicBezTo>
                  <a:cubicBezTo>
                    <a:pt x="13" y="2"/>
                    <a:pt x="13" y="1"/>
                    <a:pt x="12" y="1"/>
                  </a:cubicBezTo>
                  <a:cubicBezTo>
                    <a:pt x="11" y="0"/>
                    <a:pt x="11" y="0"/>
                    <a:pt x="10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5" y="1"/>
                    <a:pt x="4" y="1"/>
                    <a:pt x="3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3"/>
                    <a:pt x="1" y="2"/>
                    <a:pt x="1" y="3"/>
                  </a:cubicBezTo>
                  <a:cubicBezTo>
                    <a:pt x="0" y="5"/>
                    <a:pt x="0" y="9"/>
                    <a:pt x="1" y="11"/>
                  </a:cubicBezTo>
                  <a:cubicBezTo>
                    <a:pt x="1" y="11"/>
                    <a:pt x="2" y="12"/>
                    <a:pt x="2" y="12"/>
                  </a:cubicBezTo>
                  <a:cubicBezTo>
                    <a:pt x="3" y="12"/>
                    <a:pt x="5" y="12"/>
                    <a:pt x="6" y="13"/>
                  </a:cubicBezTo>
                  <a:cubicBezTo>
                    <a:pt x="7" y="13"/>
                    <a:pt x="7" y="14"/>
                    <a:pt x="7" y="14"/>
                  </a:cubicBezTo>
                  <a:cubicBezTo>
                    <a:pt x="10" y="14"/>
                    <a:pt x="12" y="13"/>
                    <a:pt x="14" y="15"/>
                  </a:cubicBezTo>
                  <a:cubicBezTo>
                    <a:pt x="15" y="15"/>
                    <a:pt x="15" y="16"/>
                    <a:pt x="16" y="17"/>
                  </a:cubicBezTo>
                  <a:cubicBezTo>
                    <a:pt x="17" y="19"/>
                    <a:pt x="19" y="19"/>
                    <a:pt x="19" y="21"/>
                  </a:cubicBezTo>
                  <a:cubicBezTo>
                    <a:pt x="19" y="22"/>
                    <a:pt x="19" y="23"/>
                    <a:pt x="19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0" y="25"/>
                    <a:pt x="21" y="25"/>
                    <a:pt x="23" y="25"/>
                  </a:cubicBezTo>
                  <a:cubicBezTo>
                    <a:pt x="23" y="24"/>
                    <a:pt x="24" y="24"/>
                    <a:pt x="25" y="2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0" name="Freeform 201"/>
            <p:cNvSpPr>
              <a:spLocks/>
            </p:cNvSpPr>
            <p:nvPr/>
          </p:nvSpPr>
          <p:spPr bwMode="auto">
            <a:xfrm>
              <a:off x="7107345" y="3383499"/>
              <a:ext cx="22826" cy="17845"/>
            </a:xfrm>
            <a:custGeom>
              <a:avLst/>
              <a:gdLst>
                <a:gd name="T0" fmla="*/ 27844495 w 49"/>
                <a:gd name="T1" fmla="*/ 31081326 h 38"/>
                <a:gd name="T2" fmla="*/ 22728546 w 49"/>
                <a:gd name="T3" fmla="*/ 28720860 h 38"/>
                <a:gd name="T4" fmla="*/ 23846045 w 49"/>
                <a:gd name="T5" fmla="*/ 26288838 h 38"/>
                <a:gd name="T6" fmla="*/ 23846045 w 49"/>
                <a:gd name="T7" fmla="*/ 23731260 h 38"/>
                <a:gd name="T8" fmla="*/ 22728546 w 49"/>
                <a:gd name="T9" fmla="*/ 20601796 h 38"/>
                <a:gd name="T10" fmla="*/ 22039203 w 49"/>
                <a:gd name="T11" fmla="*/ 20601796 h 38"/>
                <a:gd name="T12" fmla="*/ 21228909 w 49"/>
                <a:gd name="T13" fmla="*/ 20601796 h 38"/>
                <a:gd name="T14" fmla="*/ 15195095 w 49"/>
                <a:gd name="T15" fmla="*/ 25533856 h 38"/>
                <a:gd name="T16" fmla="*/ 12588633 w 49"/>
                <a:gd name="T17" fmla="*/ 25533856 h 38"/>
                <a:gd name="T18" fmla="*/ 12588633 w 49"/>
                <a:gd name="T19" fmla="*/ 25533856 h 38"/>
                <a:gd name="T20" fmla="*/ 11864180 w 49"/>
                <a:gd name="T21" fmla="*/ 25533856 h 38"/>
                <a:gd name="T22" fmla="*/ 11194721 w 49"/>
                <a:gd name="T23" fmla="*/ 19587801 h 38"/>
                <a:gd name="T24" fmla="*/ 11194721 w 49"/>
                <a:gd name="T25" fmla="*/ 19587801 h 38"/>
                <a:gd name="T26" fmla="*/ 8319433 w 49"/>
                <a:gd name="T27" fmla="*/ 18824771 h 38"/>
                <a:gd name="T28" fmla="*/ 6951422 w 49"/>
                <a:gd name="T29" fmla="*/ 14680483 h 38"/>
                <a:gd name="T30" fmla="*/ 4329252 w 49"/>
                <a:gd name="T31" fmla="*/ 12262841 h 38"/>
                <a:gd name="T32" fmla="*/ 3214612 w 49"/>
                <a:gd name="T33" fmla="*/ 9132987 h 38"/>
                <a:gd name="T34" fmla="*/ 2488955 w 49"/>
                <a:gd name="T35" fmla="*/ 8037547 h 38"/>
                <a:gd name="T36" fmla="*/ 1844638 w 49"/>
                <a:gd name="T37" fmla="*/ 7331239 h 38"/>
                <a:gd name="T38" fmla="*/ 0 w 49"/>
                <a:gd name="T39" fmla="*/ 7331239 h 38"/>
                <a:gd name="T40" fmla="*/ 0 w 49"/>
                <a:gd name="T41" fmla="*/ 6699081 h 38"/>
                <a:gd name="T42" fmla="*/ 2488955 w 49"/>
                <a:gd name="T43" fmla="*/ 5562116 h 38"/>
                <a:gd name="T44" fmla="*/ 4329252 w 49"/>
                <a:gd name="T45" fmla="*/ 5562116 h 38"/>
                <a:gd name="T46" fmla="*/ 8319433 w 49"/>
                <a:gd name="T47" fmla="*/ 9132987 h 38"/>
                <a:gd name="T48" fmla="*/ 11194721 w 49"/>
                <a:gd name="T49" fmla="*/ 9132987 h 38"/>
                <a:gd name="T50" fmla="*/ 11194721 w 49"/>
                <a:gd name="T51" fmla="*/ 6699081 h 38"/>
                <a:gd name="T52" fmla="*/ 11194721 w 49"/>
                <a:gd name="T53" fmla="*/ 2374836 h 38"/>
                <a:gd name="T54" fmla="*/ 11194721 w 49"/>
                <a:gd name="T55" fmla="*/ 2374836 h 38"/>
                <a:gd name="T56" fmla="*/ 12588633 w 49"/>
                <a:gd name="T57" fmla="*/ 2374836 h 38"/>
                <a:gd name="T58" fmla="*/ 14495933 w 49"/>
                <a:gd name="T59" fmla="*/ 4221836 h 38"/>
                <a:gd name="T60" fmla="*/ 15195095 w 49"/>
                <a:gd name="T61" fmla="*/ 4221836 h 38"/>
                <a:gd name="T62" fmla="*/ 18738371 w 49"/>
                <a:gd name="T63" fmla="*/ 7331239 h 38"/>
                <a:gd name="T64" fmla="*/ 18738371 w 49"/>
                <a:gd name="T65" fmla="*/ 7331239 h 38"/>
                <a:gd name="T66" fmla="*/ 19525196 w 49"/>
                <a:gd name="T67" fmla="*/ 4221836 h 38"/>
                <a:gd name="T68" fmla="*/ 22039203 w 49"/>
                <a:gd name="T69" fmla="*/ 0 h 38"/>
                <a:gd name="T70" fmla="*/ 41555993 w 49"/>
                <a:gd name="T71" fmla="*/ 12262841 h 38"/>
                <a:gd name="T72" fmla="*/ 27844495 w 49"/>
                <a:gd name="T73" fmla="*/ 31081326 h 3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9"/>
                <a:gd name="T112" fmla="*/ 0 h 38"/>
                <a:gd name="T113" fmla="*/ 49 w 49"/>
                <a:gd name="T114" fmla="*/ 38 h 3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9" h="38">
                  <a:moveTo>
                    <a:pt x="33" y="38"/>
                  </a:moveTo>
                  <a:cubicBezTo>
                    <a:pt x="31" y="38"/>
                    <a:pt x="28" y="38"/>
                    <a:pt x="27" y="35"/>
                  </a:cubicBezTo>
                  <a:cubicBezTo>
                    <a:pt x="26" y="34"/>
                    <a:pt x="28" y="33"/>
                    <a:pt x="28" y="32"/>
                  </a:cubicBezTo>
                  <a:cubicBezTo>
                    <a:pt x="28" y="31"/>
                    <a:pt x="28" y="30"/>
                    <a:pt x="28" y="29"/>
                  </a:cubicBezTo>
                  <a:cubicBezTo>
                    <a:pt x="27" y="28"/>
                    <a:pt x="27" y="27"/>
                    <a:pt x="27" y="25"/>
                  </a:cubicBezTo>
                  <a:cubicBezTo>
                    <a:pt x="27" y="25"/>
                    <a:pt x="27" y="25"/>
                    <a:pt x="26" y="25"/>
                  </a:cubicBezTo>
                  <a:cubicBezTo>
                    <a:pt x="26" y="25"/>
                    <a:pt x="25" y="25"/>
                    <a:pt x="25" y="25"/>
                  </a:cubicBezTo>
                  <a:cubicBezTo>
                    <a:pt x="23" y="27"/>
                    <a:pt x="21" y="30"/>
                    <a:pt x="18" y="31"/>
                  </a:cubicBezTo>
                  <a:cubicBezTo>
                    <a:pt x="17" y="31"/>
                    <a:pt x="16" y="31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29"/>
                    <a:pt x="14" y="26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3"/>
                    <a:pt x="11" y="23"/>
                    <a:pt x="10" y="23"/>
                  </a:cubicBezTo>
                  <a:cubicBezTo>
                    <a:pt x="9" y="22"/>
                    <a:pt x="9" y="19"/>
                    <a:pt x="8" y="18"/>
                  </a:cubicBezTo>
                  <a:cubicBezTo>
                    <a:pt x="7" y="17"/>
                    <a:pt x="5" y="17"/>
                    <a:pt x="5" y="15"/>
                  </a:cubicBezTo>
                  <a:cubicBezTo>
                    <a:pt x="4" y="13"/>
                    <a:pt x="5" y="12"/>
                    <a:pt x="4" y="11"/>
                  </a:cubicBezTo>
                  <a:cubicBezTo>
                    <a:pt x="4" y="10"/>
                    <a:pt x="4" y="10"/>
                    <a:pt x="3" y="10"/>
                  </a:cubicBezTo>
                  <a:cubicBezTo>
                    <a:pt x="3" y="10"/>
                    <a:pt x="3" y="9"/>
                    <a:pt x="2" y="9"/>
                  </a:cubicBezTo>
                  <a:cubicBezTo>
                    <a:pt x="1" y="8"/>
                    <a:pt x="1" y="8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2" y="8"/>
                    <a:pt x="3" y="7"/>
                  </a:cubicBezTo>
                  <a:cubicBezTo>
                    <a:pt x="4" y="6"/>
                    <a:pt x="4" y="6"/>
                    <a:pt x="5" y="7"/>
                  </a:cubicBezTo>
                  <a:cubicBezTo>
                    <a:pt x="7" y="8"/>
                    <a:pt x="8" y="9"/>
                    <a:pt x="10" y="11"/>
                  </a:cubicBezTo>
                  <a:cubicBezTo>
                    <a:pt x="11" y="11"/>
                    <a:pt x="12" y="11"/>
                    <a:pt x="13" y="11"/>
                  </a:cubicBezTo>
                  <a:cubicBezTo>
                    <a:pt x="13" y="10"/>
                    <a:pt x="14" y="9"/>
                    <a:pt x="13" y="8"/>
                  </a:cubicBezTo>
                  <a:cubicBezTo>
                    <a:pt x="12" y="6"/>
                    <a:pt x="12" y="5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4" y="3"/>
                    <a:pt x="15" y="3"/>
                  </a:cubicBezTo>
                  <a:cubicBezTo>
                    <a:pt x="15" y="4"/>
                    <a:pt x="16" y="4"/>
                    <a:pt x="17" y="5"/>
                  </a:cubicBezTo>
                  <a:cubicBezTo>
                    <a:pt x="17" y="5"/>
                    <a:pt x="17" y="5"/>
                    <a:pt x="18" y="5"/>
                  </a:cubicBezTo>
                  <a:cubicBezTo>
                    <a:pt x="19" y="6"/>
                    <a:pt x="20" y="8"/>
                    <a:pt x="22" y="9"/>
                  </a:cubicBezTo>
                  <a:cubicBezTo>
                    <a:pt x="22" y="9"/>
                    <a:pt x="22" y="10"/>
                    <a:pt x="22" y="9"/>
                  </a:cubicBezTo>
                  <a:cubicBezTo>
                    <a:pt x="23" y="8"/>
                    <a:pt x="23" y="6"/>
                    <a:pt x="23" y="5"/>
                  </a:cubicBezTo>
                  <a:cubicBezTo>
                    <a:pt x="24" y="3"/>
                    <a:pt x="25" y="2"/>
                    <a:pt x="26" y="0"/>
                  </a:cubicBezTo>
                  <a:cubicBezTo>
                    <a:pt x="49" y="15"/>
                    <a:pt x="49" y="15"/>
                    <a:pt x="49" y="15"/>
                  </a:cubicBezTo>
                  <a:lnTo>
                    <a:pt x="33" y="38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1" name="Freeform 202"/>
            <p:cNvSpPr>
              <a:spLocks/>
            </p:cNvSpPr>
            <p:nvPr/>
          </p:nvSpPr>
          <p:spPr bwMode="auto">
            <a:xfrm>
              <a:off x="7109351" y="3313741"/>
              <a:ext cx="142471" cy="74895"/>
            </a:xfrm>
            <a:custGeom>
              <a:avLst/>
              <a:gdLst>
                <a:gd name="T0" fmla="*/ 71138153 w 305"/>
                <a:gd name="T1" fmla="*/ 142743571 h 155"/>
                <a:gd name="T2" fmla="*/ 51552415 w 305"/>
                <a:gd name="T3" fmla="*/ 135361160 h 155"/>
                <a:gd name="T4" fmla="*/ 38308875 w 305"/>
                <a:gd name="T5" fmla="*/ 127843344 h 155"/>
                <a:gd name="T6" fmla="*/ 26549082 w 305"/>
                <a:gd name="T7" fmla="*/ 101680710 h 155"/>
                <a:gd name="T8" fmla="*/ 15339654 w 305"/>
                <a:gd name="T9" fmla="*/ 89809734 h 155"/>
                <a:gd name="T10" fmla="*/ 10360113 w 305"/>
                <a:gd name="T11" fmla="*/ 79591812 h 155"/>
                <a:gd name="T12" fmla="*/ 2009758 w 305"/>
                <a:gd name="T13" fmla="*/ 72706537 h 155"/>
                <a:gd name="T14" fmla="*/ 3596383 w 305"/>
                <a:gd name="T15" fmla="*/ 54981339 h 155"/>
                <a:gd name="T16" fmla="*/ 14107818 w 305"/>
                <a:gd name="T17" fmla="*/ 53418505 h 155"/>
                <a:gd name="T18" fmla="*/ 18843268 w 305"/>
                <a:gd name="T19" fmla="*/ 45911910 h 155"/>
                <a:gd name="T20" fmla="*/ 24490625 w 305"/>
                <a:gd name="T21" fmla="*/ 43924762 h 155"/>
                <a:gd name="T22" fmla="*/ 41016799 w 305"/>
                <a:gd name="T23" fmla="*/ 40389137 h 155"/>
                <a:gd name="T24" fmla="*/ 47508538 w 305"/>
                <a:gd name="T25" fmla="*/ 39241144 h 155"/>
                <a:gd name="T26" fmla="*/ 55148129 w 305"/>
                <a:gd name="T27" fmla="*/ 49458906 h 155"/>
                <a:gd name="T28" fmla="*/ 64860794 w 305"/>
                <a:gd name="T29" fmla="*/ 49458906 h 155"/>
                <a:gd name="T30" fmla="*/ 75218113 w 305"/>
                <a:gd name="T31" fmla="*/ 45911910 h 155"/>
                <a:gd name="T32" fmla="*/ 90559644 w 305"/>
                <a:gd name="T33" fmla="*/ 47383730 h 155"/>
                <a:gd name="T34" fmla="*/ 102590590 w 305"/>
                <a:gd name="T35" fmla="*/ 46747731 h 155"/>
                <a:gd name="T36" fmla="*/ 94957619 w 305"/>
                <a:gd name="T37" fmla="*/ 35690502 h 155"/>
                <a:gd name="T38" fmla="*/ 103816961 w 305"/>
                <a:gd name="T39" fmla="*/ 26107747 h 155"/>
                <a:gd name="T40" fmla="*/ 99708785 w 305"/>
                <a:gd name="T41" fmla="*/ 21425008 h 155"/>
                <a:gd name="T42" fmla="*/ 99708785 w 305"/>
                <a:gd name="T43" fmla="*/ 15114835 h 155"/>
                <a:gd name="T44" fmla="*/ 115898515 w 305"/>
                <a:gd name="T45" fmla="*/ 12200145 h 155"/>
                <a:gd name="T46" fmla="*/ 133114305 w 305"/>
                <a:gd name="T47" fmla="*/ 6665922 h 155"/>
                <a:gd name="T48" fmla="*/ 151314020 w 305"/>
                <a:gd name="T49" fmla="*/ 0 h 155"/>
                <a:gd name="T50" fmla="*/ 166579395 w 305"/>
                <a:gd name="T51" fmla="*/ 4682426 h 155"/>
                <a:gd name="T52" fmla="*/ 184638637 w 305"/>
                <a:gd name="T53" fmla="*/ 15740171 h 155"/>
                <a:gd name="T54" fmla="*/ 188262225 w 305"/>
                <a:gd name="T55" fmla="*/ 19797537 h 155"/>
                <a:gd name="T56" fmla="*/ 198758090 w 305"/>
                <a:gd name="T57" fmla="*/ 13907697 h 155"/>
                <a:gd name="T58" fmla="*/ 211216360 w 305"/>
                <a:gd name="T59" fmla="*/ 20573641 h 155"/>
                <a:gd name="T60" fmla="*/ 232959555 w 305"/>
                <a:gd name="T61" fmla="*/ 43061512 h 155"/>
                <a:gd name="T62" fmla="*/ 238565973 w 305"/>
                <a:gd name="T63" fmla="*/ 43924762 h 155"/>
                <a:gd name="T64" fmla="*/ 246267933 w 305"/>
                <a:gd name="T65" fmla="*/ 47383730 h 155"/>
                <a:gd name="T66" fmla="*/ 261519502 w 305"/>
                <a:gd name="T67" fmla="*/ 47383730 h 155"/>
                <a:gd name="T68" fmla="*/ 271116089 w 305"/>
                <a:gd name="T69" fmla="*/ 56964331 h 155"/>
                <a:gd name="T70" fmla="*/ 280472727 w 305"/>
                <a:gd name="T71" fmla="*/ 59814653 h 155"/>
                <a:gd name="T72" fmla="*/ 289965527 w 305"/>
                <a:gd name="T73" fmla="*/ 66497064 h 155"/>
                <a:gd name="T74" fmla="*/ 281627688 w 305"/>
                <a:gd name="T75" fmla="*/ 83079190 h 155"/>
                <a:gd name="T76" fmla="*/ 265486221 w 305"/>
                <a:gd name="T77" fmla="*/ 87762251 h 155"/>
                <a:gd name="T78" fmla="*/ 262254629 w 305"/>
                <a:gd name="T79" fmla="*/ 106364300 h 155"/>
                <a:gd name="T80" fmla="*/ 255133024 w 305"/>
                <a:gd name="T81" fmla="*/ 105588285 h 155"/>
                <a:gd name="T82" fmla="*/ 247427433 w 305"/>
                <a:gd name="T83" fmla="*/ 110384914 h 155"/>
                <a:gd name="T84" fmla="*/ 251874049 w 305"/>
                <a:gd name="T85" fmla="*/ 120602912 h 155"/>
                <a:gd name="T86" fmla="*/ 251874049 w 305"/>
                <a:gd name="T87" fmla="*/ 131038754 h 155"/>
                <a:gd name="T88" fmla="*/ 245416463 w 305"/>
                <a:gd name="T89" fmla="*/ 129826827 h 155"/>
                <a:gd name="T90" fmla="*/ 232087963 w 305"/>
                <a:gd name="T91" fmla="*/ 125020450 h 155"/>
                <a:gd name="T92" fmla="*/ 219715778 w 305"/>
                <a:gd name="T93" fmla="*/ 126136566 h 155"/>
                <a:gd name="T94" fmla="*/ 208474953 w 305"/>
                <a:gd name="T95" fmla="*/ 123469178 h 155"/>
                <a:gd name="T96" fmla="*/ 196746666 w 305"/>
                <a:gd name="T97" fmla="*/ 128986812 h 155"/>
                <a:gd name="T98" fmla="*/ 184638637 w 305"/>
                <a:gd name="T99" fmla="*/ 127003556 h 155"/>
                <a:gd name="T100" fmla="*/ 174284381 w 305"/>
                <a:gd name="T101" fmla="*/ 134509282 h 155"/>
                <a:gd name="T102" fmla="*/ 168165840 w 305"/>
                <a:gd name="T103" fmla="*/ 144108660 h 155"/>
                <a:gd name="T104" fmla="*/ 149211746 w 305"/>
                <a:gd name="T105" fmla="*/ 136497375 h 155"/>
                <a:gd name="T106" fmla="*/ 140726473 w 305"/>
                <a:gd name="T107" fmla="*/ 123469178 h 155"/>
                <a:gd name="T108" fmla="*/ 114161080 w 305"/>
                <a:gd name="T109" fmla="*/ 119459217 h 155"/>
                <a:gd name="T110" fmla="*/ 99066022 w 305"/>
                <a:gd name="T111" fmla="*/ 102877525 h 155"/>
                <a:gd name="T112" fmla="*/ 92057735 w 305"/>
                <a:gd name="T113" fmla="*/ 100026372 h 155"/>
                <a:gd name="T114" fmla="*/ 73991704 w 305"/>
                <a:gd name="T115" fmla="*/ 108411330 h 155"/>
                <a:gd name="T116" fmla="*/ 72472243 w 305"/>
                <a:gd name="T117" fmla="*/ 122321024 h 155"/>
                <a:gd name="T118" fmla="*/ 73143033 w 305"/>
                <a:gd name="T119" fmla="*/ 136497375 h 15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05"/>
                <a:gd name="T181" fmla="*/ 0 h 155"/>
                <a:gd name="T182" fmla="*/ 305 w 305"/>
                <a:gd name="T183" fmla="*/ 155 h 15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05" h="155">
                  <a:moveTo>
                    <a:pt x="79" y="152"/>
                  </a:moveTo>
                  <a:cubicBezTo>
                    <a:pt x="79" y="152"/>
                    <a:pt x="79" y="152"/>
                    <a:pt x="79" y="152"/>
                  </a:cubicBezTo>
                  <a:cubicBezTo>
                    <a:pt x="78" y="152"/>
                    <a:pt x="78" y="153"/>
                    <a:pt x="77" y="153"/>
                  </a:cubicBezTo>
                  <a:cubicBezTo>
                    <a:pt x="77" y="153"/>
                    <a:pt x="75" y="153"/>
                    <a:pt x="75" y="153"/>
                  </a:cubicBezTo>
                  <a:cubicBezTo>
                    <a:pt x="72" y="148"/>
                    <a:pt x="67" y="145"/>
                    <a:pt x="63" y="142"/>
                  </a:cubicBezTo>
                  <a:cubicBezTo>
                    <a:pt x="62" y="142"/>
                    <a:pt x="61" y="142"/>
                    <a:pt x="60" y="142"/>
                  </a:cubicBezTo>
                  <a:cubicBezTo>
                    <a:pt x="59" y="143"/>
                    <a:pt x="57" y="143"/>
                    <a:pt x="56" y="144"/>
                  </a:cubicBezTo>
                  <a:cubicBezTo>
                    <a:pt x="55" y="144"/>
                    <a:pt x="54" y="145"/>
                    <a:pt x="54" y="145"/>
                  </a:cubicBezTo>
                  <a:cubicBezTo>
                    <a:pt x="52" y="146"/>
                    <a:pt x="51" y="146"/>
                    <a:pt x="50" y="146"/>
                  </a:cubicBezTo>
                  <a:cubicBezTo>
                    <a:pt x="50" y="146"/>
                    <a:pt x="49" y="147"/>
                    <a:pt x="49" y="147"/>
                  </a:cubicBezTo>
                  <a:cubicBezTo>
                    <a:pt x="49" y="146"/>
                    <a:pt x="48" y="145"/>
                    <a:pt x="47" y="145"/>
                  </a:cubicBezTo>
                  <a:cubicBezTo>
                    <a:pt x="44" y="143"/>
                    <a:pt x="42" y="140"/>
                    <a:pt x="40" y="137"/>
                  </a:cubicBezTo>
                  <a:cubicBezTo>
                    <a:pt x="36" y="134"/>
                    <a:pt x="32" y="131"/>
                    <a:pt x="29" y="127"/>
                  </a:cubicBezTo>
                  <a:cubicBezTo>
                    <a:pt x="29" y="125"/>
                    <a:pt x="29" y="122"/>
                    <a:pt x="28" y="120"/>
                  </a:cubicBezTo>
                  <a:cubicBezTo>
                    <a:pt x="28" y="117"/>
                    <a:pt x="29" y="114"/>
                    <a:pt x="28" y="110"/>
                  </a:cubicBezTo>
                  <a:cubicBezTo>
                    <a:pt x="28" y="110"/>
                    <a:pt x="28" y="109"/>
                    <a:pt x="28" y="109"/>
                  </a:cubicBezTo>
                  <a:cubicBezTo>
                    <a:pt x="24" y="106"/>
                    <a:pt x="18" y="109"/>
                    <a:pt x="13" y="109"/>
                  </a:cubicBezTo>
                  <a:cubicBezTo>
                    <a:pt x="12" y="107"/>
                    <a:pt x="12" y="105"/>
                    <a:pt x="13" y="103"/>
                  </a:cubicBezTo>
                  <a:cubicBezTo>
                    <a:pt x="13" y="102"/>
                    <a:pt x="14" y="101"/>
                    <a:pt x="15" y="100"/>
                  </a:cubicBezTo>
                  <a:cubicBezTo>
                    <a:pt x="16" y="99"/>
                    <a:pt x="16" y="97"/>
                    <a:pt x="16" y="96"/>
                  </a:cubicBezTo>
                  <a:cubicBezTo>
                    <a:pt x="16" y="95"/>
                    <a:pt x="17" y="95"/>
                    <a:pt x="18" y="93"/>
                  </a:cubicBezTo>
                  <a:cubicBezTo>
                    <a:pt x="18" y="92"/>
                    <a:pt x="18" y="91"/>
                    <a:pt x="18" y="90"/>
                  </a:cubicBezTo>
                  <a:cubicBezTo>
                    <a:pt x="17" y="89"/>
                    <a:pt x="15" y="88"/>
                    <a:pt x="14" y="87"/>
                  </a:cubicBezTo>
                  <a:cubicBezTo>
                    <a:pt x="13" y="87"/>
                    <a:pt x="12" y="86"/>
                    <a:pt x="11" y="85"/>
                  </a:cubicBezTo>
                  <a:cubicBezTo>
                    <a:pt x="10" y="84"/>
                    <a:pt x="9" y="85"/>
                    <a:pt x="8" y="84"/>
                  </a:cubicBezTo>
                  <a:cubicBezTo>
                    <a:pt x="7" y="84"/>
                    <a:pt x="6" y="84"/>
                    <a:pt x="6" y="83"/>
                  </a:cubicBezTo>
                  <a:cubicBezTo>
                    <a:pt x="5" y="82"/>
                    <a:pt x="5" y="81"/>
                    <a:pt x="4" y="80"/>
                  </a:cubicBezTo>
                  <a:cubicBezTo>
                    <a:pt x="4" y="79"/>
                    <a:pt x="2" y="79"/>
                    <a:pt x="2" y="78"/>
                  </a:cubicBezTo>
                  <a:cubicBezTo>
                    <a:pt x="2" y="75"/>
                    <a:pt x="0" y="72"/>
                    <a:pt x="2" y="70"/>
                  </a:cubicBezTo>
                  <a:cubicBezTo>
                    <a:pt x="3" y="69"/>
                    <a:pt x="3" y="68"/>
                    <a:pt x="3" y="67"/>
                  </a:cubicBezTo>
                  <a:cubicBezTo>
                    <a:pt x="2" y="66"/>
                    <a:pt x="2" y="64"/>
                    <a:pt x="3" y="63"/>
                  </a:cubicBezTo>
                  <a:cubicBezTo>
                    <a:pt x="3" y="62"/>
                    <a:pt x="3" y="60"/>
                    <a:pt x="4" y="59"/>
                  </a:cubicBezTo>
                  <a:cubicBezTo>
                    <a:pt x="5" y="58"/>
                    <a:pt x="5" y="56"/>
                    <a:pt x="6" y="56"/>
                  </a:cubicBezTo>
                  <a:cubicBezTo>
                    <a:pt x="8" y="55"/>
                    <a:pt x="10" y="56"/>
                    <a:pt x="12" y="58"/>
                  </a:cubicBezTo>
                  <a:cubicBezTo>
                    <a:pt x="13" y="59"/>
                    <a:pt x="14" y="61"/>
                    <a:pt x="16" y="60"/>
                  </a:cubicBezTo>
                  <a:cubicBezTo>
                    <a:pt x="16" y="59"/>
                    <a:pt x="16" y="58"/>
                    <a:pt x="15" y="57"/>
                  </a:cubicBezTo>
                  <a:cubicBezTo>
                    <a:pt x="15" y="56"/>
                    <a:pt x="15" y="55"/>
                    <a:pt x="15" y="55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2"/>
                    <a:pt x="18" y="52"/>
                    <a:pt x="20" y="52"/>
                  </a:cubicBezTo>
                  <a:cubicBezTo>
                    <a:pt x="20" y="52"/>
                    <a:pt x="20" y="50"/>
                    <a:pt x="20" y="49"/>
                  </a:cubicBezTo>
                  <a:cubicBezTo>
                    <a:pt x="20" y="49"/>
                    <a:pt x="19" y="48"/>
                    <a:pt x="19" y="48"/>
                  </a:cubicBezTo>
                  <a:cubicBezTo>
                    <a:pt x="19" y="48"/>
                    <a:pt x="19" y="47"/>
                    <a:pt x="19" y="47"/>
                  </a:cubicBezTo>
                  <a:cubicBezTo>
                    <a:pt x="20" y="46"/>
                    <a:pt x="21" y="46"/>
                    <a:pt x="22" y="47"/>
                  </a:cubicBezTo>
                  <a:cubicBezTo>
                    <a:pt x="23" y="47"/>
                    <a:pt x="24" y="47"/>
                    <a:pt x="26" y="47"/>
                  </a:cubicBezTo>
                  <a:cubicBezTo>
                    <a:pt x="26" y="47"/>
                    <a:pt x="27" y="46"/>
                    <a:pt x="27" y="46"/>
                  </a:cubicBezTo>
                  <a:cubicBezTo>
                    <a:pt x="28" y="44"/>
                    <a:pt x="28" y="43"/>
                    <a:pt x="29" y="43"/>
                  </a:cubicBezTo>
                  <a:cubicBezTo>
                    <a:pt x="32" y="42"/>
                    <a:pt x="35" y="42"/>
                    <a:pt x="37" y="43"/>
                  </a:cubicBezTo>
                  <a:cubicBezTo>
                    <a:pt x="39" y="43"/>
                    <a:pt x="41" y="44"/>
                    <a:pt x="43" y="43"/>
                  </a:cubicBezTo>
                  <a:cubicBezTo>
                    <a:pt x="43" y="43"/>
                    <a:pt x="44" y="42"/>
                    <a:pt x="44" y="42"/>
                  </a:cubicBezTo>
                  <a:cubicBezTo>
                    <a:pt x="45" y="42"/>
                    <a:pt x="45" y="42"/>
                    <a:pt x="46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7" y="42"/>
                    <a:pt x="49" y="41"/>
                    <a:pt x="50" y="42"/>
                  </a:cubicBezTo>
                  <a:cubicBezTo>
                    <a:pt x="50" y="43"/>
                    <a:pt x="50" y="43"/>
                    <a:pt x="50" y="44"/>
                  </a:cubicBezTo>
                  <a:cubicBezTo>
                    <a:pt x="51" y="46"/>
                    <a:pt x="52" y="47"/>
                    <a:pt x="54" y="49"/>
                  </a:cubicBezTo>
                  <a:cubicBezTo>
                    <a:pt x="55" y="50"/>
                    <a:pt x="55" y="52"/>
                    <a:pt x="56" y="53"/>
                  </a:cubicBezTo>
                  <a:cubicBezTo>
                    <a:pt x="57" y="53"/>
                    <a:pt x="58" y="53"/>
                    <a:pt x="58" y="53"/>
                  </a:cubicBezTo>
                  <a:cubicBezTo>
                    <a:pt x="59" y="52"/>
                    <a:pt x="59" y="50"/>
                    <a:pt x="60" y="49"/>
                  </a:cubicBezTo>
                  <a:cubicBezTo>
                    <a:pt x="60" y="49"/>
                    <a:pt x="61" y="49"/>
                    <a:pt x="61" y="49"/>
                  </a:cubicBezTo>
                  <a:cubicBezTo>
                    <a:pt x="62" y="51"/>
                    <a:pt x="63" y="52"/>
                    <a:pt x="64" y="53"/>
                  </a:cubicBezTo>
                  <a:cubicBezTo>
                    <a:pt x="65" y="54"/>
                    <a:pt x="67" y="55"/>
                    <a:pt x="68" y="53"/>
                  </a:cubicBezTo>
                  <a:cubicBezTo>
                    <a:pt x="69" y="53"/>
                    <a:pt x="69" y="52"/>
                    <a:pt x="69" y="51"/>
                  </a:cubicBezTo>
                  <a:cubicBezTo>
                    <a:pt x="70" y="50"/>
                    <a:pt x="71" y="48"/>
                    <a:pt x="73" y="47"/>
                  </a:cubicBezTo>
                  <a:cubicBezTo>
                    <a:pt x="74" y="47"/>
                    <a:pt x="76" y="47"/>
                    <a:pt x="77" y="48"/>
                  </a:cubicBezTo>
                  <a:cubicBezTo>
                    <a:pt x="77" y="48"/>
                    <a:pt x="78" y="48"/>
                    <a:pt x="79" y="49"/>
                  </a:cubicBezTo>
                  <a:cubicBezTo>
                    <a:pt x="80" y="49"/>
                    <a:pt x="82" y="49"/>
                    <a:pt x="83" y="49"/>
                  </a:cubicBezTo>
                  <a:cubicBezTo>
                    <a:pt x="85" y="48"/>
                    <a:pt x="86" y="47"/>
                    <a:pt x="88" y="47"/>
                  </a:cubicBezTo>
                  <a:cubicBezTo>
                    <a:pt x="89" y="47"/>
                    <a:pt x="91" y="47"/>
                    <a:pt x="91" y="48"/>
                  </a:cubicBezTo>
                  <a:cubicBezTo>
                    <a:pt x="92" y="49"/>
                    <a:pt x="93" y="51"/>
                    <a:pt x="95" y="51"/>
                  </a:cubicBezTo>
                  <a:cubicBezTo>
                    <a:pt x="97" y="52"/>
                    <a:pt x="99" y="51"/>
                    <a:pt x="101" y="52"/>
                  </a:cubicBezTo>
                  <a:cubicBezTo>
                    <a:pt x="101" y="52"/>
                    <a:pt x="102" y="53"/>
                    <a:pt x="103" y="53"/>
                  </a:cubicBezTo>
                  <a:cubicBezTo>
                    <a:pt x="104" y="53"/>
                    <a:pt x="105" y="53"/>
                    <a:pt x="106" y="53"/>
                  </a:cubicBezTo>
                  <a:cubicBezTo>
                    <a:pt x="107" y="53"/>
                    <a:pt x="108" y="51"/>
                    <a:pt x="108" y="50"/>
                  </a:cubicBezTo>
                  <a:cubicBezTo>
                    <a:pt x="109" y="48"/>
                    <a:pt x="109" y="46"/>
                    <a:pt x="109" y="44"/>
                  </a:cubicBezTo>
                  <a:cubicBezTo>
                    <a:pt x="108" y="42"/>
                    <a:pt x="105" y="43"/>
                    <a:pt x="102" y="42"/>
                  </a:cubicBezTo>
                  <a:cubicBezTo>
                    <a:pt x="101" y="42"/>
                    <a:pt x="100" y="40"/>
                    <a:pt x="100" y="39"/>
                  </a:cubicBezTo>
                  <a:cubicBezTo>
                    <a:pt x="100" y="39"/>
                    <a:pt x="99" y="38"/>
                    <a:pt x="100" y="38"/>
                  </a:cubicBezTo>
                  <a:cubicBezTo>
                    <a:pt x="101" y="37"/>
                    <a:pt x="103" y="36"/>
                    <a:pt x="103" y="34"/>
                  </a:cubicBezTo>
                  <a:cubicBezTo>
                    <a:pt x="101" y="34"/>
                    <a:pt x="100" y="32"/>
                    <a:pt x="100" y="30"/>
                  </a:cubicBezTo>
                  <a:cubicBezTo>
                    <a:pt x="102" y="30"/>
                    <a:pt x="103" y="29"/>
                    <a:pt x="105" y="28"/>
                  </a:cubicBezTo>
                  <a:cubicBezTo>
                    <a:pt x="106" y="27"/>
                    <a:pt x="108" y="28"/>
                    <a:pt x="109" y="28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10" y="28"/>
                    <a:pt x="110" y="27"/>
                    <a:pt x="110" y="27"/>
                  </a:cubicBezTo>
                  <a:cubicBezTo>
                    <a:pt x="110" y="26"/>
                    <a:pt x="110" y="25"/>
                    <a:pt x="109" y="24"/>
                  </a:cubicBezTo>
                  <a:cubicBezTo>
                    <a:pt x="108" y="23"/>
                    <a:pt x="106" y="24"/>
                    <a:pt x="105" y="23"/>
                  </a:cubicBezTo>
                  <a:cubicBezTo>
                    <a:pt x="104" y="22"/>
                    <a:pt x="104" y="22"/>
                    <a:pt x="103" y="21"/>
                  </a:cubicBezTo>
                  <a:cubicBezTo>
                    <a:pt x="103" y="21"/>
                    <a:pt x="103" y="20"/>
                    <a:pt x="103" y="19"/>
                  </a:cubicBezTo>
                  <a:cubicBezTo>
                    <a:pt x="104" y="18"/>
                    <a:pt x="104" y="18"/>
                    <a:pt x="105" y="17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6" y="14"/>
                    <a:pt x="109" y="15"/>
                    <a:pt x="110" y="16"/>
                  </a:cubicBezTo>
                  <a:cubicBezTo>
                    <a:pt x="110" y="16"/>
                    <a:pt x="111" y="16"/>
                    <a:pt x="112" y="16"/>
                  </a:cubicBezTo>
                  <a:cubicBezTo>
                    <a:pt x="114" y="15"/>
                    <a:pt x="116" y="14"/>
                    <a:pt x="117" y="14"/>
                  </a:cubicBezTo>
                  <a:cubicBezTo>
                    <a:pt x="119" y="13"/>
                    <a:pt x="120" y="14"/>
                    <a:pt x="122" y="13"/>
                  </a:cubicBezTo>
                  <a:cubicBezTo>
                    <a:pt x="123" y="13"/>
                    <a:pt x="123" y="13"/>
                    <a:pt x="124" y="13"/>
                  </a:cubicBezTo>
                  <a:cubicBezTo>
                    <a:pt x="128" y="11"/>
                    <a:pt x="131" y="10"/>
                    <a:pt x="134" y="8"/>
                  </a:cubicBezTo>
                  <a:cubicBezTo>
                    <a:pt x="136" y="8"/>
                    <a:pt x="137" y="8"/>
                    <a:pt x="138" y="8"/>
                  </a:cubicBezTo>
                  <a:cubicBezTo>
                    <a:pt x="139" y="8"/>
                    <a:pt x="140" y="8"/>
                    <a:pt x="140" y="7"/>
                  </a:cubicBezTo>
                  <a:cubicBezTo>
                    <a:pt x="143" y="7"/>
                    <a:pt x="145" y="7"/>
                    <a:pt x="147" y="7"/>
                  </a:cubicBezTo>
                  <a:cubicBezTo>
                    <a:pt x="148" y="7"/>
                    <a:pt x="149" y="7"/>
                    <a:pt x="149" y="6"/>
                  </a:cubicBezTo>
                  <a:cubicBezTo>
                    <a:pt x="152" y="6"/>
                    <a:pt x="154" y="3"/>
                    <a:pt x="156" y="1"/>
                  </a:cubicBezTo>
                  <a:cubicBezTo>
                    <a:pt x="156" y="1"/>
                    <a:pt x="159" y="0"/>
                    <a:pt x="159" y="0"/>
                  </a:cubicBezTo>
                  <a:cubicBezTo>
                    <a:pt x="161" y="0"/>
                    <a:pt x="163" y="0"/>
                    <a:pt x="165" y="0"/>
                  </a:cubicBezTo>
                  <a:cubicBezTo>
                    <a:pt x="166" y="0"/>
                    <a:pt x="166" y="1"/>
                    <a:pt x="167" y="1"/>
                  </a:cubicBezTo>
                  <a:cubicBezTo>
                    <a:pt x="169" y="1"/>
                    <a:pt x="171" y="1"/>
                    <a:pt x="173" y="3"/>
                  </a:cubicBezTo>
                  <a:cubicBezTo>
                    <a:pt x="174" y="3"/>
                    <a:pt x="174" y="4"/>
                    <a:pt x="175" y="5"/>
                  </a:cubicBezTo>
                  <a:cubicBezTo>
                    <a:pt x="175" y="7"/>
                    <a:pt x="175" y="9"/>
                    <a:pt x="175" y="12"/>
                  </a:cubicBezTo>
                  <a:cubicBezTo>
                    <a:pt x="178" y="14"/>
                    <a:pt x="181" y="13"/>
                    <a:pt x="185" y="13"/>
                  </a:cubicBezTo>
                  <a:cubicBezTo>
                    <a:pt x="187" y="15"/>
                    <a:pt x="190" y="16"/>
                    <a:pt x="193" y="16"/>
                  </a:cubicBezTo>
                  <a:cubicBezTo>
                    <a:pt x="194" y="16"/>
                    <a:pt x="194" y="16"/>
                    <a:pt x="194" y="17"/>
                  </a:cubicBezTo>
                  <a:cubicBezTo>
                    <a:pt x="195" y="18"/>
                    <a:pt x="194" y="19"/>
                    <a:pt x="193" y="19"/>
                  </a:cubicBezTo>
                  <a:cubicBezTo>
                    <a:pt x="193" y="20"/>
                    <a:pt x="193" y="21"/>
                    <a:pt x="193" y="21"/>
                  </a:cubicBezTo>
                  <a:cubicBezTo>
                    <a:pt x="194" y="22"/>
                    <a:pt x="196" y="22"/>
                    <a:pt x="197" y="21"/>
                  </a:cubicBezTo>
                  <a:cubicBezTo>
                    <a:pt x="197" y="21"/>
                    <a:pt x="198" y="21"/>
                    <a:pt x="198" y="21"/>
                  </a:cubicBezTo>
                  <a:cubicBezTo>
                    <a:pt x="199" y="21"/>
                    <a:pt x="200" y="21"/>
                    <a:pt x="202" y="20"/>
                  </a:cubicBezTo>
                  <a:cubicBezTo>
                    <a:pt x="202" y="20"/>
                    <a:pt x="202" y="20"/>
                    <a:pt x="203" y="20"/>
                  </a:cubicBezTo>
                  <a:cubicBezTo>
                    <a:pt x="203" y="20"/>
                    <a:pt x="203" y="19"/>
                    <a:pt x="204" y="19"/>
                  </a:cubicBezTo>
                  <a:cubicBezTo>
                    <a:pt x="205" y="17"/>
                    <a:pt x="207" y="17"/>
                    <a:pt x="209" y="15"/>
                  </a:cubicBezTo>
                  <a:cubicBezTo>
                    <a:pt x="211" y="14"/>
                    <a:pt x="213" y="12"/>
                    <a:pt x="216" y="12"/>
                  </a:cubicBezTo>
                  <a:cubicBezTo>
                    <a:pt x="216" y="13"/>
                    <a:pt x="216" y="14"/>
                    <a:pt x="215" y="15"/>
                  </a:cubicBezTo>
                  <a:cubicBezTo>
                    <a:pt x="215" y="15"/>
                    <a:pt x="215" y="16"/>
                    <a:pt x="215" y="16"/>
                  </a:cubicBezTo>
                  <a:cubicBezTo>
                    <a:pt x="217" y="18"/>
                    <a:pt x="220" y="20"/>
                    <a:pt x="222" y="22"/>
                  </a:cubicBezTo>
                  <a:cubicBezTo>
                    <a:pt x="224" y="24"/>
                    <a:pt x="227" y="26"/>
                    <a:pt x="228" y="29"/>
                  </a:cubicBezTo>
                  <a:cubicBezTo>
                    <a:pt x="230" y="31"/>
                    <a:pt x="232" y="33"/>
                    <a:pt x="234" y="35"/>
                  </a:cubicBezTo>
                  <a:cubicBezTo>
                    <a:pt x="235" y="35"/>
                    <a:pt x="236" y="36"/>
                    <a:pt x="236" y="36"/>
                  </a:cubicBezTo>
                  <a:cubicBezTo>
                    <a:pt x="240" y="39"/>
                    <a:pt x="242" y="42"/>
                    <a:pt x="245" y="46"/>
                  </a:cubicBezTo>
                  <a:cubicBezTo>
                    <a:pt x="245" y="46"/>
                    <a:pt x="245" y="47"/>
                    <a:pt x="246" y="47"/>
                  </a:cubicBezTo>
                  <a:cubicBezTo>
                    <a:pt x="246" y="47"/>
                    <a:pt x="246" y="48"/>
                    <a:pt x="246" y="48"/>
                  </a:cubicBezTo>
                  <a:cubicBezTo>
                    <a:pt x="247" y="49"/>
                    <a:pt x="248" y="50"/>
                    <a:pt x="248" y="49"/>
                  </a:cubicBezTo>
                  <a:cubicBezTo>
                    <a:pt x="249" y="48"/>
                    <a:pt x="250" y="47"/>
                    <a:pt x="251" y="47"/>
                  </a:cubicBezTo>
                  <a:cubicBezTo>
                    <a:pt x="252" y="46"/>
                    <a:pt x="253" y="46"/>
                    <a:pt x="254" y="46"/>
                  </a:cubicBezTo>
                  <a:cubicBezTo>
                    <a:pt x="254" y="46"/>
                    <a:pt x="255" y="47"/>
                    <a:pt x="255" y="47"/>
                  </a:cubicBezTo>
                  <a:cubicBezTo>
                    <a:pt x="255" y="49"/>
                    <a:pt x="256" y="50"/>
                    <a:pt x="257" y="51"/>
                  </a:cubicBezTo>
                  <a:cubicBezTo>
                    <a:pt x="258" y="52"/>
                    <a:pt x="259" y="52"/>
                    <a:pt x="259" y="51"/>
                  </a:cubicBezTo>
                  <a:cubicBezTo>
                    <a:pt x="261" y="50"/>
                    <a:pt x="262" y="49"/>
                    <a:pt x="264" y="50"/>
                  </a:cubicBezTo>
                  <a:cubicBezTo>
                    <a:pt x="265" y="50"/>
                    <a:pt x="266" y="51"/>
                    <a:pt x="268" y="50"/>
                  </a:cubicBezTo>
                  <a:cubicBezTo>
                    <a:pt x="269" y="50"/>
                    <a:pt x="269" y="49"/>
                    <a:pt x="270" y="49"/>
                  </a:cubicBezTo>
                  <a:cubicBezTo>
                    <a:pt x="272" y="48"/>
                    <a:pt x="274" y="49"/>
                    <a:pt x="275" y="51"/>
                  </a:cubicBezTo>
                  <a:cubicBezTo>
                    <a:pt x="276" y="53"/>
                    <a:pt x="279" y="54"/>
                    <a:pt x="280" y="56"/>
                  </a:cubicBezTo>
                  <a:cubicBezTo>
                    <a:pt x="281" y="57"/>
                    <a:pt x="283" y="56"/>
                    <a:pt x="284" y="57"/>
                  </a:cubicBezTo>
                  <a:cubicBezTo>
                    <a:pt x="284" y="57"/>
                    <a:pt x="285" y="58"/>
                    <a:pt x="285" y="58"/>
                  </a:cubicBezTo>
                  <a:cubicBezTo>
                    <a:pt x="285" y="59"/>
                    <a:pt x="285" y="60"/>
                    <a:pt x="285" y="61"/>
                  </a:cubicBezTo>
                  <a:cubicBezTo>
                    <a:pt x="286" y="62"/>
                    <a:pt x="287" y="63"/>
                    <a:pt x="288" y="63"/>
                  </a:cubicBezTo>
                  <a:cubicBezTo>
                    <a:pt x="289" y="64"/>
                    <a:pt x="290" y="64"/>
                    <a:pt x="290" y="65"/>
                  </a:cubicBezTo>
                  <a:cubicBezTo>
                    <a:pt x="291" y="65"/>
                    <a:pt x="292" y="65"/>
                    <a:pt x="293" y="65"/>
                  </a:cubicBezTo>
                  <a:cubicBezTo>
                    <a:pt x="294" y="64"/>
                    <a:pt x="294" y="64"/>
                    <a:pt x="295" y="64"/>
                  </a:cubicBezTo>
                  <a:cubicBezTo>
                    <a:pt x="296" y="63"/>
                    <a:pt x="297" y="63"/>
                    <a:pt x="298" y="64"/>
                  </a:cubicBezTo>
                  <a:cubicBezTo>
                    <a:pt x="299" y="64"/>
                    <a:pt x="298" y="65"/>
                    <a:pt x="299" y="66"/>
                  </a:cubicBezTo>
                  <a:cubicBezTo>
                    <a:pt x="299" y="67"/>
                    <a:pt x="299" y="68"/>
                    <a:pt x="300" y="68"/>
                  </a:cubicBezTo>
                  <a:cubicBezTo>
                    <a:pt x="301" y="70"/>
                    <a:pt x="303" y="70"/>
                    <a:pt x="305" y="71"/>
                  </a:cubicBezTo>
                  <a:cubicBezTo>
                    <a:pt x="305" y="73"/>
                    <a:pt x="305" y="75"/>
                    <a:pt x="303" y="76"/>
                  </a:cubicBezTo>
                  <a:cubicBezTo>
                    <a:pt x="301" y="77"/>
                    <a:pt x="300" y="78"/>
                    <a:pt x="298" y="78"/>
                  </a:cubicBezTo>
                  <a:cubicBezTo>
                    <a:pt x="297" y="79"/>
                    <a:pt x="296" y="80"/>
                    <a:pt x="296" y="81"/>
                  </a:cubicBezTo>
                  <a:cubicBezTo>
                    <a:pt x="295" y="84"/>
                    <a:pt x="296" y="86"/>
                    <a:pt x="296" y="89"/>
                  </a:cubicBezTo>
                  <a:cubicBezTo>
                    <a:pt x="297" y="90"/>
                    <a:pt x="297" y="92"/>
                    <a:pt x="297" y="94"/>
                  </a:cubicBezTo>
                  <a:cubicBezTo>
                    <a:pt x="294" y="96"/>
                    <a:pt x="291" y="95"/>
                    <a:pt x="288" y="95"/>
                  </a:cubicBezTo>
                  <a:cubicBezTo>
                    <a:pt x="286" y="94"/>
                    <a:pt x="283" y="92"/>
                    <a:pt x="280" y="93"/>
                  </a:cubicBezTo>
                  <a:cubicBezTo>
                    <a:pt x="279" y="93"/>
                    <a:pt x="279" y="94"/>
                    <a:pt x="279" y="94"/>
                  </a:cubicBezTo>
                  <a:cubicBezTo>
                    <a:pt x="279" y="95"/>
                    <a:pt x="279" y="97"/>
                    <a:pt x="279" y="98"/>
                  </a:cubicBezTo>
                  <a:cubicBezTo>
                    <a:pt x="278" y="100"/>
                    <a:pt x="277" y="102"/>
                    <a:pt x="276" y="104"/>
                  </a:cubicBezTo>
                  <a:cubicBezTo>
                    <a:pt x="275" y="106"/>
                    <a:pt x="276" y="108"/>
                    <a:pt x="276" y="110"/>
                  </a:cubicBezTo>
                  <a:cubicBezTo>
                    <a:pt x="278" y="110"/>
                    <a:pt x="277" y="113"/>
                    <a:pt x="276" y="114"/>
                  </a:cubicBezTo>
                  <a:cubicBezTo>
                    <a:pt x="276" y="115"/>
                    <a:pt x="274" y="115"/>
                    <a:pt x="273" y="114"/>
                  </a:cubicBezTo>
                  <a:cubicBezTo>
                    <a:pt x="273" y="114"/>
                    <a:pt x="273" y="113"/>
                    <a:pt x="272" y="113"/>
                  </a:cubicBezTo>
                  <a:cubicBezTo>
                    <a:pt x="272" y="113"/>
                    <a:pt x="271" y="113"/>
                    <a:pt x="270" y="113"/>
                  </a:cubicBezTo>
                  <a:cubicBezTo>
                    <a:pt x="270" y="112"/>
                    <a:pt x="269" y="112"/>
                    <a:pt x="268" y="113"/>
                  </a:cubicBezTo>
                  <a:cubicBezTo>
                    <a:pt x="267" y="114"/>
                    <a:pt x="266" y="115"/>
                    <a:pt x="265" y="115"/>
                  </a:cubicBezTo>
                  <a:cubicBezTo>
                    <a:pt x="264" y="116"/>
                    <a:pt x="265" y="116"/>
                    <a:pt x="264" y="116"/>
                  </a:cubicBezTo>
                  <a:cubicBezTo>
                    <a:pt x="263" y="116"/>
                    <a:pt x="261" y="116"/>
                    <a:pt x="260" y="116"/>
                  </a:cubicBezTo>
                  <a:cubicBezTo>
                    <a:pt x="260" y="116"/>
                    <a:pt x="259" y="118"/>
                    <a:pt x="260" y="118"/>
                  </a:cubicBezTo>
                  <a:cubicBezTo>
                    <a:pt x="261" y="118"/>
                    <a:pt x="262" y="119"/>
                    <a:pt x="262" y="120"/>
                  </a:cubicBezTo>
                  <a:cubicBezTo>
                    <a:pt x="263" y="121"/>
                    <a:pt x="262" y="123"/>
                    <a:pt x="263" y="125"/>
                  </a:cubicBezTo>
                  <a:cubicBezTo>
                    <a:pt x="263" y="125"/>
                    <a:pt x="263" y="125"/>
                    <a:pt x="263" y="126"/>
                  </a:cubicBezTo>
                  <a:cubicBezTo>
                    <a:pt x="263" y="127"/>
                    <a:pt x="264" y="128"/>
                    <a:pt x="265" y="129"/>
                  </a:cubicBezTo>
                  <a:cubicBezTo>
                    <a:pt x="265" y="130"/>
                    <a:pt x="266" y="131"/>
                    <a:pt x="265" y="133"/>
                  </a:cubicBezTo>
                  <a:cubicBezTo>
                    <a:pt x="264" y="133"/>
                    <a:pt x="264" y="135"/>
                    <a:pt x="265" y="135"/>
                  </a:cubicBezTo>
                  <a:cubicBezTo>
                    <a:pt x="266" y="136"/>
                    <a:pt x="266" y="138"/>
                    <a:pt x="266" y="139"/>
                  </a:cubicBezTo>
                  <a:cubicBezTo>
                    <a:pt x="266" y="139"/>
                    <a:pt x="266" y="140"/>
                    <a:pt x="265" y="140"/>
                  </a:cubicBezTo>
                  <a:cubicBezTo>
                    <a:pt x="265" y="141"/>
                    <a:pt x="265" y="142"/>
                    <a:pt x="265" y="143"/>
                  </a:cubicBezTo>
                  <a:cubicBezTo>
                    <a:pt x="265" y="143"/>
                    <a:pt x="265" y="143"/>
                    <a:pt x="265" y="144"/>
                  </a:cubicBezTo>
                  <a:cubicBezTo>
                    <a:pt x="263" y="144"/>
                    <a:pt x="261" y="142"/>
                    <a:pt x="260" y="140"/>
                  </a:cubicBezTo>
                  <a:cubicBezTo>
                    <a:pt x="260" y="140"/>
                    <a:pt x="259" y="139"/>
                    <a:pt x="258" y="139"/>
                  </a:cubicBezTo>
                  <a:cubicBezTo>
                    <a:pt x="255" y="139"/>
                    <a:pt x="253" y="136"/>
                    <a:pt x="251" y="134"/>
                  </a:cubicBezTo>
                  <a:cubicBezTo>
                    <a:pt x="250" y="133"/>
                    <a:pt x="248" y="134"/>
                    <a:pt x="246" y="134"/>
                  </a:cubicBezTo>
                  <a:cubicBezTo>
                    <a:pt x="246" y="134"/>
                    <a:pt x="246" y="134"/>
                    <a:pt x="246" y="134"/>
                  </a:cubicBezTo>
                  <a:cubicBezTo>
                    <a:pt x="245" y="134"/>
                    <a:pt x="244" y="134"/>
                    <a:pt x="244" y="134"/>
                  </a:cubicBezTo>
                  <a:cubicBezTo>
                    <a:pt x="244" y="134"/>
                    <a:pt x="243" y="135"/>
                    <a:pt x="242" y="135"/>
                  </a:cubicBezTo>
                  <a:cubicBezTo>
                    <a:pt x="241" y="135"/>
                    <a:pt x="240" y="135"/>
                    <a:pt x="238" y="135"/>
                  </a:cubicBezTo>
                  <a:cubicBezTo>
                    <a:pt x="237" y="135"/>
                    <a:pt x="236" y="134"/>
                    <a:pt x="234" y="135"/>
                  </a:cubicBezTo>
                  <a:cubicBezTo>
                    <a:pt x="233" y="135"/>
                    <a:pt x="232" y="135"/>
                    <a:pt x="231" y="135"/>
                  </a:cubicBezTo>
                  <a:cubicBezTo>
                    <a:pt x="230" y="135"/>
                    <a:pt x="230" y="136"/>
                    <a:pt x="230" y="136"/>
                  </a:cubicBezTo>
                  <a:cubicBezTo>
                    <a:pt x="229" y="136"/>
                    <a:pt x="228" y="136"/>
                    <a:pt x="227" y="136"/>
                  </a:cubicBezTo>
                  <a:cubicBezTo>
                    <a:pt x="226" y="137"/>
                    <a:pt x="225" y="137"/>
                    <a:pt x="224" y="136"/>
                  </a:cubicBezTo>
                  <a:cubicBezTo>
                    <a:pt x="222" y="135"/>
                    <a:pt x="221" y="134"/>
                    <a:pt x="219" y="132"/>
                  </a:cubicBezTo>
                  <a:cubicBezTo>
                    <a:pt x="218" y="131"/>
                    <a:pt x="217" y="131"/>
                    <a:pt x="216" y="131"/>
                  </a:cubicBezTo>
                  <a:cubicBezTo>
                    <a:pt x="212" y="130"/>
                    <a:pt x="211" y="134"/>
                    <a:pt x="208" y="136"/>
                  </a:cubicBezTo>
                  <a:cubicBezTo>
                    <a:pt x="208" y="136"/>
                    <a:pt x="208" y="136"/>
                    <a:pt x="208" y="137"/>
                  </a:cubicBezTo>
                  <a:cubicBezTo>
                    <a:pt x="208" y="137"/>
                    <a:pt x="208" y="138"/>
                    <a:pt x="207" y="138"/>
                  </a:cubicBezTo>
                  <a:cubicBezTo>
                    <a:pt x="206" y="139"/>
                    <a:pt x="205" y="139"/>
                    <a:pt x="204" y="138"/>
                  </a:cubicBezTo>
                  <a:cubicBezTo>
                    <a:pt x="202" y="137"/>
                    <a:pt x="200" y="137"/>
                    <a:pt x="199" y="136"/>
                  </a:cubicBezTo>
                  <a:cubicBezTo>
                    <a:pt x="198" y="135"/>
                    <a:pt x="196" y="135"/>
                    <a:pt x="195" y="136"/>
                  </a:cubicBezTo>
                  <a:cubicBezTo>
                    <a:pt x="195" y="136"/>
                    <a:pt x="194" y="136"/>
                    <a:pt x="194" y="136"/>
                  </a:cubicBezTo>
                  <a:cubicBezTo>
                    <a:pt x="194" y="136"/>
                    <a:pt x="193" y="137"/>
                    <a:pt x="193" y="137"/>
                  </a:cubicBezTo>
                  <a:cubicBezTo>
                    <a:pt x="193" y="137"/>
                    <a:pt x="192" y="138"/>
                    <a:pt x="192" y="138"/>
                  </a:cubicBezTo>
                  <a:cubicBezTo>
                    <a:pt x="190" y="140"/>
                    <a:pt x="188" y="142"/>
                    <a:pt x="186" y="144"/>
                  </a:cubicBezTo>
                  <a:cubicBezTo>
                    <a:pt x="185" y="144"/>
                    <a:pt x="184" y="144"/>
                    <a:pt x="183" y="144"/>
                  </a:cubicBezTo>
                  <a:cubicBezTo>
                    <a:pt x="182" y="145"/>
                    <a:pt x="181" y="146"/>
                    <a:pt x="181" y="147"/>
                  </a:cubicBezTo>
                  <a:cubicBezTo>
                    <a:pt x="180" y="148"/>
                    <a:pt x="180" y="148"/>
                    <a:pt x="180" y="149"/>
                  </a:cubicBezTo>
                  <a:cubicBezTo>
                    <a:pt x="179" y="150"/>
                    <a:pt x="180" y="152"/>
                    <a:pt x="180" y="152"/>
                  </a:cubicBezTo>
                  <a:cubicBezTo>
                    <a:pt x="179" y="153"/>
                    <a:pt x="178" y="153"/>
                    <a:pt x="177" y="154"/>
                  </a:cubicBezTo>
                  <a:cubicBezTo>
                    <a:pt x="176" y="155"/>
                    <a:pt x="174" y="155"/>
                    <a:pt x="172" y="154"/>
                  </a:cubicBezTo>
                  <a:cubicBezTo>
                    <a:pt x="170" y="154"/>
                    <a:pt x="168" y="153"/>
                    <a:pt x="165" y="153"/>
                  </a:cubicBezTo>
                  <a:cubicBezTo>
                    <a:pt x="163" y="152"/>
                    <a:pt x="160" y="152"/>
                    <a:pt x="158" y="152"/>
                  </a:cubicBezTo>
                  <a:cubicBezTo>
                    <a:pt x="157" y="150"/>
                    <a:pt x="158" y="148"/>
                    <a:pt x="157" y="146"/>
                  </a:cubicBezTo>
                  <a:cubicBezTo>
                    <a:pt x="156" y="145"/>
                    <a:pt x="154" y="145"/>
                    <a:pt x="154" y="144"/>
                  </a:cubicBezTo>
                  <a:cubicBezTo>
                    <a:pt x="153" y="142"/>
                    <a:pt x="154" y="140"/>
                    <a:pt x="154" y="138"/>
                  </a:cubicBezTo>
                  <a:cubicBezTo>
                    <a:pt x="154" y="138"/>
                    <a:pt x="154" y="137"/>
                    <a:pt x="153" y="137"/>
                  </a:cubicBezTo>
                  <a:cubicBezTo>
                    <a:pt x="151" y="135"/>
                    <a:pt x="149" y="134"/>
                    <a:pt x="148" y="132"/>
                  </a:cubicBezTo>
                  <a:cubicBezTo>
                    <a:pt x="148" y="132"/>
                    <a:pt x="147" y="131"/>
                    <a:pt x="147" y="130"/>
                  </a:cubicBezTo>
                  <a:cubicBezTo>
                    <a:pt x="147" y="129"/>
                    <a:pt x="146" y="129"/>
                    <a:pt x="145" y="129"/>
                  </a:cubicBezTo>
                  <a:cubicBezTo>
                    <a:pt x="139" y="128"/>
                    <a:pt x="133" y="129"/>
                    <a:pt x="126" y="128"/>
                  </a:cubicBezTo>
                  <a:cubicBezTo>
                    <a:pt x="124" y="128"/>
                    <a:pt x="122" y="129"/>
                    <a:pt x="120" y="128"/>
                  </a:cubicBezTo>
                  <a:cubicBezTo>
                    <a:pt x="119" y="127"/>
                    <a:pt x="119" y="126"/>
                    <a:pt x="118" y="125"/>
                  </a:cubicBezTo>
                  <a:cubicBezTo>
                    <a:pt x="117" y="123"/>
                    <a:pt x="115" y="121"/>
                    <a:pt x="113" y="120"/>
                  </a:cubicBezTo>
                  <a:cubicBezTo>
                    <a:pt x="110" y="119"/>
                    <a:pt x="109" y="115"/>
                    <a:pt x="107" y="112"/>
                  </a:cubicBezTo>
                  <a:cubicBezTo>
                    <a:pt x="106" y="111"/>
                    <a:pt x="105" y="110"/>
                    <a:pt x="104" y="110"/>
                  </a:cubicBezTo>
                  <a:cubicBezTo>
                    <a:pt x="103" y="109"/>
                    <a:pt x="101" y="110"/>
                    <a:pt x="100" y="109"/>
                  </a:cubicBezTo>
                  <a:cubicBezTo>
                    <a:pt x="100" y="109"/>
                    <a:pt x="100" y="109"/>
                    <a:pt x="99" y="109"/>
                  </a:cubicBezTo>
                  <a:cubicBezTo>
                    <a:pt x="99" y="109"/>
                    <a:pt x="99" y="108"/>
                    <a:pt x="98" y="107"/>
                  </a:cubicBezTo>
                  <a:cubicBezTo>
                    <a:pt x="98" y="107"/>
                    <a:pt x="97" y="107"/>
                    <a:pt x="97" y="107"/>
                  </a:cubicBezTo>
                  <a:cubicBezTo>
                    <a:pt x="96" y="108"/>
                    <a:pt x="96" y="109"/>
                    <a:pt x="95" y="109"/>
                  </a:cubicBezTo>
                  <a:cubicBezTo>
                    <a:pt x="91" y="110"/>
                    <a:pt x="87" y="111"/>
                    <a:pt x="84" y="113"/>
                  </a:cubicBezTo>
                  <a:cubicBezTo>
                    <a:pt x="84" y="113"/>
                    <a:pt x="83" y="113"/>
                    <a:pt x="83" y="114"/>
                  </a:cubicBezTo>
                  <a:cubicBezTo>
                    <a:pt x="81" y="115"/>
                    <a:pt x="80" y="116"/>
                    <a:pt x="78" y="116"/>
                  </a:cubicBezTo>
                  <a:cubicBezTo>
                    <a:pt x="77" y="116"/>
                    <a:pt x="77" y="116"/>
                    <a:pt x="76" y="116"/>
                  </a:cubicBezTo>
                  <a:cubicBezTo>
                    <a:pt x="76" y="116"/>
                    <a:pt x="75" y="117"/>
                    <a:pt x="75" y="117"/>
                  </a:cubicBezTo>
                  <a:cubicBezTo>
                    <a:pt x="75" y="120"/>
                    <a:pt x="75" y="123"/>
                    <a:pt x="75" y="126"/>
                  </a:cubicBezTo>
                  <a:cubicBezTo>
                    <a:pt x="75" y="127"/>
                    <a:pt x="75" y="130"/>
                    <a:pt x="76" y="131"/>
                  </a:cubicBezTo>
                  <a:cubicBezTo>
                    <a:pt x="76" y="131"/>
                    <a:pt x="77" y="132"/>
                    <a:pt x="77" y="133"/>
                  </a:cubicBezTo>
                  <a:cubicBezTo>
                    <a:pt x="78" y="136"/>
                    <a:pt x="77" y="138"/>
                    <a:pt x="77" y="141"/>
                  </a:cubicBezTo>
                  <a:cubicBezTo>
                    <a:pt x="77" y="142"/>
                    <a:pt x="77" y="143"/>
                    <a:pt x="78" y="144"/>
                  </a:cubicBezTo>
                  <a:cubicBezTo>
                    <a:pt x="78" y="145"/>
                    <a:pt x="77" y="145"/>
                    <a:pt x="77" y="146"/>
                  </a:cubicBezTo>
                  <a:cubicBezTo>
                    <a:pt x="78" y="148"/>
                    <a:pt x="78" y="150"/>
                    <a:pt x="79" y="15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2" name="Freeform 203"/>
            <p:cNvSpPr>
              <a:spLocks/>
            </p:cNvSpPr>
            <p:nvPr/>
          </p:nvSpPr>
          <p:spPr bwMode="auto">
            <a:xfrm>
              <a:off x="7254582" y="3331046"/>
              <a:ext cx="114629" cy="55157"/>
            </a:xfrm>
            <a:custGeom>
              <a:avLst/>
              <a:gdLst>
                <a:gd name="T0" fmla="*/ 4691492 w 246"/>
                <a:gd name="T1" fmla="*/ 35989330 h 114"/>
                <a:gd name="T2" fmla="*/ 8403206 w 246"/>
                <a:gd name="T3" fmla="*/ 40649853 h 114"/>
                <a:gd name="T4" fmla="*/ 15790910 w 246"/>
                <a:gd name="T5" fmla="*/ 42602812 h 114"/>
                <a:gd name="T6" fmla="*/ 23340125 w 246"/>
                <a:gd name="T7" fmla="*/ 49789961 h 114"/>
                <a:gd name="T8" fmla="*/ 28249583 w 246"/>
                <a:gd name="T9" fmla="*/ 61027476 h 114"/>
                <a:gd name="T10" fmla="*/ 30085335 w 246"/>
                <a:gd name="T11" fmla="*/ 70019775 h 114"/>
                <a:gd name="T12" fmla="*/ 48886953 w 246"/>
                <a:gd name="T13" fmla="*/ 73956537 h 114"/>
                <a:gd name="T14" fmla="*/ 59970049 w 246"/>
                <a:gd name="T15" fmla="*/ 78608405 h 114"/>
                <a:gd name="T16" fmla="*/ 64677792 w 246"/>
                <a:gd name="T17" fmla="*/ 85779263 h 114"/>
                <a:gd name="T18" fmla="*/ 95604462 w 246"/>
                <a:gd name="T19" fmla="*/ 95919334 h 114"/>
                <a:gd name="T20" fmla="*/ 123870643 w 246"/>
                <a:gd name="T21" fmla="*/ 103368801 h 114"/>
                <a:gd name="T22" fmla="*/ 135728104 w 246"/>
                <a:gd name="T23" fmla="*/ 103368801 h 114"/>
                <a:gd name="T24" fmla="*/ 163843169 w 246"/>
                <a:gd name="T25" fmla="*/ 95919334 h 114"/>
                <a:gd name="T26" fmla="*/ 174233071 w 246"/>
                <a:gd name="T27" fmla="*/ 89567160 h 114"/>
                <a:gd name="T28" fmla="*/ 178931253 w 246"/>
                <a:gd name="T29" fmla="*/ 80300046 h 114"/>
                <a:gd name="T30" fmla="*/ 175430516 w 246"/>
                <a:gd name="T31" fmla="*/ 75499332 h 114"/>
                <a:gd name="T32" fmla="*/ 178087962 w 246"/>
                <a:gd name="T33" fmla="*/ 70019775 h 114"/>
                <a:gd name="T34" fmla="*/ 185674252 w 246"/>
                <a:gd name="T35" fmla="*/ 73956537 h 114"/>
                <a:gd name="T36" fmla="*/ 196792870 w 246"/>
                <a:gd name="T37" fmla="*/ 66508580 h 114"/>
                <a:gd name="T38" fmla="*/ 206309705 w 246"/>
                <a:gd name="T39" fmla="*/ 59893334 h 114"/>
                <a:gd name="T40" fmla="*/ 216759615 w 246"/>
                <a:gd name="T41" fmla="*/ 56366811 h 114"/>
                <a:gd name="T42" fmla="*/ 225797441 w 246"/>
                <a:gd name="T43" fmla="*/ 56366811 h 114"/>
                <a:gd name="T44" fmla="*/ 228514593 w 246"/>
                <a:gd name="T45" fmla="*/ 50887632 h 114"/>
                <a:gd name="T46" fmla="*/ 215403155 w 246"/>
                <a:gd name="T47" fmla="*/ 40649853 h 114"/>
                <a:gd name="T48" fmla="*/ 209867426 w 246"/>
                <a:gd name="T49" fmla="*/ 44310744 h 114"/>
                <a:gd name="T50" fmla="*/ 198770877 w 246"/>
                <a:gd name="T51" fmla="*/ 43437070 h 114"/>
                <a:gd name="T52" fmla="*/ 199628679 w 246"/>
                <a:gd name="T53" fmla="*/ 28551284 h 114"/>
                <a:gd name="T54" fmla="*/ 192090002 w 246"/>
                <a:gd name="T55" fmla="*/ 21100590 h 114"/>
                <a:gd name="T56" fmla="*/ 182996249 w 246"/>
                <a:gd name="T57" fmla="*/ 20379708 h 114"/>
                <a:gd name="T58" fmla="*/ 169378746 w 246"/>
                <a:gd name="T59" fmla="*/ 26579788 h 114"/>
                <a:gd name="T60" fmla="*/ 152031243 w 246"/>
                <a:gd name="T61" fmla="*/ 28551284 h 114"/>
                <a:gd name="T62" fmla="*/ 134950943 w 246"/>
                <a:gd name="T63" fmla="*/ 22438190 h 114"/>
                <a:gd name="T64" fmla="*/ 120948903 w 246"/>
                <a:gd name="T65" fmla="*/ 18408274 h 114"/>
                <a:gd name="T66" fmla="*/ 109559114 w 246"/>
                <a:gd name="T67" fmla="*/ 19549117 h 114"/>
                <a:gd name="T68" fmla="*/ 101151905 w 246"/>
                <a:gd name="T69" fmla="*/ 16456476 h 114"/>
                <a:gd name="T70" fmla="*/ 97591764 w 246"/>
                <a:gd name="T71" fmla="*/ 10960506 h 114"/>
                <a:gd name="T72" fmla="*/ 90069640 w 246"/>
                <a:gd name="T73" fmla="*/ 5479234 h 114"/>
                <a:gd name="T74" fmla="*/ 74278706 w 246"/>
                <a:gd name="T75" fmla="*/ 834235 h 114"/>
                <a:gd name="T76" fmla="*/ 67508650 w 246"/>
                <a:gd name="T77" fmla="*/ 5479234 h 114"/>
                <a:gd name="T78" fmla="*/ 65521498 w 246"/>
                <a:gd name="T79" fmla="*/ 12099801 h 114"/>
                <a:gd name="T80" fmla="*/ 71055187 w 246"/>
                <a:gd name="T81" fmla="*/ 20379708 h 114"/>
                <a:gd name="T82" fmla="*/ 65521498 w 246"/>
                <a:gd name="T83" fmla="*/ 23887807 h 114"/>
                <a:gd name="T84" fmla="*/ 56270998 w 246"/>
                <a:gd name="T85" fmla="*/ 22438190 h 114"/>
                <a:gd name="T86" fmla="*/ 46031910 w 246"/>
                <a:gd name="T87" fmla="*/ 21100590 h 114"/>
                <a:gd name="T88" fmla="*/ 41959016 w 246"/>
                <a:gd name="T89" fmla="*/ 14898438 h 114"/>
                <a:gd name="T90" fmla="*/ 30085335 w 246"/>
                <a:gd name="T91" fmla="*/ 12929066 h 114"/>
                <a:gd name="T92" fmla="*/ 22675215 w 246"/>
                <a:gd name="T93" fmla="*/ 15609627 h 114"/>
                <a:gd name="T94" fmla="*/ 13954497 w 246"/>
                <a:gd name="T95" fmla="*/ 22438190 h 114"/>
                <a:gd name="T96" fmla="*/ 7522174 w 246"/>
                <a:gd name="T97" fmla="*/ 27834008 h 1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46"/>
                <a:gd name="T148" fmla="*/ 0 h 114"/>
                <a:gd name="T149" fmla="*/ 246 w 246"/>
                <a:gd name="T150" fmla="*/ 114 h 1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46" h="114">
                  <a:moveTo>
                    <a:pt x="0" y="35"/>
                  </a:moveTo>
                  <a:cubicBezTo>
                    <a:pt x="0" y="36"/>
                    <a:pt x="2" y="36"/>
                    <a:pt x="2" y="37"/>
                  </a:cubicBezTo>
                  <a:cubicBezTo>
                    <a:pt x="3" y="38"/>
                    <a:pt x="4" y="38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7" y="39"/>
                    <a:pt x="7" y="41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9" y="45"/>
                    <a:pt x="10" y="45"/>
                    <a:pt x="10" y="46"/>
                  </a:cubicBezTo>
                  <a:cubicBezTo>
                    <a:pt x="11" y="46"/>
                    <a:pt x="12" y="45"/>
                    <a:pt x="13" y="44"/>
                  </a:cubicBezTo>
                  <a:cubicBezTo>
                    <a:pt x="14" y="43"/>
                    <a:pt x="16" y="45"/>
                    <a:pt x="17" y="46"/>
                  </a:cubicBezTo>
                  <a:cubicBezTo>
                    <a:pt x="19" y="46"/>
                    <a:pt x="21" y="48"/>
                    <a:pt x="23" y="50"/>
                  </a:cubicBezTo>
                  <a:cubicBezTo>
                    <a:pt x="23" y="51"/>
                    <a:pt x="23" y="52"/>
                    <a:pt x="23" y="53"/>
                  </a:cubicBezTo>
                  <a:cubicBezTo>
                    <a:pt x="24" y="54"/>
                    <a:pt x="24" y="54"/>
                    <a:pt x="25" y="54"/>
                  </a:cubicBezTo>
                  <a:cubicBezTo>
                    <a:pt x="26" y="55"/>
                    <a:pt x="27" y="56"/>
                    <a:pt x="28" y="58"/>
                  </a:cubicBezTo>
                  <a:cubicBezTo>
                    <a:pt x="29" y="59"/>
                    <a:pt x="28" y="61"/>
                    <a:pt x="29" y="63"/>
                  </a:cubicBezTo>
                  <a:cubicBezTo>
                    <a:pt x="30" y="64"/>
                    <a:pt x="30" y="65"/>
                    <a:pt x="30" y="66"/>
                  </a:cubicBezTo>
                  <a:cubicBezTo>
                    <a:pt x="31" y="67"/>
                    <a:pt x="30" y="69"/>
                    <a:pt x="30" y="70"/>
                  </a:cubicBezTo>
                  <a:cubicBezTo>
                    <a:pt x="28" y="71"/>
                    <a:pt x="27" y="72"/>
                    <a:pt x="28" y="74"/>
                  </a:cubicBezTo>
                  <a:cubicBezTo>
                    <a:pt x="29" y="75"/>
                    <a:pt x="31" y="75"/>
                    <a:pt x="32" y="76"/>
                  </a:cubicBezTo>
                  <a:cubicBezTo>
                    <a:pt x="34" y="77"/>
                    <a:pt x="36" y="77"/>
                    <a:pt x="39" y="78"/>
                  </a:cubicBezTo>
                  <a:cubicBezTo>
                    <a:pt x="42" y="79"/>
                    <a:pt x="45" y="79"/>
                    <a:pt x="48" y="79"/>
                  </a:cubicBezTo>
                  <a:cubicBezTo>
                    <a:pt x="50" y="80"/>
                    <a:pt x="51" y="80"/>
                    <a:pt x="52" y="80"/>
                  </a:cubicBezTo>
                  <a:cubicBezTo>
                    <a:pt x="54" y="81"/>
                    <a:pt x="56" y="83"/>
                    <a:pt x="58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61" y="85"/>
                    <a:pt x="62" y="84"/>
                    <a:pt x="64" y="85"/>
                  </a:cubicBezTo>
                  <a:cubicBezTo>
                    <a:pt x="65" y="86"/>
                    <a:pt x="66" y="87"/>
                    <a:pt x="67" y="88"/>
                  </a:cubicBezTo>
                  <a:cubicBezTo>
                    <a:pt x="67" y="88"/>
                    <a:pt x="67" y="89"/>
                    <a:pt x="67" y="89"/>
                  </a:cubicBezTo>
                  <a:cubicBezTo>
                    <a:pt x="68" y="90"/>
                    <a:pt x="68" y="92"/>
                    <a:pt x="69" y="93"/>
                  </a:cubicBezTo>
                  <a:cubicBezTo>
                    <a:pt x="72" y="96"/>
                    <a:pt x="75" y="99"/>
                    <a:pt x="78" y="102"/>
                  </a:cubicBezTo>
                  <a:cubicBezTo>
                    <a:pt x="80" y="104"/>
                    <a:pt x="83" y="103"/>
                    <a:pt x="84" y="104"/>
                  </a:cubicBezTo>
                  <a:cubicBezTo>
                    <a:pt x="90" y="104"/>
                    <a:pt x="96" y="104"/>
                    <a:pt x="102" y="104"/>
                  </a:cubicBezTo>
                  <a:cubicBezTo>
                    <a:pt x="106" y="103"/>
                    <a:pt x="110" y="103"/>
                    <a:pt x="114" y="103"/>
                  </a:cubicBezTo>
                  <a:cubicBezTo>
                    <a:pt x="116" y="103"/>
                    <a:pt x="116" y="105"/>
                    <a:pt x="117" y="106"/>
                  </a:cubicBezTo>
                  <a:cubicBezTo>
                    <a:pt x="121" y="107"/>
                    <a:pt x="127" y="108"/>
                    <a:pt x="132" y="112"/>
                  </a:cubicBezTo>
                  <a:cubicBezTo>
                    <a:pt x="135" y="112"/>
                    <a:pt x="136" y="111"/>
                    <a:pt x="139" y="111"/>
                  </a:cubicBezTo>
                  <a:cubicBezTo>
                    <a:pt x="140" y="112"/>
                    <a:pt x="140" y="113"/>
                    <a:pt x="141" y="114"/>
                  </a:cubicBezTo>
                  <a:cubicBezTo>
                    <a:pt x="142" y="114"/>
                    <a:pt x="144" y="113"/>
                    <a:pt x="145" y="112"/>
                  </a:cubicBezTo>
                  <a:cubicBezTo>
                    <a:pt x="148" y="111"/>
                    <a:pt x="150" y="108"/>
                    <a:pt x="153" y="107"/>
                  </a:cubicBezTo>
                  <a:cubicBezTo>
                    <a:pt x="159" y="104"/>
                    <a:pt x="165" y="105"/>
                    <a:pt x="171" y="105"/>
                  </a:cubicBezTo>
                  <a:cubicBezTo>
                    <a:pt x="172" y="105"/>
                    <a:pt x="174" y="104"/>
                    <a:pt x="175" y="104"/>
                  </a:cubicBezTo>
                  <a:cubicBezTo>
                    <a:pt x="178" y="103"/>
                    <a:pt x="180" y="103"/>
                    <a:pt x="183" y="102"/>
                  </a:cubicBezTo>
                  <a:cubicBezTo>
                    <a:pt x="183" y="102"/>
                    <a:pt x="184" y="102"/>
                    <a:pt x="184" y="101"/>
                  </a:cubicBezTo>
                  <a:cubicBezTo>
                    <a:pt x="185" y="100"/>
                    <a:pt x="185" y="98"/>
                    <a:pt x="186" y="97"/>
                  </a:cubicBezTo>
                  <a:cubicBezTo>
                    <a:pt x="186" y="97"/>
                    <a:pt x="187" y="97"/>
                    <a:pt x="187" y="96"/>
                  </a:cubicBezTo>
                  <a:cubicBezTo>
                    <a:pt x="189" y="94"/>
                    <a:pt x="191" y="92"/>
                    <a:pt x="192" y="90"/>
                  </a:cubicBezTo>
                  <a:cubicBezTo>
                    <a:pt x="193" y="89"/>
                    <a:pt x="193" y="87"/>
                    <a:pt x="191" y="87"/>
                  </a:cubicBezTo>
                  <a:cubicBezTo>
                    <a:pt x="190" y="86"/>
                    <a:pt x="189" y="85"/>
                    <a:pt x="188" y="84"/>
                  </a:cubicBezTo>
                  <a:cubicBezTo>
                    <a:pt x="188" y="84"/>
                    <a:pt x="188" y="83"/>
                    <a:pt x="188" y="83"/>
                  </a:cubicBezTo>
                  <a:cubicBezTo>
                    <a:pt x="188" y="83"/>
                    <a:pt x="187" y="82"/>
                    <a:pt x="187" y="82"/>
                  </a:cubicBezTo>
                  <a:cubicBezTo>
                    <a:pt x="187" y="81"/>
                    <a:pt x="187" y="80"/>
                    <a:pt x="187" y="79"/>
                  </a:cubicBezTo>
                  <a:cubicBezTo>
                    <a:pt x="188" y="79"/>
                    <a:pt x="188" y="78"/>
                    <a:pt x="189" y="77"/>
                  </a:cubicBezTo>
                  <a:cubicBezTo>
                    <a:pt x="189" y="77"/>
                    <a:pt x="189" y="76"/>
                    <a:pt x="190" y="76"/>
                  </a:cubicBezTo>
                  <a:cubicBezTo>
                    <a:pt x="191" y="76"/>
                    <a:pt x="193" y="76"/>
                    <a:pt x="194" y="77"/>
                  </a:cubicBezTo>
                  <a:cubicBezTo>
                    <a:pt x="195" y="77"/>
                    <a:pt x="195" y="78"/>
                    <a:pt x="196" y="79"/>
                  </a:cubicBezTo>
                  <a:cubicBezTo>
                    <a:pt x="196" y="79"/>
                    <a:pt x="197" y="80"/>
                    <a:pt x="198" y="80"/>
                  </a:cubicBezTo>
                  <a:cubicBezTo>
                    <a:pt x="200" y="81"/>
                    <a:pt x="202" y="81"/>
                    <a:pt x="205" y="80"/>
                  </a:cubicBezTo>
                  <a:cubicBezTo>
                    <a:pt x="206" y="79"/>
                    <a:pt x="207" y="77"/>
                    <a:pt x="208" y="75"/>
                  </a:cubicBezTo>
                  <a:cubicBezTo>
                    <a:pt x="208" y="74"/>
                    <a:pt x="209" y="72"/>
                    <a:pt x="210" y="72"/>
                  </a:cubicBezTo>
                  <a:cubicBezTo>
                    <a:pt x="213" y="72"/>
                    <a:pt x="216" y="72"/>
                    <a:pt x="218" y="71"/>
                  </a:cubicBezTo>
                  <a:cubicBezTo>
                    <a:pt x="218" y="70"/>
                    <a:pt x="219" y="70"/>
                    <a:pt x="219" y="69"/>
                  </a:cubicBezTo>
                  <a:cubicBezTo>
                    <a:pt x="220" y="68"/>
                    <a:pt x="219" y="66"/>
                    <a:pt x="220" y="65"/>
                  </a:cubicBezTo>
                  <a:cubicBezTo>
                    <a:pt x="220" y="65"/>
                    <a:pt x="221" y="64"/>
                    <a:pt x="222" y="64"/>
                  </a:cubicBezTo>
                  <a:cubicBezTo>
                    <a:pt x="224" y="63"/>
                    <a:pt x="227" y="64"/>
                    <a:pt x="229" y="62"/>
                  </a:cubicBezTo>
                  <a:cubicBezTo>
                    <a:pt x="230" y="62"/>
                    <a:pt x="230" y="62"/>
                    <a:pt x="231" y="61"/>
                  </a:cubicBezTo>
                  <a:cubicBezTo>
                    <a:pt x="231" y="61"/>
                    <a:pt x="231" y="61"/>
                    <a:pt x="232" y="61"/>
                  </a:cubicBezTo>
                  <a:cubicBezTo>
                    <a:pt x="232" y="61"/>
                    <a:pt x="233" y="60"/>
                    <a:pt x="234" y="60"/>
                  </a:cubicBezTo>
                  <a:cubicBezTo>
                    <a:pt x="236" y="59"/>
                    <a:pt x="239" y="60"/>
                    <a:pt x="241" y="61"/>
                  </a:cubicBezTo>
                  <a:cubicBezTo>
                    <a:pt x="242" y="61"/>
                    <a:pt x="243" y="61"/>
                    <a:pt x="244" y="61"/>
                  </a:cubicBezTo>
                  <a:cubicBezTo>
                    <a:pt x="244" y="60"/>
                    <a:pt x="245" y="60"/>
                    <a:pt x="245" y="60"/>
                  </a:cubicBezTo>
                  <a:cubicBezTo>
                    <a:pt x="246" y="58"/>
                    <a:pt x="245" y="57"/>
                    <a:pt x="244" y="55"/>
                  </a:cubicBezTo>
                  <a:cubicBezTo>
                    <a:pt x="243" y="54"/>
                    <a:pt x="244" y="52"/>
                    <a:pt x="242" y="51"/>
                  </a:cubicBezTo>
                  <a:cubicBezTo>
                    <a:pt x="240" y="50"/>
                    <a:pt x="238" y="49"/>
                    <a:pt x="235" y="47"/>
                  </a:cubicBezTo>
                  <a:cubicBezTo>
                    <a:pt x="233" y="46"/>
                    <a:pt x="232" y="45"/>
                    <a:pt x="230" y="44"/>
                  </a:cubicBezTo>
                  <a:cubicBezTo>
                    <a:pt x="230" y="44"/>
                    <a:pt x="228" y="44"/>
                    <a:pt x="228" y="44"/>
                  </a:cubicBezTo>
                  <a:cubicBezTo>
                    <a:pt x="226" y="45"/>
                    <a:pt x="226" y="47"/>
                    <a:pt x="225" y="48"/>
                  </a:cubicBezTo>
                  <a:cubicBezTo>
                    <a:pt x="225" y="48"/>
                    <a:pt x="224" y="48"/>
                    <a:pt x="224" y="48"/>
                  </a:cubicBezTo>
                  <a:cubicBezTo>
                    <a:pt x="222" y="49"/>
                    <a:pt x="220" y="48"/>
                    <a:pt x="219" y="49"/>
                  </a:cubicBezTo>
                  <a:cubicBezTo>
                    <a:pt x="217" y="50"/>
                    <a:pt x="216" y="50"/>
                    <a:pt x="215" y="49"/>
                  </a:cubicBezTo>
                  <a:cubicBezTo>
                    <a:pt x="214" y="49"/>
                    <a:pt x="212" y="48"/>
                    <a:pt x="212" y="47"/>
                  </a:cubicBezTo>
                  <a:cubicBezTo>
                    <a:pt x="211" y="45"/>
                    <a:pt x="211" y="44"/>
                    <a:pt x="211" y="42"/>
                  </a:cubicBezTo>
                  <a:cubicBezTo>
                    <a:pt x="212" y="40"/>
                    <a:pt x="212" y="37"/>
                    <a:pt x="212" y="35"/>
                  </a:cubicBezTo>
                  <a:cubicBezTo>
                    <a:pt x="212" y="34"/>
                    <a:pt x="213" y="32"/>
                    <a:pt x="213" y="31"/>
                  </a:cubicBezTo>
                  <a:cubicBezTo>
                    <a:pt x="214" y="29"/>
                    <a:pt x="213" y="26"/>
                    <a:pt x="213" y="24"/>
                  </a:cubicBezTo>
                  <a:cubicBezTo>
                    <a:pt x="213" y="24"/>
                    <a:pt x="213" y="24"/>
                    <a:pt x="213" y="24"/>
                  </a:cubicBezTo>
                  <a:cubicBezTo>
                    <a:pt x="211" y="22"/>
                    <a:pt x="208" y="24"/>
                    <a:pt x="205" y="23"/>
                  </a:cubicBezTo>
                  <a:cubicBezTo>
                    <a:pt x="203" y="23"/>
                    <a:pt x="202" y="21"/>
                    <a:pt x="200" y="21"/>
                  </a:cubicBezTo>
                  <a:cubicBezTo>
                    <a:pt x="199" y="20"/>
                    <a:pt x="198" y="20"/>
                    <a:pt x="197" y="21"/>
                  </a:cubicBezTo>
                  <a:cubicBezTo>
                    <a:pt x="197" y="21"/>
                    <a:pt x="196" y="21"/>
                    <a:pt x="195" y="22"/>
                  </a:cubicBezTo>
                  <a:cubicBezTo>
                    <a:pt x="195" y="22"/>
                    <a:pt x="194" y="22"/>
                    <a:pt x="194" y="22"/>
                  </a:cubicBezTo>
                  <a:cubicBezTo>
                    <a:pt x="192" y="24"/>
                    <a:pt x="191" y="26"/>
                    <a:pt x="188" y="27"/>
                  </a:cubicBezTo>
                  <a:cubicBezTo>
                    <a:pt x="186" y="29"/>
                    <a:pt x="183" y="27"/>
                    <a:pt x="181" y="29"/>
                  </a:cubicBezTo>
                  <a:cubicBezTo>
                    <a:pt x="181" y="29"/>
                    <a:pt x="180" y="30"/>
                    <a:pt x="180" y="30"/>
                  </a:cubicBezTo>
                  <a:cubicBezTo>
                    <a:pt x="178" y="31"/>
                    <a:pt x="177" y="31"/>
                    <a:pt x="175" y="31"/>
                  </a:cubicBezTo>
                  <a:cubicBezTo>
                    <a:pt x="171" y="31"/>
                    <a:pt x="167" y="31"/>
                    <a:pt x="162" y="31"/>
                  </a:cubicBezTo>
                  <a:cubicBezTo>
                    <a:pt x="160" y="29"/>
                    <a:pt x="157" y="31"/>
                    <a:pt x="154" y="29"/>
                  </a:cubicBezTo>
                  <a:cubicBezTo>
                    <a:pt x="151" y="28"/>
                    <a:pt x="150" y="25"/>
                    <a:pt x="147" y="24"/>
                  </a:cubicBezTo>
                  <a:cubicBezTo>
                    <a:pt x="146" y="24"/>
                    <a:pt x="145" y="24"/>
                    <a:pt x="144" y="24"/>
                  </a:cubicBezTo>
                  <a:cubicBezTo>
                    <a:pt x="143" y="24"/>
                    <a:pt x="143" y="23"/>
                    <a:pt x="142" y="23"/>
                  </a:cubicBezTo>
                  <a:cubicBezTo>
                    <a:pt x="140" y="20"/>
                    <a:pt x="135" y="18"/>
                    <a:pt x="131" y="19"/>
                  </a:cubicBezTo>
                  <a:cubicBezTo>
                    <a:pt x="131" y="19"/>
                    <a:pt x="130" y="20"/>
                    <a:pt x="129" y="20"/>
                  </a:cubicBezTo>
                  <a:cubicBezTo>
                    <a:pt x="127" y="21"/>
                    <a:pt x="125" y="21"/>
                    <a:pt x="123" y="22"/>
                  </a:cubicBezTo>
                  <a:cubicBezTo>
                    <a:pt x="122" y="22"/>
                    <a:pt x="120" y="22"/>
                    <a:pt x="119" y="22"/>
                  </a:cubicBezTo>
                  <a:cubicBezTo>
                    <a:pt x="119" y="22"/>
                    <a:pt x="118" y="21"/>
                    <a:pt x="117" y="21"/>
                  </a:cubicBezTo>
                  <a:cubicBezTo>
                    <a:pt x="115" y="21"/>
                    <a:pt x="113" y="21"/>
                    <a:pt x="111" y="20"/>
                  </a:cubicBezTo>
                  <a:cubicBezTo>
                    <a:pt x="110" y="20"/>
                    <a:pt x="109" y="20"/>
                    <a:pt x="108" y="19"/>
                  </a:cubicBezTo>
                  <a:cubicBezTo>
                    <a:pt x="108" y="19"/>
                    <a:pt x="108" y="18"/>
                    <a:pt x="108" y="18"/>
                  </a:cubicBezTo>
                  <a:cubicBezTo>
                    <a:pt x="108" y="17"/>
                    <a:pt x="107" y="16"/>
                    <a:pt x="106" y="16"/>
                  </a:cubicBezTo>
                  <a:cubicBezTo>
                    <a:pt x="106" y="15"/>
                    <a:pt x="106" y="14"/>
                    <a:pt x="106" y="14"/>
                  </a:cubicBezTo>
                  <a:cubicBezTo>
                    <a:pt x="105" y="13"/>
                    <a:pt x="104" y="12"/>
                    <a:pt x="104" y="12"/>
                  </a:cubicBezTo>
                  <a:cubicBezTo>
                    <a:pt x="104" y="11"/>
                    <a:pt x="104" y="10"/>
                    <a:pt x="104" y="10"/>
                  </a:cubicBezTo>
                  <a:cubicBezTo>
                    <a:pt x="103" y="8"/>
                    <a:pt x="102" y="7"/>
                    <a:pt x="101" y="7"/>
                  </a:cubicBezTo>
                  <a:cubicBezTo>
                    <a:pt x="99" y="6"/>
                    <a:pt x="98" y="6"/>
                    <a:pt x="96" y="6"/>
                  </a:cubicBezTo>
                  <a:cubicBezTo>
                    <a:pt x="95" y="6"/>
                    <a:pt x="93" y="5"/>
                    <a:pt x="92" y="5"/>
                  </a:cubicBezTo>
                  <a:cubicBezTo>
                    <a:pt x="90" y="4"/>
                    <a:pt x="87" y="5"/>
                    <a:pt x="85" y="4"/>
                  </a:cubicBezTo>
                  <a:cubicBezTo>
                    <a:pt x="83" y="3"/>
                    <a:pt x="81" y="2"/>
                    <a:pt x="79" y="1"/>
                  </a:cubicBezTo>
                  <a:cubicBezTo>
                    <a:pt x="78" y="1"/>
                    <a:pt x="77" y="0"/>
                    <a:pt x="77" y="1"/>
                  </a:cubicBezTo>
                  <a:cubicBezTo>
                    <a:pt x="76" y="2"/>
                    <a:pt x="75" y="3"/>
                    <a:pt x="75" y="5"/>
                  </a:cubicBezTo>
                  <a:cubicBezTo>
                    <a:pt x="75" y="6"/>
                    <a:pt x="73" y="5"/>
                    <a:pt x="72" y="6"/>
                  </a:cubicBezTo>
                  <a:cubicBezTo>
                    <a:pt x="72" y="6"/>
                    <a:pt x="72" y="7"/>
                    <a:pt x="72" y="8"/>
                  </a:cubicBezTo>
                  <a:cubicBezTo>
                    <a:pt x="71" y="9"/>
                    <a:pt x="70" y="9"/>
                    <a:pt x="69" y="10"/>
                  </a:cubicBezTo>
                  <a:cubicBezTo>
                    <a:pt x="69" y="11"/>
                    <a:pt x="69" y="12"/>
                    <a:pt x="70" y="13"/>
                  </a:cubicBezTo>
                  <a:cubicBezTo>
                    <a:pt x="71" y="14"/>
                    <a:pt x="73" y="14"/>
                    <a:pt x="74" y="16"/>
                  </a:cubicBezTo>
                  <a:cubicBezTo>
                    <a:pt x="75" y="18"/>
                    <a:pt x="74" y="19"/>
                    <a:pt x="74" y="21"/>
                  </a:cubicBezTo>
                  <a:cubicBezTo>
                    <a:pt x="75" y="21"/>
                    <a:pt x="75" y="21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7" y="24"/>
                    <a:pt x="76" y="25"/>
                    <a:pt x="75" y="25"/>
                  </a:cubicBezTo>
                  <a:cubicBezTo>
                    <a:pt x="73" y="26"/>
                    <a:pt x="72" y="25"/>
                    <a:pt x="70" y="26"/>
                  </a:cubicBezTo>
                  <a:cubicBezTo>
                    <a:pt x="69" y="26"/>
                    <a:pt x="67" y="26"/>
                    <a:pt x="66" y="26"/>
                  </a:cubicBezTo>
                  <a:cubicBezTo>
                    <a:pt x="64" y="25"/>
                    <a:pt x="63" y="25"/>
                    <a:pt x="61" y="24"/>
                  </a:cubicBezTo>
                  <a:cubicBezTo>
                    <a:pt x="61" y="24"/>
                    <a:pt x="60" y="24"/>
                    <a:pt x="60" y="24"/>
                  </a:cubicBezTo>
                  <a:cubicBezTo>
                    <a:pt x="59" y="24"/>
                    <a:pt x="57" y="24"/>
                    <a:pt x="56" y="25"/>
                  </a:cubicBezTo>
                  <a:cubicBezTo>
                    <a:pt x="55" y="25"/>
                    <a:pt x="53" y="24"/>
                    <a:pt x="52" y="23"/>
                  </a:cubicBezTo>
                  <a:cubicBezTo>
                    <a:pt x="51" y="22"/>
                    <a:pt x="50" y="23"/>
                    <a:pt x="49" y="23"/>
                  </a:cubicBezTo>
                  <a:cubicBezTo>
                    <a:pt x="48" y="22"/>
                    <a:pt x="49" y="21"/>
                    <a:pt x="47" y="21"/>
                  </a:cubicBezTo>
                  <a:cubicBezTo>
                    <a:pt x="47" y="19"/>
                    <a:pt x="48" y="18"/>
                    <a:pt x="47" y="17"/>
                  </a:cubicBezTo>
                  <a:cubicBezTo>
                    <a:pt x="47" y="16"/>
                    <a:pt x="46" y="16"/>
                    <a:pt x="45" y="16"/>
                  </a:cubicBezTo>
                  <a:cubicBezTo>
                    <a:pt x="43" y="17"/>
                    <a:pt x="41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5" y="14"/>
                    <a:pt x="33" y="15"/>
                    <a:pt x="32" y="14"/>
                  </a:cubicBezTo>
                  <a:cubicBezTo>
                    <a:pt x="31" y="14"/>
                    <a:pt x="30" y="14"/>
                    <a:pt x="29" y="13"/>
                  </a:cubicBezTo>
                  <a:cubicBezTo>
                    <a:pt x="29" y="13"/>
                    <a:pt x="28" y="13"/>
                    <a:pt x="27" y="14"/>
                  </a:cubicBezTo>
                  <a:cubicBezTo>
                    <a:pt x="26" y="15"/>
                    <a:pt x="25" y="16"/>
                    <a:pt x="24" y="17"/>
                  </a:cubicBezTo>
                  <a:cubicBezTo>
                    <a:pt x="23" y="17"/>
                    <a:pt x="23" y="18"/>
                    <a:pt x="23" y="18"/>
                  </a:cubicBezTo>
                  <a:cubicBezTo>
                    <a:pt x="22" y="18"/>
                    <a:pt x="20" y="17"/>
                    <a:pt x="19" y="18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4"/>
                    <a:pt x="14" y="24"/>
                    <a:pt x="13" y="25"/>
                  </a:cubicBezTo>
                  <a:cubicBezTo>
                    <a:pt x="12" y="26"/>
                    <a:pt x="11" y="27"/>
                    <a:pt x="11" y="28"/>
                  </a:cubicBezTo>
                  <a:cubicBezTo>
                    <a:pt x="10" y="29"/>
                    <a:pt x="9" y="29"/>
                    <a:pt x="8" y="30"/>
                  </a:cubicBezTo>
                  <a:cubicBezTo>
                    <a:pt x="6" y="30"/>
                    <a:pt x="4" y="29"/>
                    <a:pt x="2" y="30"/>
                  </a:cubicBezTo>
                  <a:cubicBezTo>
                    <a:pt x="1" y="31"/>
                    <a:pt x="0" y="33"/>
                    <a:pt x="0" y="3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3" name="Freeform 204"/>
            <p:cNvSpPr>
              <a:spLocks/>
            </p:cNvSpPr>
            <p:nvPr/>
          </p:nvSpPr>
          <p:spPr bwMode="auto">
            <a:xfrm>
              <a:off x="7390782" y="3378362"/>
              <a:ext cx="19816" cy="26497"/>
            </a:xfrm>
            <a:custGeom>
              <a:avLst/>
              <a:gdLst>
                <a:gd name="T0" fmla="*/ 0 w 43"/>
                <a:gd name="T1" fmla="*/ 30553764 h 55"/>
                <a:gd name="T2" fmla="*/ 0 w 43"/>
                <a:gd name="T3" fmla="*/ 30553764 h 55"/>
                <a:gd name="T4" fmla="*/ 2508984 w 43"/>
                <a:gd name="T5" fmla="*/ 32133921 h 55"/>
                <a:gd name="T6" fmla="*/ 7022497 w 43"/>
                <a:gd name="T7" fmla="*/ 33265629 h 55"/>
                <a:gd name="T8" fmla="*/ 8402175 w 43"/>
                <a:gd name="T9" fmla="*/ 33265629 h 55"/>
                <a:gd name="T10" fmla="*/ 8402175 w 43"/>
                <a:gd name="T11" fmla="*/ 41744284 h 55"/>
                <a:gd name="T12" fmla="*/ 5893195 w 43"/>
                <a:gd name="T13" fmla="*/ 46582135 h 55"/>
                <a:gd name="T14" fmla="*/ 7022497 w 43"/>
                <a:gd name="T15" fmla="*/ 46582135 h 55"/>
                <a:gd name="T16" fmla="*/ 10262278 w 43"/>
                <a:gd name="T17" fmla="*/ 51443170 h 55"/>
                <a:gd name="T18" fmla="*/ 12122866 w 43"/>
                <a:gd name="T19" fmla="*/ 51443170 h 55"/>
                <a:gd name="T20" fmla="*/ 13842148 w 43"/>
                <a:gd name="T21" fmla="*/ 49435630 h 55"/>
                <a:gd name="T22" fmla="*/ 15426147 w 43"/>
                <a:gd name="T23" fmla="*/ 50082169 h 55"/>
                <a:gd name="T24" fmla="*/ 16494699 w 43"/>
                <a:gd name="T25" fmla="*/ 49435630 h 55"/>
                <a:gd name="T26" fmla="*/ 19003303 w 43"/>
                <a:gd name="T27" fmla="*/ 44482697 h 55"/>
                <a:gd name="T28" fmla="*/ 24104407 w 43"/>
                <a:gd name="T29" fmla="*/ 46582135 h 55"/>
                <a:gd name="T30" fmla="*/ 28474633 w 43"/>
                <a:gd name="T31" fmla="*/ 44482697 h 55"/>
                <a:gd name="T32" fmla="*/ 29266792 w 43"/>
                <a:gd name="T33" fmla="*/ 44482697 h 55"/>
                <a:gd name="T34" fmla="*/ 25490446 w 43"/>
                <a:gd name="T35" fmla="*/ 40962053 h 55"/>
                <a:gd name="T36" fmla="*/ 21600153 w 43"/>
                <a:gd name="T37" fmla="*/ 36149095 h 55"/>
                <a:gd name="T38" fmla="*/ 21600153 w 43"/>
                <a:gd name="T39" fmla="*/ 33265629 h 55"/>
                <a:gd name="T40" fmla="*/ 22244298 w 43"/>
                <a:gd name="T41" fmla="*/ 30553764 h 55"/>
                <a:gd name="T42" fmla="*/ 23036232 w 43"/>
                <a:gd name="T43" fmla="*/ 29407117 h 55"/>
                <a:gd name="T44" fmla="*/ 27351777 w 43"/>
                <a:gd name="T45" fmla="*/ 29407117 h 55"/>
                <a:gd name="T46" fmla="*/ 29266792 w 43"/>
                <a:gd name="T47" fmla="*/ 27670998 h 55"/>
                <a:gd name="T48" fmla="*/ 30003951 w 43"/>
                <a:gd name="T49" fmla="*/ 26510888 h 55"/>
                <a:gd name="T50" fmla="*/ 34373369 w 43"/>
                <a:gd name="T51" fmla="*/ 20915084 h 55"/>
                <a:gd name="T52" fmla="*/ 33580966 w 43"/>
                <a:gd name="T53" fmla="*/ 15293853 h 55"/>
                <a:gd name="T54" fmla="*/ 33580966 w 43"/>
                <a:gd name="T55" fmla="*/ 14073924 h 55"/>
                <a:gd name="T56" fmla="*/ 34373369 w 43"/>
                <a:gd name="T57" fmla="*/ 12441474 h 55"/>
                <a:gd name="T58" fmla="*/ 34971703 w 43"/>
                <a:gd name="T59" fmla="*/ 9698940 h 55"/>
                <a:gd name="T60" fmla="*/ 36233498 w 43"/>
                <a:gd name="T61" fmla="*/ 7630665 h 55"/>
                <a:gd name="T62" fmla="*/ 36882039 w 43"/>
                <a:gd name="T63" fmla="*/ 5595820 h 55"/>
                <a:gd name="T64" fmla="*/ 36233498 w 43"/>
                <a:gd name="T65" fmla="*/ 4745295 h 55"/>
                <a:gd name="T66" fmla="*/ 36233498 w 43"/>
                <a:gd name="T67" fmla="*/ 3587761 h 55"/>
                <a:gd name="T68" fmla="*/ 32512941 w 43"/>
                <a:gd name="T69" fmla="*/ 849380 h 55"/>
                <a:gd name="T70" fmla="*/ 31720857 w 43"/>
                <a:gd name="T71" fmla="*/ 849380 h 55"/>
                <a:gd name="T72" fmla="*/ 30003951 w 43"/>
                <a:gd name="T73" fmla="*/ 5595820 h 55"/>
                <a:gd name="T74" fmla="*/ 28474633 w 43"/>
                <a:gd name="T75" fmla="*/ 8480160 h 55"/>
                <a:gd name="T76" fmla="*/ 27351777 w 43"/>
                <a:gd name="T77" fmla="*/ 9698940 h 55"/>
                <a:gd name="T78" fmla="*/ 26613378 w 43"/>
                <a:gd name="T79" fmla="*/ 9698940 h 55"/>
                <a:gd name="T80" fmla="*/ 25490446 w 43"/>
                <a:gd name="T81" fmla="*/ 10341119 h 55"/>
                <a:gd name="T82" fmla="*/ 23036232 w 43"/>
                <a:gd name="T83" fmla="*/ 10341119 h 55"/>
                <a:gd name="T84" fmla="*/ 21600153 w 43"/>
                <a:gd name="T85" fmla="*/ 15293853 h 55"/>
                <a:gd name="T86" fmla="*/ 19735327 w 43"/>
                <a:gd name="T87" fmla="*/ 14073924 h 55"/>
                <a:gd name="T88" fmla="*/ 17081927 w 43"/>
                <a:gd name="T89" fmla="*/ 14073924 h 55"/>
                <a:gd name="T90" fmla="*/ 14634214 w 43"/>
                <a:gd name="T91" fmla="*/ 12441474 h 55"/>
                <a:gd name="T92" fmla="*/ 12122866 w 43"/>
                <a:gd name="T93" fmla="*/ 13226485 h 55"/>
                <a:gd name="T94" fmla="*/ 12122866 w 43"/>
                <a:gd name="T95" fmla="*/ 18036115 h 55"/>
                <a:gd name="T96" fmla="*/ 7609730 w 43"/>
                <a:gd name="T97" fmla="*/ 20915084 h 55"/>
                <a:gd name="T98" fmla="*/ 7022497 w 43"/>
                <a:gd name="T99" fmla="*/ 21764424 h 55"/>
                <a:gd name="T100" fmla="*/ 5161223 w 43"/>
                <a:gd name="T101" fmla="*/ 25663080 h 55"/>
                <a:gd name="T102" fmla="*/ 2508984 w 43"/>
                <a:gd name="T103" fmla="*/ 27670998 h 55"/>
                <a:gd name="T104" fmla="*/ 0 w 43"/>
                <a:gd name="T105" fmla="*/ 30553764 h 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3"/>
                <a:gd name="T160" fmla="*/ 0 h 55"/>
                <a:gd name="T161" fmla="*/ 43 w 43"/>
                <a:gd name="T162" fmla="*/ 55 h 5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3" h="55">
                  <a:moveTo>
                    <a:pt x="0" y="32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1" y="33"/>
                    <a:pt x="2" y="34"/>
                    <a:pt x="3" y="34"/>
                  </a:cubicBezTo>
                  <a:cubicBezTo>
                    <a:pt x="4" y="36"/>
                    <a:pt x="6" y="34"/>
                    <a:pt x="8" y="35"/>
                  </a:cubicBezTo>
                  <a:cubicBezTo>
                    <a:pt x="9" y="35"/>
                    <a:pt x="10" y="35"/>
                    <a:pt x="10" y="35"/>
                  </a:cubicBezTo>
                  <a:cubicBezTo>
                    <a:pt x="10" y="38"/>
                    <a:pt x="10" y="41"/>
                    <a:pt x="10" y="44"/>
                  </a:cubicBezTo>
                  <a:cubicBezTo>
                    <a:pt x="9" y="46"/>
                    <a:pt x="6" y="47"/>
                    <a:pt x="7" y="49"/>
                  </a:cubicBezTo>
                  <a:cubicBezTo>
                    <a:pt x="7" y="49"/>
                    <a:pt x="8" y="49"/>
                    <a:pt x="8" y="49"/>
                  </a:cubicBezTo>
                  <a:cubicBezTo>
                    <a:pt x="10" y="51"/>
                    <a:pt x="11" y="52"/>
                    <a:pt x="12" y="54"/>
                  </a:cubicBezTo>
                  <a:cubicBezTo>
                    <a:pt x="12" y="54"/>
                    <a:pt x="13" y="55"/>
                    <a:pt x="14" y="54"/>
                  </a:cubicBezTo>
                  <a:cubicBezTo>
                    <a:pt x="14" y="53"/>
                    <a:pt x="14" y="51"/>
                    <a:pt x="16" y="52"/>
                  </a:cubicBezTo>
                  <a:cubicBezTo>
                    <a:pt x="17" y="52"/>
                    <a:pt x="17" y="53"/>
                    <a:pt x="18" y="53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20" y="51"/>
                    <a:pt x="21" y="49"/>
                    <a:pt x="22" y="47"/>
                  </a:cubicBezTo>
                  <a:cubicBezTo>
                    <a:pt x="24" y="47"/>
                    <a:pt x="26" y="48"/>
                    <a:pt x="28" y="49"/>
                  </a:cubicBezTo>
                  <a:cubicBezTo>
                    <a:pt x="29" y="49"/>
                    <a:pt x="32" y="49"/>
                    <a:pt x="3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3" y="45"/>
                    <a:pt x="32" y="43"/>
                    <a:pt x="30" y="43"/>
                  </a:cubicBezTo>
                  <a:cubicBezTo>
                    <a:pt x="28" y="42"/>
                    <a:pt x="26" y="40"/>
                    <a:pt x="25" y="38"/>
                  </a:cubicBezTo>
                  <a:cubicBezTo>
                    <a:pt x="24" y="37"/>
                    <a:pt x="24" y="36"/>
                    <a:pt x="25" y="35"/>
                  </a:cubicBezTo>
                  <a:cubicBezTo>
                    <a:pt x="25" y="34"/>
                    <a:pt x="26" y="33"/>
                    <a:pt x="26" y="32"/>
                  </a:cubicBezTo>
                  <a:cubicBezTo>
                    <a:pt x="26" y="32"/>
                    <a:pt x="26" y="32"/>
                    <a:pt x="27" y="31"/>
                  </a:cubicBezTo>
                  <a:cubicBezTo>
                    <a:pt x="28" y="31"/>
                    <a:pt x="30" y="31"/>
                    <a:pt x="32" y="31"/>
                  </a:cubicBezTo>
                  <a:cubicBezTo>
                    <a:pt x="33" y="31"/>
                    <a:pt x="33" y="29"/>
                    <a:pt x="34" y="29"/>
                  </a:cubicBezTo>
                  <a:cubicBezTo>
                    <a:pt x="34" y="29"/>
                    <a:pt x="35" y="28"/>
                    <a:pt x="35" y="28"/>
                  </a:cubicBezTo>
                  <a:cubicBezTo>
                    <a:pt x="35" y="25"/>
                    <a:pt x="38" y="25"/>
                    <a:pt x="40" y="22"/>
                  </a:cubicBezTo>
                  <a:cubicBezTo>
                    <a:pt x="41" y="20"/>
                    <a:pt x="40" y="18"/>
                    <a:pt x="39" y="16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4"/>
                    <a:pt x="40" y="14"/>
                    <a:pt x="40" y="13"/>
                  </a:cubicBezTo>
                  <a:cubicBezTo>
                    <a:pt x="41" y="12"/>
                    <a:pt x="40" y="11"/>
                    <a:pt x="41" y="10"/>
                  </a:cubicBezTo>
                  <a:cubicBezTo>
                    <a:pt x="41" y="9"/>
                    <a:pt x="41" y="8"/>
                    <a:pt x="42" y="8"/>
                  </a:cubicBezTo>
                  <a:cubicBezTo>
                    <a:pt x="42" y="7"/>
                    <a:pt x="43" y="7"/>
                    <a:pt x="43" y="6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4"/>
                    <a:pt x="42" y="4"/>
                  </a:cubicBezTo>
                  <a:cubicBezTo>
                    <a:pt x="40" y="3"/>
                    <a:pt x="39" y="2"/>
                    <a:pt x="38" y="1"/>
                  </a:cubicBezTo>
                  <a:cubicBezTo>
                    <a:pt x="38" y="0"/>
                    <a:pt x="37" y="0"/>
                    <a:pt x="37" y="1"/>
                  </a:cubicBezTo>
                  <a:cubicBezTo>
                    <a:pt x="36" y="3"/>
                    <a:pt x="36" y="5"/>
                    <a:pt x="35" y="6"/>
                  </a:cubicBezTo>
                  <a:cubicBezTo>
                    <a:pt x="35" y="7"/>
                    <a:pt x="34" y="8"/>
                    <a:pt x="33" y="9"/>
                  </a:cubicBezTo>
                  <a:cubicBezTo>
                    <a:pt x="33" y="10"/>
                    <a:pt x="32" y="10"/>
                    <a:pt x="32" y="10"/>
                  </a:cubicBezTo>
                  <a:cubicBezTo>
                    <a:pt x="32" y="10"/>
                    <a:pt x="31" y="10"/>
                    <a:pt x="31" y="10"/>
                  </a:cubicBezTo>
                  <a:cubicBezTo>
                    <a:pt x="31" y="10"/>
                    <a:pt x="30" y="11"/>
                    <a:pt x="30" y="11"/>
                  </a:cubicBezTo>
                  <a:cubicBezTo>
                    <a:pt x="29" y="11"/>
                    <a:pt x="28" y="11"/>
                    <a:pt x="27" y="11"/>
                  </a:cubicBezTo>
                  <a:cubicBezTo>
                    <a:pt x="26" y="12"/>
                    <a:pt x="27" y="15"/>
                    <a:pt x="25" y="16"/>
                  </a:cubicBezTo>
                  <a:cubicBezTo>
                    <a:pt x="25" y="16"/>
                    <a:pt x="24" y="16"/>
                    <a:pt x="23" y="15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19" y="14"/>
                    <a:pt x="18" y="13"/>
                    <a:pt x="17" y="13"/>
                  </a:cubicBezTo>
                  <a:cubicBezTo>
                    <a:pt x="16" y="12"/>
                    <a:pt x="15" y="13"/>
                    <a:pt x="14" y="14"/>
                  </a:cubicBezTo>
                  <a:cubicBezTo>
                    <a:pt x="14" y="16"/>
                    <a:pt x="14" y="17"/>
                    <a:pt x="14" y="19"/>
                  </a:cubicBezTo>
                  <a:cubicBezTo>
                    <a:pt x="13" y="21"/>
                    <a:pt x="11" y="21"/>
                    <a:pt x="9" y="22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5"/>
                    <a:pt x="6" y="26"/>
                    <a:pt x="6" y="27"/>
                  </a:cubicBezTo>
                  <a:cubicBezTo>
                    <a:pt x="5" y="28"/>
                    <a:pt x="4" y="28"/>
                    <a:pt x="3" y="29"/>
                  </a:cubicBezTo>
                  <a:cubicBezTo>
                    <a:pt x="2" y="29"/>
                    <a:pt x="1" y="30"/>
                    <a:pt x="0" y="3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4" name="Freeform 205"/>
            <p:cNvSpPr>
              <a:spLocks/>
            </p:cNvSpPr>
            <p:nvPr/>
          </p:nvSpPr>
          <p:spPr bwMode="auto">
            <a:xfrm>
              <a:off x="7132679" y="3380254"/>
              <a:ext cx="52674" cy="36772"/>
            </a:xfrm>
            <a:custGeom>
              <a:avLst/>
              <a:gdLst>
                <a:gd name="T0" fmla="*/ 3574376 w 113"/>
                <a:gd name="T1" fmla="*/ 6171011 h 76"/>
                <a:gd name="T2" fmla="*/ 9666756 w 113"/>
                <a:gd name="T3" fmla="*/ 3352262 h 76"/>
                <a:gd name="T4" fmla="*/ 23465438 w 113"/>
                <a:gd name="T5" fmla="*/ 13263485 h 76"/>
                <a:gd name="T6" fmla="*/ 27553835 w 113"/>
                <a:gd name="T7" fmla="*/ 12617060 h 76"/>
                <a:gd name="T8" fmla="*/ 27553835 w 113"/>
                <a:gd name="T9" fmla="*/ 12617060 h 76"/>
                <a:gd name="T10" fmla="*/ 34860843 w 113"/>
                <a:gd name="T11" fmla="*/ 13263485 h 76"/>
                <a:gd name="T12" fmla="*/ 34860843 w 113"/>
                <a:gd name="T13" fmla="*/ 7286717 h 76"/>
                <a:gd name="T14" fmla="*/ 38706209 w 113"/>
                <a:gd name="T15" fmla="*/ 5356966 h 76"/>
                <a:gd name="T16" fmla="*/ 42280521 w 113"/>
                <a:gd name="T17" fmla="*/ 814565 h 76"/>
                <a:gd name="T18" fmla="*/ 51083749 w 113"/>
                <a:gd name="T19" fmla="*/ 3352262 h 76"/>
                <a:gd name="T20" fmla="*/ 55444855 w 113"/>
                <a:gd name="T21" fmla="*/ 9870647 h 76"/>
                <a:gd name="T22" fmla="*/ 57440711 w 113"/>
                <a:gd name="T23" fmla="*/ 12617060 h 76"/>
                <a:gd name="T24" fmla="*/ 67990582 w 113"/>
                <a:gd name="T25" fmla="*/ 12617060 h 76"/>
                <a:gd name="T26" fmla="*/ 73550721 w 113"/>
                <a:gd name="T27" fmla="*/ 19697873 h 76"/>
                <a:gd name="T28" fmla="*/ 76284535 w 113"/>
                <a:gd name="T29" fmla="*/ 21673057 h 76"/>
                <a:gd name="T30" fmla="*/ 89459928 w 113"/>
                <a:gd name="T31" fmla="*/ 32316449 h 76"/>
                <a:gd name="T32" fmla="*/ 101968340 w 113"/>
                <a:gd name="T33" fmla="*/ 38487820 h 76"/>
                <a:gd name="T34" fmla="*/ 106681225 w 113"/>
                <a:gd name="T35" fmla="*/ 44959940 h 76"/>
                <a:gd name="T36" fmla="*/ 106681225 w 113"/>
                <a:gd name="T37" fmla="*/ 48309085 h 76"/>
                <a:gd name="T38" fmla="*/ 101968340 w 113"/>
                <a:gd name="T39" fmla="*/ 46393672 h 76"/>
                <a:gd name="T40" fmla="*/ 99901752 w 113"/>
                <a:gd name="T41" fmla="*/ 50227625 h 76"/>
                <a:gd name="T42" fmla="*/ 95508776 w 113"/>
                <a:gd name="T43" fmla="*/ 57517858 h 76"/>
                <a:gd name="T44" fmla="*/ 89459928 w 113"/>
                <a:gd name="T45" fmla="*/ 60932461 h 76"/>
                <a:gd name="T46" fmla="*/ 85060676 w 113"/>
                <a:gd name="T47" fmla="*/ 63553774 h 76"/>
                <a:gd name="T48" fmla="*/ 83010495 w 113"/>
                <a:gd name="T49" fmla="*/ 66285803 h 76"/>
                <a:gd name="T50" fmla="*/ 78280012 w 113"/>
                <a:gd name="T51" fmla="*/ 68219153 h 76"/>
                <a:gd name="T52" fmla="*/ 74706013 w 113"/>
                <a:gd name="T53" fmla="*/ 65471146 h 76"/>
                <a:gd name="T54" fmla="*/ 71836023 w 113"/>
                <a:gd name="T55" fmla="*/ 65471146 h 76"/>
                <a:gd name="T56" fmla="*/ 69834422 w 113"/>
                <a:gd name="T57" fmla="*/ 60932461 h 76"/>
                <a:gd name="T58" fmla="*/ 64258102 w 113"/>
                <a:gd name="T59" fmla="*/ 55600562 h 76"/>
                <a:gd name="T60" fmla="*/ 61530677 w 113"/>
                <a:gd name="T61" fmla="*/ 52223757 h 76"/>
                <a:gd name="T62" fmla="*/ 58326753 w 113"/>
                <a:gd name="T63" fmla="*/ 50227625 h 76"/>
                <a:gd name="T64" fmla="*/ 53969239 w 113"/>
                <a:gd name="T65" fmla="*/ 45773353 h 76"/>
                <a:gd name="T66" fmla="*/ 43637051 w 113"/>
                <a:gd name="T67" fmla="*/ 43798173 h 76"/>
                <a:gd name="T68" fmla="*/ 34860843 w 113"/>
                <a:gd name="T69" fmla="*/ 41025559 h 76"/>
                <a:gd name="T70" fmla="*/ 25552649 w 113"/>
                <a:gd name="T71" fmla="*/ 43041437 h 76"/>
                <a:gd name="T72" fmla="*/ 17226311 w 113"/>
                <a:gd name="T73" fmla="*/ 48309085 h 76"/>
                <a:gd name="T74" fmla="*/ 0 w 113"/>
                <a:gd name="T75" fmla="*/ 7286717 h 7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3"/>
                <a:gd name="T115" fmla="*/ 0 h 76"/>
                <a:gd name="T116" fmla="*/ 113 w 113"/>
                <a:gd name="T117" fmla="*/ 76 h 7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3" h="76">
                  <a:moveTo>
                    <a:pt x="0" y="8"/>
                  </a:moveTo>
                  <a:cubicBezTo>
                    <a:pt x="1" y="8"/>
                    <a:pt x="2" y="8"/>
                    <a:pt x="4" y="7"/>
                  </a:cubicBezTo>
                  <a:cubicBezTo>
                    <a:pt x="4" y="7"/>
                    <a:pt x="5" y="6"/>
                    <a:pt x="6" y="6"/>
                  </a:cubicBezTo>
                  <a:cubicBezTo>
                    <a:pt x="7" y="5"/>
                    <a:pt x="9" y="5"/>
                    <a:pt x="10" y="4"/>
                  </a:cubicBezTo>
                  <a:cubicBezTo>
                    <a:pt x="11" y="4"/>
                    <a:pt x="12" y="4"/>
                    <a:pt x="13" y="4"/>
                  </a:cubicBezTo>
                  <a:cubicBezTo>
                    <a:pt x="17" y="7"/>
                    <a:pt x="22" y="10"/>
                    <a:pt x="25" y="15"/>
                  </a:cubicBezTo>
                  <a:cubicBezTo>
                    <a:pt x="25" y="15"/>
                    <a:pt x="27" y="15"/>
                    <a:pt x="27" y="15"/>
                  </a:cubicBezTo>
                  <a:cubicBezTo>
                    <a:pt x="28" y="15"/>
                    <a:pt x="28" y="14"/>
                    <a:pt x="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1" y="14"/>
                    <a:pt x="34" y="14"/>
                    <a:pt x="36" y="15"/>
                  </a:cubicBezTo>
                  <a:cubicBezTo>
                    <a:pt x="36" y="15"/>
                    <a:pt x="37" y="15"/>
                    <a:pt x="37" y="15"/>
                  </a:cubicBezTo>
                  <a:cubicBezTo>
                    <a:pt x="37" y="14"/>
                    <a:pt x="37" y="14"/>
                    <a:pt x="37" y="13"/>
                  </a:cubicBezTo>
                  <a:cubicBezTo>
                    <a:pt x="36" y="11"/>
                    <a:pt x="36" y="9"/>
                    <a:pt x="37" y="8"/>
                  </a:cubicBezTo>
                  <a:cubicBezTo>
                    <a:pt x="37" y="6"/>
                    <a:pt x="39" y="7"/>
                    <a:pt x="40" y="7"/>
                  </a:cubicBezTo>
                  <a:cubicBezTo>
                    <a:pt x="41" y="7"/>
                    <a:pt x="41" y="7"/>
                    <a:pt x="41" y="6"/>
                  </a:cubicBezTo>
                  <a:cubicBezTo>
                    <a:pt x="42" y="4"/>
                    <a:pt x="42" y="2"/>
                    <a:pt x="44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7" y="1"/>
                    <a:pt x="48" y="0"/>
                    <a:pt x="49" y="1"/>
                  </a:cubicBezTo>
                  <a:cubicBezTo>
                    <a:pt x="51" y="2"/>
                    <a:pt x="53" y="2"/>
                    <a:pt x="54" y="4"/>
                  </a:cubicBezTo>
                  <a:cubicBezTo>
                    <a:pt x="56" y="5"/>
                    <a:pt x="58" y="5"/>
                    <a:pt x="59" y="7"/>
                  </a:cubicBezTo>
                  <a:cubicBezTo>
                    <a:pt x="59" y="9"/>
                    <a:pt x="59" y="10"/>
                    <a:pt x="59" y="11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60" y="13"/>
                    <a:pt x="60" y="14"/>
                    <a:pt x="61" y="14"/>
                  </a:cubicBezTo>
                  <a:cubicBezTo>
                    <a:pt x="64" y="14"/>
                    <a:pt x="66" y="15"/>
                    <a:pt x="69" y="14"/>
                  </a:cubicBezTo>
                  <a:cubicBezTo>
                    <a:pt x="70" y="14"/>
                    <a:pt x="71" y="14"/>
                    <a:pt x="72" y="14"/>
                  </a:cubicBezTo>
                  <a:cubicBezTo>
                    <a:pt x="75" y="15"/>
                    <a:pt x="76" y="17"/>
                    <a:pt x="77" y="18"/>
                  </a:cubicBezTo>
                  <a:cubicBezTo>
                    <a:pt x="78" y="19"/>
                    <a:pt x="78" y="21"/>
                    <a:pt x="78" y="22"/>
                  </a:cubicBezTo>
                  <a:cubicBezTo>
                    <a:pt x="78" y="22"/>
                    <a:pt x="79" y="22"/>
                    <a:pt x="79" y="23"/>
                  </a:cubicBezTo>
                  <a:cubicBezTo>
                    <a:pt x="80" y="23"/>
                    <a:pt x="81" y="23"/>
                    <a:pt x="81" y="24"/>
                  </a:cubicBezTo>
                  <a:cubicBezTo>
                    <a:pt x="82" y="26"/>
                    <a:pt x="82" y="28"/>
                    <a:pt x="84" y="30"/>
                  </a:cubicBezTo>
                  <a:cubicBezTo>
                    <a:pt x="87" y="33"/>
                    <a:pt x="90" y="35"/>
                    <a:pt x="95" y="36"/>
                  </a:cubicBezTo>
                  <a:cubicBezTo>
                    <a:pt x="97" y="38"/>
                    <a:pt x="99" y="41"/>
                    <a:pt x="102" y="42"/>
                  </a:cubicBezTo>
                  <a:cubicBezTo>
                    <a:pt x="104" y="43"/>
                    <a:pt x="106" y="43"/>
                    <a:pt x="108" y="43"/>
                  </a:cubicBezTo>
                  <a:cubicBezTo>
                    <a:pt x="109" y="44"/>
                    <a:pt x="110" y="46"/>
                    <a:pt x="111" y="48"/>
                  </a:cubicBezTo>
                  <a:cubicBezTo>
                    <a:pt x="112" y="48"/>
                    <a:pt x="112" y="49"/>
                    <a:pt x="113" y="50"/>
                  </a:cubicBezTo>
                  <a:cubicBezTo>
                    <a:pt x="113" y="51"/>
                    <a:pt x="113" y="53"/>
                    <a:pt x="113" y="54"/>
                  </a:cubicBezTo>
                  <a:cubicBezTo>
                    <a:pt x="113" y="54"/>
                    <a:pt x="113" y="54"/>
                    <a:pt x="113" y="54"/>
                  </a:cubicBezTo>
                  <a:cubicBezTo>
                    <a:pt x="112" y="54"/>
                    <a:pt x="112" y="53"/>
                    <a:pt x="111" y="53"/>
                  </a:cubicBezTo>
                  <a:cubicBezTo>
                    <a:pt x="110" y="53"/>
                    <a:pt x="109" y="53"/>
                    <a:pt x="108" y="52"/>
                  </a:cubicBezTo>
                  <a:cubicBezTo>
                    <a:pt x="107" y="52"/>
                    <a:pt x="107" y="52"/>
                    <a:pt x="107" y="52"/>
                  </a:cubicBezTo>
                  <a:cubicBezTo>
                    <a:pt x="106" y="53"/>
                    <a:pt x="107" y="55"/>
                    <a:pt x="106" y="56"/>
                  </a:cubicBezTo>
                  <a:cubicBezTo>
                    <a:pt x="104" y="56"/>
                    <a:pt x="103" y="56"/>
                    <a:pt x="102" y="57"/>
                  </a:cubicBezTo>
                  <a:cubicBezTo>
                    <a:pt x="101" y="59"/>
                    <a:pt x="103" y="62"/>
                    <a:pt x="101" y="64"/>
                  </a:cubicBezTo>
                  <a:cubicBezTo>
                    <a:pt x="101" y="65"/>
                    <a:pt x="100" y="65"/>
                    <a:pt x="99" y="65"/>
                  </a:cubicBezTo>
                  <a:cubicBezTo>
                    <a:pt x="98" y="66"/>
                    <a:pt x="97" y="67"/>
                    <a:pt x="95" y="68"/>
                  </a:cubicBezTo>
                  <a:cubicBezTo>
                    <a:pt x="94" y="70"/>
                    <a:pt x="92" y="69"/>
                    <a:pt x="90" y="69"/>
                  </a:cubicBezTo>
                  <a:cubicBezTo>
                    <a:pt x="90" y="70"/>
                    <a:pt x="90" y="71"/>
                    <a:pt x="90" y="71"/>
                  </a:cubicBezTo>
                  <a:cubicBezTo>
                    <a:pt x="91" y="72"/>
                    <a:pt x="91" y="73"/>
                    <a:pt x="90" y="73"/>
                  </a:cubicBezTo>
                  <a:cubicBezTo>
                    <a:pt x="89" y="74"/>
                    <a:pt x="88" y="73"/>
                    <a:pt x="88" y="74"/>
                  </a:cubicBezTo>
                  <a:cubicBezTo>
                    <a:pt x="87" y="74"/>
                    <a:pt x="86" y="75"/>
                    <a:pt x="84" y="76"/>
                  </a:cubicBezTo>
                  <a:cubicBezTo>
                    <a:pt x="84" y="76"/>
                    <a:pt x="83" y="76"/>
                    <a:pt x="83" y="76"/>
                  </a:cubicBezTo>
                  <a:cubicBezTo>
                    <a:pt x="82" y="75"/>
                    <a:pt x="83" y="74"/>
                    <a:pt x="82" y="74"/>
                  </a:cubicBezTo>
                  <a:cubicBezTo>
                    <a:pt x="81" y="73"/>
                    <a:pt x="79" y="74"/>
                    <a:pt x="79" y="73"/>
                  </a:cubicBezTo>
                  <a:cubicBezTo>
                    <a:pt x="78" y="73"/>
                    <a:pt x="77" y="73"/>
                    <a:pt x="76" y="73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2"/>
                    <a:pt x="76" y="72"/>
                    <a:pt x="76" y="71"/>
                  </a:cubicBezTo>
                  <a:cubicBezTo>
                    <a:pt x="75" y="70"/>
                    <a:pt x="74" y="69"/>
                    <a:pt x="74" y="68"/>
                  </a:cubicBezTo>
                  <a:cubicBezTo>
                    <a:pt x="73" y="67"/>
                    <a:pt x="74" y="64"/>
                    <a:pt x="73" y="63"/>
                  </a:cubicBezTo>
                  <a:cubicBezTo>
                    <a:pt x="73" y="61"/>
                    <a:pt x="70" y="62"/>
                    <a:pt x="68" y="62"/>
                  </a:cubicBezTo>
                  <a:cubicBezTo>
                    <a:pt x="68" y="62"/>
                    <a:pt x="68" y="62"/>
                    <a:pt x="68" y="61"/>
                  </a:cubicBezTo>
                  <a:cubicBezTo>
                    <a:pt x="66" y="60"/>
                    <a:pt x="66" y="58"/>
                    <a:pt x="65" y="58"/>
                  </a:cubicBezTo>
                  <a:cubicBezTo>
                    <a:pt x="64" y="57"/>
                    <a:pt x="63" y="58"/>
                    <a:pt x="63" y="57"/>
                  </a:cubicBezTo>
                  <a:cubicBezTo>
                    <a:pt x="62" y="57"/>
                    <a:pt x="62" y="57"/>
                    <a:pt x="62" y="56"/>
                  </a:cubicBezTo>
                  <a:cubicBezTo>
                    <a:pt x="61" y="55"/>
                    <a:pt x="61" y="54"/>
                    <a:pt x="60" y="53"/>
                  </a:cubicBezTo>
                  <a:cubicBezTo>
                    <a:pt x="59" y="52"/>
                    <a:pt x="58" y="51"/>
                    <a:pt x="57" y="51"/>
                  </a:cubicBezTo>
                  <a:cubicBezTo>
                    <a:pt x="55" y="51"/>
                    <a:pt x="52" y="50"/>
                    <a:pt x="50" y="50"/>
                  </a:cubicBezTo>
                  <a:cubicBezTo>
                    <a:pt x="49" y="50"/>
                    <a:pt x="47" y="50"/>
                    <a:pt x="46" y="49"/>
                  </a:cubicBezTo>
                  <a:cubicBezTo>
                    <a:pt x="45" y="48"/>
                    <a:pt x="44" y="47"/>
                    <a:pt x="43" y="47"/>
                  </a:cubicBezTo>
                  <a:cubicBezTo>
                    <a:pt x="41" y="46"/>
                    <a:pt x="39" y="45"/>
                    <a:pt x="37" y="46"/>
                  </a:cubicBezTo>
                  <a:cubicBezTo>
                    <a:pt x="36" y="46"/>
                    <a:pt x="35" y="47"/>
                    <a:pt x="35" y="47"/>
                  </a:cubicBezTo>
                  <a:cubicBezTo>
                    <a:pt x="32" y="47"/>
                    <a:pt x="30" y="46"/>
                    <a:pt x="27" y="48"/>
                  </a:cubicBezTo>
                  <a:cubicBezTo>
                    <a:pt x="25" y="49"/>
                    <a:pt x="25" y="52"/>
                    <a:pt x="23" y="53"/>
                  </a:cubicBezTo>
                  <a:cubicBezTo>
                    <a:pt x="21" y="54"/>
                    <a:pt x="19" y="54"/>
                    <a:pt x="18" y="54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5" name="Freeform 206"/>
            <p:cNvSpPr>
              <a:spLocks/>
            </p:cNvSpPr>
            <p:nvPr/>
          </p:nvSpPr>
          <p:spPr bwMode="auto">
            <a:xfrm>
              <a:off x="7144468" y="3365113"/>
              <a:ext cx="62958" cy="41638"/>
            </a:xfrm>
            <a:custGeom>
              <a:avLst/>
              <a:gdLst>
                <a:gd name="T0" fmla="*/ 88045991 w 135"/>
                <a:gd name="T1" fmla="*/ 79883210 h 86"/>
                <a:gd name="T2" fmla="*/ 90055713 w 135"/>
                <a:gd name="T3" fmla="*/ 71696006 h 86"/>
                <a:gd name="T4" fmla="*/ 88887885 w 135"/>
                <a:gd name="T5" fmla="*/ 64836836 h 86"/>
                <a:gd name="T6" fmla="*/ 88887885 w 135"/>
                <a:gd name="T7" fmla="*/ 63340075 h 86"/>
                <a:gd name="T8" fmla="*/ 82756961 w 135"/>
                <a:gd name="T9" fmla="*/ 60171124 h 86"/>
                <a:gd name="T10" fmla="*/ 91491809 w 135"/>
                <a:gd name="T11" fmla="*/ 55864919 h 86"/>
                <a:gd name="T12" fmla="*/ 94226137 w 135"/>
                <a:gd name="T13" fmla="*/ 49995483 h 86"/>
                <a:gd name="T14" fmla="*/ 99607279 w 135"/>
                <a:gd name="T15" fmla="*/ 45681348 h 86"/>
                <a:gd name="T16" fmla="*/ 103309607 w 135"/>
                <a:gd name="T17" fmla="*/ 44489181 h 86"/>
                <a:gd name="T18" fmla="*/ 106070543 w 135"/>
                <a:gd name="T19" fmla="*/ 49158142 h 86"/>
                <a:gd name="T20" fmla="*/ 106070543 w 135"/>
                <a:gd name="T21" fmla="*/ 51972079 h 86"/>
                <a:gd name="T22" fmla="*/ 115154240 w 135"/>
                <a:gd name="T23" fmla="*/ 51198376 h 86"/>
                <a:gd name="T24" fmla="*/ 119329413 w 135"/>
                <a:gd name="T25" fmla="*/ 47181054 h 86"/>
                <a:gd name="T26" fmla="*/ 113345476 w 135"/>
                <a:gd name="T27" fmla="*/ 43652821 h 86"/>
                <a:gd name="T28" fmla="*/ 110603459 w 135"/>
                <a:gd name="T29" fmla="*/ 40817243 h 86"/>
                <a:gd name="T30" fmla="*/ 105229102 w 135"/>
                <a:gd name="T31" fmla="*/ 41678000 h 86"/>
                <a:gd name="T32" fmla="*/ 101527376 w 135"/>
                <a:gd name="T33" fmla="*/ 38201726 h 86"/>
                <a:gd name="T34" fmla="*/ 106070543 w 135"/>
                <a:gd name="T35" fmla="*/ 33476001 h 86"/>
                <a:gd name="T36" fmla="*/ 108674618 w 135"/>
                <a:gd name="T37" fmla="*/ 32702958 h 86"/>
                <a:gd name="T38" fmla="*/ 106070543 w 135"/>
                <a:gd name="T39" fmla="*/ 29863716 h 86"/>
                <a:gd name="T40" fmla="*/ 99607279 w 135"/>
                <a:gd name="T41" fmla="*/ 34174943 h 86"/>
                <a:gd name="T42" fmla="*/ 95342783 w 135"/>
                <a:gd name="T43" fmla="*/ 37015960 h 86"/>
                <a:gd name="T44" fmla="*/ 94226137 w 135"/>
                <a:gd name="T45" fmla="*/ 41678000 h 86"/>
                <a:gd name="T46" fmla="*/ 86967562 w 135"/>
                <a:gd name="T47" fmla="*/ 43652821 h 86"/>
                <a:gd name="T48" fmla="*/ 74788459 w 135"/>
                <a:gd name="T49" fmla="*/ 41678000 h 86"/>
                <a:gd name="T50" fmla="*/ 70939106 w 135"/>
                <a:gd name="T51" fmla="*/ 34174943 h 86"/>
                <a:gd name="T52" fmla="*/ 70117451 w 135"/>
                <a:gd name="T53" fmla="*/ 28036641 h 86"/>
                <a:gd name="T54" fmla="*/ 64754249 w 135"/>
                <a:gd name="T55" fmla="*/ 21180361 h 86"/>
                <a:gd name="T56" fmla="*/ 45852150 w 135"/>
                <a:gd name="T57" fmla="*/ 19723940 h 86"/>
                <a:gd name="T58" fmla="*/ 38550637 w 135"/>
                <a:gd name="T59" fmla="*/ 16518345 h 86"/>
                <a:gd name="T60" fmla="*/ 28652993 w 135"/>
                <a:gd name="T61" fmla="*/ 4665681 h 86"/>
                <a:gd name="T62" fmla="*/ 22472960 w 135"/>
                <a:gd name="T63" fmla="*/ 1976594 h 86"/>
                <a:gd name="T64" fmla="*/ 20543139 w 135"/>
                <a:gd name="T65" fmla="*/ 0 h 86"/>
                <a:gd name="T66" fmla="*/ 17951667 w 135"/>
                <a:gd name="T67" fmla="*/ 1976594 h 86"/>
                <a:gd name="T68" fmla="*/ 7294712 w 135"/>
                <a:gd name="T69" fmla="*/ 6643458 h 86"/>
                <a:gd name="T70" fmla="*/ 815222 w 135"/>
                <a:gd name="T71" fmla="*/ 8355956 h 86"/>
                <a:gd name="T72" fmla="*/ 0 w 135"/>
                <a:gd name="T73" fmla="*/ 17656693 h 86"/>
                <a:gd name="T74" fmla="*/ 1920300 w 135"/>
                <a:gd name="T75" fmla="*/ 24019603 h 86"/>
                <a:gd name="T76" fmla="*/ 2623608 w 135"/>
                <a:gd name="T77" fmla="*/ 34174943 h 86"/>
                <a:gd name="T78" fmla="*/ 3355585 w 135"/>
                <a:gd name="T79" fmla="*/ 41678000 h 86"/>
                <a:gd name="T80" fmla="*/ 10655054 w 135"/>
                <a:gd name="T81" fmla="*/ 42878740 h 86"/>
                <a:gd name="T82" fmla="*/ 10655054 w 135"/>
                <a:gd name="T83" fmla="*/ 36176447 h 86"/>
                <a:gd name="T84" fmla="*/ 14557454 w 135"/>
                <a:gd name="T85" fmla="*/ 34174943 h 86"/>
                <a:gd name="T86" fmla="*/ 17951667 w 135"/>
                <a:gd name="T87" fmla="*/ 29863716 h 86"/>
                <a:gd name="T88" fmla="*/ 25917554 w 135"/>
                <a:gd name="T89" fmla="*/ 32702958 h 86"/>
                <a:gd name="T90" fmla="*/ 30461381 w 135"/>
                <a:gd name="T91" fmla="*/ 38990970 h 86"/>
                <a:gd name="T92" fmla="*/ 32360994 w 135"/>
                <a:gd name="T93" fmla="*/ 41678000 h 86"/>
                <a:gd name="T94" fmla="*/ 42286142 w 135"/>
                <a:gd name="T95" fmla="*/ 41678000 h 86"/>
                <a:gd name="T96" fmla="*/ 47624695 w 135"/>
                <a:gd name="T97" fmla="*/ 49158142 h 86"/>
                <a:gd name="T98" fmla="*/ 50395204 w 135"/>
                <a:gd name="T99" fmla="*/ 51198376 h 86"/>
                <a:gd name="T100" fmla="*/ 62970435 w 135"/>
                <a:gd name="T101" fmla="*/ 62147758 h 86"/>
                <a:gd name="T102" fmla="*/ 74788459 w 135"/>
                <a:gd name="T103" fmla="*/ 68843167 h 86"/>
                <a:gd name="T104" fmla="*/ 79052974 w 135"/>
                <a:gd name="T105" fmla="*/ 75217554 h 8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35"/>
                <a:gd name="T160" fmla="*/ 0 h 86"/>
                <a:gd name="T161" fmla="*/ 135 w 135"/>
                <a:gd name="T162" fmla="*/ 86 h 8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35" h="86">
                  <a:moveTo>
                    <a:pt x="88" y="85"/>
                  </a:moveTo>
                  <a:cubicBezTo>
                    <a:pt x="90" y="86"/>
                    <a:pt x="95" y="86"/>
                    <a:pt x="98" y="86"/>
                  </a:cubicBezTo>
                  <a:cubicBezTo>
                    <a:pt x="98" y="84"/>
                    <a:pt x="98" y="82"/>
                    <a:pt x="99" y="80"/>
                  </a:cubicBezTo>
                  <a:cubicBezTo>
                    <a:pt x="100" y="80"/>
                    <a:pt x="100" y="78"/>
                    <a:pt x="100" y="77"/>
                  </a:cubicBezTo>
                  <a:cubicBezTo>
                    <a:pt x="101" y="76"/>
                    <a:pt x="101" y="75"/>
                    <a:pt x="100" y="74"/>
                  </a:cubicBezTo>
                  <a:cubicBezTo>
                    <a:pt x="99" y="73"/>
                    <a:pt x="99" y="72"/>
                    <a:pt x="99" y="70"/>
                  </a:cubicBezTo>
                  <a:cubicBezTo>
                    <a:pt x="100" y="70"/>
                    <a:pt x="100" y="69"/>
                    <a:pt x="100" y="68"/>
                  </a:cubicBezTo>
                  <a:cubicBezTo>
                    <a:pt x="100" y="68"/>
                    <a:pt x="100" y="68"/>
                    <a:pt x="99" y="68"/>
                  </a:cubicBezTo>
                  <a:cubicBezTo>
                    <a:pt x="98" y="67"/>
                    <a:pt x="96" y="68"/>
                    <a:pt x="95" y="67"/>
                  </a:cubicBezTo>
                  <a:cubicBezTo>
                    <a:pt x="94" y="66"/>
                    <a:pt x="93" y="66"/>
                    <a:pt x="92" y="65"/>
                  </a:cubicBezTo>
                  <a:cubicBezTo>
                    <a:pt x="92" y="64"/>
                    <a:pt x="91" y="62"/>
                    <a:pt x="93" y="61"/>
                  </a:cubicBezTo>
                  <a:cubicBezTo>
                    <a:pt x="96" y="61"/>
                    <a:pt x="100" y="62"/>
                    <a:pt x="102" y="60"/>
                  </a:cubicBezTo>
                  <a:cubicBezTo>
                    <a:pt x="104" y="59"/>
                    <a:pt x="102" y="57"/>
                    <a:pt x="103" y="55"/>
                  </a:cubicBezTo>
                  <a:cubicBezTo>
                    <a:pt x="103" y="54"/>
                    <a:pt x="104" y="55"/>
                    <a:pt x="105" y="54"/>
                  </a:cubicBezTo>
                  <a:cubicBezTo>
                    <a:pt x="106" y="53"/>
                    <a:pt x="107" y="52"/>
                    <a:pt x="108" y="51"/>
                  </a:cubicBezTo>
                  <a:cubicBezTo>
                    <a:pt x="108" y="50"/>
                    <a:pt x="110" y="50"/>
                    <a:pt x="111" y="49"/>
                  </a:cubicBezTo>
                  <a:cubicBezTo>
                    <a:pt x="112" y="49"/>
                    <a:pt x="112" y="48"/>
                    <a:pt x="113" y="47"/>
                  </a:cubicBezTo>
                  <a:cubicBezTo>
                    <a:pt x="114" y="47"/>
                    <a:pt x="115" y="47"/>
                    <a:pt x="115" y="48"/>
                  </a:cubicBezTo>
                  <a:cubicBezTo>
                    <a:pt x="116" y="49"/>
                    <a:pt x="115" y="50"/>
                    <a:pt x="116" y="51"/>
                  </a:cubicBezTo>
                  <a:cubicBezTo>
                    <a:pt x="116" y="52"/>
                    <a:pt x="117" y="52"/>
                    <a:pt x="118" y="53"/>
                  </a:cubicBezTo>
                  <a:cubicBezTo>
                    <a:pt x="119" y="53"/>
                    <a:pt x="119" y="55"/>
                    <a:pt x="118" y="56"/>
                  </a:cubicBezTo>
                  <a:cubicBezTo>
                    <a:pt x="118" y="56"/>
                    <a:pt x="118" y="56"/>
                    <a:pt x="118" y="56"/>
                  </a:cubicBezTo>
                  <a:cubicBezTo>
                    <a:pt x="121" y="55"/>
                    <a:pt x="124" y="57"/>
                    <a:pt x="127" y="55"/>
                  </a:cubicBezTo>
                  <a:cubicBezTo>
                    <a:pt x="127" y="55"/>
                    <a:pt x="128" y="55"/>
                    <a:pt x="128" y="55"/>
                  </a:cubicBezTo>
                  <a:cubicBezTo>
                    <a:pt x="128" y="54"/>
                    <a:pt x="128" y="53"/>
                    <a:pt x="129" y="52"/>
                  </a:cubicBezTo>
                  <a:cubicBezTo>
                    <a:pt x="130" y="51"/>
                    <a:pt x="132" y="52"/>
                    <a:pt x="133" y="51"/>
                  </a:cubicBezTo>
                  <a:cubicBezTo>
                    <a:pt x="134" y="51"/>
                    <a:pt x="135" y="50"/>
                    <a:pt x="135" y="49"/>
                  </a:cubicBezTo>
                  <a:cubicBezTo>
                    <a:pt x="132" y="49"/>
                    <a:pt x="129" y="47"/>
                    <a:pt x="126" y="47"/>
                  </a:cubicBezTo>
                  <a:cubicBezTo>
                    <a:pt x="125" y="47"/>
                    <a:pt x="125" y="46"/>
                    <a:pt x="125" y="45"/>
                  </a:cubicBezTo>
                  <a:cubicBezTo>
                    <a:pt x="124" y="44"/>
                    <a:pt x="123" y="44"/>
                    <a:pt x="123" y="44"/>
                  </a:cubicBezTo>
                  <a:cubicBezTo>
                    <a:pt x="122" y="44"/>
                    <a:pt x="122" y="45"/>
                    <a:pt x="121" y="45"/>
                  </a:cubicBezTo>
                  <a:cubicBezTo>
                    <a:pt x="120" y="45"/>
                    <a:pt x="118" y="45"/>
                    <a:pt x="117" y="45"/>
                  </a:cubicBezTo>
                  <a:cubicBezTo>
                    <a:pt x="116" y="45"/>
                    <a:pt x="115" y="44"/>
                    <a:pt x="114" y="43"/>
                  </a:cubicBezTo>
                  <a:cubicBezTo>
                    <a:pt x="113" y="42"/>
                    <a:pt x="113" y="41"/>
                    <a:pt x="113" y="41"/>
                  </a:cubicBezTo>
                  <a:cubicBezTo>
                    <a:pt x="114" y="40"/>
                    <a:pt x="115" y="39"/>
                    <a:pt x="116" y="38"/>
                  </a:cubicBezTo>
                  <a:cubicBezTo>
                    <a:pt x="117" y="38"/>
                    <a:pt x="117" y="37"/>
                    <a:pt x="118" y="36"/>
                  </a:cubicBezTo>
                  <a:cubicBezTo>
                    <a:pt x="119" y="36"/>
                    <a:pt x="119" y="36"/>
                    <a:pt x="120" y="36"/>
                  </a:cubicBezTo>
                  <a:cubicBezTo>
                    <a:pt x="120" y="35"/>
                    <a:pt x="121" y="35"/>
                    <a:pt x="121" y="35"/>
                  </a:cubicBezTo>
                  <a:cubicBezTo>
                    <a:pt x="121" y="35"/>
                    <a:pt x="121" y="34"/>
                    <a:pt x="120" y="34"/>
                  </a:cubicBezTo>
                  <a:cubicBezTo>
                    <a:pt x="120" y="33"/>
                    <a:pt x="118" y="33"/>
                    <a:pt x="118" y="32"/>
                  </a:cubicBezTo>
                  <a:cubicBezTo>
                    <a:pt x="118" y="32"/>
                    <a:pt x="117" y="32"/>
                    <a:pt x="117" y="31"/>
                  </a:cubicBezTo>
                  <a:cubicBezTo>
                    <a:pt x="115" y="33"/>
                    <a:pt x="113" y="35"/>
                    <a:pt x="111" y="37"/>
                  </a:cubicBezTo>
                  <a:cubicBezTo>
                    <a:pt x="110" y="37"/>
                    <a:pt x="109" y="37"/>
                    <a:pt x="108" y="37"/>
                  </a:cubicBezTo>
                  <a:cubicBezTo>
                    <a:pt x="107" y="38"/>
                    <a:pt x="106" y="39"/>
                    <a:pt x="106" y="40"/>
                  </a:cubicBezTo>
                  <a:cubicBezTo>
                    <a:pt x="105" y="41"/>
                    <a:pt x="105" y="41"/>
                    <a:pt x="105" y="42"/>
                  </a:cubicBezTo>
                  <a:cubicBezTo>
                    <a:pt x="104" y="43"/>
                    <a:pt x="105" y="45"/>
                    <a:pt x="105" y="45"/>
                  </a:cubicBezTo>
                  <a:cubicBezTo>
                    <a:pt x="104" y="46"/>
                    <a:pt x="103" y="46"/>
                    <a:pt x="102" y="47"/>
                  </a:cubicBezTo>
                  <a:cubicBezTo>
                    <a:pt x="101" y="48"/>
                    <a:pt x="99" y="48"/>
                    <a:pt x="97" y="47"/>
                  </a:cubicBezTo>
                  <a:cubicBezTo>
                    <a:pt x="95" y="47"/>
                    <a:pt x="93" y="46"/>
                    <a:pt x="90" y="46"/>
                  </a:cubicBezTo>
                  <a:cubicBezTo>
                    <a:pt x="88" y="45"/>
                    <a:pt x="85" y="45"/>
                    <a:pt x="83" y="45"/>
                  </a:cubicBezTo>
                  <a:cubicBezTo>
                    <a:pt x="82" y="43"/>
                    <a:pt x="83" y="41"/>
                    <a:pt x="82" y="39"/>
                  </a:cubicBezTo>
                  <a:cubicBezTo>
                    <a:pt x="81" y="38"/>
                    <a:pt x="79" y="38"/>
                    <a:pt x="79" y="37"/>
                  </a:cubicBezTo>
                  <a:cubicBezTo>
                    <a:pt x="78" y="35"/>
                    <a:pt x="79" y="33"/>
                    <a:pt x="79" y="31"/>
                  </a:cubicBezTo>
                  <a:cubicBezTo>
                    <a:pt x="79" y="31"/>
                    <a:pt x="79" y="30"/>
                    <a:pt x="78" y="30"/>
                  </a:cubicBezTo>
                  <a:cubicBezTo>
                    <a:pt x="76" y="28"/>
                    <a:pt x="74" y="27"/>
                    <a:pt x="73" y="25"/>
                  </a:cubicBezTo>
                  <a:cubicBezTo>
                    <a:pt x="73" y="25"/>
                    <a:pt x="72" y="24"/>
                    <a:pt x="72" y="23"/>
                  </a:cubicBezTo>
                  <a:cubicBezTo>
                    <a:pt x="72" y="22"/>
                    <a:pt x="71" y="22"/>
                    <a:pt x="70" y="22"/>
                  </a:cubicBezTo>
                  <a:cubicBezTo>
                    <a:pt x="64" y="21"/>
                    <a:pt x="58" y="22"/>
                    <a:pt x="51" y="21"/>
                  </a:cubicBezTo>
                  <a:cubicBezTo>
                    <a:pt x="49" y="21"/>
                    <a:pt x="47" y="22"/>
                    <a:pt x="45" y="21"/>
                  </a:cubicBezTo>
                  <a:cubicBezTo>
                    <a:pt x="44" y="20"/>
                    <a:pt x="44" y="19"/>
                    <a:pt x="43" y="18"/>
                  </a:cubicBezTo>
                  <a:cubicBezTo>
                    <a:pt x="42" y="16"/>
                    <a:pt x="40" y="14"/>
                    <a:pt x="38" y="13"/>
                  </a:cubicBezTo>
                  <a:cubicBezTo>
                    <a:pt x="35" y="12"/>
                    <a:pt x="34" y="8"/>
                    <a:pt x="32" y="5"/>
                  </a:cubicBezTo>
                  <a:cubicBezTo>
                    <a:pt x="31" y="4"/>
                    <a:pt x="30" y="3"/>
                    <a:pt x="29" y="3"/>
                  </a:cubicBezTo>
                  <a:cubicBezTo>
                    <a:pt x="28" y="2"/>
                    <a:pt x="26" y="3"/>
                    <a:pt x="25" y="2"/>
                  </a:cubicBezTo>
                  <a:cubicBezTo>
                    <a:pt x="25" y="2"/>
                    <a:pt x="25" y="2"/>
                    <a:pt x="24" y="2"/>
                  </a:cubicBezTo>
                  <a:cubicBezTo>
                    <a:pt x="24" y="2"/>
                    <a:pt x="24" y="1"/>
                    <a:pt x="23" y="0"/>
                  </a:cubicBezTo>
                  <a:cubicBezTo>
                    <a:pt x="23" y="0"/>
                    <a:pt x="22" y="0"/>
                    <a:pt x="22" y="0"/>
                  </a:cubicBezTo>
                  <a:cubicBezTo>
                    <a:pt x="21" y="1"/>
                    <a:pt x="21" y="2"/>
                    <a:pt x="20" y="2"/>
                  </a:cubicBezTo>
                  <a:cubicBezTo>
                    <a:pt x="16" y="3"/>
                    <a:pt x="12" y="4"/>
                    <a:pt x="9" y="6"/>
                  </a:cubicBezTo>
                  <a:cubicBezTo>
                    <a:pt x="9" y="6"/>
                    <a:pt x="8" y="6"/>
                    <a:pt x="8" y="7"/>
                  </a:cubicBezTo>
                  <a:cubicBezTo>
                    <a:pt x="6" y="8"/>
                    <a:pt x="5" y="9"/>
                    <a:pt x="3" y="9"/>
                  </a:cubicBezTo>
                  <a:cubicBezTo>
                    <a:pt x="2" y="9"/>
                    <a:pt x="2" y="9"/>
                    <a:pt x="1" y="9"/>
                  </a:cubicBezTo>
                  <a:cubicBezTo>
                    <a:pt x="1" y="9"/>
                    <a:pt x="0" y="10"/>
                    <a:pt x="0" y="10"/>
                  </a:cubicBezTo>
                  <a:cubicBezTo>
                    <a:pt x="0" y="13"/>
                    <a:pt x="0" y="16"/>
                    <a:pt x="0" y="19"/>
                  </a:cubicBezTo>
                  <a:cubicBezTo>
                    <a:pt x="0" y="20"/>
                    <a:pt x="0" y="23"/>
                    <a:pt x="1" y="24"/>
                  </a:cubicBezTo>
                  <a:cubicBezTo>
                    <a:pt x="1" y="24"/>
                    <a:pt x="2" y="25"/>
                    <a:pt x="2" y="26"/>
                  </a:cubicBezTo>
                  <a:cubicBezTo>
                    <a:pt x="3" y="29"/>
                    <a:pt x="2" y="31"/>
                    <a:pt x="2" y="34"/>
                  </a:cubicBezTo>
                  <a:cubicBezTo>
                    <a:pt x="2" y="35"/>
                    <a:pt x="2" y="36"/>
                    <a:pt x="3" y="37"/>
                  </a:cubicBezTo>
                  <a:cubicBezTo>
                    <a:pt x="3" y="38"/>
                    <a:pt x="2" y="38"/>
                    <a:pt x="2" y="39"/>
                  </a:cubicBezTo>
                  <a:cubicBezTo>
                    <a:pt x="3" y="41"/>
                    <a:pt x="3" y="43"/>
                    <a:pt x="4" y="45"/>
                  </a:cubicBezTo>
                  <a:cubicBezTo>
                    <a:pt x="6" y="45"/>
                    <a:pt x="9" y="45"/>
                    <a:pt x="11" y="46"/>
                  </a:cubicBezTo>
                  <a:cubicBezTo>
                    <a:pt x="11" y="46"/>
                    <a:pt x="12" y="46"/>
                    <a:pt x="12" y="46"/>
                  </a:cubicBezTo>
                  <a:cubicBezTo>
                    <a:pt x="12" y="45"/>
                    <a:pt x="12" y="45"/>
                    <a:pt x="12" y="44"/>
                  </a:cubicBezTo>
                  <a:cubicBezTo>
                    <a:pt x="11" y="42"/>
                    <a:pt x="11" y="40"/>
                    <a:pt x="12" y="39"/>
                  </a:cubicBezTo>
                  <a:cubicBezTo>
                    <a:pt x="12" y="37"/>
                    <a:pt x="14" y="38"/>
                    <a:pt x="15" y="38"/>
                  </a:cubicBezTo>
                  <a:cubicBezTo>
                    <a:pt x="16" y="38"/>
                    <a:pt x="16" y="38"/>
                    <a:pt x="16" y="37"/>
                  </a:cubicBezTo>
                  <a:cubicBezTo>
                    <a:pt x="17" y="35"/>
                    <a:pt x="17" y="33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2" y="32"/>
                    <a:pt x="23" y="31"/>
                    <a:pt x="24" y="32"/>
                  </a:cubicBezTo>
                  <a:cubicBezTo>
                    <a:pt x="26" y="33"/>
                    <a:pt x="28" y="33"/>
                    <a:pt x="29" y="35"/>
                  </a:cubicBezTo>
                  <a:cubicBezTo>
                    <a:pt x="31" y="36"/>
                    <a:pt x="33" y="36"/>
                    <a:pt x="34" y="38"/>
                  </a:cubicBezTo>
                  <a:cubicBezTo>
                    <a:pt x="34" y="40"/>
                    <a:pt x="34" y="41"/>
                    <a:pt x="34" y="42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5" y="44"/>
                    <a:pt x="35" y="45"/>
                    <a:pt x="36" y="45"/>
                  </a:cubicBezTo>
                  <a:cubicBezTo>
                    <a:pt x="39" y="45"/>
                    <a:pt x="41" y="46"/>
                    <a:pt x="44" y="45"/>
                  </a:cubicBezTo>
                  <a:cubicBezTo>
                    <a:pt x="45" y="45"/>
                    <a:pt x="46" y="45"/>
                    <a:pt x="47" y="45"/>
                  </a:cubicBezTo>
                  <a:cubicBezTo>
                    <a:pt x="50" y="46"/>
                    <a:pt x="51" y="48"/>
                    <a:pt x="52" y="49"/>
                  </a:cubicBezTo>
                  <a:cubicBezTo>
                    <a:pt x="53" y="50"/>
                    <a:pt x="53" y="52"/>
                    <a:pt x="53" y="53"/>
                  </a:cubicBezTo>
                  <a:cubicBezTo>
                    <a:pt x="53" y="53"/>
                    <a:pt x="54" y="53"/>
                    <a:pt x="54" y="54"/>
                  </a:cubicBezTo>
                  <a:cubicBezTo>
                    <a:pt x="55" y="54"/>
                    <a:pt x="56" y="54"/>
                    <a:pt x="56" y="55"/>
                  </a:cubicBezTo>
                  <a:cubicBezTo>
                    <a:pt x="57" y="57"/>
                    <a:pt x="57" y="59"/>
                    <a:pt x="59" y="61"/>
                  </a:cubicBezTo>
                  <a:cubicBezTo>
                    <a:pt x="62" y="64"/>
                    <a:pt x="65" y="66"/>
                    <a:pt x="70" y="67"/>
                  </a:cubicBezTo>
                  <a:cubicBezTo>
                    <a:pt x="72" y="69"/>
                    <a:pt x="74" y="72"/>
                    <a:pt x="77" y="73"/>
                  </a:cubicBezTo>
                  <a:cubicBezTo>
                    <a:pt x="79" y="74"/>
                    <a:pt x="81" y="74"/>
                    <a:pt x="83" y="74"/>
                  </a:cubicBezTo>
                  <a:cubicBezTo>
                    <a:pt x="84" y="75"/>
                    <a:pt x="85" y="77"/>
                    <a:pt x="86" y="79"/>
                  </a:cubicBezTo>
                  <a:cubicBezTo>
                    <a:pt x="87" y="79"/>
                    <a:pt x="87" y="80"/>
                    <a:pt x="88" y="81"/>
                  </a:cubicBezTo>
                  <a:cubicBezTo>
                    <a:pt x="88" y="82"/>
                    <a:pt x="88" y="84"/>
                    <a:pt x="88" y="8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6" name="Freeform 207"/>
            <p:cNvSpPr>
              <a:spLocks/>
            </p:cNvSpPr>
            <p:nvPr/>
          </p:nvSpPr>
          <p:spPr bwMode="auto">
            <a:xfrm>
              <a:off x="7193630" y="3376739"/>
              <a:ext cx="39380" cy="20008"/>
            </a:xfrm>
            <a:custGeom>
              <a:avLst/>
              <a:gdLst>
                <a:gd name="T0" fmla="*/ 6023963 w 85"/>
                <a:gd name="T1" fmla="*/ 30091492 h 42"/>
                <a:gd name="T2" fmla="*/ 1898558 w 85"/>
                <a:gd name="T3" fmla="*/ 33474537 h 42"/>
                <a:gd name="T4" fmla="*/ 4467195 w 85"/>
                <a:gd name="T5" fmla="*/ 37455335 h 42"/>
                <a:gd name="T6" fmla="*/ 15774700 w 85"/>
                <a:gd name="T7" fmla="*/ 34681073 h 42"/>
                <a:gd name="T8" fmla="*/ 19433353 w 85"/>
                <a:gd name="T9" fmla="*/ 37455335 h 42"/>
                <a:gd name="T10" fmla="*/ 24731859 w 85"/>
                <a:gd name="T11" fmla="*/ 37455335 h 42"/>
                <a:gd name="T12" fmla="*/ 30754954 w 85"/>
                <a:gd name="T13" fmla="*/ 35422498 h 42"/>
                <a:gd name="T14" fmla="*/ 34411574 w 85"/>
                <a:gd name="T15" fmla="*/ 32039415 h 42"/>
                <a:gd name="T16" fmla="*/ 39712758 w 85"/>
                <a:gd name="T17" fmla="*/ 28094992 h 42"/>
                <a:gd name="T18" fmla="*/ 46883804 w 85"/>
                <a:gd name="T19" fmla="*/ 30091492 h 42"/>
                <a:gd name="T20" fmla="*/ 51019521 w 85"/>
                <a:gd name="T21" fmla="*/ 28921406 h 42"/>
                <a:gd name="T22" fmla="*/ 52929317 w 85"/>
                <a:gd name="T23" fmla="*/ 23498565 h 42"/>
                <a:gd name="T24" fmla="*/ 69858027 w 85"/>
                <a:gd name="T25" fmla="*/ 17326120 h 42"/>
                <a:gd name="T26" fmla="*/ 75070110 w 85"/>
                <a:gd name="T27" fmla="*/ 12766088 h 42"/>
                <a:gd name="T28" fmla="*/ 69046168 w 85"/>
                <a:gd name="T29" fmla="*/ 8174844 h 42"/>
                <a:gd name="T30" fmla="*/ 58192600 w 85"/>
                <a:gd name="T31" fmla="*/ 3468116 h 42"/>
                <a:gd name="T32" fmla="*/ 56589439 w 85"/>
                <a:gd name="T33" fmla="*/ 3468116 h 42"/>
                <a:gd name="T34" fmla="*/ 51019521 w 85"/>
                <a:gd name="T35" fmla="*/ 4591617 h 42"/>
                <a:gd name="T36" fmla="*/ 44975701 w 85"/>
                <a:gd name="T37" fmla="*/ 4591617 h 42"/>
                <a:gd name="T38" fmla="*/ 41611298 w 85"/>
                <a:gd name="T39" fmla="*/ 5415918 h 42"/>
                <a:gd name="T40" fmla="*/ 34411574 w 85"/>
                <a:gd name="T41" fmla="*/ 1947959 h 42"/>
                <a:gd name="T42" fmla="*/ 24731859 w 85"/>
                <a:gd name="T43" fmla="*/ 5415918 h 42"/>
                <a:gd name="T44" fmla="*/ 24050523 w 85"/>
                <a:gd name="T45" fmla="*/ 7350476 h 42"/>
                <a:gd name="T46" fmla="*/ 16877928 w 85"/>
                <a:gd name="T47" fmla="*/ 5415918 h 42"/>
                <a:gd name="T48" fmla="*/ 12471473 w 85"/>
                <a:gd name="T49" fmla="*/ 5415918 h 42"/>
                <a:gd name="T50" fmla="*/ 10511041 w 85"/>
                <a:gd name="T51" fmla="*/ 7350476 h 42"/>
                <a:gd name="T52" fmla="*/ 13070861 w 85"/>
                <a:gd name="T53" fmla="*/ 9969094 h 42"/>
                <a:gd name="T54" fmla="*/ 13070861 w 85"/>
                <a:gd name="T55" fmla="*/ 11919091 h 42"/>
                <a:gd name="T56" fmla="*/ 9768794 w 85"/>
                <a:gd name="T57" fmla="*/ 13592483 h 42"/>
                <a:gd name="T58" fmla="*/ 7808000 w 85"/>
                <a:gd name="T59" fmla="*/ 18182008 h 42"/>
                <a:gd name="T60" fmla="*/ 14174023 w 85"/>
                <a:gd name="T61" fmla="*/ 20120347 h 42"/>
                <a:gd name="T62" fmla="*/ 17684808 w 85"/>
                <a:gd name="T63" fmla="*/ 20120347 h 42"/>
                <a:gd name="T64" fmla="*/ 26630400 w 85"/>
                <a:gd name="T65" fmla="*/ 23498565 h 42"/>
                <a:gd name="T66" fmla="*/ 21075654 w 85"/>
                <a:gd name="T67" fmla="*/ 26147031 h 42"/>
                <a:gd name="T68" fmla="*/ 19433353 w 85"/>
                <a:gd name="T69" fmla="*/ 28921406 h 4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5"/>
                <a:gd name="T106" fmla="*/ 0 h 42"/>
                <a:gd name="T107" fmla="*/ 85 w 85"/>
                <a:gd name="T108" fmla="*/ 42 h 4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5" h="42">
                  <a:moveTo>
                    <a:pt x="13" y="33"/>
                  </a:moveTo>
                  <a:cubicBezTo>
                    <a:pt x="11" y="33"/>
                    <a:pt x="9" y="33"/>
                    <a:pt x="7" y="33"/>
                  </a:cubicBezTo>
                  <a:cubicBezTo>
                    <a:pt x="6" y="34"/>
                    <a:pt x="5" y="35"/>
                    <a:pt x="4" y="36"/>
                  </a:cubicBezTo>
                  <a:cubicBezTo>
                    <a:pt x="3" y="36"/>
                    <a:pt x="2" y="36"/>
                    <a:pt x="2" y="37"/>
                  </a:cubicBezTo>
                  <a:cubicBezTo>
                    <a:pt x="1" y="37"/>
                    <a:pt x="0" y="38"/>
                    <a:pt x="1" y="39"/>
                  </a:cubicBezTo>
                  <a:cubicBezTo>
                    <a:pt x="2" y="41"/>
                    <a:pt x="3" y="40"/>
                    <a:pt x="5" y="41"/>
                  </a:cubicBezTo>
                  <a:cubicBezTo>
                    <a:pt x="6" y="42"/>
                    <a:pt x="7" y="41"/>
                    <a:pt x="9" y="41"/>
                  </a:cubicBezTo>
                  <a:cubicBezTo>
                    <a:pt x="12" y="40"/>
                    <a:pt x="15" y="40"/>
                    <a:pt x="18" y="38"/>
                  </a:cubicBezTo>
                  <a:cubicBezTo>
                    <a:pt x="19" y="38"/>
                    <a:pt x="20" y="38"/>
                    <a:pt x="21" y="38"/>
                  </a:cubicBezTo>
                  <a:cubicBezTo>
                    <a:pt x="22" y="38"/>
                    <a:pt x="22" y="40"/>
                    <a:pt x="22" y="41"/>
                  </a:cubicBezTo>
                  <a:cubicBezTo>
                    <a:pt x="23" y="42"/>
                    <a:pt x="25" y="42"/>
                    <a:pt x="26" y="42"/>
                  </a:cubicBezTo>
                  <a:cubicBezTo>
                    <a:pt x="26" y="42"/>
                    <a:pt x="27" y="42"/>
                    <a:pt x="28" y="41"/>
                  </a:cubicBezTo>
                  <a:cubicBezTo>
                    <a:pt x="29" y="40"/>
                    <a:pt x="30" y="41"/>
                    <a:pt x="32" y="40"/>
                  </a:cubicBezTo>
                  <a:cubicBezTo>
                    <a:pt x="33" y="40"/>
                    <a:pt x="34" y="39"/>
                    <a:pt x="35" y="39"/>
                  </a:cubicBezTo>
                  <a:cubicBezTo>
                    <a:pt x="36" y="40"/>
                    <a:pt x="36" y="40"/>
                    <a:pt x="37" y="40"/>
                  </a:cubicBezTo>
                  <a:cubicBezTo>
                    <a:pt x="38" y="39"/>
                    <a:pt x="39" y="37"/>
                    <a:pt x="39" y="35"/>
                  </a:cubicBezTo>
                  <a:cubicBezTo>
                    <a:pt x="39" y="35"/>
                    <a:pt x="39" y="34"/>
                    <a:pt x="40" y="34"/>
                  </a:cubicBezTo>
                  <a:cubicBezTo>
                    <a:pt x="42" y="33"/>
                    <a:pt x="43" y="32"/>
                    <a:pt x="45" y="31"/>
                  </a:cubicBezTo>
                  <a:cubicBezTo>
                    <a:pt x="47" y="31"/>
                    <a:pt x="47" y="31"/>
                    <a:pt x="50" y="30"/>
                  </a:cubicBezTo>
                  <a:cubicBezTo>
                    <a:pt x="50" y="29"/>
                    <a:pt x="52" y="33"/>
                    <a:pt x="53" y="33"/>
                  </a:cubicBezTo>
                  <a:cubicBezTo>
                    <a:pt x="54" y="33"/>
                    <a:pt x="54" y="33"/>
                    <a:pt x="55" y="32"/>
                  </a:cubicBezTo>
                  <a:cubicBezTo>
                    <a:pt x="56" y="32"/>
                    <a:pt x="57" y="33"/>
                    <a:pt x="58" y="32"/>
                  </a:cubicBezTo>
                  <a:cubicBezTo>
                    <a:pt x="58" y="30"/>
                    <a:pt x="58" y="29"/>
                    <a:pt x="58" y="27"/>
                  </a:cubicBezTo>
                  <a:cubicBezTo>
                    <a:pt x="58" y="26"/>
                    <a:pt x="59" y="26"/>
                    <a:pt x="60" y="26"/>
                  </a:cubicBezTo>
                  <a:cubicBezTo>
                    <a:pt x="64" y="25"/>
                    <a:pt x="68" y="26"/>
                    <a:pt x="71" y="23"/>
                  </a:cubicBezTo>
                  <a:cubicBezTo>
                    <a:pt x="73" y="22"/>
                    <a:pt x="76" y="21"/>
                    <a:pt x="79" y="19"/>
                  </a:cubicBezTo>
                  <a:cubicBezTo>
                    <a:pt x="80" y="19"/>
                    <a:pt x="80" y="18"/>
                    <a:pt x="81" y="18"/>
                  </a:cubicBezTo>
                  <a:cubicBezTo>
                    <a:pt x="82" y="17"/>
                    <a:pt x="84" y="15"/>
                    <a:pt x="85" y="14"/>
                  </a:cubicBezTo>
                  <a:cubicBezTo>
                    <a:pt x="83" y="14"/>
                    <a:pt x="81" y="12"/>
                    <a:pt x="80" y="10"/>
                  </a:cubicBezTo>
                  <a:cubicBezTo>
                    <a:pt x="80" y="10"/>
                    <a:pt x="79" y="9"/>
                    <a:pt x="78" y="9"/>
                  </a:cubicBezTo>
                  <a:cubicBezTo>
                    <a:pt x="75" y="9"/>
                    <a:pt x="73" y="6"/>
                    <a:pt x="71" y="4"/>
                  </a:cubicBezTo>
                  <a:cubicBezTo>
                    <a:pt x="70" y="3"/>
                    <a:pt x="68" y="4"/>
                    <a:pt x="66" y="4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5" y="4"/>
                    <a:pt x="64" y="4"/>
                    <a:pt x="64" y="4"/>
                  </a:cubicBezTo>
                  <a:cubicBezTo>
                    <a:pt x="64" y="4"/>
                    <a:pt x="63" y="5"/>
                    <a:pt x="62" y="5"/>
                  </a:cubicBezTo>
                  <a:cubicBezTo>
                    <a:pt x="61" y="5"/>
                    <a:pt x="60" y="5"/>
                    <a:pt x="58" y="5"/>
                  </a:cubicBezTo>
                  <a:cubicBezTo>
                    <a:pt x="57" y="5"/>
                    <a:pt x="56" y="4"/>
                    <a:pt x="54" y="5"/>
                  </a:cubicBezTo>
                  <a:cubicBezTo>
                    <a:pt x="53" y="5"/>
                    <a:pt x="52" y="5"/>
                    <a:pt x="51" y="5"/>
                  </a:cubicBezTo>
                  <a:cubicBezTo>
                    <a:pt x="50" y="5"/>
                    <a:pt x="50" y="6"/>
                    <a:pt x="50" y="6"/>
                  </a:cubicBezTo>
                  <a:cubicBezTo>
                    <a:pt x="49" y="6"/>
                    <a:pt x="48" y="6"/>
                    <a:pt x="47" y="6"/>
                  </a:cubicBezTo>
                  <a:cubicBezTo>
                    <a:pt x="46" y="7"/>
                    <a:pt x="45" y="7"/>
                    <a:pt x="44" y="6"/>
                  </a:cubicBezTo>
                  <a:cubicBezTo>
                    <a:pt x="42" y="5"/>
                    <a:pt x="41" y="4"/>
                    <a:pt x="39" y="2"/>
                  </a:cubicBezTo>
                  <a:cubicBezTo>
                    <a:pt x="38" y="1"/>
                    <a:pt x="37" y="1"/>
                    <a:pt x="36" y="1"/>
                  </a:cubicBezTo>
                  <a:cubicBezTo>
                    <a:pt x="32" y="0"/>
                    <a:pt x="31" y="4"/>
                    <a:pt x="28" y="6"/>
                  </a:cubicBezTo>
                  <a:cubicBezTo>
                    <a:pt x="28" y="6"/>
                    <a:pt x="28" y="6"/>
                    <a:pt x="28" y="7"/>
                  </a:cubicBezTo>
                  <a:cubicBezTo>
                    <a:pt x="28" y="7"/>
                    <a:pt x="28" y="8"/>
                    <a:pt x="27" y="8"/>
                  </a:cubicBezTo>
                  <a:cubicBezTo>
                    <a:pt x="26" y="9"/>
                    <a:pt x="25" y="9"/>
                    <a:pt x="24" y="8"/>
                  </a:cubicBezTo>
                  <a:cubicBezTo>
                    <a:pt x="22" y="7"/>
                    <a:pt x="20" y="7"/>
                    <a:pt x="19" y="6"/>
                  </a:cubicBezTo>
                  <a:cubicBezTo>
                    <a:pt x="18" y="5"/>
                    <a:pt x="16" y="5"/>
                    <a:pt x="15" y="6"/>
                  </a:cubicBezTo>
                  <a:cubicBezTo>
                    <a:pt x="15" y="6"/>
                    <a:pt x="14" y="6"/>
                    <a:pt x="14" y="6"/>
                  </a:cubicBezTo>
                  <a:cubicBezTo>
                    <a:pt x="14" y="6"/>
                    <a:pt x="13" y="7"/>
                    <a:pt x="13" y="7"/>
                  </a:cubicBezTo>
                  <a:cubicBezTo>
                    <a:pt x="13" y="7"/>
                    <a:pt x="12" y="8"/>
                    <a:pt x="12" y="8"/>
                  </a:cubicBezTo>
                  <a:cubicBezTo>
                    <a:pt x="12" y="9"/>
                    <a:pt x="13" y="9"/>
                    <a:pt x="13" y="9"/>
                  </a:cubicBezTo>
                  <a:cubicBezTo>
                    <a:pt x="13" y="10"/>
                    <a:pt x="15" y="10"/>
                    <a:pt x="15" y="11"/>
                  </a:cubicBezTo>
                  <a:cubicBezTo>
                    <a:pt x="16" y="11"/>
                    <a:pt x="16" y="12"/>
                    <a:pt x="16" y="12"/>
                  </a:cubicBezTo>
                  <a:cubicBezTo>
                    <a:pt x="16" y="12"/>
                    <a:pt x="15" y="12"/>
                    <a:pt x="15" y="13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12" y="14"/>
                    <a:pt x="12" y="15"/>
                    <a:pt x="11" y="15"/>
                  </a:cubicBezTo>
                  <a:cubicBezTo>
                    <a:pt x="10" y="16"/>
                    <a:pt x="9" y="17"/>
                    <a:pt x="8" y="18"/>
                  </a:cubicBezTo>
                  <a:cubicBezTo>
                    <a:pt x="8" y="18"/>
                    <a:pt x="8" y="19"/>
                    <a:pt x="9" y="20"/>
                  </a:cubicBezTo>
                  <a:cubicBezTo>
                    <a:pt x="10" y="21"/>
                    <a:pt x="11" y="22"/>
                    <a:pt x="12" y="22"/>
                  </a:cubicBezTo>
                  <a:cubicBezTo>
                    <a:pt x="13" y="22"/>
                    <a:pt x="15" y="22"/>
                    <a:pt x="16" y="22"/>
                  </a:cubicBezTo>
                  <a:cubicBezTo>
                    <a:pt x="17" y="22"/>
                    <a:pt x="17" y="21"/>
                    <a:pt x="18" y="21"/>
                  </a:cubicBezTo>
                  <a:cubicBezTo>
                    <a:pt x="18" y="21"/>
                    <a:pt x="19" y="21"/>
                    <a:pt x="20" y="22"/>
                  </a:cubicBezTo>
                  <a:cubicBezTo>
                    <a:pt x="20" y="23"/>
                    <a:pt x="20" y="24"/>
                    <a:pt x="21" y="24"/>
                  </a:cubicBezTo>
                  <a:cubicBezTo>
                    <a:pt x="24" y="24"/>
                    <a:pt x="27" y="26"/>
                    <a:pt x="30" y="26"/>
                  </a:cubicBezTo>
                  <a:cubicBezTo>
                    <a:pt x="30" y="27"/>
                    <a:pt x="29" y="28"/>
                    <a:pt x="28" y="28"/>
                  </a:cubicBezTo>
                  <a:cubicBezTo>
                    <a:pt x="27" y="29"/>
                    <a:pt x="25" y="28"/>
                    <a:pt x="24" y="29"/>
                  </a:cubicBezTo>
                  <a:cubicBezTo>
                    <a:pt x="23" y="30"/>
                    <a:pt x="23" y="31"/>
                    <a:pt x="23" y="32"/>
                  </a:cubicBezTo>
                  <a:cubicBezTo>
                    <a:pt x="23" y="32"/>
                    <a:pt x="22" y="32"/>
                    <a:pt x="22" y="32"/>
                  </a:cubicBezTo>
                  <a:cubicBezTo>
                    <a:pt x="19" y="34"/>
                    <a:pt x="16" y="32"/>
                    <a:pt x="13" y="3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7" name="Freeform 208"/>
            <p:cNvSpPr>
              <a:spLocks/>
            </p:cNvSpPr>
            <p:nvPr/>
          </p:nvSpPr>
          <p:spPr bwMode="auto">
            <a:xfrm>
              <a:off x="7187109" y="3388095"/>
              <a:ext cx="29598" cy="21901"/>
            </a:xfrm>
            <a:custGeom>
              <a:avLst/>
              <a:gdLst>
                <a:gd name="T0" fmla="*/ 58969606 w 64"/>
                <a:gd name="T1" fmla="*/ 38614137 h 45"/>
                <a:gd name="T2" fmla="*/ 55467502 w 64"/>
                <a:gd name="T3" fmla="*/ 25863052 h 45"/>
                <a:gd name="T4" fmla="*/ 51527914 w 64"/>
                <a:gd name="T5" fmla="*/ 25083521 h 45"/>
                <a:gd name="T6" fmla="*/ 48856423 w 64"/>
                <a:gd name="T7" fmla="*/ 25083521 h 45"/>
                <a:gd name="T8" fmla="*/ 46887913 w 64"/>
                <a:gd name="T9" fmla="*/ 16620685 h 45"/>
                <a:gd name="T10" fmla="*/ 42553384 w 64"/>
                <a:gd name="T11" fmla="*/ 16620685 h 45"/>
                <a:gd name="T12" fmla="*/ 36773947 w 64"/>
                <a:gd name="T13" fmla="*/ 18873857 h 45"/>
                <a:gd name="T14" fmla="*/ 32435455 w 64"/>
                <a:gd name="T15" fmla="*/ 14368445 h 45"/>
                <a:gd name="T16" fmla="*/ 21060668 w 64"/>
                <a:gd name="T17" fmla="*/ 17539543 h 45"/>
                <a:gd name="T18" fmla="*/ 13747482 w 64"/>
                <a:gd name="T19" fmla="*/ 15841240 h 45"/>
                <a:gd name="T20" fmla="*/ 16421030 w 64"/>
                <a:gd name="T21" fmla="*/ 12733752 h 45"/>
                <a:gd name="T22" fmla="*/ 24993744 w 64"/>
                <a:gd name="T23" fmla="*/ 9242288 h 45"/>
                <a:gd name="T24" fmla="*/ 23027140 w 64"/>
                <a:gd name="T25" fmla="*/ 4436557 h 45"/>
                <a:gd name="T26" fmla="*/ 20354120 w 64"/>
                <a:gd name="T27" fmla="*/ 0 h 45"/>
                <a:gd name="T28" fmla="*/ 15586312 w 64"/>
                <a:gd name="T29" fmla="*/ 4436557 h 45"/>
                <a:gd name="T30" fmla="*/ 10946669 w 64"/>
                <a:gd name="T31" fmla="*/ 8295087 h 45"/>
                <a:gd name="T32" fmla="*/ 1966475 w 64"/>
                <a:gd name="T33" fmla="*/ 14368445 h 45"/>
                <a:gd name="T34" fmla="*/ 3506493 w 64"/>
                <a:gd name="T35" fmla="*/ 21029050 h 45"/>
                <a:gd name="T36" fmla="*/ 8273128 w 64"/>
                <a:gd name="T37" fmla="*/ 21976109 h 45"/>
                <a:gd name="T38" fmla="*/ 8273128 w 64"/>
                <a:gd name="T39" fmla="*/ 28026372 h 45"/>
                <a:gd name="T40" fmla="*/ 7439589 w 64"/>
                <a:gd name="T41" fmla="*/ 34164955 h 45"/>
                <a:gd name="T42" fmla="*/ 8273128 w 64"/>
                <a:gd name="T43" fmla="*/ 40756676 h 45"/>
                <a:gd name="T44" fmla="*/ 10113131 w 64"/>
                <a:gd name="T45" fmla="*/ 43959066 h 45"/>
                <a:gd name="T46" fmla="*/ 12913283 w 64"/>
                <a:gd name="T47" fmla="*/ 41705124 h 45"/>
                <a:gd name="T48" fmla="*/ 16421030 w 64"/>
                <a:gd name="T49" fmla="*/ 40756676 h 45"/>
                <a:gd name="T50" fmla="*/ 18387615 w 64"/>
                <a:gd name="T51" fmla="*/ 40756676 h 45"/>
                <a:gd name="T52" fmla="*/ 23027140 w 64"/>
                <a:gd name="T53" fmla="*/ 37666945 h 45"/>
                <a:gd name="T54" fmla="*/ 23860659 w 64"/>
                <a:gd name="T55" fmla="*/ 33380403 h 45"/>
                <a:gd name="T56" fmla="*/ 30467265 w 64"/>
                <a:gd name="T57" fmla="*/ 30278032 h 45"/>
                <a:gd name="T58" fmla="*/ 32435455 w 64"/>
                <a:gd name="T59" fmla="*/ 34164955 h 45"/>
                <a:gd name="T60" fmla="*/ 33268993 w 64"/>
                <a:gd name="T61" fmla="*/ 42622717 h 45"/>
                <a:gd name="T62" fmla="*/ 36773947 w 64"/>
                <a:gd name="T63" fmla="*/ 46112039 h 45"/>
                <a:gd name="T64" fmla="*/ 43383242 w 64"/>
                <a:gd name="T65" fmla="*/ 41705124 h 45"/>
                <a:gd name="T66" fmla="*/ 56296227 w 64"/>
                <a:gd name="T67" fmla="*/ 40756676 h 4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4"/>
                <a:gd name="T103" fmla="*/ 0 h 45"/>
                <a:gd name="T104" fmla="*/ 64 w 64"/>
                <a:gd name="T105" fmla="*/ 45 h 4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4" h="45">
                  <a:moveTo>
                    <a:pt x="61" y="39"/>
                  </a:moveTo>
                  <a:cubicBezTo>
                    <a:pt x="61" y="38"/>
                    <a:pt x="63" y="38"/>
                    <a:pt x="64" y="37"/>
                  </a:cubicBezTo>
                  <a:cubicBezTo>
                    <a:pt x="64" y="36"/>
                    <a:pt x="64" y="34"/>
                    <a:pt x="63" y="34"/>
                  </a:cubicBezTo>
                  <a:cubicBezTo>
                    <a:pt x="60" y="32"/>
                    <a:pt x="62" y="28"/>
                    <a:pt x="60" y="25"/>
                  </a:cubicBezTo>
                  <a:cubicBezTo>
                    <a:pt x="60" y="25"/>
                    <a:pt x="59" y="24"/>
                    <a:pt x="58" y="24"/>
                  </a:cubicBezTo>
                  <a:cubicBezTo>
                    <a:pt x="58" y="24"/>
                    <a:pt x="57" y="24"/>
                    <a:pt x="56" y="24"/>
                  </a:cubicBezTo>
                  <a:cubicBezTo>
                    <a:pt x="55" y="24"/>
                    <a:pt x="55" y="25"/>
                    <a:pt x="54" y="25"/>
                  </a:cubicBezTo>
                  <a:cubicBezTo>
                    <a:pt x="54" y="25"/>
                    <a:pt x="53" y="24"/>
                    <a:pt x="53" y="24"/>
                  </a:cubicBezTo>
                  <a:cubicBezTo>
                    <a:pt x="53" y="22"/>
                    <a:pt x="53" y="21"/>
                    <a:pt x="52" y="19"/>
                  </a:cubicBezTo>
                  <a:cubicBezTo>
                    <a:pt x="51" y="18"/>
                    <a:pt x="51" y="18"/>
                    <a:pt x="51" y="16"/>
                  </a:cubicBezTo>
                  <a:cubicBezTo>
                    <a:pt x="50" y="16"/>
                    <a:pt x="50" y="16"/>
                    <a:pt x="49" y="15"/>
                  </a:cubicBezTo>
                  <a:cubicBezTo>
                    <a:pt x="48" y="15"/>
                    <a:pt x="47" y="16"/>
                    <a:pt x="46" y="16"/>
                  </a:cubicBezTo>
                  <a:cubicBezTo>
                    <a:pt x="44" y="17"/>
                    <a:pt x="43" y="16"/>
                    <a:pt x="42" y="17"/>
                  </a:cubicBezTo>
                  <a:cubicBezTo>
                    <a:pt x="41" y="18"/>
                    <a:pt x="40" y="18"/>
                    <a:pt x="40" y="18"/>
                  </a:cubicBezTo>
                  <a:cubicBezTo>
                    <a:pt x="39" y="18"/>
                    <a:pt x="37" y="18"/>
                    <a:pt x="36" y="17"/>
                  </a:cubicBezTo>
                  <a:cubicBezTo>
                    <a:pt x="36" y="16"/>
                    <a:pt x="36" y="14"/>
                    <a:pt x="35" y="14"/>
                  </a:cubicBezTo>
                  <a:cubicBezTo>
                    <a:pt x="34" y="14"/>
                    <a:pt x="33" y="14"/>
                    <a:pt x="32" y="14"/>
                  </a:cubicBezTo>
                  <a:cubicBezTo>
                    <a:pt x="29" y="16"/>
                    <a:pt x="26" y="16"/>
                    <a:pt x="23" y="17"/>
                  </a:cubicBezTo>
                  <a:cubicBezTo>
                    <a:pt x="21" y="17"/>
                    <a:pt x="20" y="18"/>
                    <a:pt x="19" y="17"/>
                  </a:cubicBezTo>
                  <a:cubicBezTo>
                    <a:pt x="17" y="16"/>
                    <a:pt x="16" y="17"/>
                    <a:pt x="15" y="15"/>
                  </a:cubicBezTo>
                  <a:cubicBezTo>
                    <a:pt x="14" y="14"/>
                    <a:pt x="15" y="13"/>
                    <a:pt x="16" y="13"/>
                  </a:cubicBezTo>
                  <a:cubicBezTo>
                    <a:pt x="16" y="12"/>
                    <a:pt x="17" y="12"/>
                    <a:pt x="18" y="12"/>
                  </a:cubicBezTo>
                  <a:cubicBezTo>
                    <a:pt x="19" y="11"/>
                    <a:pt x="20" y="10"/>
                    <a:pt x="21" y="9"/>
                  </a:cubicBezTo>
                  <a:cubicBezTo>
                    <a:pt x="23" y="9"/>
                    <a:pt x="25" y="9"/>
                    <a:pt x="27" y="9"/>
                  </a:cubicBezTo>
                  <a:cubicBezTo>
                    <a:pt x="28" y="8"/>
                    <a:pt x="28" y="6"/>
                    <a:pt x="27" y="6"/>
                  </a:cubicBezTo>
                  <a:cubicBezTo>
                    <a:pt x="26" y="5"/>
                    <a:pt x="25" y="5"/>
                    <a:pt x="25" y="4"/>
                  </a:cubicBezTo>
                  <a:cubicBezTo>
                    <a:pt x="24" y="3"/>
                    <a:pt x="25" y="2"/>
                    <a:pt x="24" y="1"/>
                  </a:cubicBezTo>
                  <a:cubicBezTo>
                    <a:pt x="24" y="0"/>
                    <a:pt x="23" y="0"/>
                    <a:pt x="22" y="0"/>
                  </a:cubicBezTo>
                  <a:cubicBezTo>
                    <a:pt x="21" y="1"/>
                    <a:pt x="21" y="2"/>
                    <a:pt x="20" y="2"/>
                  </a:cubicBezTo>
                  <a:cubicBezTo>
                    <a:pt x="19" y="3"/>
                    <a:pt x="17" y="3"/>
                    <a:pt x="17" y="4"/>
                  </a:cubicBezTo>
                  <a:cubicBezTo>
                    <a:pt x="16" y="5"/>
                    <a:pt x="15" y="6"/>
                    <a:pt x="14" y="7"/>
                  </a:cubicBezTo>
                  <a:cubicBezTo>
                    <a:pt x="13" y="8"/>
                    <a:pt x="12" y="7"/>
                    <a:pt x="12" y="8"/>
                  </a:cubicBezTo>
                  <a:cubicBezTo>
                    <a:pt x="11" y="10"/>
                    <a:pt x="13" y="12"/>
                    <a:pt x="11" y="13"/>
                  </a:cubicBezTo>
                  <a:cubicBezTo>
                    <a:pt x="9" y="15"/>
                    <a:pt x="5" y="14"/>
                    <a:pt x="2" y="14"/>
                  </a:cubicBezTo>
                  <a:cubicBezTo>
                    <a:pt x="0" y="15"/>
                    <a:pt x="1" y="17"/>
                    <a:pt x="1" y="18"/>
                  </a:cubicBezTo>
                  <a:cubicBezTo>
                    <a:pt x="2" y="19"/>
                    <a:pt x="3" y="19"/>
                    <a:pt x="4" y="20"/>
                  </a:cubicBezTo>
                  <a:cubicBezTo>
                    <a:pt x="5" y="21"/>
                    <a:pt x="7" y="20"/>
                    <a:pt x="8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2"/>
                    <a:pt x="9" y="23"/>
                    <a:pt x="8" y="23"/>
                  </a:cubicBezTo>
                  <a:cubicBezTo>
                    <a:pt x="8" y="25"/>
                    <a:pt x="8" y="26"/>
                    <a:pt x="9" y="27"/>
                  </a:cubicBezTo>
                  <a:cubicBezTo>
                    <a:pt x="10" y="28"/>
                    <a:pt x="10" y="29"/>
                    <a:pt x="9" y="30"/>
                  </a:cubicBezTo>
                  <a:cubicBezTo>
                    <a:pt x="9" y="31"/>
                    <a:pt x="9" y="33"/>
                    <a:pt x="8" y="33"/>
                  </a:cubicBezTo>
                  <a:cubicBezTo>
                    <a:pt x="7" y="35"/>
                    <a:pt x="7" y="37"/>
                    <a:pt x="7" y="39"/>
                  </a:cubicBezTo>
                  <a:cubicBezTo>
                    <a:pt x="8" y="39"/>
                    <a:pt x="7" y="38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10" y="40"/>
                    <a:pt x="10" y="41"/>
                    <a:pt x="11" y="42"/>
                  </a:cubicBezTo>
                  <a:cubicBezTo>
                    <a:pt x="11" y="42"/>
                    <a:pt x="12" y="42"/>
                    <a:pt x="12" y="42"/>
                  </a:cubicBezTo>
                  <a:cubicBezTo>
                    <a:pt x="13" y="41"/>
                    <a:pt x="13" y="40"/>
                    <a:pt x="14" y="40"/>
                  </a:cubicBezTo>
                  <a:cubicBezTo>
                    <a:pt x="15" y="39"/>
                    <a:pt x="15" y="38"/>
                    <a:pt x="16" y="38"/>
                  </a:cubicBezTo>
                  <a:cubicBezTo>
                    <a:pt x="17" y="38"/>
                    <a:pt x="18" y="39"/>
                    <a:pt x="18" y="39"/>
                  </a:cubicBezTo>
                  <a:cubicBezTo>
                    <a:pt x="19" y="39"/>
                    <a:pt x="19" y="39"/>
                    <a:pt x="20" y="39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1" y="38"/>
                    <a:pt x="21" y="37"/>
                    <a:pt x="22" y="36"/>
                  </a:cubicBezTo>
                  <a:cubicBezTo>
                    <a:pt x="23" y="35"/>
                    <a:pt x="24" y="36"/>
                    <a:pt x="25" y="36"/>
                  </a:cubicBezTo>
                  <a:cubicBezTo>
                    <a:pt x="26" y="36"/>
                    <a:pt x="26" y="35"/>
                    <a:pt x="26" y="35"/>
                  </a:cubicBezTo>
                  <a:cubicBezTo>
                    <a:pt x="26" y="34"/>
                    <a:pt x="26" y="33"/>
                    <a:pt x="26" y="32"/>
                  </a:cubicBezTo>
                  <a:cubicBezTo>
                    <a:pt x="27" y="31"/>
                    <a:pt x="28" y="30"/>
                    <a:pt x="29" y="29"/>
                  </a:cubicBezTo>
                  <a:cubicBezTo>
                    <a:pt x="30" y="28"/>
                    <a:pt x="32" y="27"/>
                    <a:pt x="33" y="29"/>
                  </a:cubicBezTo>
                  <a:cubicBezTo>
                    <a:pt x="34" y="30"/>
                    <a:pt x="33" y="31"/>
                    <a:pt x="34" y="32"/>
                  </a:cubicBezTo>
                  <a:cubicBezTo>
                    <a:pt x="34" y="33"/>
                    <a:pt x="34" y="33"/>
                    <a:pt x="35" y="33"/>
                  </a:cubicBezTo>
                  <a:cubicBezTo>
                    <a:pt x="35" y="33"/>
                    <a:pt x="36" y="33"/>
                    <a:pt x="36" y="34"/>
                  </a:cubicBezTo>
                  <a:cubicBezTo>
                    <a:pt x="37" y="36"/>
                    <a:pt x="36" y="38"/>
                    <a:pt x="36" y="41"/>
                  </a:cubicBezTo>
                  <a:cubicBezTo>
                    <a:pt x="37" y="41"/>
                    <a:pt x="37" y="43"/>
                    <a:pt x="37" y="44"/>
                  </a:cubicBezTo>
                  <a:cubicBezTo>
                    <a:pt x="38" y="45"/>
                    <a:pt x="39" y="45"/>
                    <a:pt x="40" y="44"/>
                  </a:cubicBezTo>
                  <a:cubicBezTo>
                    <a:pt x="41" y="43"/>
                    <a:pt x="42" y="42"/>
                    <a:pt x="44" y="41"/>
                  </a:cubicBezTo>
                  <a:cubicBezTo>
                    <a:pt x="45" y="41"/>
                    <a:pt x="46" y="41"/>
                    <a:pt x="47" y="40"/>
                  </a:cubicBezTo>
                  <a:cubicBezTo>
                    <a:pt x="49" y="40"/>
                    <a:pt x="50" y="39"/>
                    <a:pt x="51" y="39"/>
                  </a:cubicBezTo>
                  <a:cubicBezTo>
                    <a:pt x="54" y="39"/>
                    <a:pt x="57" y="39"/>
                    <a:pt x="61" y="39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8" name="Freeform 209"/>
            <p:cNvSpPr>
              <a:spLocks/>
            </p:cNvSpPr>
            <p:nvPr/>
          </p:nvSpPr>
          <p:spPr bwMode="auto">
            <a:xfrm>
              <a:off x="7165537" y="3401344"/>
              <a:ext cx="50417" cy="43801"/>
            </a:xfrm>
            <a:custGeom>
              <a:avLst/>
              <a:gdLst>
                <a:gd name="T0" fmla="*/ 99930694 w 108"/>
                <a:gd name="T1" fmla="*/ 14008946 h 91"/>
                <a:gd name="T2" fmla="*/ 99930694 w 108"/>
                <a:gd name="T3" fmla="*/ 11164417 h 91"/>
                <a:gd name="T4" fmla="*/ 86812969 w 108"/>
                <a:gd name="T5" fmla="*/ 12281783 h 91"/>
                <a:gd name="T6" fmla="*/ 80147233 w 108"/>
                <a:gd name="T7" fmla="*/ 16004448 h 91"/>
                <a:gd name="T8" fmla="*/ 76614011 w 108"/>
                <a:gd name="T9" fmla="*/ 13164474 h 91"/>
                <a:gd name="T10" fmla="*/ 75494466 w 108"/>
                <a:gd name="T11" fmla="*/ 5571940 h 91"/>
                <a:gd name="T12" fmla="*/ 73996351 w 108"/>
                <a:gd name="T13" fmla="*/ 2000055 h 91"/>
                <a:gd name="T14" fmla="*/ 67115547 w 108"/>
                <a:gd name="T15" fmla="*/ 4725404 h 91"/>
                <a:gd name="T16" fmla="*/ 66403625 w 108"/>
                <a:gd name="T17" fmla="*/ 8439066 h 91"/>
                <a:gd name="T18" fmla="*/ 61601013 w 108"/>
                <a:gd name="T19" fmla="*/ 11164417 h 91"/>
                <a:gd name="T20" fmla="*/ 59744575 w 108"/>
                <a:gd name="T21" fmla="*/ 11164417 h 91"/>
                <a:gd name="T22" fmla="*/ 56082021 w 108"/>
                <a:gd name="T23" fmla="*/ 12281783 h 91"/>
                <a:gd name="T24" fmla="*/ 53372599 w 108"/>
                <a:gd name="T25" fmla="*/ 14008946 h 91"/>
                <a:gd name="T26" fmla="*/ 51390627 w 108"/>
                <a:gd name="T27" fmla="*/ 11164417 h 91"/>
                <a:gd name="T28" fmla="*/ 40316792 w 108"/>
                <a:gd name="T29" fmla="*/ 10280857 h 91"/>
                <a:gd name="T30" fmla="*/ 35663676 w 108"/>
                <a:gd name="T31" fmla="*/ 8439066 h 91"/>
                <a:gd name="T32" fmla="*/ 33681741 w 108"/>
                <a:gd name="T33" fmla="*/ 12281783 h 91"/>
                <a:gd name="T34" fmla="*/ 28787839 w 108"/>
                <a:gd name="T35" fmla="*/ 19938451 h 91"/>
                <a:gd name="T36" fmla="*/ 23241458 w 108"/>
                <a:gd name="T37" fmla="*/ 23446210 h 91"/>
                <a:gd name="T38" fmla="*/ 18588886 w 108"/>
                <a:gd name="T39" fmla="*/ 26377467 h 91"/>
                <a:gd name="T40" fmla="*/ 17075348 w 108"/>
                <a:gd name="T41" fmla="*/ 29017383 h 91"/>
                <a:gd name="T42" fmla="*/ 12192496 w 108"/>
                <a:gd name="T43" fmla="*/ 31102872 h 91"/>
                <a:gd name="T44" fmla="*/ 8379338 w 108"/>
                <a:gd name="T45" fmla="*/ 28377505 h 91"/>
                <a:gd name="T46" fmla="*/ 5519056 w 108"/>
                <a:gd name="T47" fmla="*/ 28377505 h 91"/>
                <a:gd name="T48" fmla="*/ 3548897 w 108"/>
                <a:gd name="T49" fmla="*/ 37812704 h 91"/>
                <a:gd name="T50" fmla="*/ 1982087 w 108"/>
                <a:gd name="T51" fmla="*/ 46251786 h 91"/>
                <a:gd name="T52" fmla="*/ 2821559 w 108"/>
                <a:gd name="T53" fmla="*/ 47953830 h 91"/>
                <a:gd name="T54" fmla="*/ 1982087 w 108"/>
                <a:gd name="T55" fmla="*/ 52667762 h 91"/>
                <a:gd name="T56" fmla="*/ 3548897 w 108"/>
                <a:gd name="T57" fmla="*/ 60260029 h 91"/>
                <a:gd name="T58" fmla="*/ 4679927 w 108"/>
                <a:gd name="T59" fmla="*/ 65828253 h 91"/>
                <a:gd name="T60" fmla="*/ 11049822 w 108"/>
                <a:gd name="T61" fmla="*/ 72601308 h 91"/>
                <a:gd name="T62" fmla="*/ 7500981 w 108"/>
                <a:gd name="T63" fmla="*/ 82258802 h 91"/>
                <a:gd name="T64" fmla="*/ 10210419 w 108"/>
                <a:gd name="T65" fmla="*/ 82258802 h 91"/>
                <a:gd name="T66" fmla="*/ 22604865 w 108"/>
                <a:gd name="T67" fmla="*/ 83765824 h 91"/>
                <a:gd name="T68" fmla="*/ 35663676 w 108"/>
                <a:gd name="T69" fmla="*/ 83765824 h 91"/>
                <a:gd name="T70" fmla="*/ 44665240 w 108"/>
                <a:gd name="T71" fmla="*/ 81050040 h 91"/>
                <a:gd name="T72" fmla="*/ 44665240 w 108"/>
                <a:gd name="T73" fmla="*/ 72601308 h 91"/>
                <a:gd name="T74" fmla="*/ 47332010 w 108"/>
                <a:gd name="T75" fmla="*/ 69762402 h 91"/>
                <a:gd name="T76" fmla="*/ 52225289 w 108"/>
                <a:gd name="T77" fmla="*/ 69762402 h 91"/>
                <a:gd name="T78" fmla="*/ 57762603 w 108"/>
                <a:gd name="T79" fmla="*/ 64200755 h 91"/>
                <a:gd name="T80" fmla="*/ 65283967 w 108"/>
                <a:gd name="T81" fmla="*/ 60260029 h 91"/>
                <a:gd name="T82" fmla="*/ 70814783 w 108"/>
                <a:gd name="T83" fmla="*/ 51036333 h 91"/>
                <a:gd name="T84" fmla="*/ 70814783 w 108"/>
                <a:gd name="T85" fmla="*/ 47107325 h 91"/>
                <a:gd name="T86" fmla="*/ 67971251 w 108"/>
                <a:gd name="T87" fmla="*/ 43600303 h 91"/>
                <a:gd name="T88" fmla="*/ 77480481 w 108"/>
                <a:gd name="T89" fmla="*/ 40652678 h 91"/>
                <a:gd name="T90" fmla="*/ 79526318 w 108"/>
                <a:gd name="T91" fmla="*/ 33942837 h 91"/>
                <a:gd name="T92" fmla="*/ 78315786 w 108"/>
                <a:gd name="T93" fmla="*/ 25505408 h 91"/>
                <a:gd name="T94" fmla="*/ 81025188 w 108"/>
                <a:gd name="T95" fmla="*/ 19938451 h 91"/>
                <a:gd name="T96" fmla="*/ 91223296 w 108"/>
                <a:gd name="T97" fmla="*/ 16004448 h 91"/>
                <a:gd name="T98" fmla="*/ 96026740 w 108"/>
                <a:gd name="T99" fmla="*/ 17206491 h 91"/>
                <a:gd name="T100" fmla="*/ 100721836 w 108"/>
                <a:gd name="T101" fmla="*/ 14008946 h 9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08"/>
                <a:gd name="T154" fmla="*/ 0 h 91"/>
                <a:gd name="T155" fmla="*/ 108 w 108"/>
                <a:gd name="T156" fmla="*/ 91 h 9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08" h="91">
                  <a:moveTo>
                    <a:pt x="108" y="15"/>
                  </a:moveTo>
                  <a:cubicBezTo>
                    <a:pt x="107" y="15"/>
                    <a:pt x="107" y="15"/>
                    <a:pt x="107" y="15"/>
                  </a:cubicBezTo>
                  <a:cubicBezTo>
                    <a:pt x="106" y="14"/>
                    <a:pt x="106" y="13"/>
                    <a:pt x="107" y="12"/>
                  </a:cubicBezTo>
                  <a:cubicBezTo>
                    <a:pt x="107" y="12"/>
                    <a:pt x="107" y="12"/>
                    <a:pt x="107" y="12"/>
                  </a:cubicBezTo>
                  <a:cubicBezTo>
                    <a:pt x="103" y="12"/>
                    <a:pt x="100" y="12"/>
                    <a:pt x="97" y="12"/>
                  </a:cubicBezTo>
                  <a:cubicBezTo>
                    <a:pt x="96" y="12"/>
                    <a:pt x="95" y="13"/>
                    <a:pt x="93" y="13"/>
                  </a:cubicBezTo>
                  <a:cubicBezTo>
                    <a:pt x="92" y="14"/>
                    <a:pt x="91" y="14"/>
                    <a:pt x="90" y="14"/>
                  </a:cubicBezTo>
                  <a:cubicBezTo>
                    <a:pt x="88" y="15"/>
                    <a:pt x="87" y="16"/>
                    <a:pt x="86" y="17"/>
                  </a:cubicBezTo>
                  <a:cubicBezTo>
                    <a:pt x="85" y="18"/>
                    <a:pt x="84" y="18"/>
                    <a:pt x="83" y="17"/>
                  </a:cubicBezTo>
                  <a:cubicBezTo>
                    <a:pt x="83" y="16"/>
                    <a:pt x="83" y="14"/>
                    <a:pt x="82" y="14"/>
                  </a:cubicBezTo>
                  <a:cubicBezTo>
                    <a:pt x="82" y="11"/>
                    <a:pt x="83" y="9"/>
                    <a:pt x="82" y="7"/>
                  </a:cubicBezTo>
                  <a:cubicBezTo>
                    <a:pt x="82" y="6"/>
                    <a:pt x="81" y="6"/>
                    <a:pt x="81" y="6"/>
                  </a:cubicBezTo>
                  <a:cubicBezTo>
                    <a:pt x="80" y="6"/>
                    <a:pt x="80" y="6"/>
                    <a:pt x="80" y="5"/>
                  </a:cubicBezTo>
                  <a:cubicBezTo>
                    <a:pt x="79" y="4"/>
                    <a:pt x="80" y="3"/>
                    <a:pt x="79" y="2"/>
                  </a:cubicBezTo>
                  <a:cubicBezTo>
                    <a:pt x="78" y="0"/>
                    <a:pt x="76" y="1"/>
                    <a:pt x="75" y="2"/>
                  </a:cubicBezTo>
                  <a:cubicBezTo>
                    <a:pt x="74" y="3"/>
                    <a:pt x="73" y="4"/>
                    <a:pt x="72" y="5"/>
                  </a:cubicBezTo>
                  <a:cubicBezTo>
                    <a:pt x="72" y="6"/>
                    <a:pt x="72" y="7"/>
                    <a:pt x="72" y="8"/>
                  </a:cubicBezTo>
                  <a:cubicBezTo>
                    <a:pt x="72" y="8"/>
                    <a:pt x="72" y="9"/>
                    <a:pt x="71" y="9"/>
                  </a:cubicBezTo>
                  <a:cubicBezTo>
                    <a:pt x="70" y="9"/>
                    <a:pt x="69" y="8"/>
                    <a:pt x="68" y="9"/>
                  </a:cubicBezTo>
                  <a:cubicBezTo>
                    <a:pt x="67" y="10"/>
                    <a:pt x="67" y="11"/>
                    <a:pt x="66" y="12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5" y="12"/>
                    <a:pt x="65" y="12"/>
                    <a:pt x="64" y="12"/>
                  </a:cubicBezTo>
                  <a:cubicBezTo>
                    <a:pt x="64" y="12"/>
                    <a:pt x="63" y="11"/>
                    <a:pt x="62" y="11"/>
                  </a:cubicBezTo>
                  <a:cubicBezTo>
                    <a:pt x="61" y="11"/>
                    <a:pt x="61" y="12"/>
                    <a:pt x="60" y="13"/>
                  </a:cubicBezTo>
                  <a:cubicBezTo>
                    <a:pt x="59" y="13"/>
                    <a:pt x="59" y="14"/>
                    <a:pt x="58" y="15"/>
                  </a:cubicBezTo>
                  <a:cubicBezTo>
                    <a:pt x="58" y="15"/>
                    <a:pt x="57" y="15"/>
                    <a:pt x="57" y="15"/>
                  </a:cubicBezTo>
                  <a:cubicBezTo>
                    <a:pt x="56" y="14"/>
                    <a:pt x="56" y="13"/>
                    <a:pt x="55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3" y="11"/>
                    <a:pt x="54" y="12"/>
                    <a:pt x="53" y="12"/>
                  </a:cubicBezTo>
                  <a:cubicBezTo>
                    <a:pt x="50" y="12"/>
                    <a:pt x="45" y="12"/>
                    <a:pt x="43" y="11"/>
                  </a:cubicBezTo>
                  <a:cubicBezTo>
                    <a:pt x="42" y="11"/>
                    <a:pt x="42" y="10"/>
                    <a:pt x="41" y="10"/>
                  </a:cubicBezTo>
                  <a:cubicBezTo>
                    <a:pt x="40" y="10"/>
                    <a:pt x="39" y="10"/>
                    <a:pt x="38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6" y="10"/>
                    <a:pt x="37" y="12"/>
                    <a:pt x="36" y="13"/>
                  </a:cubicBezTo>
                  <a:cubicBezTo>
                    <a:pt x="34" y="13"/>
                    <a:pt x="33" y="13"/>
                    <a:pt x="32" y="14"/>
                  </a:cubicBezTo>
                  <a:cubicBezTo>
                    <a:pt x="31" y="16"/>
                    <a:pt x="33" y="19"/>
                    <a:pt x="31" y="21"/>
                  </a:cubicBezTo>
                  <a:cubicBezTo>
                    <a:pt x="31" y="22"/>
                    <a:pt x="30" y="22"/>
                    <a:pt x="29" y="22"/>
                  </a:cubicBezTo>
                  <a:cubicBezTo>
                    <a:pt x="28" y="23"/>
                    <a:pt x="27" y="24"/>
                    <a:pt x="25" y="25"/>
                  </a:cubicBezTo>
                  <a:cubicBezTo>
                    <a:pt x="24" y="27"/>
                    <a:pt x="22" y="26"/>
                    <a:pt x="20" y="26"/>
                  </a:cubicBezTo>
                  <a:cubicBezTo>
                    <a:pt x="20" y="27"/>
                    <a:pt x="20" y="28"/>
                    <a:pt x="20" y="28"/>
                  </a:cubicBezTo>
                  <a:cubicBezTo>
                    <a:pt x="21" y="29"/>
                    <a:pt x="21" y="30"/>
                    <a:pt x="20" y="30"/>
                  </a:cubicBezTo>
                  <a:cubicBezTo>
                    <a:pt x="19" y="31"/>
                    <a:pt x="18" y="30"/>
                    <a:pt x="18" y="31"/>
                  </a:cubicBezTo>
                  <a:cubicBezTo>
                    <a:pt x="17" y="31"/>
                    <a:pt x="16" y="32"/>
                    <a:pt x="14" y="33"/>
                  </a:cubicBezTo>
                  <a:cubicBezTo>
                    <a:pt x="14" y="33"/>
                    <a:pt x="13" y="33"/>
                    <a:pt x="13" y="33"/>
                  </a:cubicBezTo>
                  <a:cubicBezTo>
                    <a:pt x="12" y="32"/>
                    <a:pt x="13" y="31"/>
                    <a:pt x="12" y="31"/>
                  </a:cubicBezTo>
                  <a:cubicBezTo>
                    <a:pt x="11" y="30"/>
                    <a:pt x="9" y="31"/>
                    <a:pt x="9" y="30"/>
                  </a:cubicBezTo>
                  <a:cubicBezTo>
                    <a:pt x="8" y="30"/>
                    <a:pt x="7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6" y="32"/>
                    <a:pt x="6" y="33"/>
                  </a:cubicBezTo>
                  <a:cubicBezTo>
                    <a:pt x="5" y="35"/>
                    <a:pt x="5" y="38"/>
                    <a:pt x="4" y="40"/>
                  </a:cubicBezTo>
                  <a:cubicBezTo>
                    <a:pt x="3" y="41"/>
                    <a:pt x="2" y="42"/>
                    <a:pt x="1" y="43"/>
                  </a:cubicBezTo>
                  <a:cubicBezTo>
                    <a:pt x="0" y="45"/>
                    <a:pt x="1" y="47"/>
                    <a:pt x="2" y="49"/>
                  </a:cubicBezTo>
                  <a:cubicBezTo>
                    <a:pt x="2" y="49"/>
                    <a:pt x="3" y="50"/>
                    <a:pt x="3" y="50"/>
                  </a:cubicBezTo>
                  <a:cubicBezTo>
                    <a:pt x="3" y="50"/>
                    <a:pt x="3" y="51"/>
                    <a:pt x="3" y="51"/>
                  </a:cubicBezTo>
                  <a:cubicBezTo>
                    <a:pt x="3" y="52"/>
                    <a:pt x="2" y="53"/>
                    <a:pt x="2" y="53"/>
                  </a:cubicBezTo>
                  <a:cubicBezTo>
                    <a:pt x="2" y="54"/>
                    <a:pt x="2" y="55"/>
                    <a:pt x="2" y="56"/>
                  </a:cubicBezTo>
                  <a:cubicBezTo>
                    <a:pt x="3" y="57"/>
                    <a:pt x="3" y="59"/>
                    <a:pt x="3" y="60"/>
                  </a:cubicBezTo>
                  <a:cubicBezTo>
                    <a:pt x="3" y="61"/>
                    <a:pt x="4" y="63"/>
                    <a:pt x="4" y="64"/>
                  </a:cubicBezTo>
                  <a:cubicBezTo>
                    <a:pt x="4" y="64"/>
                    <a:pt x="4" y="65"/>
                    <a:pt x="4" y="65"/>
                  </a:cubicBezTo>
                  <a:cubicBezTo>
                    <a:pt x="5" y="67"/>
                    <a:pt x="4" y="68"/>
                    <a:pt x="5" y="70"/>
                  </a:cubicBezTo>
                  <a:cubicBezTo>
                    <a:pt x="7" y="71"/>
                    <a:pt x="11" y="69"/>
                    <a:pt x="13" y="71"/>
                  </a:cubicBezTo>
                  <a:cubicBezTo>
                    <a:pt x="13" y="73"/>
                    <a:pt x="14" y="75"/>
                    <a:pt x="12" y="77"/>
                  </a:cubicBezTo>
                  <a:cubicBezTo>
                    <a:pt x="11" y="80"/>
                    <a:pt x="8" y="82"/>
                    <a:pt x="7" y="85"/>
                  </a:cubicBezTo>
                  <a:cubicBezTo>
                    <a:pt x="7" y="86"/>
                    <a:pt x="7" y="86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6"/>
                    <a:pt x="10" y="87"/>
                    <a:pt x="11" y="87"/>
                  </a:cubicBezTo>
                  <a:cubicBezTo>
                    <a:pt x="12" y="87"/>
                    <a:pt x="13" y="87"/>
                    <a:pt x="14" y="88"/>
                  </a:cubicBezTo>
                  <a:cubicBezTo>
                    <a:pt x="17" y="91"/>
                    <a:pt x="21" y="90"/>
                    <a:pt x="24" y="89"/>
                  </a:cubicBezTo>
                  <a:cubicBezTo>
                    <a:pt x="26" y="88"/>
                    <a:pt x="28" y="88"/>
                    <a:pt x="30" y="89"/>
                  </a:cubicBezTo>
                  <a:cubicBezTo>
                    <a:pt x="33" y="89"/>
                    <a:pt x="35" y="89"/>
                    <a:pt x="38" y="89"/>
                  </a:cubicBezTo>
                  <a:cubicBezTo>
                    <a:pt x="40" y="88"/>
                    <a:pt x="42" y="88"/>
                    <a:pt x="45" y="88"/>
                  </a:cubicBezTo>
                  <a:cubicBezTo>
                    <a:pt x="46" y="87"/>
                    <a:pt x="48" y="87"/>
                    <a:pt x="48" y="86"/>
                  </a:cubicBezTo>
                  <a:cubicBezTo>
                    <a:pt x="49" y="85"/>
                    <a:pt x="48" y="83"/>
                    <a:pt x="48" y="82"/>
                  </a:cubicBezTo>
                  <a:cubicBezTo>
                    <a:pt x="48" y="80"/>
                    <a:pt x="48" y="79"/>
                    <a:pt x="48" y="77"/>
                  </a:cubicBezTo>
                  <a:cubicBezTo>
                    <a:pt x="48" y="77"/>
                    <a:pt x="49" y="76"/>
                    <a:pt x="50" y="76"/>
                  </a:cubicBezTo>
                  <a:cubicBezTo>
                    <a:pt x="50" y="75"/>
                    <a:pt x="51" y="75"/>
                    <a:pt x="51" y="74"/>
                  </a:cubicBezTo>
                  <a:cubicBezTo>
                    <a:pt x="52" y="74"/>
                    <a:pt x="52" y="73"/>
                    <a:pt x="53" y="73"/>
                  </a:cubicBezTo>
                  <a:cubicBezTo>
                    <a:pt x="54" y="72"/>
                    <a:pt x="55" y="73"/>
                    <a:pt x="56" y="74"/>
                  </a:cubicBezTo>
                  <a:cubicBezTo>
                    <a:pt x="57" y="74"/>
                    <a:pt x="58" y="74"/>
                    <a:pt x="58" y="74"/>
                  </a:cubicBezTo>
                  <a:cubicBezTo>
                    <a:pt x="59" y="71"/>
                    <a:pt x="60" y="68"/>
                    <a:pt x="62" y="68"/>
                  </a:cubicBezTo>
                  <a:cubicBezTo>
                    <a:pt x="64" y="67"/>
                    <a:pt x="66" y="68"/>
                    <a:pt x="68" y="67"/>
                  </a:cubicBezTo>
                  <a:cubicBezTo>
                    <a:pt x="69" y="67"/>
                    <a:pt x="70" y="65"/>
                    <a:pt x="70" y="64"/>
                  </a:cubicBezTo>
                  <a:cubicBezTo>
                    <a:pt x="72" y="61"/>
                    <a:pt x="70" y="58"/>
                    <a:pt x="71" y="55"/>
                  </a:cubicBezTo>
                  <a:cubicBezTo>
                    <a:pt x="72" y="54"/>
                    <a:pt x="74" y="55"/>
                    <a:pt x="76" y="54"/>
                  </a:cubicBezTo>
                  <a:cubicBezTo>
                    <a:pt x="77" y="54"/>
                    <a:pt x="76" y="53"/>
                    <a:pt x="76" y="52"/>
                  </a:cubicBezTo>
                  <a:cubicBezTo>
                    <a:pt x="76" y="51"/>
                    <a:pt x="76" y="50"/>
                    <a:pt x="76" y="50"/>
                  </a:cubicBezTo>
                  <a:cubicBezTo>
                    <a:pt x="75" y="49"/>
                    <a:pt x="74" y="49"/>
                    <a:pt x="73" y="49"/>
                  </a:cubicBezTo>
                  <a:cubicBezTo>
                    <a:pt x="73" y="48"/>
                    <a:pt x="73" y="47"/>
                    <a:pt x="73" y="46"/>
                  </a:cubicBezTo>
                  <a:cubicBezTo>
                    <a:pt x="76" y="46"/>
                    <a:pt x="79" y="47"/>
                    <a:pt x="81" y="46"/>
                  </a:cubicBezTo>
                  <a:cubicBezTo>
                    <a:pt x="82" y="45"/>
                    <a:pt x="83" y="44"/>
                    <a:pt x="83" y="43"/>
                  </a:cubicBezTo>
                  <a:cubicBezTo>
                    <a:pt x="84" y="41"/>
                    <a:pt x="83" y="39"/>
                    <a:pt x="84" y="37"/>
                  </a:cubicBezTo>
                  <a:cubicBezTo>
                    <a:pt x="84" y="36"/>
                    <a:pt x="85" y="36"/>
                    <a:pt x="85" y="36"/>
                  </a:cubicBezTo>
                  <a:cubicBezTo>
                    <a:pt x="86" y="34"/>
                    <a:pt x="86" y="32"/>
                    <a:pt x="85" y="31"/>
                  </a:cubicBezTo>
                  <a:cubicBezTo>
                    <a:pt x="85" y="30"/>
                    <a:pt x="84" y="29"/>
                    <a:pt x="84" y="27"/>
                  </a:cubicBezTo>
                  <a:cubicBezTo>
                    <a:pt x="83" y="26"/>
                    <a:pt x="83" y="24"/>
                    <a:pt x="84" y="23"/>
                  </a:cubicBezTo>
                  <a:cubicBezTo>
                    <a:pt x="85" y="22"/>
                    <a:pt x="86" y="21"/>
                    <a:pt x="87" y="21"/>
                  </a:cubicBezTo>
                  <a:cubicBezTo>
                    <a:pt x="89" y="19"/>
                    <a:pt x="91" y="18"/>
                    <a:pt x="93" y="17"/>
                  </a:cubicBezTo>
                  <a:cubicBezTo>
                    <a:pt x="95" y="17"/>
                    <a:pt x="97" y="17"/>
                    <a:pt x="98" y="17"/>
                  </a:cubicBezTo>
                  <a:cubicBezTo>
                    <a:pt x="99" y="17"/>
                    <a:pt x="99" y="17"/>
                    <a:pt x="100" y="17"/>
                  </a:cubicBezTo>
                  <a:cubicBezTo>
                    <a:pt x="101" y="18"/>
                    <a:pt x="102" y="18"/>
                    <a:pt x="103" y="18"/>
                  </a:cubicBezTo>
                  <a:cubicBezTo>
                    <a:pt x="104" y="18"/>
                    <a:pt x="105" y="18"/>
                    <a:pt x="105" y="17"/>
                  </a:cubicBezTo>
                  <a:cubicBezTo>
                    <a:pt x="106" y="17"/>
                    <a:pt x="107" y="16"/>
                    <a:pt x="108" y="1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9" name="Freeform 210"/>
            <p:cNvSpPr>
              <a:spLocks/>
            </p:cNvSpPr>
            <p:nvPr/>
          </p:nvSpPr>
          <p:spPr bwMode="auto">
            <a:xfrm>
              <a:off x="7168798" y="3408374"/>
              <a:ext cx="57691" cy="62998"/>
            </a:xfrm>
            <a:custGeom>
              <a:avLst/>
              <a:gdLst>
                <a:gd name="T0" fmla="*/ 10292336 w 124"/>
                <a:gd name="T1" fmla="*/ 109415542 h 130"/>
                <a:gd name="T2" fmla="*/ 19961168 w 124"/>
                <a:gd name="T3" fmla="*/ 108536446 h 130"/>
                <a:gd name="T4" fmla="*/ 25566673 w 124"/>
                <a:gd name="T5" fmla="*/ 107695965 h 130"/>
                <a:gd name="T6" fmla="*/ 31138889 w 124"/>
                <a:gd name="T7" fmla="*/ 107695965 h 130"/>
                <a:gd name="T8" fmla="*/ 43656252 w 124"/>
                <a:gd name="T9" fmla="*/ 105861674 h 130"/>
                <a:gd name="T10" fmla="*/ 47166316 w 124"/>
                <a:gd name="T11" fmla="*/ 107695965 h 130"/>
                <a:gd name="T12" fmla="*/ 49253571 w 124"/>
                <a:gd name="T13" fmla="*/ 113240326 h 130"/>
                <a:gd name="T14" fmla="*/ 57465320 w 124"/>
                <a:gd name="T15" fmla="*/ 121634476 h 130"/>
                <a:gd name="T16" fmla="*/ 58707261 w 124"/>
                <a:gd name="T17" fmla="*/ 118770328 h 130"/>
                <a:gd name="T18" fmla="*/ 60411576 w 124"/>
                <a:gd name="T19" fmla="*/ 114946829 h 130"/>
                <a:gd name="T20" fmla="*/ 76308126 w 124"/>
                <a:gd name="T21" fmla="*/ 116095103 h 130"/>
                <a:gd name="T22" fmla="*/ 78309713 w 124"/>
                <a:gd name="T23" fmla="*/ 110564798 h 130"/>
                <a:gd name="T24" fmla="*/ 75575173 w 124"/>
                <a:gd name="T25" fmla="*/ 103876849 h 130"/>
                <a:gd name="T26" fmla="*/ 70730995 w 124"/>
                <a:gd name="T27" fmla="*/ 97466465 h 130"/>
                <a:gd name="T28" fmla="*/ 65129555 w 124"/>
                <a:gd name="T29" fmla="*/ 94641084 h 130"/>
                <a:gd name="T30" fmla="*/ 67127437 w 124"/>
                <a:gd name="T31" fmla="*/ 88754244 h 130"/>
                <a:gd name="T32" fmla="*/ 71858195 w 124"/>
                <a:gd name="T33" fmla="*/ 83187288 h 130"/>
                <a:gd name="T34" fmla="*/ 74728044 w 124"/>
                <a:gd name="T35" fmla="*/ 85264459 h 130"/>
                <a:gd name="T36" fmla="*/ 85091149 w 124"/>
                <a:gd name="T37" fmla="*/ 77647783 h 130"/>
                <a:gd name="T38" fmla="*/ 89486148 w 124"/>
                <a:gd name="T39" fmla="*/ 70128005 h 130"/>
                <a:gd name="T40" fmla="*/ 92694176 w 124"/>
                <a:gd name="T41" fmla="*/ 65429831 h 130"/>
                <a:gd name="T42" fmla="*/ 97066264 w 124"/>
                <a:gd name="T43" fmla="*/ 57913908 h 130"/>
                <a:gd name="T44" fmla="*/ 99935773 w 124"/>
                <a:gd name="T45" fmla="*/ 49516621 h 130"/>
                <a:gd name="T46" fmla="*/ 103155445 w 124"/>
                <a:gd name="T47" fmla="*/ 44827439 h 130"/>
                <a:gd name="T48" fmla="*/ 99935773 w 124"/>
                <a:gd name="T49" fmla="*/ 41909939 h 130"/>
                <a:gd name="T50" fmla="*/ 98271231 w 124"/>
                <a:gd name="T51" fmla="*/ 37210867 h 130"/>
                <a:gd name="T52" fmla="*/ 95553250 w 124"/>
                <a:gd name="T53" fmla="*/ 24152340 h 130"/>
                <a:gd name="T54" fmla="*/ 101997736 w 124"/>
                <a:gd name="T55" fmla="*/ 23315921 h 130"/>
                <a:gd name="T56" fmla="*/ 107575774 w 124"/>
                <a:gd name="T57" fmla="*/ 21454633 h 130"/>
                <a:gd name="T58" fmla="*/ 112296665 w 124"/>
                <a:gd name="T59" fmla="*/ 17123181 h 130"/>
                <a:gd name="T60" fmla="*/ 117026553 w 124"/>
                <a:gd name="T61" fmla="*/ 13923213 h 130"/>
                <a:gd name="T62" fmla="*/ 110293831 w 124"/>
                <a:gd name="T63" fmla="*/ 11069664 h 130"/>
                <a:gd name="T64" fmla="*/ 106730573 w 124"/>
                <a:gd name="T65" fmla="*/ 5539961 h 130"/>
                <a:gd name="T66" fmla="*/ 103155445 w 124"/>
                <a:gd name="T67" fmla="*/ 2825434 h 130"/>
                <a:gd name="T68" fmla="*/ 101153443 w 124"/>
                <a:gd name="T69" fmla="*/ 1984927 h 130"/>
                <a:gd name="T70" fmla="*/ 97066264 w 124"/>
                <a:gd name="T71" fmla="*/ 1984927 h 130"/>
                <a:gd name="T72" fmla="*/ 95553250 w 124"/>
                <a:gd name="T73" fmla="*/ 0 h 130"/>
                <a:gd name="T74" fmla="*/ 90707674 w 124"/>
                <a:gd name="T75" fmla="*/ 2825434 h 130"/>
                <a:gd name="T76" fmla="*/ 85882816 w 124"/>
                <a:gd name="T77" fmla="*/ 1984927 h 130"/>
                <a:gd name="T78" fmla="*/ 75575173 w 124"/>
                <a:gd name="T79" fmla="*/ 5539961 h 130"/>
                <a:gd name="T80" fmla="*/ 72732998 w 124"/>
                <a:gd name="T81" fmla="*/ 11069664 h 130"/>
                <a:gd name="T82" fmla="*/ 73578161 w 124"/>
                <a:gd name="T83" fmla="*/ 19825645 h 130"/>
                <a:gd name="T84" fmla="*/ 71858195 w 124"/>
                <a:gd name="T85" fmla="*/ 26141434 h 130"/>
                <a:gd name="T86" fmla="*/ 62411461 w 124"/>
                <a:gd name="T87" fmla="*/ 28855389 h 130"/>
                <a:gd name="T88" fmla="*/ 65129555 w 124"/>
                <a:gd name="T89" fmla="*/ 32880185 h 130"/>
                <a:gd name="T90" fmla="*/ 65129555 w 124"/>
                <a:gd name="T91" fmla="*/ 36368403 h 130"/>
                <a:gd name="T92" fmla="*/ 59552500 w 124"/>
                <a:gd name="T93" fmla="*/ 45960070 h 130"/>
                <a:gd name="T94" fmla="*/ 51896658 w 124"/>
                <a:gd name="T95" fmla="*/ 49516621 h 130"/>
                <a:gd name="T96" fmla="*/ 46318733 w 124"/>
                <a:gd name="T97" fmla="*/ 55061435 h 130"/>
                <a:gd name="T98" fmla="*/ 41589185 w 124"/>
                <a:gd name="T99" fmla="*/ 55061435 h 130"/>
                <a:gd name="T100" fmla="*/ 38718589 w 124"/>
                <a:gd name="T101" fmla="*/ 57913908 h 130"/>
                <a:gd name="T102" fmla="*/ 38718589 w 124"/>
                <a:gd name="T103" fmla="*/ 66637955 h 130"/>
                <a:gd name="T104" fmla="*/ 29049232 w 124"/>
                <a:gd name="T105" fmla="*/ 69248947 h 130"/>
                <a:gd name="T106" fmla="*/ 16027441 w 124"/>
                <a:gd name="T107" fmla="*/ 69248947 h 130"/>
                <a:gd name="T108" fmla="*/ 3575151 w 124"/>
                <a:gd name="T109" fmla="*/ 67263971 h 130"/>
                <a:gd name="T110" fmla="*/ 2002076 w 124"/>
                <a:gd name="T111" fmla="*/ 69248947 h 130"/>
                <a:gd name="T112" fmla="*/ 4730712 w 124"/>
                <a:gd name="T113" fmla="*/ 74157468 h 130"/>
                <a:gd name="T114" fmla="*/ 9669236 w 124"/>
                <a:gd name="T115" fmla="*/ 78484183 h 130"/>
                <a:gd name="T116" fmla="*/ 14025684 w 124"/>
                <a:gd name="T117" fmla="*/ 89953603 h 130"/>
                <a:gd name="T118" fmla="*/ 18758172 w 124"/>
                <a:gd name="T119" fmla="*/ 89953603 h 130"/>
                <a:gd name="T120" fmla="*/ 16027441 w 124"/>
                <a:gd name="T121" fmla="*/ 96333910 h 130"/>
                <a:gd name="T122" fmla="*/ 8447734 w 124"/>
                <a:gd name="T123" fmla="*/ 101023583 h 130"/>
                <a:gd name="T124" fmla="*/ 8447734 w 124"/>
                <a:gd name="T125" fmla="*/ 106562956 h 13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24"/>
                <a:gd name="T190" fmla="*/ 0 h 130"/>
                <a:gd name="T191" fmla="*/ 124 w 124"/>
                <a:gd name="T192" fmla="*/ 130 h 13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24" h="130">
                  <a:moveTo>
                    <a:pt x="9" y="116"/>
                  </a:moveTo>
                  <a:cubicBezTo>
                    <a:pt x="10" y="116"/>
                    <a:pt x="10" y="117"/>
                    <a:pt x="11" y="117"/>
                  </a:cubicBezTo>
                  <a:cubicBezTo>
                    <a:pt x="12" y="117"/>
                    <a:pt x="13" y="117"/>
                    <a:pt x="13" y="116"/>
                  </a:cubicBezTo>
                  <a:cubicBezTo>
                    <a:pt x="16" y="116"/>
                    <a:pt x="18" y="116"/>
                    <a:pt x="21" y="116"/>
                  </a:cubicBezTo>
                  <a:cubicBezTo>
                    <a:pt x="22" y="116"/>
                    <a:pt x="23" y="115"/>
                    <a:pt x="23" y="115"/>
                  </a:cubicBezTo>
                  <a:cubicBezTo>
                    <a:pt x="25" y="115"/>
                    <a:pt x="26" y="115"/>
                    <a:pt x="27" y="115"/>
                  </a:cubicBezTo>
                  <a:cubicBezTo>
                    <a:pt x="29" y="115"/>
                    <a:pt x="30" y="116"/>
                    <a:pt x="32" y="116"/>
                  </a:cubicBezTo>
                  <a:cubicBezTo>
                    <a:pt x="32" y="116"/>
                    <a:pt x="33" y="115"/>
                    <a:pt x="33" y="115"/>
                  </a:cubicBezTo>
                  <a:cubicBezTo>
                    <a:pt x="35" y="114"/>
                    <a:pt x="37" y="113"/>
                    <a:pt x="39" y="113"/>
                  </a:cubicBezTo>
                  <a:cubicBezTo>
                    <a:pt x="41" y="113"/>
                    <a:pt x="44" y="112"/>
                    <a:pt x="46" y="113"/>
                  </a:cubicBezTo>
                  <a:cubicBezTo>
                    <a:pt x="47" y="113"/>
                    <a:pt x="48" y="113"/>
                    <a:pt x="48" y="114"/>
                  </a:cubicBezTo>
                  <a:cubicBezTo>
                    <a:pt x="49" y="114"/>
                    <a:pt x="49" y="115"/>
                    <a:pt x="50" y="115"/>
                  </a:cubicBezTo>
                  <a:cubicBezTo>
                    <a:pt x="50" y="115"/>
                    <a:pt x="50" y="116"/>
                    <a:pt x="50" y="116"/>
                  </a:cubicBezTo>
                  <a:cubicBezTo>
                    <a:pt x="51" y="118"/>
                    <a:pt x="51" y="120"/>
                    <a:pt x="52" y="121"/>
                  </a:cubicBezTo>
                  <a:cubicBezTo>
                    <a:pt x="52" y="122"/>
                    <a:pt x="53" y="122"/>
                    <a:pt x="53" y="123"/>
                  </a:cubicBezTo>
                  <a:cubicBezTo>
                    <a:pt x="55" y="126"/>
                    <a:pt x="58" y="129"/>
                    <a:pt x="61" y="130"/>
                  </a:cubicBezTo>
                  <a:cubicBezTo>
                    <a:pt x="61" y="128"/>
                    <a:pt x="61" y="128"/>
                    <a:pt x="61" y="128"/>
                  </a:cubicBezTo>
                  <a:cubicBezTo>
                    <a:pt x="62" y="128"/>
                    <a:pt x="62" y="128"/>
                    <a:pt x="62" y="127"/>
                  </a:cubicBezTo>
                  <a:cubicBezTo>
                    <a:pt x="63" y="126"/>
                    <a:pt x="63" y="125"/>
                    <a:pt x="63" y="124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8" y="123"/>
                    <a:pt x="72" y="124"/>
                    <a:pt x="75" y="123"/>
                  </a:cubicBezTo>
                  <a:cubicBezTo>
                    <a:pt x="77" y="124"/>
                    <a:pt x="79" y="125"/>
                    <a:pt x="81" y="124"/>
                  </a:cubicBezTo>
                  <a:cubicBezTo>
                    <a:pt x="82" y="124"/>
                    <a:pt x="83" y="124"/>
                    <a:pt x="84" y="123"/>
                  </a:cubicBezTo>
                  <a:cubicBezTo>
                    <a:pt x="84" y="122"/>
                    <a:pt x="83" y="120"/>
                    <a:pt x="83" y="118"/>
                  </a:cubicBezTo>
                  <a:cubicBezTo>
                    <a:pt x="82" y="117"/>
                    <a:pt x="81" y="116"/>
                    <a:pt x="80" y="115"/>
                  </a:cubicBezTo>
                  <a:cubicBezTo>
                    <a:pt x="79" y="114"/>
                    <a:pt x="80" y="112"/>
                    <a:pt x="80" y="111"/>
                  </a:cubicBezTo>
                  <a:cubicBezTo>
                    <a:pt x="79" y="110"/>
                    <a:pt x="77" y="111"/>
                    <a:pt x="76" y="110"/>
                  </a:cubicBezTo>
                  <a:cubicBezTo>
                    <a:pt x="75" y="108"/>
                    <a:pt x="76" y="106"/>
                    <a:pt x="75" y="104"/>
                  </a:cubicBezTo>
                  <a:cubicBezTo>
                    <a:pt x="74" y="103"/>
                    <a:pt x="74" y="102"/>
                    <a:pt x="73" y="102"/>
                  </a:cubicBezTo>
                  <a:cubicBezTo>
                    <a:pt x="72" y="101"/>
                    <a:pt x="70" y="102"/>
                    <a:pt x="69" y="101"/>
                  </a:cubicBezTo>
                  <a:cubicBezTo>
                    <a:pt x="68" y="100"/>
                    <a:pt x="68" y="99"/>
                    <a:pt x="68" y="97"/>
                  </a:cubicBezTo>
                  <a:cubicBezTo>
                    <a:pt x="69" y="96"/>
                    <a:pt x="70" y="96"/>
                    <a:pt x="71" y="95"/>
                  </a:cubicBezTo>
                  <a:cubicBezTo>
                    <a:pt x="72" y="92"/>
                    <a:pt x="73" y="90"/>
                    <a:pt x="75" y="89"/>
                  </a:cubicBezTo>
                  <a:cubicBezTo>
                    <a:pt x="75" y="88"/>
                    <a:pt x="75" y="88"/>
                    <a:pt x="76" y="89"/>
                  </a:cubicBezTo>
                  <a:cubicBezTo>
                    <a:pt x="77" y="89"/>
                    <a:pt x="77" y="91"/>
                    <a:pt x="78" y="91"/>
                  </a:cubicBezTo>
                  <a:cubicBezTo>
                    <a:pt x="78" y="92"/>
                    <a:pt x="79" y="92"/>
                    <a:pt x="79" y="91"/>
                  </a:cubicBezTo>
                  <a:cubicBezTo>
                    <a:pt x="82" y="90"/>
                    <a:pt x="84" y="89"/>
                    <a:pt x="86" y="90"/>
                  </a:cubicBezTo>
                  <a:cubicBezTo>
                    <a:pt x="87" y="87"/>
                    <a:pt x="89" y="86"/>
                    <a:pt x="90" y="83"/>
                  </a:cubicBezTo>
                  <a:cubicBezTo>
                    <a:pt x="91" y="82"/>
                    <a:pt x="91" y="81"/>
                    <a:pt x="91" y="80"/>
                  </a:cubicBezTo>
                  <a:cubicBezTo>
                    <a:pt x="92" y="79"/>
                    <a:pt x="94" y="77"/>
                    <a:pt x="95" y="75"/>
                  </a:cubicBezTo>
                  <a:cubicBezTo>
                    <a:pt x="95" y="75"/>
                    <a:pt x="96" y="74"/>
                    <a:pt x="96" y="73"/>
                  </a:cubicBezTo>
                  <a:cubicBezTo>
                    <a:pt x="97" y="72"/>
                    <a:pt x="97" y="71"/>
                    <a:pt x="98" y="70"/>
                  </a:cubicBezTo>
                  <a:cubicBezTo>
                    <a:pt x="99" y="69"/>
                    <a:pt x="98" y="68"/>
                    <a:pt x="99" y="67"/>
                  </a:cubicBezTo>
                  <a:cubicBezTo>
                    <a:pt x="100" y="66"/>
                    <a:pt x="102" y="64"/>
                    <a:pt x="103" y="62"/>
                  </a:cubicBezTo>
                  <a:cubicBezTo>
                    <a:pt x="104" y="60"/>
                    <a:pt x="105" y="58"/>
                    <a:pt x="106" y="56"/>
                  </a:cubicBezTo>
                  <a:cubicBezTo>
                    <a:pt x="106" y="55"/>
                    <a:pt x="106" y="54"/>
                    <a:pt x="106" y="53"/>
                  </a:cubicBezTo>
                  <a:cubicBezTo>
                    <a:pt x="105" y="52"/>
                    <a:pt x="105" y="51"/>
                    <a:pt x="106" y="50"/>
                  </a:cubicBezTo>
                  <a:cubicBezTo>
                    <a:pt x="106" y="49"/>
                    <a:pt x="108" y="49"/>
                    <a:pt x="109" y="48"/>
                  </a:cubicBezTo>
                  <a:cubicBezTo>
                    <a:pt x="109" y="47"/>
                    <a:pt x="109" y="46"/>
                    <a:pt x="109" y="46"/>
                  </a:cubicBezTo>
                  <a:cubicBezTo>
                    <a:pt x="108" y="46"/>
                    <a:pt x="106" y="46"/>
                    <a:pt x="106" y="45"/>
                  </a:cubicBezTo>
                  <a:cubicBezTo>
                    <a:pt x="105" y="44"/>
                    <a:pt x="105" y="43"/>
                    <a:pt x="104" y="41"/>
                  </a:cubicBezTo>
                  <a:cubicBezTo>
                    <a:pt x="104" y="41"/>
                    <a:pt x="104" y="41"/>
                    <a:pt x="104" y="40"/>
                  </a:cubicBezTo>
                  <a:cubicBezTo>
                    <a:pt x="103" y="39"/>
                    <a:pt x="103" y="38"/>
                    <a:pt x="102" y="36"/>
                  </a:cubicBezTo>
                  <a:cubicBezTo>
                    <a:pt x="101" y="32"/>
                    <a:pt x="101" y="30"/>
                    <a:pt x="101" y="26"/>
                  </a:cubicBezTo>
                  <a:cubicBezTo>
                    <a:pt x="101" y="26"/>
                    <a:pt x="102" y="25"/>
                    <a:pt x="102" y="25"/>
                  </a:cubicBezTo>
                  <a:cubicBezTo>
                    <a:pt x="104" y="25"/>
                    <a:pt x="106" y="25"/>
                    <a:pt x="108" y="25"/>
                  </a:cubicBezTo>
                  <a:cubicBezTo>
                    <a:pt x="108" y="25"/>
                    <a:pt x="109" y="24"/>
                    <a:pt x="109" y="24"/>
                  </a:cubicBezTo>
                  <a:cubicBezTo>
                    <a:pt x="111" y="23"/>
                    <a:pt x="112" y="23"/>
                    <a:pt x="114" y="23"/>
                  </a:cubicBezTo>
                  <a:cubicBezTo>
                    <a:pt x="115" y="23"/>
                    <a:pt x="116" y="22"/>
                    <a:pt x="117" y="22"/>
                  </a:cubicBezTo>
                  <a:cubicBezTo>
                    <a:pt x="118" y="21"/>
                    <a:pt x="119" y="20"/>
                    <a:pt x="119" y="18"/>
                  </a:cubicBezTo>
                  <a:cubicBezTo>
                    <a:pt x="119" y="18"/>
                    <a:pt x="120" y="17"/>
                    <a:pt x="120" y="17"/>
                  </a:cubicBezTo>
                  <a:cubicBezTo>
                    <a:pt x="122" y="17"/>
                    <a:pt x="123" y="16"/>
                    <a:pt x="124" y="15"/>
                  </a:cubicBezTo>
                  <a:cubicBezTo>
                    <a:pt x="123" y="14"/>
                    <a:pt x="123" y="14"/>
                    <a:pt x="122" y="13"/>
                  </a:cubicBezTo>
                  <a:cubicBezTo>
                    <a:pt x="120" y="12"/>
                    <a:pt x="118" y="14"/>
                    <a:pt x="117" y="12"/>
                  </a:cubicBezTo>
                  <a:cubicBezTo>
                    <a:pt x="117" y="11"/>
                    <a:pt x="118" y="9"/>
                    <a:pt x="117" y="8"/>
                  </a:cubicBezTo>
                  <a:cubicBezTo>
                    <a:pt x="116" y="7"/>
                    <a:pt x="114" y="6"/>
                    <a:pt x="113" y="6"/>
                  </a:cubicBezTo>
                  <a:cubicBezTo>
                    <a:pt x="112" y="5"/>
                    <a:pt x="111" y="4"/>
                    <a:pt x="110" y="3"/>
                  </a:cubicBezTo>
                  <a:cubicBezTo>
                    <a:pt x="110" y="3"/>
                    <a:pt x="110" y="3"/>
                    <a:pt x="109" y="3"/>
                  </a:cubicBezTo>
                  <a:cubicBezTo>
                    <a:pt x="109" y="3"/>
                    <a:pt x="109" y="3"/>
                    <a:pt x="109" y="2"/>
                  </a:cubicBezTo>
                  <a:cubicBezTo>
                    <a:pt x="108" y="2"/>
                    <a:pt x="108" y="2"/>
                    <a:pt x="107" y="2"/>
                  </a:cubicBezTo>
                  <a:cubicBezTo>
                    <a:pt x="107" y="1"/>
                    <a:pt x="107" y="0"/>
                    <a:pt x="107" y="0"/>
                  </a:cubicBezTo>
                  <a:cubicBezTo>
                    <a:pt x="105" y="0"/>
                    <a:pt x="104" y="0"/>
                    <a:pt x="103" y="2"/>
                  </a:cubicBezTo>
                  <a:cubicBezTo>
                    <a:pt x="103" y="2"/>
                    <a:pt x="102" y="2"/>
                    <a:pt x="102" y="2"/>
                  </a:cubicBezTo>
                  <a:cubicBezTo>
                    <a:pt x="102" y="1"/>
                    <a:pt x="101" y="1"/>
                    <a:pt x="101" y="0"/>
                  </a:cubicBezTo>
                  <a:cubicBezTo>
                    <a:pt x="100" y="1"/>
                    <a:pt x="99" y="2"/>
                    <a:pt x="98" y="2"/>
                  </a:cubicBezTo>
                  <a:cubicBezTo>
                    <a:pt x="98" y="3"/>
                    <a:pt x="97" y="3"/>
                    <a:pt x="96" y="3"/>
                  </a:cubicBezTo>
                  <a:cubicBezTo>
                    <a:pt x="95" y="3"/>
                    <a:pt x="94" y="3"/>
                    <a:pt x="93" y="2"/>
                  </a:cubicBezTo>
                  <a:cubicBezTo>
                    <a:pt x="92" y="2"/>
                    <a:pt x="92" y="2"/>
                    <a:pt x="91" y="2"/>
                  </a:cubicBezTo>
                  <a:cubicBezTo>
                    <a:pt x="90" y="2"/>
                    <a:pt x="88" y="2"/>
                    <a:pt x="86" y="2"/>
                  </a:cubicBezTo>
                  <a:cubicBezTo>
                    <a:pt x="84" y="3"/>
                    <a:pt x="82" y="4"/>
                    <a:pt x="80" y="6"/>
                  </a:cubicBezTo>
                  <a:cubicBezTo>
                    <a:pt x="79" y="6"/>
                    <a:pt x="78" y="7"/>
                    <a:pt x="77" y="8"/>
                  </a:cubicBezTo>
                  <a:cubicBezTo>
                    <a:pt x="76" y="9"/>
                    <a:pt x="76" y="11"/>
                    <a:pt x="77" y="12"/>
                  </a:cubicBezTo>
                  <a:cubicBezTo>
                    <a:pt x="77" y="14"/>
                    <a:pt x="78" y="15"/>
                    <a:pt x="78" y="16"/>
                  </a:cubicBezTo>
                  <a:cubicBezTo>
                    <a:pt x="79" y="17"/>
                    <a:pt x="79" y="19"/>
                    <a:pt x="78" y="21"/>
                  </a:cubicBezTo>
                  <a:cubicBezTo>
                    <a:pt x="78" y="21"/>
                    <a:pt x="77" y="21"/>
                    <a:pt x="77" y="22"/>
                  </a:cubicBezTo>
                  <a:cubicBezTo>
                    <a:pt x="76" y="24"/>
                    <a:pt x="77" y="26"/>
                    <a:pt x="76" y="28"/>
                  </a:cubicBezTo>
                  <a:cubicBezTo>
                    <a:pt x="76" y="29"/>
                    <a:pt x="75" y="30"/>
                    <a:pt x="74" y="31"/>
                  </a:cubicBezTo>
                  <a:cubicBezTo>
                    <a:pt x="72" y="32"/>
                    <a:pt x="69" y="31"/>
                    <a:pt x="66" y="31"/>
                  </a:cubicBezTo>
                  <a:cubicBezTo>
                    <a:pt x="66" y="32"/>
                    <a:pt x="66" y="33"/>
                    <a:pt x="66" y="34"/>
                  </a:cubicBezTo>
                  <a:cubicBezTo>
                    <a:pt x="67" y="34"/>
                    <a:pt x="68" y="34"/>
                    <a:pt x="69" y="35"/>
                  </a:cubicBezTo>
                  <a:cubicBezTo>
                    <a:pt x="69" y="35"/>
                    <a:pt x="69" y="36"/>
                    <a:pt x="69" y="37"/>
                  </a:cubicBezTo>
                  <a:cubicBezTo>
                    <a:pt x="69" y="38"/>
                    <a:pt x="70" y="39"/>
                    <a:pt x="69" y="39"/>
                  </a:cubicBezTo>
                  <a:cubicBezTo>
                    <a:pt x="67" y="40"/>
                    <a:pt x="65" y="39"/>
                    <a:pt x="64" y="40"/>
                  </a:cubicBezTo>
                  <a:cubicBezTo>
                    <a:pt x="63" y="43"/>
                    <a:pt x="65" y="46"/>
                    <a:pt x="63" y="49"/>
                  </a:cubicBezTo>
                  <a:cubicBezTo>
                    <a:pt x="63" y="50"/>
                    <a:pt x="62" y="52"/>
                    <a:pt x="61" y="52"/>
                  </a:cubicBezTo>
                  <a:cubicBezTo>
                    <a:pt x="59" y="53"/>
                    <a:pt x="57" y="52"/>
                    <a:pt x="55" y="53"/>
                  </a:cubicBezTo>
                  <a:cubicBezTo>
                    <a:pt x="53" y="53"/>
                    <a:pt x="52" y="56"/>
                    <a:pt x="51" y="59"/>
                  </a:cubicBezTo>
                  <a:cubicBezTo>
                    <a:pt x="51" y="59"/>
                    <a:pt x="50" y="59"/>
                    <a:pt x="49" y="59"/>
                  </a:cubicBezTo>
                  <a:cubicBezTo>
                    <a:pt x="48" y="58"/>
                    <a:pt x="47" y="57"/>
                    <a:pt x="46" y="58"/>
                  </a:cubicBezTo>
                  <a:cubicBezTo>
                    <a:pt x="45" y="58"/>
                    <a:pt x="45" y="59"/>
                    <a:pt x="44" y="59"/>
                  </a:cubicBezTo>
                  <a:cubicBezTo>
                    <a:pt x="44" y="60"/>
                    <a:pt x="43" y="60"/>
                    <a:pt x="43" y="61"/>
                  </a:cubicBezTo>
                  <a:cubicBezTo>
                    <a:pt x="42" y="61"/>
                    <a:pt x="41" y="62"/>
                    <a:pt x="41" y="62"/>
                  </a:cubicBezTo>
                  <a:cubicBezTo>
                    <a:pt x="41" y="64"/>
                    <a:pt x="41" y="65"/>
                    <a:pt x="41" y="67"/>
                  </a:cubicBezTo>
                  <a:cubicBezTo>
                    <a:pt x="41" y="68"/>
                    <a:pt x="42" y="70"/>
                    <a:pt x="41" y="71"/>
                  </a:cubicBezTo>
                  <a:cubicBezTo>
                    <a:pt x="41" y="72"/>
                    <a:pt x="39" y="72"/>
                    <a:pt x="38" y="73"/>
                  </a:cubicBezTo>
                  <a:cubicBezTo>
                    <a:pt x="35" y="73"/>
                    <a:pt x="33" y="73"/>
                    <a:pt x="31" y="74"/>
                  </a:cubicBezTo>
                  <a:cubicBezTo>
                    <a:pt x="28" y="74"/>
                    <a:pt x="26" y="74"/>
                    <a:pt x="23" y="74"/>
                  </a:cubicBezTo>
                  <a:cubicBezTo>
                    <a:pt x="21" y="73"/>
                    <a:pt x="19" y="73"/>
                    <a:pt x="17" y="74"/>
                  </a:cubicBezTo>
                  <a:cubicBezTo>
                    <a:pt x="14" y="75"/>
                    <a:pt x="10" y="76"/>
                    <a:pt x="7" y="73"/>
                  </a:cubicBezTo>
                  <a:cubicBezTo>
                    <a:pt x="6" y="72"/>
                    <a:pt x="5" y="72"/>
                    <a:pt x="4" y="72"/>
                  </a:cubicBezTo>
                  <a:cubicBezTo>
                    <a:pt x="3" y="72"/>
                    <a:pt x="1" y="71"/>
                    <a:pt x="1" y="72"/>
                  </a:cubicBezTo>
                  <a:cubicBezTo>
                    <a:pt x="0" y="73"/>
                    <a:pt x="2" y="73"/>
                    <a:pt x="2" y="74"/>
                  </a:cubicBezTo>
                  <a:cubicBezTo>
                    <a:pt x="3" y="74"/>
                    <a:pt x="3" y="74"/>
                    <a:pt x="4" y="75"/>
                  </a:cubicBezTo>
                  <a:cubicBezTo>
                    <a:pt x="4" y="76"/>
                    <a:pt x="4" y="78"/>
                    <a:pt x="5" y="79"/>
                  </a:cubicBezTo>
                  <a:cubicBezTo>
                    <a:pt x="5" y="80"/>
                    <a:pt x="6" y="81"/>
                    <a:pt x="7" y="82"/>
                  </a:cubicBezTo>
                  <a:cubicBezTo>
                    <a:pt x="8" y="83"/>
                    <a:pt x="9" y="83"/>
                    <a:pt x="10" y="84"/>
                  </a:cubicBezTo>
                  <a:cubicBezTo>
                    <a:pt x="11" y="85"/>
                    <a:pt x="13" y="85"/>
                    <a:pt x="15" y="86"/>
                  </a:cubicBezTo>
                  <a:cubicBezTo>
                    <a:pt x="15" y="89"/>
                    <a:pt x="15" y="93"/>
                    <a:pt x="15" y="96"/>
                  </a:cubicBezTo>
                  <a:cubicBezTo>
                    <a:pt x="16" y="96"/>
                    <a:pt x="16" y="96"/>
                    <a:pt x="17" y="95"/>
                  </a:cubicBezTo>
                  <a:cubicBezTo>
                    <a:pt x="18" y="95"/>
                    <a:pt x="20" y="95"/>
                    <a:pt x="20" y="96"/>
                  </a:cubicBezTo>
                  <a:cubicBezTo>
                    <a:pt x="21" y="97"/>
                    <a:pt x="21" y="98"/>
                    <a:pt x="20" y="100"/>
                  </a:cubicBezTo>
                  <a:cubicBezTo>
                    <a:pt x="20" y="101"/>
                    <a:pt x="18" y="103"/>
                    <a:pt x="17" y="103"/>
                  </a:cubicBezTo>
                  <a:cubicBezTo>
                    <a:pt x="15" y="104"/>
                    <a:pt x="13" y="105"/>
                    <a:pt x="12" y="106"/>
                  </a:cubicBezTo>
                  <a:cubicBezTo>
                    <a:pt x="11" y="106"/>
                    <a:pt x="10" y="107"/>
                    <a:pt x="9" y="108"/>
                  </a:cubicBezTo>
                  <a:cubicBezTo>
                    <a:pt x="9" y="109"/>
                    <a:pt x="9" y="110"/>
                    <a:pt x="9" y="111"/>
                  </a:cubicBezTo>
                  <a:cubicBezTo>
                    <a:pt x="9" y="112"/>
                    <a:pt x="9" y="113"/>
                    <a:pt x="9" y="114"/>
                  </a:cubicBezTo>
                  <a:lnTo>
                    <a:pt x="9" y="11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0" name="Freeform 211"/>
            <p:cNvSpPr>
              <a:spLocks/>
            </p:cNvSpPr>
            <p:nvPr/>
          </p:nvSpPr>
          <p:spPr bwMode="auto">
            <a:xfrm>
              <a:off x="7112863" y="3399722"/>
              <a:ext cx="73242" cy="70839"/>
            </a:xfrm>
            <a:custGeom>
              <a:avLst/>
              <a:gdLst>
                <a:gd name="T0" fmla="*/ 134391328 w 157"/>
                <a:gd name="T1" fmla="*/ 137247975 h 146"/>
                <a:gd name="T2" fmla="*/ 115264107 w 157"/>
                <a:gd name="T3" fmla="*/ 135212079 h 146"/>
                <a:gd name="T4" fmla="*/ 107695974 w 157"/>
                <a:gd name="T5" fmla="*/ 134366612 h 146"/>
                <a:gd name="T6" fmla="*/ 102069253 w 157"/>
                <a:gd name="T7" fmla="*/ 125549890 h 146"/>
                <a:gd name="T8" fmla="*/ 95647336 w 157"/>
                <a:gd name="T9" fmla="*/ 120817513 h 146"/>
                <a:gd name="T10" fmla="*/ 86829922 w 157"/>
                <a:gd name="T11" fmla="*/ 124757884 h 146"/>
                <a:gd name="T12" fmla="*/ 79251751 w 157"/>
                <a:gd name="T13" fmla="*/ 122689851 h 146"/>
                <a:gd name="T14" fmla="*/ 69218894 w 157"/>
                <a:gd name="T15" fmla="*/ 119177695 h 146"/>
                <a:gd name="T16" fmla="*/ 62479835 w 157"/>
                <a:gd name="T17" fmla="*/ 114390648 h 146"/>
                <a:gd name="T18" fmla="*/ 58759931 w 157"/>
                <a:gd name="T19" fmla="*/ 110361427 h 146"/>
                <a:gd name="T20" fmla="*/ 54026861 w 157"/>
                <a:gd name="T21" fmla="*/ 100053777 h 146"/>
                <a:gd name="T22" fmla="*/ 51139282 w 157"/>
                <a:gd name="T23" fmla="*/ 95624773 h 146"/>
                <a:gd name="T24" fmla="*/ 41620437 w 157"/>
                <a:gd name="T25" fmla="*/ 92752786 h 146"/>
                <a:gd name="T26" fmla="*/ 36744761 w 157"/>
                <a:gd name="T27" fmla="*/ 91530900 h 146"/>
                <a:gd name="T28" fmla="*/ 32011314 w 157"/>
                <a:gd name="T29" fmla="*/ 80348217 h 146"/>
                <a:gd name="T30" fmla="*/ 28444138 w 157"/>
                <a:gd name="T31" fmla="*/ 71897762 h 146"/>
                <a:gd name="T32" fmla="*/ 17255147 w 157"/>
                <a:gd name="T33" fmla="*/ 64314041 h 146"/>
                <a:gd name="T34" fmla="*/ 13188270 w 157"/>
                <a:gd name="T35" fmla="*/ 57501079 h 146"/>
                <a:gd name="T36" fmla="*/ 14035841 w 157"/>
                <a:gd name="T37" fmla="*/ 46345693 h 146"/>
                <a:gd name="T38" fmla="*/ 17255147 w 157"/>
                <a:gd name="T39" fmla="*/ 38734835 h 146"/>
                <a:gd name="T40" fmla="*/ 10304358 w 157"/>
                <a:gd name="T41" fmla="*/ 34002458 h 146"/>
                <a:gd name="T42" fmla="*/ 4734975 w 157"/>
                <a:gd name="T43" fmla="*/ 26436469 h 146"/>
                <a:gd name="T44" fmla="*/ 2003750 w 157"/>
                <a:gd name="T45" fmla="*/ 15253006 h 146"/>
                <a:gd name="T46" fmla="*/ 0 w 157"/>
                <a:gd name="T47" fmla="*/ 5580195 h 146"/>
                <a:gd name="T48" fmla="*/ 6786502 w 157"/>
                <a:gd name="T49" fmla="*/ 3576719 h 146"/>
                <a:gd name="T50" fmla="*/ 16036887 w 157"/>
                <a:gd name="T51" fmla="*/ 10297787 h 146"/>
                <a:gd name="T52" fmla="*/ 27586614 w 157"/>
                <a:gd name="T53" fmla="*/ 2871636 h 146"/>
                <a:gd name="T54" fmla="*/ 30447084 w 157"/>
                <a:gd name="T55" fmla="*/ 6785715 h 146"/>
                <a:gd name="T56" fmla="*/ 34900197 w 157"/>
                <a:gd name="T57" fmla="*/ 15253006 h 146"/>
                <a:gd name="T58" fmla="*/ 81249101 w 157"/>
                <a:gd name="T59" fmla="*/ 18765123 h 146"/>
                <a:gd name="T60" fmla="*/ 96353304 w 157"/>
                <a:gd name="T61" fmla="*/ 17918494 h 146"/>
                <a:gd name="T62" fmla="*/ 109540293 w 157"/>
                <a:gd name="T63" fmla="*/ 21637039 h 146"/>
                <a:gd name="T64" fmla="*/ 115264107 w 157"/>
                <a:gd name="T65" fmla="*/ 27575612 h 146"/>
                <a:gd name="T66" fmla="*/ 119997630 w 157"/>
                <a:gd name="T67" fmla="*/ 32004824 h 146"/>
                <a:gd name="T68" fmla="*/ 127668527 w 157"/>
                <a:gd name="T69" fmla="*/ 40765882 h 146"/>
                <a:gd name="T70" fmla="*/ 127668527 w 157"/>
                <a:gd name="T71" fmla="*/ 42341615 h 146"/>
                <a:gd name="T72" fmla="*/ 122728567 w 157"/>
                <a:gd name="T73" fmla="*/ 54863692 h 146"/>
                <a:gd name="T74" fmla="*/ 124780986 w 157"/>
                <a:gd name="T75" fmla="*/ 62469719 h 146"/>
                <a:gd name="T76" fmla="*/ 124780986 w 157"/>
                <a:gd name="T77" fmla="*/ 70778677 h 146"/>
                <a:gd name="T78" fmla="*/ 126822591 w 157"/>
                <a:gd name="T79" fmla="*/ 80348217 h 146"/>
                <a:gd name="T80" fmla="*/ 128516581 w 157"/>
                <a:gd name="T81" fmla="*/ 94485233 h 146"/>
                <a:gd name="T82" fmla="*/ 130401052 w 157"/>
                <a:gd name="T83" fmla="*/ 98332974 h 146"/>
                <a:gd name="T84" fmla="*/ 135248758 w 157"/>
                <a:gd name="T85" fmla="*/ 105938851 h 146"/>
                <a:gd name="T86" fmla="*/ 142860598 w 157"/>
                <a:gd name="T87" fmla="*/ 119177695 h 146"/>
                <a:gd name="T88" fmla="*/ 147643348 w 157"/>
                <a:gd name="T89" fmla="*/ 122689851 h 146"/>
                <a:gd name="T90" fmla="*/ 137279550 w 157"/>
                <a:gd name="T91" fmla="*/ 130360228 h 146"/>
                <a:gd name="T92" fmla="*/ 137279550 w 157"/>
                <a:gd name="T93" fmla="*/ 137944024 h 14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7"/>
                <a:gd name="T142" fmla="*/ 0 h 146"/>
                <a:gd name="T143" fmla="*/ 157 w 157"/>
                <a:gd name="T144" fmla="*/ 146 h 14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7" h="146">
                  <a:moveTo>
                    <a:pt x="145" y="146"/>
                  </a:moveTo>
                  <a:cubicBezTo>
                    <a:pt x="145" y="146"/>
                    <a:pt x="144" y="146"/>
                    <a:pt x="143" y="146"/>
                  </a:cubicBezTo>
                  <a:cubicBezTo>
                    <a:pt x="143" y="146"/>
                    <a:pt x="142" y="145"/>
                    <a:pt x="142" y="145"/>
                  </a:cubicBezTo>
                  <a:cubicBezTo>
                    <a:pt x="138" y="145"/>
                    <a:pt x="133" y="145"/>
                    <a:pt x="129" y="145"/>
                  </a:cubicBezTo>
                  <a:cubicBezTo>
                    <a:pt x="127" y="145"/>
                    <a:pt x="126" y="145"/>
                    <a:pt x="124" y="144"/>
                  </a:cubicBezTo>
                  <a:cubicBezTo>
                    <a:pt x="124" y="144"/>
                    <a:pt x="123" y="143"/>
                    <a:pt x="122" y="143"/>
                  </a:cubicBezTo>
                  <a:cubicBezTo>
                    <a:pt x="121" y="142"/>
                    <a:pt x="119" y="143"/>
                    <a:pt x="118" y="143"/>
                  </a:cubicBezTo>
                  <a:cubicBezTo>
                    <a:pt x="117" y="142"/>
                    <a:pt x="117" y="142"/>
                    <a:pt x="117" y="142"/>
                  </a:cubicBezTo>
                  <a:cubicBezTo>
                    <a:pt x="116" y="142"/>
                    <a:pt x="115" y="143"/>
                    <a:pt x="114" y="142"/>
                  </a:cubicBezTo>
                  <a:cubicBezTo>
                    <a:pt x="113" y="141"/>
                    <a:pt x="112" y="140"/>
                    <a:pt x="111" y="139"/>
                  </a:cubicBezTo>
                  <a:cubicBezTo>
                    <a:pt x="110" y="138"/>
                    <a:pt x="110" y="137"/>
                    <a:pt x="110" y="136"/>
                  </a:cubicBezTo>
                  <a:cubicBezTo>
                    <a:pt x="109" y="135"/>
                    <a:pt x="108" y="134"/>
                    <a:pt x="108" y="133"/>
                  </a:cubicBezTo>
                  <a:cubicBezTo>
                    <a:pt x="107" y="131"/>
                    <a:pt x="107" y="129"/>
                    <a:pt x="106" y="128"/>
                  </a:cubicBezTo>
                  <a:cubicBezTo>
                    <a:pt x="105" y="127"/>
                    <a:pt x="104" y="127"/>
                    <a:pt x="102" y="127"/>
                  </a:cubicBezTo>
                  <a:cubicBezTo>
                    <a:pt x="102" y="128"/>
                    <a:pt x="101" y="128"/>
                    <a:pt x="101" y="128"/>
                  </a:cubicBezTo>
                  <a:cubicBezTo>
                    <a:pt x="100" y="128"/>
                    <a:pt x="98" y="128"/>
                    <a:pt x="97" y="129"/>
                  </a:cubicBezTo>
                  <a:cubicBezTo>
                    <a:pt x="96" y="130"/>
                    <a:pt x="95" y="131"/>
                    <a:pt x="94" y="132"/>
                  </a:cubicBezTo>
                  <a:cubicBezTo>
                    <a:pt x="93" y="132"/>
                    <a:pt x="93" y="132"/>
                    <a:pt x="92" y="132"/>
                  </a:cubicBezTo>
                  <a:cubicBezTo>
                    <a:pt x="91" y="132"/>
                    <a:pt x="91" y="133"/>
                    <a:pt x="90" y="132"/>
                  </a:cubicBezTo>
                  <a:cubicBezTo>
                    <a:pt x="89" y="132"/>
                    <a:pt x="89" y="131"/>
                    <a:pt x="88" y="131"/>
                  </a:cubicBezTo>
                  <a:cubicBezTo>
                    <a:pt x="87" y="131"/>
                    <a:pt x="86" y="130"/>
                    <a:pt x="84" y="130"/>
                  </a:cubicBezTo>
                  <a:cubicBezTo>
                    <a:pt x="84" y="130"/>
                    <a:pt x="83" y="130"/>
                    <a:pt x="82" y="130"/>
                  </a:cubicBezTo>
                  <a:cubicBezTo>
                    <a:pt x="81" y="129"/>
                    <a:pt x="80" y="128"/>
                    <a:pt x="78" y="128"/>
                  </a:cubicBezTo>
                  <a:cubicBezTo>
                    <a:pt x="77" y="127"/>
                    <a:pt x="75" y="127"/>
                    <a:pt x="73" y="126"/>
                  </a:cubicBezTo>
                  <a:cubicBezTo>
                    <a:pt x="73" y="126"/>
                    <a:pt x="72" y="126"/>
                    <a:pt x="72" y="126"/>
                  </a:cubicBezTo>
                  <a:cubicBezTo>
                    <a:pt x="72" y="124"/>
                    <a:pt x="72" y="122"/>
                    <a:pt x="71" y="122"/>
                  </a:cubicBezTo>
                  <a:cubicBezTo>
                    <a:pt x="70" y="121"/>
                    <a:pt x="68" y="121"/>
                    <a:pt x="66" y="121"/>
                  </a:cubicBezTo>
                  <a:cubicBezTo>
                    <a:pt x="66" y="121"/>
                    <a:pt x="65" y="121"/>
                    <a:pt x="64" y="120"/>
                  </a:cubicBezTo>
                  <a:cubicBezTo>
                    <a:pt x="63" y="120"/>
                    <a:pt x="63" y="119"/>
                    <a:pt x="63" y="119"/>
                  </a:cubicBezTo>
                  <a:cubicBezTo>
                    <a:pt x="62" y="118"/>
                    <a:pt x="62" y="117"/>
                    <a:pt x="62" y="117"/>
                  </a:cubicBezTo>
                  <a:cubicBezTo>
                    <a:pt x="61" y="116"/>
                    <a:pt x="61" y="115"/>
                    <a:pt x="60" y="114"/>
                  </a:cubicBezTo>
                  <a:cubicBezTo>
                    <a:pt x="59" y="113"/>
                    <a:pt x="59" y="111"/>
                    <a:pt x="59" y="110"/>
                  </a:cubicBezTo>
                  <a:cubicBezTo>
                    <a:pt x="59" y="109"/>
                    <a:pt x="58" y="107"/>
                    <a:pt x="57" y="106"/>
                  </a:cubicBezTo>
                  <a:cubicBezTo>
                    <a:pt x="57" y="105"/>
                    <a:pt x="56" y="104"/>
                    <a:pt x="56" y="104"/>
                  </a:cubicBezTo>
                  <a:cubicBezTo>
                    <a:pt x="55" y="103"/>
                    <a:pt x="55" y="103"/>
                    <a:pt x="55" y="102"/>
                  </a:cubicBezTo>
                  <a:cubicBezTo>
                    <a:pt x="55" y="102"/>
                    <a:pt x="54" y="102"/>
                    <a:pt x="54" y="101"/>
                  </a:cubicBezTo>
                  <a:cubicBezTo>
                    <a:pt x="54" y="100"/>
                    <a:pt x="53" y="99"/>
                    <a:pt x="52" y="98"/>
                  </a:cubicBezTo>
                  <a:cubicBezTo>
                    <a:pt x="51" y="98"/>
                    <a:pt x="49" y="99"/>
                    <a:pt x="48" y="98"/>
                  </a:cubicBezTo>
                  <a:cubicBezTo>
                    <a:pt x="47" y="98"/>
                    <a:pt x="45" y="98"/>
                    <a:pt x="44" y="98"/>
                  </a:cubicBezTo>
                  <a:cubicBezTo>
                    <a:pt x="43" y="99"/>
                    <a:pt x="42" y="100"/>
                    <a:pt x="40" y="100"/>
                  </a:cubicBezTo>
                  <a:cubicBezTo>
                    <a:pt x="39" y="99"/>
                    <a:pt x="39" y="99"/>
                    <a:pt x="39" y="99"/>
                  </a:cubicBezTo>
                  <a:cubicBezTo>
                    <a:pt x="39" y="98"/>
                    <a:pt x="39" y="97"/>
                    <a:pt x="39" y="97"/>
                  </a:cubicBezTo>
                  <a:cubicBezTo>
                    <a:pt x="39" y="96"/>
                    <a:pt x="38" y="96"/>
                    <a:pt x="38" y="95"/>
                  </a:cubicBezTo>
                  <a:cubicBezTo>
                    <a:pt x="37" y="92"/>
                    <a:pt x="35" y="90"/>
                    <a:pt x="34" y="88"/>
                  </a:cubicBezTo>
                  <a:cubicBezTo>
                    <a:pt x="33" y="87"/>
                    <a:pt x="33" y="86"/>
                    <a:pt x="34" y="85"/>
                  </a:cubicBezTo>
                  <a:cubicBezTo>
                    <a:pt x="35" y="83"/>
                    <a:pt x="35" y="81"/>
                    <a:pt x="34" y="80"/>
                  </a:cubicBezTo>
                  <a:cubicBezTo>
                    <a:pt x="33" y="80"/>
                    <a:pt x="33" y="79"/>
                    <a:pt x="32" y="79"/>
                  </a:cubicBezTo>
                  <a:cubicBezTo>
                    <a:pt x="31" y="78"/>
                    <a:pt x="31" y="76"/>
                    <a:pt x="30" y="76"/>
                  </a:cubicBezTo>
                  <a:cubicBezTo>
                    <a:pt x="29" y="75"/>
                    <a:pt x="27" y="75"/>
                    <a:pt x="26" y="74"/>
                  </a:cubicBezTo>
                  <a:cubicBezTo>
                    <a:pt x="24" y="73"/>
                    <a:pt x="24" y="71"/>
                    <a:pt x="23" y="70"/>
                  </a:cubicBezTo>
                  <a:cubicBezTo>
                    <a:pt x="22" y="69"/>
                    <a:pt x="20" y="69"/>
                    <a:pt x="18" y="68"/>
                  </a:cubicBezTo>
                  <a:cubicBezTo>
                    <a:pt x="18" y="68"/>
                    <a:pt x="18" y="68"/>
                    <a:pt x="17" y="67"/>
                  </a:cubicBezTo>
                  <a:cubicBezTo>
                    <a:pt x="17" y="66"/>
                    <a:pt x="17" y="65"/>
                    <a:pt x="16" y="64"/>
                  </a:cubicBezTo>
                  <a:cubicBezTo>
                    <a:pt x="16" y="63"/>
                    <a:pt x="15" y="62"/>
                    <a:pt x="14" y="61"/>
                  </a:cubicBezTo>
                  <a:cubicBezTo>
                    <a:pt x="14" y="59"/>
                    <a:pt x="14" y="57"/>
                    <a:pt x="15" y="54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2"/>
                    <a:pt x="15" y="51"/>
                    <a:pt x="15" y="49"/>
                  </a:cubicBezTo>
                  <a:cubicBezTo>
                    <a:pt x="17" y="48"/>
                    <a:pt x="17" y="47"/>
                    <a:pt x="17" y="45"/>
                  </a:cubicBezTo>
                  <a:cubicBezTo>
                    <a:pt x="17" y="45"/>
                    <a:pt x="18" y="45"/>
                    <a:pt x="18" y="44"/>
                  </a:cubicBezTo>
                  <a:cubicBezTo>
                    <a:pt x="18" y="43"/>
                    <a:pt x="19" y="41"/>
                    <a:pt x="18" y="41"/>
                  </a:cubicBezTo>
                  <a:cubicBezTo>
                    <a:pt x="16" y="40"/>
                    <a:pt x="14" y="41"/>
                    <a:pt x="12" y="40"/>
                  </a:cubicBezTo>
                  <a:cubicBezTo>
                    <a:pt x="12" y="40"/>
                    <a:pt x="12" y="40"/>
                    <a:pt x="12" y="39"/>
                  </a:cubicBezTo>
                  <a:cubicBezTo>
                    <a:pt x="11" y="38"/>
                    <a:pt x="11" y="37"/>
                    <a:pt x="11" y="36"/>
                  </a:cubicBezTo>
                  <a:cubicBezTo>
                    <a:pt x="10" y="35"/>
                    <a:pt x="9" y="34"/>
                    <a:pt x="8" y="33"/>
                  </a:cubicBezTo>
                  <a:cubicBezTo>
                    <a:pt x="8" y="31"/>
                    <a:pt x="6" y="30"/>
                    <a:pt x="6" y="29"/>
                  </a:cubicBezTo>
                  <a:cubicBezTo>
                    <a:pt x="6" y="29"/>
                    <a:pt x="5" y="29"/>
                    <a:pt x="5" y="28"/>
                  </a:cubicBezTo>
                  <a:cubicBezTo>
                    <a:pt x="4" y="27"/>
                    <a:pt x="5" y="26"/>
                    <a:pt x="5" y="25"/>
                  </a:cubicBezTo>
                  <a:cubicBezTo>
                    <a:pt x="4" y="24"/>
                    <a:pt x="3" y="23"/>
                    <a:pt x="2" y="22"/>
                  </a:cubicBezTo>
                  <a:cubicBezTo>
                    <a:pt x="2" y="20"/>
                    <a:pt x="2" y="18"/>
                    <a:pt x="2" y="16"/>
                  </a:cubicBezTo>
                  <a:cubicBezTo>
                    <a:pt x="2" y="16"/>
                    <a:pt x="2" y="16"/>
                    <a:pt x="2" y="15"/>
                  </a:cubicBezTo>
                  <a:cubicBezTo>
                    <a:pt x="1" y="14"/>
                    <a:pt x="2" y="11"/>
                    <a:pt x="1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4"/>
                    <a:pt x="0" y="3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3" y="1"/>
                    <a:pt x="5" y="3"/>
                    <a:pt x="7" y="4"/>
                  </a:cubicBezTo>
                  <a:cubicBezTo>
                    <a:pt x="8" y="5"/>
                    <a:pt x="9" y="6"/>
                    <a:pt x="10" y="7"/>
                  </a:cubicBezTo>
                  <a:cubicBezTo>
                    <a:pt x="11" y="8"/>
                    <a:pt x="12" y="9"/>
                    <a:pt x="13" y="10"/>
                  </a:cubicBezTo>
                  <a:cubicBezTo>
                    <a:pt x="14" y="11"/>
                    <a:pt x="15" y="11"/>
                    <a:pt x="17" y="11"/>
                  </a:cubicBezTo>
                  <a:cubicBezTo>
                    <a:pt x="17" y="10"/>
                    <a:pt x="18" y="10"/>
                    <a:pt x="19" y="9"/>
                  </a:cubicBezTo>
                  <a:cubicBezTo>
                    <a:pt x="20" y="9"/>
                    <a:pt x="21" y="9"/>
                    <a:pt x="22" y="9"/>
                  </a:cubicBezTo>
                  <a:cubicBezTo>
                    <a:pt x="25" y="8"/>
                    <a:pt x="27" y="5"/>
                    <a:pt x="29" y="3"/>
                  </a:cubicBezTo>
                  <a:cubicBezTo>
                    <a:pt x="29" y="3"/>
                    <a:pt x="30" y="3"/>
                    <a:pt x="30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5"/>
                    <a:pt x="31" y="6"/>
                    <a:pt x="32" y="7"/>
                  </a:cubicBezTo>
                  <a:cubicBezTo>
                    <a:pt x="32" y="8"/>
                    <a:pt x="32" y="9"/>
                    <a:pt x="32" y="10"/>
                  </a:cubicBezTo>
                  <a:cubicBezTo>
                    <a:pt x="32" y="11"/>
                    <a:pt x="30" y="12"/>
                    <a:pt x="31" y="13"/>
                  </a:cubicBezTo>
                  <a:cubicBezTo>
                    <a:pt x="32" y="16"/>
                    <a:pt x="35" y="16"/>
                    <a:pt x="37" y="1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8" y="26"/>
                    <a:pt x="80" y="26"/>
                    <a:pt x="82" y="25"/>
                  </a:cubicBezTo>
                  <a:cubicBezTo>
                    <a:pt x="84" y="24"/>
                    <a:pt x="84" y="21"/>
                    <a:pt x="86" y="20"/>
                  </a:cubicBezTo>
                  <a:cubicBezTo>
                    <a:pt x="89" y="18"/>
                    <a:pt x="91" y="19"/>
                    <a:pt x="94" y="19"/>
                  </a:cubicBezTo>
                  <a:cubicBezTo>
                    <a:pt x="94" y="19"/>
                    <a:pt x="95" y="18"/>
                    <a:pt x="96" y="18"/>
                  </a:cubicBezTo>
                  <a:cubicBezTo>
                    <a:pt x="98" y="17"/>
                    <a:pt x="100" y="18"/>
                    <a:pt x="102" y="19"/>
                  </a:cubicBezTo>
                  <a:cubicBezTo>
                    <a:pt x="103" y="19"/>
                    <a:pt x="104" y="20"/>
                    <a:pt x="105" y="21"/>
                  </a:cubicBezTo>
                  <a:cubicBezTo>
                    <a:pt x="106" y="22"/>
                    <a:pt x="108" y="22"/>
                    <a:pt x="109" y="22"/>
                  </a:cubicBezTo>
                  <a:cubicBezTo>
                    <a:pt x="111" y="22"/>
                    <a:pt x="114" y="23"/>
                    <a:pt x="116" y="23"/>
                  </a:cubicBezTo>
                  <a:cubicBezTo>
                    <a:pt x="117" y="23"/>
                    <a:pt x="118" y="24"/>
                    <a:pt x="119" y="25"/>
                  </a:cubicBezTo>
                  <a:cubicBezTo>
                    <a:pt x="120" y="26"/>
                    <a:pt x="120" y="27"/>
                    <a:pt x="121" y="28"/>
                  </a:cubicBezTo>
                  <a:cubicBezTo>
                    <a:pt x="121" y="29"/>
                    <a:pt x="121" y="29"/>
                    <a:pt x="122" y="29"/>
                  </a:cubicBezTo>
                  <a:cubicBezTo>
                    <a:pt x="122" y="30"/>
                    <a:pt x="123" y="29"/>
                    <a:pt x="124" y="30"/>
                  </a:cubicBezTo>
                  <a:cubicBezTo>
                    <a:pt x="125" y="30"/>
                    <a:pt x="125" y="32"/>
                    <a:pt x="127" y="33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9" y="34"/>
                    <a:pt x="132" y="33"/>
                    <a:pt x="132" y="35"/>
                  </a:cubicBezTo>
                  <a:cubicBezTo>
                    <a:pt x="133" y="36"/>
                    <a:pt x="132" y="39"/>
                    <a:pt x="133" y="40"/>
                  </a:cubicBezTo>
                  <a:cubicBezTo>
                    <a:pt x="133" y="41"/>
                    <a:pt x="134" y="42"/>
                    <a:pt x="135" y="43"/>
                  </a:cubicBezTo>
                  <a:cubicBezTo>
                    <a:pt x="135" y="44"/>
                    <a:pt x="135" y="44"/>
                    <a:pt x="135" y="45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6"/>
                    <a:pt x="135" y="47"/>
                    <a:pt x="135" y="48"/>
                  </a:cubicBezTo>
                  <a:cubicBezTo>
                    <a:pt x="134" y="50"/>
                    <a:pt x="134" y="53"/>
                    <a:pt x="133" y="55"/>
                  </a:cubicBezTo>
                  <a:cubicBezTo>
                    <a:pt x="132" y="56"/>
                    <a:pt x="131" y="57"/>
                    <a:pt x="130" y="58"/>
                  </a:cubicBezTo>
                  <a:cubicBezTo>
                    <a:pt x="129" y="60"/>
                    <a:pt x="130" y="62"/>
                    <a:pt x="131" y="64"/>
                  </a:cubicBezTo>
                  <a:cubicBezTo>
                    <a:pt x="131" y="64"/>
                    <a:pt x="132" y="65"/>
                    <a:pt x="132" y="65"/>
                  </a:cubicBezTo>
                  <a:cubicBezTo>
                    <a:pt x="132" y="65"/>
                    <a:pt x="132" y="66"/>
                    <a:pt x="132" y="66"/>
                  </a:cubicBezTo>
                  <a:cubicBezTo>
                    <a:pt x="132" y="67"/>
                    <a:pt x="131" y="68"/>
                    <a:pt x="131" y="68"/>
                  </a:cubicBezTo>
                  <a:cubicBezTo>
                    <a:pt x="131" y="69"/>
                    <a:pt x="131" y="70"/>
                    <a:pt x="131" y="71"/>
                  </a:cubicBezTo>
                  <a:cubicBezTo>
                    <a:pt x="132" y="72"/>
                    <a:pt x="132" y="74"/>
                    <a:pt x="132" y="75"/>
                  </a:cubicBezTo>
                  <a:cubicBezTo>
                    <a:pt x="132" y="76"/>
                    <a:pt x="133" y="78"/>
                    <a:pt x="133" y="79"/>
                  </a:cubicBezTo>
                  <a:cubicBezTo>
                    <a:pt x="133" y="79"/>
                    <a:pt x="133" y="80"/>
                    <a:pt x="133" y="80"/>
                  </a:cubicBezTo>
                  <a:cubicBezTo>
                    <a:pt x="134" y="82"/>
                    <a:pt x="133" y="83"/>
                    <a:pt x="134" y="85"/>
                  </a:cubicBezTo>
                  <a:cubicBezTo>
                    <a:pt x="136" y="86"/>
                    <a:pt x="140" y="84"/>
                    <a:pt x="142" y="86"/>
                  </a:cubicBezTo>
                  <a:cubicBezTo>
                    <a:pt x="142" y="88"/>
                    <a:pt x="143" y="90"/>
                    <a:pt x="141" y="92"/>
                  </a:cubicBezTo>
                  <a:cubicBezTo>
                    <a:pt x="140" y="95"/>
                    <a:pt x="137" y="97"/>
                    <a:pt x="136" y="100"/>
                  </a:cubicBezTo>
                  <a:cubicBezTo>
                    <a:pt x="136" y="101"/>
                    <a:pt x="136" y="101"/>
                    <a:pt x="137" y="102"/>
                  </a:cubicBezTo>
                  <a:cubicBezTo>
                    <a:pt x="137" y="102"/>
                    <a:pt x="137" y="102"/>
                    <a:pt x="137" y="102"/>
                  </a:cubicBezTo>
                  <a:cubicBezTo>
                    <a:pt x="136" y="103"/>
                    <a:pt x="138" y="103"/>
                    <a:pt x="138" y="104"/>
                  </a:cubicBezTo>
                  <a:cubicBezTo>
                    <a:pt x="139" y="104"/>
                    <a:pt x="139" y="104"/>
                    <a:pt x="140" y="105"/>
                  </a:cubicBezTo>
                  <a:cubicBezTo>
                    <a:pt x="140" y="106"/>
                    <a:pt x="140" y="108"/>
                    <a:pt x="141" y="109"/>
                  </a:cubicBezTo>
                  <a:cubicBezTo>
                    <a:pt x="141" y="110"/>
                    <a:pt x="142" y="111"/>
                    <a:pt x="143" y="112"/>
                  </a:cubicBezTo>
                  <a:cubicBezTo>
                    <a:pt x="144" y="113"/>
                    <a:pt x="145" y="113"/>
                    <a:pt x="146" y="114"/>
                  </a:cubicBezTo>
                  <a:cubicBezTo>
                    <a:pt x="147" y="115"/>
                    <a:pt x="149" y="115"/>
                    <a:pt x="151" y="116"/>
                  </a:cubicBezTo>
                  <a:cubicBezTo>
                    <a:pt x="151" y="119"/>
                    <a:pt x="151" y="123"/>
                    <a:pt x="151" y="126"/>
                  </a:cubicBezTo>
                  <a:cubicBezTo>
                    <a:pt x="152" y="126"/>
                    <a:pt x="152" y="126"/>
                    <a:pt x="153" y="125"/>
                  </a:cubicBezTo>
                  <a:cubicBezTo>
                    <a:pt x="154" y="125"/>
                    <a:pt x="156" y="125"/>
                    <a:pt x="156" y="126"/>
                  </a:cubicBezTo>
                  <a:cubicBezTo>
                    <a:pt x="157" y="127"/>
                    <a:pt x="157" y="128"/>
                    <a:pt x="156" y="130"/>
                  </a:cubicBezTo>
                  <a:cubicBezTo>
                    <a:pt x="156" y="131"/>
                    <a:pt x="154" y="133"/>
                    <a:pt x="153" y="133"/>
                  </a:cubicBezTo>
                  <a:cubicBezTo>
                    <a:pt x="151" y="134"/>
                    <a:pt x="149" y="135"/>
                    <a:pt x="148" y="136"/>
                  </a:cubicBezTo>
                  <a:cubicBezTo>
                    <a:pt x="147" y="136"/>
                    <a:pt x="146" y="137"/>
                    <a:pt x="145" y="138"/>
                  </a:cubicBezTo>
                  <a:cubicBezTo>
                    <a:pt x="145" y="139"/>
                    <a:pt x="145" y="140"/>
                    <a:pt x="145" y="141"/>
                  </a:cubicBezTo>
                  <a:cubicBezTo>
                    <a:pt x="145" y="142"/>
                    <a:pt x="145" y="143"/>
                    <a:pt x="145" y="144"/>
                  </a:cubicBezTo>
                  <a:lnTo>
                    <a:pt x="145" y="14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1" name="Freeform 212"/>
            <p:cNvSpPr>
              <a:spLocks/>
            </p:cNvSpPr>
            <p:nvPr/>
          </p:nvSpPr>
          <p:spPr bwMode="auto">
            <a:xfrm>
              <a:off x="7089034" y="3406211"/>
              <a:ext cx="35116" cy="40016"/>
            </a:xfrm>
            <a:custGeom>
              <a:avLst/>
              <a:gdLst>
                <a:gd name="T0" fmla="*/ 73069303 w 75"/>
                <a:gd name="T1" fmla="*/ 70101268 h 83"/>
                <a:gd name="T2" fmla="*/ 69974021 w 75"/>
                <a:gd name="T3" fmla="*/ 68110098 h 83"/>
                <a:gd name="T4" fmla="*/ 64956873 w 75"/>
                <a:gd name="T5" fmla="*/ 70941678 h 83"/>
                <a:gd name="T6" fmla="*/ 62760192 w 75"/>
                <a:gd name="T7" fmla="*/ 76825681 h 83"/>
                <a:gd name="T8" fmla="*/ 51608606 w 75"/>
                <a:gd name="T9" fmla="*/ 77611872 h 83"/>
                <a:gd name="T10" fmla="*/ 38511599 w 75"/>
                <a:gd name="T11" fmla="*/ 72925518 h 83"/>
                <a:gd name="T12" fmla="*/ 31678737 w 75"/>
                <a:gd name="T13" fmla="*/ 67233265 h 83"/>
                <a:gd name="T14" fmla="*/ 29483443 w 75"/>
                <a:gd name="T15" fmla="*/ 62545022 h 83"/>
                <a:gd name="T16" fmla="*/ 22134656 w 75"/>
                <a:gd name="T17" fmla="*/ 58999265 h 83"/>
                <a:gd name="T18" fmla="*/ 9004055 w 75"/>
                <a:gd name="T19" fmla="*/ 51481672 h 83"/>
                <a:gd name="T20" fmla="*/ 3027054 w 75"/>
                <a:gd name="T21" fmla="*/ 45943762 h 83"/>
                <a:gd name="T22" fmla="*/ 0 w 75"/>
                <a:gd name="T23" fmla="*/ 36355852 h 83"/>
                <a:gd name="T24" fmla="*/ 5907863 w 75"/>
                <a:gd name="T25" fmla="*/ 32866260 h 83"/>
                <a:gd name="T26" fmla="*/ 16226801 w 75"/>
                <a:gd name="T27" fmla="*/ 23300575 h 83"/>
                <a:gd name="T28" fmla="*/ 15296616 w 75"/>
                <a:gd name="T29" fmla="*/ 13917860 h 83"/>
                <a:gd name="T30" fmla="*/ 19255648 w 75"/>
                <a:gd name="T31" fmla="*/ 7510493 h 83"/>
                <a:gd name="T32" fmla="*/ 23575041 w 75"/>
                <a:gd name="T33" fmla="*/ 3552753 h 83"/>
                <a:gd name="T34" fmla="*/ 30396094 w 75"/>
                <a:gd name="T35" fmla="*/ 1984455 h 83"/>
                <a:gd name="T36" fmla="*/ 38511599 w 75"/>
                <a:gd name="T37" fmla="*/ 2824655 h 83"/>
                <a:gd name="T38" fmla="*/ 40466551 w 75"/>
                <a:gd name="T39" fmla="*/ 2824655 h 83"/>
                <a:gd name="T40" fmla="*/ 43495265 w 75"/>
                <a:gd name="T41" fmla="*/ 7510493 h 83"/>
                <a:gd name="T42" fmla="*/ 47838881 w 75"/>
                <a:gd name="T43" fmla="*/ 13077479 h 83"/>
                <a:gd name="T44" fmla="*/ 53813375 w 75"/>
                <a:gd name="T45" fmla="*/ 15125815 h 83"/>
                <a:gd name="T46" fmla="*/ 52532915 w 75"/>
                <a:gd name="T47" fmla="*/ 18615502 h 83"/>
                <a:gd name="T48" fmla="*/ 50717182 w 75"/>
                <a:gd name="T49" fmla="*/ 26972490 h 83"/>
                <a:gd name="T50" fmla="*/ 49506251 w 75"/>
                <a:gd name="T51" fmla="*/ 33745057 h 83"/>
                <a:gd name="T52" fmla="*/ 52532915 w 75"/>
                <a:gd name="T53" fmla="*/ 39271613 h 83"/>
                <a:gd name="T54" fmla="*/ 58957430 w 75"/>
                <a:gd name="T55" fmla="*/ 41881699 h 83"/>
                <a:gd name="T56" fmla="*/ 65630292 w 75"/>
                <a:gd name="T57" fmla="*/ 47421233 h 83"/>
                <a:gd name="T58" fmla="*/ 69974021 w 75"/>
                <a:gd name="T59" fmla="*/ 51481672 h 83"/>
                <a:gd name="T60" fmla="*/ 69974021 w 75"/>
                <a:gd name="T61" fmla="*/ 58999265 h 83"/>
                <a:gd name="T62" fmla="*/ 75184189 w 75"/>
                <a:gd name="T63" fmla="*/ 67233265 h 83"/>
                <a:gd name="T64" fmla="*/ 75951022 w 75"/>
                <a:gd name="T65" fmla="*/ 70101268 h 8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5"/>
                <a:gd name="T100" fmla="*/ 0 h 83"/>
                <a:gd name="T101" fmla="*/ 75 w 75"/>
                <a:gd name="T102" fmla="*/ 83 h 8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5" h="83">
                  <a:moveTo>
                    <a:pt x="75" y="75"/>
                  </a:moveTo>
                  <a:cubicBezTo>
                    <a:pt x="74" y="75"/>
                    <a:pt x="73" y="76"/>
                    <a:pt x="72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0" y="75"/>
                    <a:pt x="69" y="74"/>
                    <a:pt x="69" y="73"/>
                  </a:cubicBezTo>
                  <a:cubicBezTo>
                    <a:pt x="68" y="73"/>
                    <a:pt x="67" y="73"/>
                    <a:pt x="66" y="73"/>
                  </a:cubicBezTo>
                  <a:cubicBezTo>
                    <a:pt x="65" y="74"/>
                    <a:pt x="65" y="75"/>
                    <a:pt x="64" y="76"/>
                  </a:cubicBezTo>
                  <a:cubicBezTo>
                    <a:pt x="63" y="77"/>
                    <a:pt x="62" y="77"/>
                    <a:pt x="62" y="78"/>
                  </a:cubicBezTo>
                  <a:cubicBezTo>
                    <a:pt x="61" y="79"/>
                    <a:pt x="62" y="81"/>
                    <a:pt x="62" y="82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59" y="83"/>
                    <a:pt x="54" y="83"/>
                    <a:pt x="51" y="83"/>
                  </a:cubicBezTo>
                  <a:cubicBezTo>
                    <a:pt x="49" y="82"/>
                    <a:pt x="47" y="82"/>
                    <a:pt x="45" y="81"/>
                  </a:cubicBezTo>
                  <a:cubicBezTo>
                    <a:pt x="42" y="81"/>
                    <a:pt x="40" y="79"/>
                    <a:pt x="38" y="78"/>
                  </a:cubicBezTo>
                  <a:cubicBezTo>
                    <a:pt x="36" y="77"/>
                    <a:pt x="35" y="77"/>
                    <a:pt x="34" y="76"/>
                  </a:cubicBezTo>
                  <a:cubicBezTo>
                    <a:pt x="33" y="75"/>
                    <a:pt x="32" y="74"/>
                    <a:pt x="31" y="72"/>
                  </a:cubicBezTo>
                  <a:cubicBezTo>
                    <a:pt x="31" y="71"/>
                    <a:pt x="31" y="70"/>
                    <a:pt x="30" y="70"/>
                  </a:cubicBezTo>
                  <a:cubicBezTo>
                    <a:pt x="30" y="69"/>
                    <a:pt x="29" y="68"/>
                    <a:pt x="29" y="67"/>
                  </a:cubicBezTo>
                  <a:cubicBezTo>
                    <a:pt x="28" y="66"/>
                    <a:pt x="26" y="66"/>
                    <a:pt x="25" y="65"/>
                  </a:cubicBezTo>
                  <a:cubicBezTo>
                    <a:pt x="24" y="64"/>
                    <a:pt x="23" y="64"/>
                    <a:pt x="22" y="63"/>
                  </a:cubicBezTo>
                  <a:cubicBezTo>
                    <a:pt x="19" y="61"/>
                    <a:pt x="16" y="59"/>
                    <a:pt x="12" y="57"/>
                  </a:cubicBezTo>
                  <a:cubicBezTo>
                    <a:pt x="11" y="56"/>
                    <a:pt x="10" y="55"/>
                    <a:pt x="9" y="55"/>
                  </a:cubicBezTo>
                  <a:cubicBezTo>
                    <a:pt x="7" y="54"/>
                    <a:pt x="5" y="52"/>
                    <a:pt x="3" y="50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2" y="49"/>
                    <a:pt x="1" y="48"/>
                    <a:pt x="0" y="47"/>
                  </a:cubicBezTo>
                  <a:cubicBezTo>
                    <a:pt x="0" y="44"/>
                    <a:pt x="0" y="42"/>
                    <a:pt x="0" y="39"/>
                  </a:cubicBezTo>
                  <a:cubicBezTo>
                    <a:pt x="1" y="39"/>
                    <a:pt x="1" y="39"/>
                    <a:pt x="3" y="38"/>
                  </a:cubicBezTo>
                  <a:cubicBezTo>
                    <a:pt x="4" y="37"/>
                    <a:pt x="5" y="36"/>
                    <a:pt x="6" y="35"/>
                  </a:cubicBezTo>
                  <a:cubicBezTo>
                    <a:pt x="9" y="34"/>
                    <a:pt x="12" y="32"/>
                    <a:pt x="14" y="29"/>
                  </a:cubicBezTo>
                  <a:cubicBezTo>
                    <a:pt x="14" y="27"/>
                    <a:pt x="15" y="26"/>
                    <a:pt x="16" y="25"/>
                  </a:cubicBezTo>
                  <a:cubicBezTo>
                    <a:pt x="16" y="22"/>
                    <a:pt x="16" y="19"/>
                    <a:pt x="16" y="16"/>
                  </a:cubicBezTo>
                  <a:cubicBezTo>
                    <a:pt x="16" y="15"/>
                    <a:pt x="15" y="15"/>
                    <a:pt x="15" y="15"/>
                  </a:cubicBezTo>
                  <a:cubicBezTo>
                    <a:pt x="14" y="13"/>
                    <a:pt x="15" y="11"/>
                    <a:pt x="16" y="9"/>
                  </a:cubicBezTo>
                  <a:cubicBezTo>
                    <a:pt x="17" y="9"/>
                    <a:pt x="18" y="9"/>
                    <a:pt x="19" y="8"/>
                  </a:cubicBezTo>
                  <a:cubicBezTo>
                    <a:pt x="21" y="7"/>
                    <a:pt x="22" y="6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5" y="3"/>
                    <a:pt x="26" y="2"/>
                    <a:pt x="27" y="1"/>
                  </a:cubicBezTo>
                  <a:cubicBezTo>
                    <a:pt x="29" y="0"/>
                    <a:pt x="29" y="1"/>
                    <a:pt x="30" y="2"/>
                  </a:cubicBezTo>
                  <a:cubicBezTo>
                    <a:pt x="32" y="2"/>
                    <a:pt x="34" y="1"/>
                    <a:pt x="36" y="2"/>
                  </a:cubicBezTo>
                  <a:cubicBezTo>
                    <a:pt x="37" y="2"/>
                    <a:pt x="37" y="3"/>
                    <a:pt x="38" y="3"/>
                  </a:cubicBezTo>
                  <a:cubicBezTo>
                    <a:pt x="39" y="4"/>
                    <a:pt x="39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4"/>
                    <a:pt x="41" y="4"/>
                    <a:pt x="41" y="4"/>
                  </a:cubicBezTo>
                  <a:cubicBezTo>
                    <a:pt x="41" y="5"/>
                    <a:pt x="43" y="6"/>
                    <a:pt x="43" y="8"/>
                  </a:cubicBezTo>
                  <a:cubicBezTo>
                    <a:pt x="44" y="9"/>
                    <a:pt x="45" y="10"/>
                    <a:pt x="46" y="11"/>
                  </a:cubicBezTo>
                  <a:cubicBezTo>
                    <a:pt x="46" y="12"/>
                    <a:pt x="46" y="13"/>
                    <a:pt x="47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9" y="16"/>
                    <a:pt x="51" y="15"/>
                    <a:pt x="53" y="16"/>
                  </a:cubicBezTo>
                  <a:cubicBezTo>
                    <a:pt x="54" y="16"/>
                    <a:pt x="53" y="18"/>
                    <a:pt x="53" y="19"/>
                  </a:cubicBezTo>
                  <a:cubicBezTo>
                    <a:pt x="53" y="20"/>
                    <a:pt x="52" y="20"/>
                    <a:pt x="52" y="20"/>
                  </a:cubicBezTo>
                  <a:cubicBezTo>
                    <a:pt x="52" y="22"/>
                    <a:pt x="52" y="23"/>
                    <a:pt x="50" y="24"/>
                  </a:cubicBezTo>
                  <a:cubicBezTo>
                    <a:pt x="50" y="26"/>
                    <a:pt x="50" y="27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49" y="32"/>
                    <a:pt x="49" y="34"/>
                    <a:pt x="49" y="36"/>
                  </a:cubicBezTo>
                  <a:cubicBezTo>
                    <a:pt x="50" y="37"/>
                    <a:pt x="51" y="38"/>
                    <a:pt x="51" y="39"/>
                  </a:cubicBezTo>
                  <a:cubicBezTo>
                    <a:pt x="52" y="40"/>
                    <a:pt x="52" y="41"/>
                    <a:pt x="52" y="42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5" y="44"/>
                    <a:pt x="57" y="44"/>
                    <a:pt x="58" y="45"/>
                  </a:cubicBezTo>
                  <a:cubicBezTo>
                    <a:pt x="59" y="46"/>
                    <a:pt x="59" y="48"/>
                    <a:pt x="61" y="49"/>
                  </a:cubicBezTo>
                  <a:cubicBezTo>
                    <a:pt x="62" y="50"/>
                    <a:pt x="64" y="50"/>
                    <a:pt x="65" y="51"/>
                  </a:cubicBezTo>
                  <a:cubicBezTo>
                    <a:pt x="66" y="51"/>
                    <a:pt x="66" y="53"/>
                    <a:pt x="67" y="54"/>
                  </a:cubicBezTo>
                  <a:cubicBezTo>
                    <a:pt x="68" y="54"/>
                    <a:pt x="68" y="55"/>
                    <a:pt x="69" y="55"/>
                  </a:cubicBezTo>
                  <a:cubicBezTo>
                    <a:pt x="70" y="56"/>
                    <a:pt x="70" y="58"/>
                    <a:pt x="69" y="60"/>
                  </a:cubicBezTo>
                  <a:cubicBezTo>
                    <a:pt x="68" y="61"/>
                    <a:pt x="68" y="62"/>
                    <a:pt x="69" y="63"/>
                  </a:cubicBezTo>
                  <a:cubicBezTo>
                    <a:pt x="70" y="65"/>
                    <a:pt x="72" y="67"/>
                    <a:pt x="73" y="70"/>
                  </a:cubicBezTo>
                  <a:cubicBezTo>
                    <a:pt x="73" y="71"/>
                    <a:pt x="74" y="71"/>
                    <a:pt x="74" y="72"/>
                  </a:cubicBezTo>
                  <a:cubicBezTo>
                    <a:pt x="74" y="72"/>
                    <a:pt x="74" y="73"/>
                    <a:pt x="74" y="74"/>
                  </a:cubicBezTo>
                  <a:lnTo>
                    <a:pt x="75" y="75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2" name="Freeform 213"/>
            <p:cNvSpPr>
              <a:spLocks/>
            </p:cNvSpPr>
            <p:nvPr/>
          </p:nvSpPr>
          <p:spPr bwMode="auto">
            <a:xfrm>
              <a:off x="7117629" y="3441360"/>
              <a:ext cx="6522" cy="8652"/>
            </a:xfrm>
            <a:custGeom>
              <a:avLst/>
              <a:gdLst>
                <a:gd name="T0" fmla="*/ 12766089 w 14"/>
                <a:gd name="T1" fmla="*/ 17885570 h 18"/>
                <a:gd name="T2" fmla="*/ 12766089 w 14"/>
                <a:gd name="T3" fmla="*/ 15574178 h 18"/>
                <a:gd name="T4" fmla="*/ 11919092 w 14"/>
                <a:gd name="T5" fmla="*/ 14605101 h 18"/>
                <a:gd name="T6" fmla="*/ 10823097 w 14"/>
                <a:gd name="T7" fmla="*/ 12233175 h 18"/>
                <a:gd name="T8" fmla="*/ 8174845 w 14"/>
                <a:gd name="T9" fmla="*/ 8850068 h 18"/>
                <a:gd name="T10" fmla="*/ 8174845 w 14"/>
                <a:gd name="T11" fmla="*/ 8080076 h 18"/>
                <a:gd name="T12" fmla="*/ 9969095 w 14"/>
                <a:gd name="T13" fmla="*/ 6519426 h 18"/>
                <a:gd name="T14" fmla="*/ 9969095 w 14"/>
                <a:gd name="T15" fmla="*/ 4697331 h 18"/>
                <a:gd name="T16" fmla="*/ 9969095 w 14"/>
                <a:gd name="T17" fmla="*/ 2384158 h 18"/>
                <a:gd name="T18" fmla="*/ 9297269 w 14"/>
                <a:gd name="T19" fmla="*/ 2384158 h 18"/>
                <a:gd name="T20" fmla="*/ 7350477 w 14"/>
                <a:gd name="T21" fmla="*/ 0 h 18"/>
                <a:gd name="T22" fmla="*/ 4591618 w 14"/>
                <a:gd name="T23" fmla="*/ 0 h 18"/>
                <a:gd name="T24" fmla="*/ 2769339 w 14"/>
                <a:gd name="T25" fmla="*/ 3382358 h 18"/>
                <a:gd name="T26" fmla="*/ 826407 w 14"/>
                <a:gd name="T27" fmla="*/ 5695489 h 18"/>
                <a:gd name="T28" fmla="*/ 826407 w 14"/>
                <a:gd name="T29" fmla="*/ 10471513 h 18"/>
                <a:gd name="T30" fmla="*/ 826407 w 14"/>
                <a:gd name="T31" fmla="*/ 11221395 h 18"/>
                <a:gd name="T32" fmla="*/ 2769339 w 14"/>
                <a:gd name="T33" fmla="*/ 12233175 h 18"/>
                <a:gd name="T34" fmla="*/ 4591618 w 14"/>
                <a:gd name="T35" fmla="*/ 12233175 h 18"/>
                <a:gd name="T36" fmla="*/ 7350477 w 14"/>
                <a:gd name="T37" fmla="*/ 15574178 h 18"/>
                <a:gd name="T38" fmla="*/ 7350477 w 14"/>
                <a:gd name="T39" fmla="*/ 19302400 h 18"/>
                <a:gd name="T40" fmla="*/ 10823097 w 14"/>
                <a:gd name="T41" fmla="*/ 17885570 h 18"/>
                <a:gd name="T42" fmla="*/ 12766089 w 14"/>
                <a:gd name="T43" fmla="*/ 17885570 h 1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4"/>
                <a:gd name="T67" fmla="*/ 0 h 18"/>
                <a:gd name="T68" fmla="*/ 14 w 14"/>
                <a:gd name="T69" fmla="*/ 18 h 1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4" h="18">
                  <a:moveTo>
                    <a:pt x="14" y="16"/>
                  </a:moveTo>
                  <a:cubicBezTo>
                    <a:pt x="14" y="15"/>
                    <a:pt x="14" y="15"/>
                    <a:pt x="14" y="14"/>
                  </a:cubicBezTo>
                  <a:cubicBezTo>
                    <a:pt x="13" y="14"/>
                    <a:pt x="14" y="13"/>
                    <a:pt x="13" y="13"/>
                  </a:cubicBezTo>
                  <a:cubicBezTo>
                    <a:pt x="13" y="12"/>
                    <a:pt x="13" y="12"/>
                    <a:pt x="12" y="11"/>
                  </a:cubicBezTo>
                  <a:cubicBezTo>
                    <a:pt x="11" y="10"/>
                    <a:pt x="10" y="9"/>
                    <a:pt x="9" y="8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6"/>
                    <a:pt x="11" y="6"/>
                    <a:pt x="11" y="6"/>
                  </a:cubicBezTo>
                  <a:cubicBezTo>
                    <a:pt x="12" y="5"/>
                    <a:pt x="12" y="5"/>
                    <a:pt x="11" y="4"/>
                  </a:cubicBezTo>
                  <a:cubicBezTo>
                    <a:pt x="11" y="4"/>
                    <a:pt x="11" y="3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8" y="1"/>
                    <a:pt x="8" y="0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4" y="1"/>
                    <a:pt x="4" y="2"/>
                    <a:pt x="3" y="3"/>
                  </a:cubicBezTo>
                  <a:cubicBezTo>
                    <a:pt x="2" y="4"/>
                    <a:pt x="1" y="4"/>
                    <a:pt x="1" y="5"/>
                  </a:cubicBezTo>
                  <a:cubicBezTo>
                    <a:pt x="0" y="6"/>
                    <a:pt x="1" y="8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10"/>
                    <a:pt x="2" y="11"/>
                    <a:pt x="3" y="11"/>
                  </a:cubicBezTo>
                  <a:cubicBezTo>
                    <a:pt x="3" y="11"/>
                    <a:pt x="4" y="11"/>
                    <a:pt x="5" y="11"/>
                  </a:cubicBezTo>
                  <a:cubicBezTo>
                    <a:pt x="6" y="12"/>
                    <a:pt x="7" y="13"/>
                    <a:pt x="8" y="14"/>
                  </a:cubicBezTo>
                  <a:cubicBezTo>
                    <a:pt x="8" y="15"/>
                    <a:pt x="7" y="16"/>
                    <a:pt x="8" y="17"/>
                  </a:cubicBezTo>
                  <a:cubicBezTo>
                    <a:pt x="10" y="18"/>
                    <a:pt x="10" y="17"/>
                    <a:pt x="12" y="16"/>
                  </a:cubicBezTo>
                  <a:lnTo>
                    <a:pt x="14" y="1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3" name="Freeform 214"/>
            <p:cNvSpPr>
              <a:spLocks/>
            </p:cNvSpPr>
            <p:nvPr/>
          </p:nvSpPr>
          <p:spPr bwMode="auto">
            <a:xfrm>
              <a:off x="7075991" y="3407563"/>
              <a:ext cx="23829" cy="23793"/>
            </a:xfrm>
            <a:custGeom>
              <a:avLst/>
              <a:gdLst>
                <a:gd name="T0" fmla="*/ 2103193 w 51"/>
                <a:gd name="T1" fmla="*/ 25537539 h 49"/>
                <a:gd name="T2" fmla="*/ 886470 w 51"/>
                <a:gd name="T3" fmla="*/ 17697575 h 49"/>
                <a:gd name="T4" fmla="*/ 886470 w 51"/>
                <a:gd name="T5" fmla="*/ 14750295 h 49"/>
                <a:gd name="T6" fmla="*/ 2103193 w 51"/>
                <a:gd name="T7" fmla="*/ 14750295 h 49"/>
                <a:gd name="T8" fmla="*/ 4989927 w 51"/>
                <a:gd name="T9" fmla="*/ 11438226 h 49"/>
                <a:gd name="T10" fmla="*/ 4989927 w 51"/>
                <a:gd name="T11" fmla="*/ 6978664 h 49"/>
                <a:gd name="T12" fmla="*/ 7160325 w 51"/>
                <a:gd name="T13" fmla="*/ 5733436 h 49"/>
                <a:gd name="T14" fmla="*/ 15230455 w 51"/>
                <a:gd name="T15" fmla="*/ 3647911 h 49"/>
                <a:gd name="T16" fmla="*/ 24148546 w 51"/>
                <a:gd name="T17" fmla="*/ 4831667 h 49"/>
                <a:gd name="T18" fmla="*/ 32218285 w 51"/>
                <a:gd name="T19" fmla="*/ 4831667 h 49"/>
                <a:gd name="T20" fmla="*/ 39543614 w 51"/>
                <a:gd name="T21" fmla="*/ 2040963 h 49"/>
                <a:gd name="T22" fmla="*/ 42408694 w 51"/>
                <a:gd name="T23" fmla="*/ 862131 h 49"/>
                <a:gd name="T24" fmla="*/ 46353463 w 51"/>
                <a:gd name="T25" fmla="*/ 862131 h 49"/>
                <a:gd name="T26" fmla="*/ 51405283 w 51"/>
                <a:gd name="T27" fmla="*/ 862131 h 49"/>
                <a:gd name="T28" fmla="*/ 51405283 w 51"/>
                <a:gd name="T29" fmla="*/ 862131 h 49"/>
                <a:gd name="T30" fmla="*/ 47622112 w 51"/>
                <a:gd name="T31" fmla="*/ 4831667 h 49"/>
                <a:gd name="T32" fmla="*/ 44220865 w 51"/>
                <a:gd name="T33" fmla="*/ 5733436 h 49"/>
                <a:gd name="T34" fmla="*/ 43323358 w 51"/>
                <a:gd name="T35" fmla="*/ 11438226 h 49"/>
                <a:gd name="T36" fmla="*/ 44220865 w 51"/>
                <a:gd name="T37" fmla="*/ 12710902 h 49"/>
                <a:gd name="T38" fmla="*/ 44220865 w 51"/>
                <a:gd name="T39" fmla="*/ 21345859 h 49"/>
                <a:gd name="T40" fmla="*/ 42408694 w 51"/>
                <a:gd name="T41" fmla="*/ 25537539 h 49"/>
                <a:gd name="T42" fmla="*/ 34417087 w 51"/>
                <a:gd name="T43" fmla="*/ 31226594 h 49"/>
                <a:gd name="T44" fmla="*/ 31564032 w 51"/>
                <a:gd name="T45" fmla="*/ 34017278 h 49"/>
                <a:gd name="T46" fmla="*/ 28088229 w 51"/>
                <a:gd name="T47" fmla="*/ 34919048 h 49"/>
                <a:gd name="T48" fmla="*/ 20072129 w 51"/>
                <a:gd name="T49" fmla="*/ 39906544 h 49"/>
                <a:gd name="T50" fmla="*/ 16988219 w 51"/>
                <a:gd name="T51" fmla="*/ 41896289 h 49"/>
                <a:gd name="T52" fmla="*/ 13303851 w 51"/>
                <a:gd name="T53" fmla="*/ 45705406 h 49"/>
                <a:gd name="T54" fmla="*/ 7160325 w 51"/>
                <a:gd name="T55" fmla="*/ 46882375 h 49"/>
                <a:gd name="T56" fmla="*/ 4989927 w 51"/>
                <a:gd name="T57" fmla="*/ 45705406 h 49"/>
                <a:gd name="T58" fmla="*/ 0 w 51"/>
                <a:gd name="T59" fmla="*/ 44799603 h 49"/>
                <a:gd name="T60" fmla="*/ 0 w 51"/>
                <a:gd name="T61" fmla="*/ 41896289 h 49"/>
                <a:gd name="T62" fmla="*/ 0 w 51"/>
                <a:gd name="T63" fmla="*/ 41896289 h 49"/>
                <a:gd name="T64" fmla="*/ 886470 w 51"/>
                <a:gd name="T65" fmla="*/ 37865504 h 49"/>
                <a:gd name="T66" fmla="*/ 2103193 w 51"/>
                <a:gd name="T67" fmla="*/ 36095789 h 49"/>
                <a:gd name="T68" fmla="*/ 3017989 w 51"/>
                <a:gd name="T69" fmla="*/ 34017278 h 49"/>
                <a:gd name="T70" fmla="*/ 3780109 w 51"/>
                <a:gd name="T71" fmla="*/ 32132075 h 49"/>
                <a:gd name="T72" fmla="*/ 7160325 w 51"/>
                <a:gd name="T73" fmla="*/ 29185468 h 49"/>
                <a:gd name="T74" fmla="*/ 7160325 w 51"/>
                <a:gd name="T75" fmla="*/ 27078246 h 49"/>
                <a:gd name="T76" fmla="*/ 3017989 w 51"/>
                <a:gd name="T77" fmla="*/ 25537539 h 49"/>
                <a:gd name="T78" fmla="*/ 2103193 w 51"/>
                <a:gd name="T79" fmla="*/ 25537539 h 4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1"/>
                <a:gd name="T121" fmla="*/ 0 h 49"/>
                <a:gd name="T122" fmla="*/ 51 w 51"/>
                <a:gd name="T123" fmla="*/ 49 h 4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1" h="49">
                  <a:moveTo>
                    <a:pt x="2" y="26"/>
                  </a:moveTo>
                  <a:cubicBezTo>
                    <a:pt x="2" y="24"/>
                    <a:pt x="2" y="21"/>
                    <a:pt x="1" y="18"/>
                  </a:cubicBezTo>
                  <a:cubicBezTo>
                    <a:pt x="1" y="17"/>
                    <a:pt x="1" y="16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3" y="14"/>
                    <a:pt x="4" y="13"/>
                    <a:pt x="5" y="12"/>
                  </a:cubicBezTo>
                  <a:cubicBezTo>
                    <a:pt x="6" y="10"/>
                    <a:pt x="5" y="9"/>
                    <a:pt x="5" y="7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10" y="5"/>
                    <a:pt x="13" y="6"/>
                    <a:pt x="15" y="4"/>
                  </a:cubicBezTo>
                  <a:cubicBezTo>
                    <a:pt x="18" y="4"/>
                    <a:pt x="21" y="4"/>
                    <a:pt x="24" y="5"/>
                  </a:cubicBezTo>
                  <a:cubicBezTo>
                    <a:pt x="26" y="5"/>
                    <a:pt x="29" y="5"/>
                    <a:pt x="32" y="5"/>
                  </a:cubicBezTo>
                  <a:cubicBezTo>
                    <a:pt x="34" y="4"/>
                    <a:pt x="37" y="3"/>
                    <a:pt x="39" y="2"/>
                  </a:cubicBezTo>
                  <a:cubicBezTo>
                    <a:pt x="40" y="2"/>
                    <a:pt x="41" y="1"/>
                    <a:pt x="42" y="1"/>
                  </a:cubicBezTo>
                  <a:cubicBezTo>
                    <a:pt x="44" y="0"/>
                    <a:pt x="45" y="0"/>
                    <a:pt x="46" y="1"/>
                  </a:cubicBezTo>
                  <a:cubicBezTo>
                    <a:pt x="48" y="1"/>
                    <a:pt x="50" y="2"/>
                    <a:pt x="51" y="1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0" y="3"/>
                    <a:pt x="49" y="4"/>
                    <a:pt x="47" y="5"/>
                  </a:cubicBezTo>
                  <a:cubicBezTo>
                    <a:pt x="46" y="6"/>
                    <a:pt x="45" y="6"/>
                    <a:pt x="44" y="6"/>
                  </a:cubicBezTo>
                  <a:cubicBezTo>
                    <a:pt x="43" y="8"/>
                    <a:pt x="42" y="10"/>
                    <a:pt x="43" y="12"/>
                  </a:cubicBezTo>
                  <a:cubicBezTo>
                    <a:pt x="43" y="12"/>
                    <a:pt x="44" y="12"/>
                    <a:pt x="44" y="13"/>
                  </a:cubicBezTo>
                  <a:cubicBezTo>
                    <a:pt x="44" y="16"/>
                    <a:pt x="44" y="19"/>
                    <a:pt x="44" y="22"/>
                  </a:cubicBezTo>
                  <a:cubicBezTo>
                    <a:pt x="43" y="23"/>
                    <a:pt x="42" y="24"/>
                    <a:pt x="42" y="26"/>
                  </a:cubicBezTo>
                  <a:cubicBezTo>
                    <a:pt x="40" y="29"/>
                    <a:pt x="37" y="31"/>
                    <a:pt x="34" y="32"/>
                  </a:cubicBezTo>
                  <a:cubicBezTo>
                    <a:pt x="33" y="33"/>
                    <a:pt x="32" y="34"/>
                    <a:pt x="31" y="35"/>
                  </a:cubicBezTo>
                  <a:cubicBezTo>
                    <a:pt x="29" y="36"/>
                    <a:pt x="29" y="36"/>
                    <a:pt x="28" y="36"/>
                  </a:cubicBezTo>
                  <a:cubicBezTo>
                    <a:pt x="25" y="38"/>
                    <a:pt x="22" y="40"/>
                    <a:pt x="20" y="41"/>
                  </a:cubicBezTo>
                  <a:cubicBezTo>
                    <a:pt x="19" y="42"/>
                    <a:pt x="18" y="42"/>
                    <a:pt x="17" y="43"/>
                  </a:cubicBezTo>
                  <a:cubicBezTo>
                    <a:pt x="15" y="44"/>
                    <a:pt x="14" y="45"/>
                    <a:pt x="13" y="47"/>
                  </a:cubicBezTo>
                  <a:cubicBezTo>
                    <a:pt x="11" y="48"/>
                    <a:pt x="9" y="49"/>
                    <a:pt x="7" y="48"/>
                  </a:cubicBezTo>
                  <a:cubicBezTo>
                    <a:pt x="7" y="48"/>
                    <a:pt x="6" y="47"/>
                    <a:pt x="5" y="47"/>
                  </a:cubicBezTo>
                  <a:cubicBezTo>
                    <a:pt x="3" y="46"/>
                    <a:pt x="2" y="46"/>
                    <a:pt x="0" y="46"/>
                  </a:cubicBezTo>
                  <a:cubicBezTo>
                    <a:pt x="0" y="45"/>
                    <a:pt x="0" y="44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1"/>
                    <a:pt x="1" y="40"/>
                    <a:pt x="1" y="39"/>
                  </a:cubicBezTo>
                  <a:cubicBezTo>
                    <a:pt x="1" y="39"/>
                    <a:pt x="2" y="38"/>
                    <a:pt x="2" y="37"/>
                  </a:cubicBezTo>
                  <a:cubicBezTo>
                    <a:pt x="3" y="37"/>
                    <a:pt x="3" y="36"/>
                    <a:pt x="3" y="35"/>
                  </a:cubicBezTo>
                  <a:cubicBezTo>
                    <a:pt x="3" y="35"/>
                    <a:pt x="4" y="34"/>
                    <a:pt x="4" y="33"/>
                  </a:cubicBezTo>
                  <a:cubicBezTo>
                    <a:pt x="5" y="32"/>
                    <a:pt x="6" y="31"/>
                    <a:pt x="7" y="30"/>
                  </a:cubicBezTo>
                  <a:cubicBezTo>
                    <a:pt x="7" y="29"/>
                    <a:pt x="7" y="28"/>
                    <a:pt x="7" y="28"/>
                  </a:cubicBezTo>
                  <a:cubicBezTo>
                    <a:pt x="6" y="27"/>
                    <a:pt x="4" y="27"/>
                    <a:pt x="3" y="26"/>
                  </a:cubicBezTo>
                  <a:lnTo>
                    <a:pt x="2" y="2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4" name="Freeform 215"/>
            <p:cNvSpPr>
              <a:spLocks/>
            </p:cNvSpPr>
            <p:nvPr/>
          </p:nvSpPr>
          <p:spPr bwMode="auto">
            <a:xfrm>
              <a:off x="7074235" y="3420000"/>
              <a:ext cx="5017" cy="8111"/>
            </a:xfrm>
            <a:custGeom>
              <a:avLst/>
              <a:gdLst>
                <a:gd name="T0" fmla="*/ 0 w 11"/>
                <a:gd name="T1" fmla="*/ 14978991 h 17"/>
                <a:gd name="T2" fmla="*/ 849380 w 11"/>
                <a:gd name="T3" fmla="*/ 12471472 h 17"/>
                <a:gd name="T4" fmla="*/ 2894074 w 11"/>
                <a:gd name="T5" fmla="*/ 6023953 h 17"/>
                <a:gd name="T6" fmla="*/ 5595820 w 11"/>
                <a:gd name="T7" fmla="*/ 1898557 h 17"/>
                <a:gd name="T8" fmla="*/ 5595820 w 11"/>
                <a:gd name="T9" fmla="*/ 0 h 17"/>
                <a:gd name="T10" fmla="*/ 6840539 w 11"/>
                <a:gd name="T11" fmla="*/ 0 h 17"/>
                <a:gd name="T12" fmla="*/ 10341118 w 11"/>
                <a:gd name="T13" fmla="*/ 1898557 h 17"/>
                <a:gd name="T14" fmla="*/ 10341118 w 11"/>
                <a:gd name="T15" fmla="*/ 3318400 h 17"/>
                <a:gd name="T16" fmla="*/ 7630664 w 11"/>
                <a:gd name="T17" fmla="*/ 6023953 h 17"/>
                <a:gd name="T18" fmla="*/ 6840539 w 11"/>
                <a:gd name="T19" fmla="*/ 7807999 h 17"/>
                <a:gd name="T20" fmla="*/ 5595820 w 11"/>
                <a:gd name="T21" fmla="*/ 9768793 h 17"/>
                <a:gd name="T22" fmla="*/ 4745295 w 11"/>
                <a:gd name="T23" fmla="*/ 11661007 h 17"/>
                <a:gd name="T24" fmla="*/ 3587761 w 11"/>
                <a:gd name="T25" fmla="*/ 14978991 h 17"/>
                <a:gd name="T26" fmla="*/ 849380 w 11"/>
                <a:gd name="T27" fmla="*/ 14978991 h 17"/>
                <a:gd name="T28" fmla="*/ 0 w 11"/>
                <a:gd name="T29" fmla="*/ 14978991 h 1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"/>
                <a:gd name="T46" fmla="*/ 0 h 17"/>
                <a:gd name="T47" fmla="*/ 11 w 11"/>
                <a:gd name="T48" fmla="*/ 17 h 1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" h="17">
                  <a:moveTo>
                    <a:pt x="0" y="17"/>
                  </a:moveTo>
                  <a:cubicBezTo>
                    <a:pt x="0" y="16"/>
                    <a:pt x="1" y="15"/>
                    <a:pt x="1" y="14"/>
                  </a:cubicBezTo>
                  <a:cubicBezTo>
                    <a:pt x="3" y="12"/>
                    <a:pt x="2" y="9"/>
                    <a:pt x="3" y="7"/>
                  </a:cubicBezTo>
                  <a:cubicBezTo>
                    <a:pt x="3" y="5"/>
                    <a:pt x="5" y="3"/>
                    <a:pt x="6" y="2"/>
                  </a:cubicBezTo>
                  <a:cubicBezTo>
                    <a:pt x="6" y="1"/>
                    <a:pt x="6" y="1"/>
                    <a:pt x="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1"/>
                    <a:pt x="10" y="1"/>
                    <a:pt x="11" y="2"/>
                  </a:cubicBezTo>
                  <a:cubicBezTo>
                    <a:pt x="11" y="2"/>
                    <a:pt x="11" y="3"/>
                    <a:pt x="11" y="4"/>
                  </a:cubicBezTo>
                  <a:cubicBezTo>
                    <a:pt x="10" y="5"/>
                    <a:pt x="9" y="6"/>
                    <a:pt x="8" y="7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7" y="10"/>
                    <a:pt x="7" y="11"/>
                    <a:pt x="6" y="11"/>
                  </a:cubicBezTo>
                  <a:cubicBezTo>
                    <a:pt x="6" y="12"/>
                    <a:pt x="5" y="13"/>
                    <a:pt x="5" y="13"/>
                  </a:cubicBezTo>
                  <a:cubicBezTo>
                    <a:pt x="5" y="14"/>
                    <a:pt x="4" y="15"/>
                    <a:pt x="4" y="17"/>
                  </a:cubicBezTo>
                  <a:cubicBezTo>
                    <a:pt x="3" y="17"/>
                    <a:pt x="2" y="16"/>
                    <a:pt x="1" y="17"/>
                  </a:cubicBezTo>
                  <a:lnTo>
                    <a:pt x="0" y="17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5" name="Freeform 216"/>
            <p:cNvSpPr>
              <a:spLocks/>
            </p:cNvSpPr>
            <p:nvPr/>
          </p:nvSpPr>
          <p:spPr bwMode="auto">
            <a:xfrm>
              <a:off x="7071727" y="3427841"/>
              <a:ext cx="4766" cy="16493"/>
            </a:xfrm>
            <a:custGeom>
              <a:avLst/>
              <a:gdLst>
                <a:gd name="T0" fmla="*/ 0 w 10"/>
                <a:gd name="T1" fmla="*/ 14978991 h 34"/>
                <a:gd name="T2" fmla="*/ 2554647 w 10"/>
                <a:gd name="T3" fmla="*/ 14174003 h 34"/>
                <a:gd name="T4" fmla="*/ 5085394 w 10"/>
                <a:gd name="T5" fmla="*/ 7173119 h 34"/>
                <a:gd name="T6" fmla="*/ 6131150 w 10"/>
                <a:gd name="T7" fmla="*/ 806887 h 34"/>
                <a:gd name="T8" fmla="*/ 7196548 w 10"/>
                <a:gd name="T9" fmla="*/ 806887 h 34"/>
                <a:gd name="T10" fmla="*/ 11140513 w 10"/>
                <a:gd name="T11" fmla="*/ 806887 h 34"/>
                <a:gd name="T12" fmla="*/ 11140513 w 10"/>
                <a:gd name="T13" fmla="*/ 806887 h 34"/>
                <a:gd name="T14" fmla="*/ 11140513 w 10"/>
                <a:gd name="T15" fmla="*/ 3318400 h 34"/>
                <a:gd name="T16" fmla="*/ 11140513 w 10"/>
                <a:gd name="T17" fmla="*/ 4467192 h 34"/>
                <a:gd name="T18" fmla="*/ 8585865 w 10"/>
                <a:gd name="T19" fmla="*/ 8957156 h 34"/>
                <a:gd name="T20" fmla="*/ 7196548 w 10"/>
                <a:gd name="T21" fmla="*/ 9768793 h 34"/>
                <a:gd name="T22" fmla="*/ 7196548 w 10"/>
                <a:gd name="T23" fmla="*/ 14174003 h 34"/>
                <a:gd name="T24" fmla="*/ 11140513 w 10"/>
                <a:gd name="T25" fmla="*/ 14174003 h 34"/>
                <a:gd name="T26" fmla="*/ 11140513 w 10"/>
                <a:gd name="T27" fmla="*/ 15774699 h 34"/>
                <a:gd name="T28" fmla="*/ 6131150 w 10"/>
                <a:gd name="T29" fmla="*/ 29948683 h 34"/>
                <a:gd name="T30" fmla="*/ 0 w 10"/>
                <a:gd name="T31" fmla="*/ 15774699 h 34"/>
                <a:gd name="T32" fmla="*/ 0 w 10"/>
                <a:gd name="T33" fmla="*/ 14978991 h 3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"/>
                <a:gd name="T52" fmla="*/ 0 h 34"/>
                <a:gd name="T53" fmla="*/ 10 w 10"/>
                <a:gd name="T54" fmla="*/ 34 h 3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" h="34">
                  <a:moveTo>
                    <a:pt x="0" y="17"/>
                  </a:moveTo>
                  <a:cubicBezTo>
                    <a:pt x="0" y="17"/>
                    <a:pt x="1" y="16"/>
                    <a:pt x="2" y="16"/>
                  </a:cubicBezTo>
                  <a:cubicBezTo>
                    <a:pt x="3" y="13"/>
                    <a:pt x="4" y="11"/>
                    <a:pt x="4" y="8"/>
                  </a:cubicBezTo>
                  <a:cubicBezTo>
                    <a:pt x="5" y="6"/>
                    <a:pt x="4" y="3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0"/>
                    <a:pt x="8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9" y="3"/>
                    <a:pt x="9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7"/>
                    <a:pt x="8" y="8"/>
                    <a:pt x="7" y="10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6" y="12"/>
                    <a:pt x="4" y="14"/>
                    <a:pt x="6" y="16"/>
                  </a:cubicBezTo>
                  <a:cubicBezTo>
                    <a:pt x="6" y="17"/>
                    <a:pt x="8" y="16"/>
                    <a:pt x="9" y="16"/>
                  </a:cubicBezTo>
                  <a:cubicBezTo>
                    <a:pt x="10" y="17"/>
                    <a:pt x="10" y="18"/>
                    <a:pt x="9" y="18"/>
                  </a:cubicBezTo>
                  <a:cubicBezTo>
                    <a:pt x="8" y="22"/>
                    <a:pt x="7" y="31"/>
                    <a:pt x="5" y="34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17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6" name="Freeform 217"/>
            <p:cNvSpPr>
              <a:spLocks/>
            </p:cNvSpPr>
            <p:nvPr/>
          </p:nvSpPr>
          <p:spPr bwMode="auto">
            <a:xfrm>
              <a:off x="7073734" y="3429734"/>
              <a:ext cx="77757" cy="77869"/>
            </a:xfrm>
            <a:custGeom>
              <a:avLst/>
              <a:gdLst>
                <a:gd name="T0" fmla="*/ 855203 w 167"/>
                <a:gd name="T1" fmla="*/ 39700592 h 161"/>
                <a:gd name="T2" fmla="*/ 5639635 w 167"/>
                <a:gd name="T3" fmla="*/ 42477234 h 161"/>
                <a:gd name="T4" fmla="*/ 6895229 w 167"/>
                <a:gd name="T5" fmla="*/ 46636332 h 161"/>
                <a:gd name="T6" fmla="*/ 12532693 w 167"/>
                <a:gd name="T7" fmla="*/ 55124574 h 161"/>
                <a:gd name="T8" fmla="*/ 13339249 w 167"/>
                <a:gd name="T9" fmla="*/ 58015061 h 161"/>
                <a:gd name="T10" fmla="*/ 19066861 w 167"/>
                <a:gd name="T11" fmla="*/ 65847926 h 161"/>
                <a:gd name="T12" fmla="*/ 21980905 w 167"/>
                <a:gd name="T13" fmla="*/ 75690425 h 161"/>
                <a:gd name="T14" fmla="*/ 24004099 w 167"/>
                <a:gd name="T15" fmla="*/ 78415639 h 161"/>
                <a:gd name="T16" fmla="*/ 32405741 w 167"/>
                <a:gd name="T17" fmla="*/ 86211455 h 161"/>
                <a:gd name="T18" fmla="*/ 33638235 w 167"/>
                <a:gd name="T19" fmla="*/ 89999682 h 161"/>
                <a:gd name="T20" fmla="*/ 35688639 w 167"/>
                <a:gd name="T21" fmla="*/ 102619533 h 161"/>
                <a:gd name="T22" fmla="*/ 37407735 w 167"/>
                <a:gd name="T23" fmla="*/ 107426132 h 161"/>
                <a:gd name="T24" fmla="*/ 43075609 w 167"/>
                <a:gd name="T25" fmla="*/ 115172366 h 161"/>
                <a:gd name="T26" fmla="*/ 46999685 w 167"/>
                <a:gd name="T27" fmla="*/ 116068364 h 161"/>
                <a:gd name="T28" fmla="*/ 49882550 w 167"/>
                <a:gd name="T29" fmla="*/ 122980998 h 161"/>
                <a:gd name="T30" fmla="*/ 55559346 w 167"/>
                <a:gd name="T31" fmla="*/ 130449996 h 161"/>
                <a:gd name="T32" fmla="*/ 59692246 w 167"/>
                <a:gd name="T33" fmla="*/ 137290236 h 161"/>
                <a:gd name="T34" fmla="*/ 63309896 w 167"/>
                <a:gd name="T35" fmla="*/ 144235281 h 161"/>
                <a:gd name="T36" fmla="*/ 65329722 w 167"/>
                <a:gd name="T37" fmla="*/ 149930836 h 161"/>
                <a:gd name="T38" fmla="*/ 67456420 w 167"/>
                <a:gd name="T39" fmla="*/ 148031384 h 161"/>
                <a:gd name="T40" fmla="*/ 70114073 w 167"/>
                <a:gd name="T41" fmla="*/ 141461791 h 161"/>
                <a:gd name="T42" fmla="*/ 80779902 w 167"/>
                <a:gd name="T43" fmla="*/ 141461791 h 161"/>
                <a:gd name="T44" fmla="*/ 91240974 w 167"/>
                <a:gd name="T45" fmla="*/ 147156135 h 161"/>
                <a:gd name="T46" fmla="*/ 97735737 w 167"/>
                <a:gd name="T47" fmla="*/ 150808054 h 161"/>
                <a:gd name="T48" fmla="*/ 120096948 w 167"/>
                <a:gd name="T49" fmla="*/ 129546956 h 161"/>
                <a:gd name="T50" fmla="*/ 123646743 w 167"/>
                <a:gd name="T51" fmla="*/ 128688442 h 161"/>
                <a:gd name="T52" fmla="*/ 133436003 w 167"/>
                <a:gd name="T53" fmla="*/ 125910712 h 161"/>
                <a:gd name="T54" fmla="*/ 139100992 w 167"/>
                <a:gd name="T55" fmla="*/ 122980998 h 161"/>
                <a:gd name="T56" fmla="*/ 147655695 w 167"/>
                <a:gd name="T57" fmla="*/ 118966121 h 161"/>
                <a:gd name="T58" fmla="*/ 155421951 w 167"/>
                <a:gd name="T59" fmla="*/ 116068364 h 161"/>
                <a:gd name="T60" fmla="*/ 157444653 w 167"/>
                <a:gd name="T61" fmla="*/ 108330990 h 161"/>
                <a:gd name="T62" fmla="*/ 160201194 w 167"/>
                <a:gd name="T63" fmla="*/ 97742962 h 161"/>
                <a:gd name="T64" fmla="*/ 149744928 w 167"/>
                <a:gd name="T65" fmla="*/ 93949813 h 161"/>
                <a:gd name="T66" fmla="*/ 131412772 w 167"/>
                <a:gd name="T67" fmla="*/ 89113680 h 161"/>
                <a:gd name="T68" fmla="*/ 130671629 w 167"/>
                <a:gd name="T69" fmla="*/ 80135979 h 161"/>
                <a:gd name="T70" fmla="*/ 128651727 w 167"/>
                <a:gd name="T71" fmla="*/ 76500966 h 161"/>
                <a:gd name="T72" fmla="*/ 126628723 w 167"/>
                <a:gd name="T73" fmla="*/ 74468613 h 161"/>
                <a:gd name="T74" fmla="*/ 123646743 w 167"/>
                <a:gd name="T75" fmla="*/ 73562884 h 161"/>
                <a:gd name="T76" fmla="*/ 122972055 w 167"/>
                <a:gd name="T77" fmla="*/ 71531024 h 161"/>
                <a:gd name="T78" fmla="*/ 120948748 w 167"/>
                <a:gd name="T79" fmla="*/ 66657558 h 161"/>
                <a:gd name="T80" fmla="*/ 117332498 w 167"/>
                <a:gd name="T81" fmla="*/ 60949848 h 161"/>
                <a:gd name="T82" fmla="*/ 115947094 w 167"/>
                <a:gd name="T83" fmla="*/ 53206379 h 161"/>
                <a:gd name="T84" fmla="*/ 111166905 w 167"/>
                <a:gd name="T85" fmla="*/ 51107576 h 161"/>
                <a:gd name="T86" fmla="*/ 107550125 w 167"/>
                <a:gd name="T87" fmla="*/ 47534489 h 161"/>
                <a:gd name="T88" fmla="*/ 106669413 w 167"/>
                <a:gd name="T89" fmla="*/ 42477234 h 161"/>
                <a:gd name="T90" fmla="*/ 101885364 w 167"/>
                <a:gd name="T91" fmla="*/ 38832272 h 161"/>
                <a:gd name="T92" fmla="*/ 97735737 w 167"/>
                <a:gd name="T93" fmla="*/ 36798329 h 161"/>
                <a:gd name="T94" fmla="*/ 92951461 w 167"/>
                <a:gd name="T95" fmla="*/ 33863239 h 161"/>
                <a:gd name="T96" fmla="*/ 80779902 w 167"/>
                <a:gd name="T97" fmla="*/ 32640821 h 161"/>
                <a:gd name="T98" fmla="*/ 68092280 w 167"/>
                <a:gd name="T99" fmla="*/ 28167646 h 161"/>
                <a:gd name="T100" fmla="*/ 61194059 w 167"/>
                <a:gd name="T101" fmla="*/ 22120700 h 161"/>
                <a:gd name="T102" fmla="*/ 59692246 w 167"/>
                <a:gd name="T103" fmla="*/ 17581818 h 161"/>
                <a:gd name="T104" fmla="*/ 52637160 w 167"/>
                <a:gd name="T105" fmla="*/ 13515844 h 161"/>
                <a:gd name="T106" fmla="*/ 40104340 w 167"/>
                <a:gd name="T107" fmla="*/ 5711422 h 161"/>
                <a:gd name="T108" fmla="*/ 34464887 w 167"/>
                <a:gd name="T109" fmla="*/ 0 h 161"/>
                <a:gd name="T110" fmla="*/ 25871923 w 167"/>
                <a:gd name="T111" fmla="*/ 6934176 h 161"/>
                <a:gd name="T112" fmla="*/ 18211712 w 167"/>
                <a:gd name="T113" fmla="*/ 9843453 h 161"/>
                <a:gd name="T114" fmla="*/ 21089596 w 167"/>
                <a:gd name="T115" fmla="*/ 16409446 h 161"/>
                <a:gd name="T116" fmla="*/ 19066861 w 167"/>
                <a:gd name="T117" fmla="*/ 20356534 h 161"/>
                <a:gd name="T118" fmla="*/ 13339249 w 167"/>
                <a:gd name="T119" fmla="*/ 24152731 h 161"/>
                <a:gd name="T120" fmla="*/ 9786954 w 167"/>
                <a:gd name="T121" fmla="*/ 29054860 h 16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7"/>
                <a:gd name="T184" fmla="*/ 0 h 161"/>
                <a:gd name="T185" fmla="*/ 167 w 167"/>
                <a:gd name="T186" fmla="*/ 161 h 16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7" h="161">
                  <a:moveTo>
                    <a:pt x="2" y="30"/>
                  </a:moveTo>
                  <a:cubicBezTo>
                    <a:pt x="2" y="34"/>
                    <a:pt x="2" y="38"/>
                    <a:pt x="1" y="41"/>
                  </a:cubicBezTo>
                  <a:cubicBezTo>
                    <a:pt x="1" y="42"/>
                    <a:pt x="0" y="44"/>
                    <a:pt x="1" y="44"/>
                  </a:cubicBezTo>
                  <a:cubicBezTo>
                    <a:pt x="2" y="45"/>
                    <a:pt x="4" y="43"/>
                    <a:pt x="6" y="44"/>
                  </a:cubicBezTo>
                  <a:cubicBezTo>
                    <a:pt x="6" y="44"/>
                    <a:pt x="7" y="45"/>
                    <a:pt x="7" y="45"/>
                  </a:cubicBezTo>
                  <a:cubicBezTo>
                    <a:pt x="7" y="46"/>
                    <a:pt x="6" y="48"/>
                    <a:pt x="7" y="48"/>
                  </a:cubicBezTo>
                  <a:cubicBezTo>
                    <a:pt x="9" y="51"/>
                    <a:pt x="10" y="53"/>
                    <a:pt x="11" y="55"/>
                  </a:cubicBezTo>
                  <a:cubicBezTo>
                    <a:pt x="11" y="56"/>
                    <a:pt x="12" y="56"/>
                    <a:pt x="13" y="57"/>
                  </a:cubicBezTo>
                  <a:cubicBezTo>
                    <a:pt x="13" y="58"/>
                    <a:pt x="14" y="59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6" y="62"/>
                    <a:pt x="17" y="64"/>
                    <a:pt x="19" y="66"/>
                  </a:cubicBezTo>
                  <a:cubicBezTo>
                    <a:pt x="19" y="66"/>
                    <a:pt x="19" y="67"/>
                    <a:pt x="20" y="68"/>
                  </a:cubicBezTo>
                  <a:cubicBezTo>
                    <a:pt x="20" y="69"/>
                    <a:pt x="21" y="70"/>
                    <a:pt x="22" y="71"/>
                  </a:cubicBezTo>
                  <a:cubicBezTo>
                    <a:pt x="23" y="73"/>
                    <a:pt x="22" y="76"/>
                    <a:pt x="23" y="78"/>
                  </a:cubicBezTo>
                  <a:cubicBezTo>
                    <a:pt x="23" y="79"/>
                    <a:pt x="24" y="79"/>
                    <a:pt x="24" y="80"/>
                  </a:cubicBezTo>
                  <a:cubicBezTo>
                    <a:pt x="25" y="80"/>
                    <a:pt x="25" y="81"/>
                    <a:pt x="25" y="81"/>
                  </a:cubicBezTo>
                  <a:cubicBezTo>
                    <a:pt x="26" y="82"/>
                    <a:pt x="28" y="82"/>
                    <a:pt x="28" y="82"/>
                  </a:cubicBezTo>
                  <a:cubicBezTo>
                    <a:pt x="30" y="84"/>
                    <a:pt x="32" y="87"/>
                    <a:pt x="34" y="89"/>
                  </a:cubicBezTo>
                  <a:cubicBezTo>
                    <a:pt x="34" y="89"/>
                    <a:pt x="34" y="90"/>
                    <a:pt x="35" y="91"/>
                  </a:cubicBezTo>
                  <a:cubicBezTo>
                    <a:pt x="35" y="91"/>
                    <a:pt x="35" y="92"/>
                    <a:pt x="35" y="93"/>
                  </a:cubicBezTo>
                  <a:cubicBezTo>
                    <a:pt x="36" y="94"/>
                    <a:pt x="36" y="95"/>
                    <a:pt x="36" y="96"/>
                  </a:cubicBezTo>
                  <a:cubicBezTo>
                    <a:pt x="37" y="100"/>
                    <a:pt x="36" y="103"/>
                    <a:pt x="37" y="106"/>
                  </a:cubicBezTo>
                  <a:cubicBezTo>
                    <a:pt x="37" y="107"/>
                    <a:pt x="38" y="109"/>
                    <a:pt x="38" y="110"/>
                  </a:cubicBezTo>
                  <a:cubicBezTo>
                    <a:pt x="38" y="111"/>
                    <a:pt x="39" y="111"/>
                    <a:pt x="39" y="111"/>
                  </a:cubicBezTo>
                  <a:cubicBezTo>
                    <a:pt x="40" y="113"/>
                    <a:pt x="41" y="115"/>
                    <a:pt x="43" y="116"/>
                  </a:cubicBezTo>
                  <a:cubicBezTo>
                    <a:pt x="44" y="116"/>
                    <a:pt x="44" y="118"/>
                    <a:pt x="45" y="119"/>
                  </a:cubicBezTo>
                  <a:cubicBezTo>
                    <a:pt x="46" y="119"/>
                    <a:pt x="46" y="119"/>
                    <a:pt x="47" y="119"/>
                  </a:cubicBezTo>
                  <a:cubicBezTo>
                    <a:pt x="48" y="119"/>
                    <a:pt x="48" y="119"/>
                    <a:pt x="49" y="120"/>
                  </a:cubicBezTo>
                  <a:cubicBezTo>
                    <a:pt x="50" y="122"/>
                    <a:pt x="50" y="123"/>
                    <a:pt x="51" y="125"/>
                  </a:cubicBezTo>
                  <a:cubicBezTo>
                    <a:pt x="52" y="126"/>
                    <a:pt x="52" y="126"/>
                    <a:pt x="52" y="127"/>
                  </a:cubicBezTo>
                  <a:cubicBezTo>
                    <a:pt x="54" y="129"/>
                    <a:pt x="56" y="131"/>
                    <a:pt x="57" y="134"/>
                  </a:cubicBezTo>
                  <a:cubicBezTo>
                    <a:pt x="57" y="135"/>
                    <a:pt x="57" y="135"/>
                    <a:pt x="58" y="135"/>
                  </a:cubicBezTo>
                  <a:cubicBezTo>
                    <a:pt x="58" y="136"/>
                    <a:pt x="58" y="136"/>
                    <a:pt x="58" y="137"/>
                  </a:cubicBezTo>
                  <a:cubicBezTo>
                    <a:pt x="59" y="139"/>
                    <a:pt x="61" y="140"/>
                    <a:pt x="62" y="142"/>
                  </a:cubicBezTo>
                  <a:cubicBezTo>
                    <a:pt x="62" y="144"/>
                    <a:pt x="64" y="145"/>
                    <a:pt x="65" y="146"/>
                  </a:cubicBezTo>
                  <a:cubicBezTo>
                    <a:pt x="65" y="147"/>
                    <a:pt x="66" y="148"/>
                    <a:pt x="66" y="149"/>
                  </a:cubicBezTo>
                  <a:cubicBezTo>
                    <a:pt x="66" y="150"/>
                    <a:pt x="66" y="151"/>
                    <a:pt x="66" y="152"/>
                  </a:cubicBezTo>
                  <a:cubicBezTo>
                    <a:pt x="67" y="153"/>
                    <a:pt x="67" y="154"/>
                    <a:pt x="68" y="155"/>
                  </a:cubicBezTo>
                  <a:cubicBezTo>
                    <a:pt x="69" y="153"/>
                    <a:pt x="69" y="153"/>
                    <a:pt x="69" y="153"/>
                  </a:cubicBezTo>
                  <a:cubicBezTo>
                    <a:pt x="69" y="153"/>
                    <a:pt x="69" y="153"/>
                    <a:pt x="70" y="153"/>
                  </a:cubicBezTo>
                  <a:cubicBezTo>
                    <a:pt x="71" y="151"/>
                    <a:pt x="71" y="149"/>
                    <a:pt x="72" y="147"/>
                  </a:cubicBezTo>
                  <a:cubicBezTo>
                    <a:pt x="72" y="146"/>
                    <a:pt x="72" y="146"/>
                    <a:pt x="73" y="146"/>
                  </a:cubicBezTo>
                  <a:cubicBezTo>
                    <a:pt x="74" y="145"/>
                    <a:pt x="75" y="146"/>
                    <a:pt x="75" y="147"/>
                  </a:cubicBezTo>
                  <a:cubicBezTo>
                    <a:pt x="78" y="147"/>
                    <a:pt x="81" y="146"/>
                    <a:pt x="84" y="146"/>
                  </a:cubicBezTo>
                  <a:cubicBezTo>
                    <a:pt x="86" y="147"/>
                    <a:pt x="88" y="148"/>
                    <a:pt x="90" y="149"/>
                  </a:cubicBezTo>
                  <a:cubicBezTo>
                    <a:pt x="92" y="150"/>
                    <a:pt x="93" y="151"/>
                    <a:pt x="95" y="152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102" y="156"/>
                    <a:pt x="102" y="156"/>
                    <a:pt x="102" y="156"/>
                  </a:cubicBezTo>
                  <a:cubicBezTo>
                    <a:pt x="111" y="137"/>
                    <a:pt x="111" y="137"/>
                    <a:pt x="111" y="137"/>
                  </a:cubicBezTo>
                  <a:cubicBezTo>
                    <a:pt x="116" y="136"/>
                    <a:pt x="121" y="136"/>
                    <a:pt x="125" y="134"/>
                  </a:cubicBezTo>
                  <a:cubicBezTo>
                    <a:pt x="126" y="134"/>
                    <a:pt x="126" y="134"/>
                    <a:pt x="127" y="134"/>
                  </a:cubicBezTo>
                  <a:cubicBezTo>
                    <a:pt x="128" y="133"/>
                    <a:pt x="129" y="133"/>
                    <a:pt x="129" y="133"/>
                  </a:cubicBezTo>
                  <a:cubicBezTo>
                    <a:pt x="131" y="132"/>
                    <a:pt x="132" y="132"/>
                    <a:pt x="134" y="132"/>
                  </a:cubicBezTo>
                  <a:cubicBezTo>
                    <a:pt x="136" y="131"/>
                    <a:pt x="137" y="130"/>
                    <a:pt x="139" y="130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41" y="129"/>
                    <a:pt x="143" y="128"/>
                    <a:pt x="145" y="127"/>
                  </a:cubicBezTo>
                  <a:cubicBezTo>
                    <a:pt x="147" y="127"/>
                    <a:pt x="149" y="127"/>
                    <a:pt x="150" y="126"/>
                  </a:cubicBezTo>
                  <a:cubicBezTo>
                    <a:pt x="152" y="125"/>
                    <a:pt x="153" y="124"/>
                    <a:pt x="154" y="123"/>
                  </a:cubicBezTo>
                  <a:cubicBezTo>
                    <a:pt x="156" y="122"/>
                    <a:pt x="159" y="123"/>
                    <a:pt x="161" y="122"/>
                  </a:cubicBezTo>
                  <a:cubicBezTo>
                    <a:pt x="161" y="122"/>
                    <a:pt x="162" y="121"/>
                    <a:pt x="162" y="120"/>
                  </a:cubicBezTo>
                  <a:cubicBezTo>
                    <a:pt x="163" y="120"/>
                    <a:pt x="162" y="119"/>
                    <a:pt x="162" y="118"/>
                  </a:cubicBezTo>
                  <a:cubicBezTo>
                    <a:pt x="163" y="116"/>
                    <a:pt x="163" y="114"/>
                    <a:pt x="164" y="112"/>
                  </a:cubicBezTo>
                  <a:cubicBezTo>
                    <a:pt x="164" y="110"/>
                    <a:pt x="165" y="109"/>
                    <a:pt x="165" y="108"/>
                  </a:cubicBezTo>
                  <a:cubicBezTo>
                    <a:pt x="166" y="105"/>
                    <a:pt x="167" y="103"/>
                    <a:pt x="167" y="101"/>
                  </a:cubicBezTo>
                  <a:cubicBezTo>
                    <a:pt x="165" y="100"/>
                    <a:pt x="164" y="98"/>
                    <a:pt x="163" y="97"/>
                  </a:cubicBezTo>
                  <a:cubicBezTo>
                    <a:pt x="161" y="98"/>
                    <a:pt x="158" y="98"/>
                    <a:pt x="156" y="97"/>
                  </a:cubicBezTo>
                  <a:cubicBezTo>
                    <a:pt x="154" y="97"/>
                    <a:pt x="153" y="96"/>
                    <a:pt x="151" y="96"/>
                  </a:cubicBezTo>
                  <a:cubicBezTo>
                    <a:pt x="146" y="95"/>
                    <a:pt x="142" y="94"/>
                    <a:pt x="137" y="92"/>
                  </a:cubicBezTo>
                  <a:cubicBezTo>
                    <a:pt x="135" y="90"/>
                    <a:pt x="136" y="87"/>
                    <a:pt x="136" y="84"/>
                  </a:cubicBezTo>
                  <a:cubicBezTo>
                    <a:pt x="136" y="83"/>
                    <a:pt x="136" y="83"/>
                    <a:pt x="136" y="83"/>
                  </a:cubicBezTo>
                  <a:cubicBezTo>
                    <a:pt x="135" y="83"/>
                    <a:pt x="135" y="82"/>
                    <a:pt x="134" y="81"/>
                  </a:cubicBezTo>
                  <a:cubicBezTo>
                    <a:pt x="134" y="80"/>
                    <a:pt x="134" y="80"/>
                    <a:pt x="134" y="79"/>
                  </a:cubicBezTo>
                  <a:cubicBezTo>
                    <a:pt x="133" y="79"/>
                    <a:pt x="133" y="78"/>
                    <a:pt x="133" y="78"/>
                  </a:cubicBezTo>
                  <a:cubicBezTo>
                    <a:pt x="132" y="77"/>
                    <a:pt x="132" y="77"/>
                    <a:pt x="132" y="77"/>
                  </a:cubicBezTo>
                  <a:cubicBezTo>
                    <a:pt x="131" y="76"/>
                    <a:pt x="131" y="76"/>
                    <a:pt x="130" y="76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29" y="75"/>
                    <a:pt x="128" y="75"/>
                    <a:pt x="128" y="74"/>
                  </a:cubicBezTo>
                  <a:cubicBezTo>
                    <a:pt x="128" y="74"/>
                    <a:pt x="128" y="73"/>
                    <a:pt x="127" y="73"/>
                  </a:cubicBezTo>
                  <a:cubicBezTo>
                    <a:pt x="126" y="72"/>
                    <a:pt x="127" y="70"/>
                    <a:pt x="126" y="69"/>
                  </a:cubicBezTo>
                  <a:cubicBezTo>
                    <a:pt x="125" y="69"/>
                    <a:pt x="125" y="68"/>
                    <a:pt x="124" y="68"/>
                  </a:cubicBezTo>
                  <a:cubicBezTo>
                    <a:pt x="123" y="66"/>
                    <a:pt x="123" y="65"/>
                    <a:pt x="122" y="63"/>
                  </a:cubicBezTo>
                  <a:cubicBezTo>
                    <a:pt x="122" y="63"/>
                    <a:pt x="122" y="62"/>
                    <a:pt x="122" y="62"/>
                  </a:cubicBezTo>
                  <a:cubicBezTo>
                    <a:pt x="121" y="59"/>
                    <a:pt x="122" y="57"/>
                    <a:pt x="121" y="55"/>
                  </a:cubicBezTo>
                  <a:cubicBezTo>
                    <a:pt x="120" y="54"/>
                    <a:pt x="120" y="53"/>
                    <a:pt x="119" y="53"/>
                  </a:cubicBezTo>
                  <a:cubicBezTo>
                    <a:pt x="118" y="53"/>
                    <a:pt x="117" y="53"/>
                    <a:pt x="116" y="53"/>
                  </a:cubicBezTo>
                  <a:cubicBezTo>
                    <a:pt x="116" y="52"/>
                    <a:pt x="116" y="50"/>
                    <a:pt x="115" y="50"/>
                  </a:cubicBezTo>
                  <a:cubicBezTo>
                    <a:pt x="115" y="49"/>
                    <a:pt x="113" y="49"/>
                    <a:pt x="112" y="49"/>
                  </a:cubicBezTo>
                  <a:cubicBezTo>
                    <a:pt x="112" y="49"/>
                    <a:pt x="111" y="48"/>
                    <a:pt x="111" y="48"/>
                  </a:cubicBezTo>
                  <a:cubicBezTo>
                    <a:pt x="111" y="46"/>
                    <a:pt x="111" y="45"/>
                    <a:pt x="111" y="44"/>
                  </a:cubicBezTo>
                  <a:cubicBezTo>
                    <a:pt x="110" y="42"/>
                    <a:pt x="109" y="41"/>
                    <a:pt x="108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4" y="41"/>
                    <a:pt x="104" y="42"/>
                    <a:pt x="102" y="41"/>
                  </a:cubicBezTo>
                  <a:cubicBezTo>
                    <a:pt x="101" y="40"/>
                    <a:pt x="102" y="39"/>
                    <a:pt x="102" y="38"/>
                  </a:cubicBezTo>
                  <a:cubicBezTo>
                    <a:pt x="101" y="37"/>
                    <a:pt x="100" y="36"/>
                    <a:pt x="99" y="35"/>
                  </a:cubicBezTo>
                  <a:cubicBezTo>
                    <a:pt x="98" y="35"/>
                    <a:pt x="97" y="35"/>
                    <a:pt x="97" y="35"/>
                  </a:cubicBezTo>
                  <a:cubicBezTo>
                    <a:pt x="96" y="35"/>
                    <a:pt x="96" y="34"/>
                    <a:pt x="95" y="34"/>
                  </a:cubicBezTo>
                  <a:cubicBezTo>
                    <a:pt x="92" y="34"/>
                    <a:pt x="87" y="34"/>
                    <a:pt x="84" y="34"/>
                  </a:cubicBezTo>
                  <a:cubicBezTo>
                    <a:pt x="82" y="33"/>
                    <a:pt x="80" y="33"/>
                    <a:pt x="78" y="32"/>
                  </a:cubicBezTo>
                  <a:cubicBezTo>
                    <a:pt x="75" y="32"/>
                    <a:pt x="73" y="30"/>
                    <a:pt x="71" y="29"/>
                  </a:cubicBezTo>
                  <a:cubicBezTo>
                    <a:pt x="69" y="28"/>
                    <a:pt x="68" y="28"/>
                    <a:pt x="67" y="27"/>
                  </a:cubicBezTo>
                  <a:cubicBezTo>
                    <a:pt x="66" y="26"/>
                    <a:pt x="65" y="25"/>
                    <a:pt x="64" y="23"/>
                  </a:cubicBezTo>
                  <a:cubicBezTo>
                    <a:pt x="64" y="22"/>
                    <a:pt x="64" y="21"/>
                    <a:pt x="63" y="21"/>
                  </a:cubicBezTo>
                  <a:cubicBezTo>
                    <a:pt x="63" y="20"/>
                    <a:pt x="62" y="19"/>
                    <a:pt x="62" y="18"/>
                  </a:cubicBezTo>
                  <a:cubicBezTo>
                    <a:pt x="61" y="17"/>
                    <a:pt x="59" y="17"/>
                    <a:pt x="58" y="16"/>
                  </a:cubicBezTo>
                  <a:cubicBezTo>
                    <a:pt x="57" y="15"/>
                    <a:pt x="56" y="15"/>
                    <a:pt x="55" y="14"/>
                  </a:cubicBezTo>
                  <a:cubicBezTo>
                    <a:pt x="52" y="12"/>
                    <a:pt x="49" y="10"/>
                    <a:pt x="45" y="8"/>
                  </a:cubicBezTo>
                  <a:cubicBezTo>
                    <a:pt x="44" y="7"/>
                    <a:pt x="43" y="6"/>
                    <a:pt x="42" y="6"/>
                  </a:cubicBezTo>
                  <a:cubicBezTo>
                    <a:pt x="40" y="5"/>
                    <a:pt x="38" y="3"/>
                    <a:pt x="36" y="1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"/>
                    <a:pt x="36" y="2"/>
                    <a:pt x="36" y="2"/>
                  </a:cubicBezTo>
                  <a:cubicBezTo>
                    <a:pt x="33" y="4"/>
                    <a:pt x="30" y="5"/>
                    <a:pt x="27" y="7"/>
                  </a:cubicBezTo>
                  <a:cubicBezTo>
                    <a:pt x="26" y="8"/>
                    <a:pt x="24" y="8"/>
                    <a:pt x="22" y="9"/>
                  </a:cubicBezTo>
                  <a:cubicBezTo>
                    <a:pt x="21" y="10"/>
                    <a:pt x="19" y="10"/>
                    <a:pt x="19" y="10"/>
                  </a:cubicBezTo>
                  <a:cubicBezTo>
                    <a:pt x="18" y="11"/>
                    <a:pt x="18" y="12"/>
                    <a:pt x="19" y="13"/>
                  </a:cubicBezTo>
                  <a:cubicBezTo>
                    <a:pt x="19" y="14"/>
                    <a:pt x="20" y="15"/>
                    <a:pt x="22" y="17"/>
                  </a:cubicBezTo>
                  <a:cubicBezTo>
                    <a:pt x="23" y="17"/>
                    <a:pt x="24" y="19"/>
                    <a:pt x="23" y="19"/>
                  </a:cubicBezTo>
                  <a:cubicBezTo>
                    <a:pt x="22" y="20"/>
                    <a:pt x="21" y="20"/>
                    <a:pt x="20" y="21"/>
                  </a:cubicBezTo>
                  <a:cubicBezTo>
                    <a:pt x="19" y="22"/>
                    <a:pt x="18" y="24"/>
                    <a:pt x="17" y="24"/>
                  </a:cubicBezTo>
                  <a:cubicBezTo>
                    <a:pt x="16" y="25"/>
                    <a:pt x="14" y="25"/>
                    <a:pt x="14" y="25"/>
                  </a:cubicBezTo>
                  <a:cubicBezTo>
                    <a:pt x="13" y="26"/>
                    <a:pt x="13" y="27"/>
                    <a:pt x="12" y="27"/>
                  </a:cubicBezTo>
                  <a:cubicBezTo>
                    <a:pt x="12" y="28"/>
                    <a:pt x="11" y="30"/>
                    <a:pt x="10" y="30"/>
                  </a:cubicBezTo>
                  <a:cubicBezTo>
                    <a:pt x="7" y="30"/>
                    <a:pt x="4" y="30"/>
                    <a:pt x="2" y="3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7" name="Freeform 218"/>
            <p:cNvSpPr>
              <a:spLocks/>
            </p:cNvSpPr>
            <p:nvPr/>
          </p:nvSpPr>
          <p:spPr bwMode="auto">
            <a:xfrm>
              <a:off x="7073734" y="3424867"/>
              <a:ext cx="16806" cy="19467"/>
            </a:xfrm>
            <a:custGeom>
              <a:avLst/>
              <a:gdLst>
                <a:gd name="T0" fmla="*/ 2384158 w 36"/>
                <a:gd name="T1" fmla="*/ 34605476 h 40"/>
                <a:gd name="T2" fmla="*/ 11221395 w 36"/>
                <a:gd name="T3" fmla="*/ 34605476 h 40"/>
                <a:gd name="T4" fmla="*/ 13605887 w 36"/>
                <a:gd name="T5" fmla="*/ 31938622 h 40"/>
                <a:gd name="T6" fmla="*/ 15574178 w 36"/>
                <a:gd name="T7" fmla="*/ 30260102 h 40"/>
                <a:gd name="T8" fmla="*/ 19302400 w 36"/>
                <a:gd name="T9" fmla="*/ 29479413 h 40"/>
                <a:gd name="T10" fmla="*/ 22686800 w 36"/>
                <a:gd name="T11" fmla="*/ 26920716 h 40"/>
                <a:gd name="T12" fmla="*/ 25839310 w 36"/>
                <a:gd name="T13" fmla="*/ 25070759 h 40"/>
                <a:gd name="T14" fmla="*/ 25015278 w 36"/>
                <a:gd name="T15" fmla="*/ 23202096 h 40"/>
                <a:gd name="T16" fmla="*/ 21141820 w 36"/>
                <a:gd name="T17" fmla="*/ 19857972 h 40"/>
                <a:gd name="T18" fmla="*/ 21141820 w 36"/>
                <a:gd name="T19" fmla="*/ 17186742 h 40"/>
                <a:gd name="T20" fmla="*/ 25015278 w 36"/>
                <a:gd name="T21" fmla="*/ 16597127 h 40"/>
                <a:gd name="T22" fmla="*/ 30118764 w 36"/>
                <a:gd name="T23" fmla="*/ 14725738 h 40"/>
                <a:gd name="T24" fmla="*/ 40446414 w 36"/>
                <a:gd name="T25" fmla="*/ 10318870 h 40"/>
                <a:gd name="T26" fmla="*/ 40446414 w 36"/>
                <a:gd name="T27" fmla="*/ 9534738 h 40"/>
                <a:gd name="T28" fmla="*/ 40446414 w 36"/>
                <a:gd name="T29" fmla="*/ 8799889 h 40"/>
                <a:gd name="T30" fmla="*/ 37204970 w 36"/>
                <a:gd name="T31" fmla="*/ 7062610 h 40"/>
                <a:gd name="T32" fmla="*/ 37204970 w 36"/>
                <a:gd name="T33" fmla="*/ 0 h 40"/>
                <a:gd name="T34" fmla="*/ 28223420 w 36"/>
                <a:gd name="T35" fmla="*/ 4391010 h 40"/>
                <a:gd name="T36" fmla="*/ 25015278 w 36"/>
                <a:gd name="T37" fmla="*/ 5927927 h 40"/>
                <a:gd name="T38" fmla="*/ 20313258 w 36"/>
                <a:gd name="T39" fmla="*/ 9534738 h 40"/>
                <a:gd name="T40" fmla="*/ 13605887 w 36"/>
                <a:gd name="T41" fmla="*/ 10318870 h 40"/>
                <a:gd name="T42" fmla="*/ 11221395 w 36"/>
                <a:gd name="T43" fmla="*/ 9534738 h 40"/>
                <a:gd name="T44" fmla="*/ 5695489 w 36"/>
                <a:gd name="T45" fmla="*/ 8799889 h 40"/>
                <a:gd name="T46" fmla="*/ 5695489 w 36"/>
                <a:gd name="T47" fmla="*/ 9534738 h 40"/>
                <a:gd name="T48" fmla="*/ 3382358 w 36"/>
                <a:gd name="T49" fmla="*/ 13930621 h 40"/>
                <a:gd name="T50" fmla="*/ 2384158 w 36"/>
                <a:gd name="T51" fmla="*/ 14725738 h 40"/>
                <a:gd name="T52" fmla="*/ 2384158 w 36"/>
                <a:gd name="T53" fmla="*/ 19118601 h 40"/>
                <a:gd name="T54" fmla="*/ 5695489 w 36"/>
                <a:gd name="T55" fmla="*/ 19118601 h 40"/>
                <a:gd name="T56" fmla="*/ 5695489 w 36"/>
                <a:gd name="T57" fmla="*/ 20679738 h 40"/>
                <a:gd name="T58" fmla="*/ 998020 w 36"/>
                <a:gd name="T59" fmla="*/ 34605476 h 40"/>
                <a:gd name="T60" fmla="*/ 2384158 w 36"/>
                <a:gd name="T61" fmla="*/ 34605476 h 4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6"/>
                <a:gd name="T94" fmla="*/ 0 h 40"/>
                <a:gd name="T95" fmla="*/ 36 w 36"/>
                <a:gd name="T96" fmla="*/ 40 h 4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6" h="40">
                  <a:moveTo>
                    <a:pt x="2" y="40"/>
                  </a:moveTo>
                  <a:cubicBezTo>
                    <a:pt x="4" y="40"/>
                    <a:pt x="7" y="40"/>
                    <a:pt x="10" y="40"/>
                  </a:cubicBezTo>
                  <a:cubicBezTo>
                    <a:pt x="11" y="40"/>
                    <a:pt x="12" y="38"/>
                    <a:pt x="12" y="37"/>
                  </a:cubicBezTo>
                  <a:cubicBezTo>
                    <a:pt x="13" y="37"/>
                    <a:pt x="13" y="36"/>
                    <a:pt x="14" y="35"/>
                  </a:cubicBezTo>
                  <a:cubicBezTo>
                    <a:pt x="14" y="35"/>
                    <a:pt x="16" y="35"/>
                    <a:pt x="17" y="34"/>
                  </a:cubicBezTo>
                  <a:cubicBezTo>
                    <a:pt x="18" y="34"/>
                    <a:pt x="19" y="32"/>
                    <a:pt x="20" y="31"/>
                  </a:cubicBezTo>
                  <a:cubicBezTo>
                    <a:pt x="21" y="30"/>
                    <a:pt x="22" y="30"/>
                    <a:pt x="23" y="29"/>
                  </a:cubicBezTo>
                  <a:cubicBezTo>
                    <a:pt x="24" y="29"/>
                    <a:pt x="23" y="27"/>
                    <a:pt x="22" y="27"/>
                  </a:cubicBezTo>
                  <a:cubicBezTo>
                    <a:pt x="20" y="25"/>
                    <a:pt x="19" y="24"/>
                    <a:pt x="19" y="23"/>
                  </a:cubicBezTo>
                  <a:cubicBezTo>
                    <a:pt x="18" y="22"/>
                    <a:pt x="18" y="21"/>
                    <a:pt x="19" y="20"/>
                  </a:cubicBezTo>
                  <a:cubicBezTo>
                    <a:pt x="19" y="20"/>
                    <a:pt x="21" y="20"/>
                    <a:pt x="22" y="19"/>
                  </a:cubicBezTo>
                  <a:cubicBezTo>
                    <a:pt x="24" y="18"/>
                    <a:pt x="26" y="18"/>
                    <a:pt x="27" y="17"/>
                  </a:cubicBezTo>
                  <a:cubicBezTo>
                    <a:pt x="30" y="15"/>
                    <a:pt x="33" y="14"/>
                    <a:pt x="36" y="12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5" y="10"/>
                    <a:pt x="34" y="9"/>
                    <a:pt x="33" y="8"/>
                  </a:cubicBezTo>
                  <a:cubicBezTo>
                    <a:pt x="33" y="5"/>
                    <a:pt x="33" y="3"/>
                    <a:pt x="33" y="0"/>
                  </a:cubicBezTo>
                  <a:cubicBezTo>
                    <a:pt x="30" y="2"/>
                    <a:pt x="27" y="4"/>
                    <a:pt x="25" y="5"/>
                  </a:cubicBezTo>
                  <a:cubicBezTo>
                    <a:pt x="24" y="6"/>
                    <a:pt x="23" y="6"/>
                    <a:pt x="22" y="7"/>
                  </a:cubicBezTo>
                  <a:cubicBezTo>
                    <a:pt x="20" y="8"/>
                    <a:pt x="19" y="9"/>
                    <a:pt x="18" y="11"/>
                  </a:cubicBezTo>
                  <a:cubicBezTo>
                    <a:pt x="16" y="12"/>
                    <a:pt x="14" y="13"/>
                    <a:pt x="12" y="12"/>
                  </a:cubicBezTo>
                  <a:cubicBezTo>
                    <a:pt x="12" y="12"/>
                    <a:pt x="11" y="11"/>
                    <a:pt x="10" y="11"/>
                  </a:cubicBezTo>
                  <a:cubicBezTo>
                    <a:pt x="8" y="10"/>
                    <a:pt x="7" y="10"/>
                    <a:pt x="5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4" y="14"/>
                    <a:pt x="3" y="16"/>
                  </a:cubicBezTo>
                  <a:cubicBezTo>
                    <a:pt x="2" y="16"/>
                    <a:pt x="2" y="17"/>
                    <a:pt x="2" y="17"/>
                  </a:cubicBezTo>
                  <a:cubicBezTo>
                    <a:pt x="2" y="18"/>
                    <a:pt x="0" y="20"/>
                    <a:pt x="2" y="22"/>
                  </a:cubicBezTo>
                  <a:cubicBezTo>
                    <a:pt x="2" y="23"/>
                    <a:pt x="4" y="22"/>
                    <a:pt x="5" y="22"/>
                  </a:cubicBezTo>
                  <a:cubicBezTo>
                    <a:pt x="6" y="23"/>
                    <a:pt x="6" y="24"/>
                    <a:pt x="5" y="24"/>
                  </a:cubicBezTo>
                  <a:cubicBezTo>
                    <a:pt x="4" y="28"/>
                    <a:pt x="3" y="37"/>
                    <a:pt x="1" y="40"/>
                  </a:cubicBezTo>
                  <a:lnTo>
                    <a:pt x="2" y="4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8" name="Freeform 219"/>
            <p:cNvSpPr>
              <a:spLocks/>
            </p:cNvSpPr>
            <p:nvPr/>
          </p:nvSpPr>
          <p:spPr bwMode="auto">
            <a:xfrm>
              <a:off x="7132679" y="3459746"/>
              <a:ext cx="4766" cy="7841"/>
            </a:xfrm>
            <a:custGeom>
              <a:avLst/>
              <a:gdLst>
                <a:gd name="T0" fmla="*/ 3577445 w 10"/>
                <a:gd name="T1" fmla="*/ 14143703 h 16"/>
                <a:gd name="T2" fmla="*/ 6131150 w 10"/>
                <a:gd name="T3" fmla="*/ 15456858 h 16"/>
                <a:gd name="T4" fmla="*/ 7196548 w 10"/>
                <a:gd name="T5" fmla="*/ 16353582 h 16"/>
                <a:gd name="T6" fmla="*/ 7196548 w 10"/>
                <a:gd name="T7" fmla="*/ 15456858 h 16"/>
                <a:gd name="T8" fmla="*/ 11140513 w 10"/>
                <a:gd name="T9" fmla="*/ 13463332 h 16"/>
                <a:gd name="T10" fmla="*/ 11140513 w 10"/>
                <a:gd name="T11" fmla="*/ 11241359 h 16"/>
                <a:gd name="T12" fmla="*/ 8585865 w 10"/>
                <a:gd name="T13" fmla="*/ 7279645 h 16"/>
                <a:gd name="T14" fmla="*/ 7196548 w 10"/>
                <a:gd name="T15" fmla="*/ 2129866 h 16"/>
                <a:gd name="T16" fmla="*/ 3577445 w 10"/>
                <a:gd name="T17" fmla="*/ 896786 h 16"/>
                <a:gd name="T18" fmla="*/ 1064436 w 10"/>
                <a:gd name="T19" fmla="*/ 4351847 h 16"/>
                <a:gd name="T20" fmla="*/ 1064436 w 10"/>
                <a:gd name="T21" fmla="*/ 5955246 h 16"/>
                <a:gd name="T22" fmla="*/ 1064436 w 10"/>
                <a:gd name="T23" fmla="*/ 7279645 h 16"/>
                <a:gd name="T24" fmla="*/ 2554647 w 10"/>
                <a:gd name="T25" fmla="*/ 14143703 h 16"/>
                <a:gd name="T26" fmla="*/ 3577445 w 10"/>
                <a:gd name="T27" fmla="*/ 14143703 h 1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"/>
                <a:gd name="T43" fmla="*/ 0 h 16"/>
                <a:gd name="T44" fmla="*/ 10 w 10"/>
                <a:gd name="T45" fmla="*/ 16 h 1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" h="16">
                  <a:moveTo>
                    <a:pt x="3" y="14"/>
                  </a:moveTo>
                  <a:cubicBezTo>
                    <a:pt x="4" y="14"/>
                    <a:pt x="4" y="14"/>
                    <a:pt x="5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4"/>
                    <a:pt x="8" y="14"/>
                    <a:pt x="9" y="13"/>
                  </a:cubicBezTo>
                  <a:cubicBezTo>
                    <a:pt x="9" y="12"/>
                    <a:pt x="10" y="12"/>
                    <a:pt x="9" y="11"/>
                  </a:cubicBezTo>
                  <a:cubicBezTo>
                    <a:pt x="9" y="9"/>
                    <a:pt x="7" y="9"/>
                    <a:pt x="7" y="7"/>
                  </a:cubicBezTo>
                  <a:cubicBezTo>
                    <a:pt x="6" y="6"/>
                    <a:pt x="7" y="4"/>
                    <a:pt x="6" y="2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2" y="2"/>
                    <a:pt x="1" y="3"/>
                    <a:pt x="1" y="4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1" y="6"/>
                    <a:pt x="1" y="6"/>
                    <a:pt x="1" y="7"/>
                  </a:cubicBezTo>
                  <a:cubicBezTo>
                    <a:pt x="2" y="9"/>
                    <a:pt x="2" y="11"/>
                    <a:pt x="2" y="14"/>
                  </a:cubicBezTo>
                  <a:lnTo>
                    <a:pt x="3" y="14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9" name="Freeform 220"/>
            <p:cNvSpPr>
              <a:spLocks/>
            </p:cNvSpPr>
            <p:nvPr/>
          </p:nvSpPr>
          <p:spPr bwMode="auto">
            <a:xfrm>
              <a:off x="7136692" y="3458935"/>
              <a:ext cx="18060" cy="18386"/>
            </a:xfrm>
            <a:custGeom>
              <a:avLst/>
              <a:gdLst>
                <a:gd name="T0" fmla="*/ 42634369 w 39"/>
                <a:gd name="T1" fmla="*/ 15706817 h 38"/>
                <a:gd name="T2" fmla="*/ 42634369 w 39"/>
                <a:gd name="T3" fmla="*/ 13640503 h 38"/>
                <a:gd name="T4" fmla="*/ 42634369 w 39"/>
                <a:gd name="T5" fmla="*/ 10840510 h 38"/>
                <a:gd name="T6" fmla="*/ 39412955 w 39"/>
                <a:gd name="T7" fmla="*/ 7881242 h 38"/>
                <a:gd name="T8" fmla="*/ 40405117 w 39"/>
                <a:gd name="T9" fmla="*/ 5759327 h 38"/>
                <a:gd name="T10" fmla="*/ 40405117 w 39"/>
                <a:gd name="T11" fmla="*/ 865359 h 38"/>
                <a:gd name="T12" fmla="*/ 38069597 w 39"/>
                <a:gd name="T13" fmla="*/ 865359 h 38"/>
                <a:gd name="T14" fmla="*/ 34823259 w 39"/>
                <a:gd name="T15" fmla="*/ 7008797 h 38"/>
                <a:gd name="T16" fmla="*/ 33870978 w 39"/>
                <a:gd name="T17" fmla="*/ 7881242 h 38"/>
                <a:gd name="T18" fmla="*/ 29417853 w 39"/>
                <a:gd name="T19" fmla="*/ 12773055 h 38"/>
                <a:gd name="T20" fmla="*/ 27490875 w 39"/>
                <a:gd name="T21" fmla="*/ 14822601 h 38"/>
                <a:gd name="T22" fmla="*/ 23877154 w 39"/>
                <a:gd name="T23" fmla="*/ 18666092 h 38"/>
                <a:gd name="T24" fmla="*/ 20559755 w 39"/>
                <a:gd name="T25" fmla="*/ 19416389 h 38"/>
                <a:gd name="T26" fmla="*/ 18871300 w 39"/>
                <a:gd name="T27" fmla="*/ 21466005 h 38"/>
                <a:gd name="T28" fmla="*/ 17480450 w 39"/>
                <a:gd name="T29" fmla="*/ 21466005 h 38"/>
                <a:gd name="T30" fmla="*/ 13281821 w 39"/>
                <a:gd name="T31" fmla="*/ 21466005 h 38"/>
                <a:gd name="T32" fmla="*/ 6350665 w 39"/>
                <a:gd name="T33" fmla="*/ 21466005 h 38"/>
                <a:gd name="T34" fmla="*/ 979497 w 39"/>
                <a:gd name="T35" fmla="*/ 22374834 h 38"/>
                <a:gd name="T36" fmla="*/ 979497 w 39"/>
                <a:gd name="T37" fmla="*/ 23608573 h 38"/>
                <a:gd name="T38" fmla="*/ 2335723 w 39"/>
                <a:gd name="T39" fmla="*/ 31441222 h 38"/>
                <a:gd name="T40" fmla="*/ 17480450 w 39"/>
                <a:gd name="T41" fmla="*/ 35106153 h 38"/>
                <a:gd name="T42" fmla="*/ 22883075 w 39"/>
                <a:gd name="T43" fmla="*/ 36383698 h 38"/>
                <a:gd name="T44" fmla="*/ 30791468 w 39"/>
                <a:gd name="T45" fmla="*/ 36383698 h 38"/>
                <a:gd name="T46" fmla="*/ 30791468 w 39"/>
                <a:gd name="T47" fmla="*/ 36383698 h 38"/>
                <a:gd name="T48" fmla="*/ 31672020 w 39"/>
                <a:gd name="T49" fmla="*/ 34448850 h 38"/>
                <a:gd name="T50" fmla="*/ 31672020 w 39"/>
                <a:gd name="T51" fmla="*/ 33584529 h 38"/>
                <a:gd name="T52" fmla="*/ 34823259 w 39"/>
                <a:gd name="T53" fmla="*/ 26570670 h 38"/>
                <a:gd name="T54" fmla="*/ 36112344 w 39"/>
                <a:gd name="T55" fmla="*/ 15706817 h 38"/>
                <a:gd name="T56" fmla="*/ 41684148 w 39"/>
                <a:gd name="T57" fmla="*/ 15706817 h 38"/>
                <a:gd name="T58" fmla="*/ 42634369 w 39"/>
                <a:gd name="T59" fmla="*/ 15706817 h 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9"/>
                <a:gd name="T91" fmla="*/ 0 h 38"/>
                <a:gd name="T92" fmla="*/ 39 w 39"/>
                <a:gd name="T93" fmla="*/ 38 h 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9" h="38">
                  <a:moveTo>
                    <a:pt x="39" y="16"/>
                  </a:moveTo>
                  <a:cubicBezTo>
                    <a:pt x="39" y="15"/>
                    <a:pt x="39" y="15"/>
                    <a:pt x="39" y="14"/>
                  </a:cubicBezTo>
                  <a:cubicBezTo>
                    <a:pt x="39" y="13"/>
                    <a:pt x="39" y="12"/>
                    <a:pt x="39" y="11"/>
                  </a:cubicBezTo>
                  <a:cubicBezTo>
                    <a:pt x="38" y="9"/>
                    <a:pt x="37" y="9"/>
                    <a:pt x="36" y="8"/>
                  </a:cubicBezTo>
                  <a:cubicBezTo>
                    <a:pt x="36" y="7"/>
                    <a:pt x="37" y="6"/>
                    <a:pt x="37" y="6"/>
                  </a:cubicBezTo>
                  <a:cubicBezTo>
                    <a:pt x="38" y="4"/>
                    <a:pt x="38" y="2"/>
                    <a:pt x="37" y="1"/>
                  </a:cubicBezTo>
                  <a:cubicBezTo>
                    <a:pt x="37" y="0"/>
                    <a:pt x="36" y="0"/>
                    <a:pt x="35" y="1"/>
                  </a:cubicBezTo>
                  <a:cubicBezTo>
                    <a:pt x="35" y="3"/>
                    <a:pt x="34" y="5"/>
                    <a:pt x="32" y="7"/>
                  </a:cubicBezTo>
                  <a:cubicBezTo>
                    <a:pt x="32" y="7"/>
                    <a:pt x="31" y="8"/>
                    <a:pt x="31" y="8"/>
                  </a:cubicBezTo>
                  <a:cubicBezTo>
                    <a:pt x="29" y="10"/>
                    <a:pt x="28" y="12"/>
                    <a:pt x="27" y="13"/>
                  </a:cubicBezTo>
                  <a:cubicBezTo>
                    <a:pt x="26" y="14"/>
                    <a:pt x="26" y="15"/>
                    <a:pt x="25" y="15"/>
                  </a:cubicBezTo>
                  <a:cubicBezTo>
                    <a:pt x="24" y="17"/>
                    <a:pt x="23" y="18"/>
                    <a:pt x="22" y="19"/>
                  </a:cubicBezTo>
                  <a:cubicBezTo>
                    <a:pt x="21" y="20"/>
                    <a:pt x="20" y="20"/>
                    <a:pt x="19" y="20"/>
                  </a:cubicBezTo>
                  <a:cubicBezTo>
                    <a:pt x="18" y="20"/>
                    <a:pt x="18" y="21"/>
                    <a:pt x="17" y="22"/>
                  </a:cubicBezTo>
                  <a:cubicBezTo>
                    <a:pt x="17" y="22"/>
                    <a:pt x="16" y="22"/>
                    <a:pt x="16" y="22"/>
                  </a:cubicBezTo>
                  <a:cubicBezTo>
                    <a:pt x="15" y="22"/>
                    <a:pt x="14" y="22"/>
                    <a:pt x="12" y="22"/>
                  </a:cubicBezTo>
                  <a:cubicBezTo>
                    <a:pt x="10" y="21"/>
                    <a:pt x="8" y="21"/>
                    <a:pt x="6" y="22"/>
                  </a:cubicBezTo>
                  <a:cubicBezTo>
                    <a:pt x="4" y="23"/>
                    <a:pt x="3" y="24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7"/>
                    <a:pt x="0" y="30"/>
                    <a:pt x="2" y="32"/>
                  </a:cubicBezTo>
                  <a:cubicBezTo>
                    <a:pt x="7" y="34"/>
                    <a:pt x="11" y="35"/>
                    <a:pt x="16" y="36"/>
                  </a:cubicBezTo>
                  <a:cubicBezTo>
                    <a:pt x="18" y="36"/>
                    <a:pt x="19" y="37"/>
                    <a:pt x="21" y="37"/>
                  </a:cubicBezTo>
                  <a:cubicBezTo>
                    <a:pt x="23" y="38"/>
                    <a:pt x="26" y="38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6"/>
                    <a:pt x="29" y="36"/>
                    <a:pt x="29" y="35"/>
                  </a:cubicBezTo>
                  <a:cubicBezTo>
                    <a:pt x="29" y="35"/>
                    <a:pt x="29" y="34"/>
                    <a:pt x="29" y="34"/>
                  </a:cubicBezTo>
                  <a:cubicBezTo>
                    <a:pt x="30" y="31"/>
                    <a:pt x="31" y="29"/>
                    <a:pt x="32" y="27"/>
                  </a:cubicBezTo>
                  <a:cubicBezTo>
                    <a:pt x="33" y="23"/>
                    <a:pt x="33" y="20"/>
                    <a:pt x="33" y="16"/>
                  </a:cubicBezTo>
                  <a:cubicBezTo>
                    <a:pt x="35" y="15"/>
                    <a:pt x="37" y="16"/>
                    <a:pt x="38" y="16"/>
                  </a:cubicBezTo>
                  <a:lnTo>
                    <a:pt x="39" y="1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0" name="Freeform 221"/>
            <p:cNvSpPr>
              <a:spLocks/>
            </p:cNvSpPr>
            <p:nvPr/>
          </p:nvSpPr>
          <p:spPr bwMode="auto">
            <a:xfrm>
              <a:off x="7138448" y="3465964"/>
              <a:ext cx="28845" cy="38123"/>
            </a:xfrm>
            <a:custGeom>
              <a:avLst/>
              <a:gdLst>
                <a:gd name="T0" fmla="*/ 9187257 w 62"/>
                <a:gd name="T1" fmla="*/ 71740062 h 78"/>
                <a:gd name="T2" fmla="*/ 10618742 w 62"/>
                <a:gd name="T3" fmla="*/ 70879999 h 78"/>
                <a:gd name="T4" fmla="*/ 15128078 w 62"/>
                <a:gd name="T5" fmla="*/ 68240251 h 78"/>
                <a:gd name="T6" fmla="*/ 15964809 w 62"/>
                <a:gd name="T7" fmla="*/ 67106510 h 78"/>
                <a:gd name="T8" fmla="*/ 19657308 w 62"/>
                <a:gd name="T9" fmla="*/ 67106510 h 78"/>
                <a:gd name="T10" fmla="*/ 23201344 w 62"/>
                <a:gd name="T11" fmla="*/ 68240251 h 78"/>
                <a:gd name="T12" fmla="*/ 23201344 w 62"/>
                <a:gd name="T13" fmla="*/ 62272804 h 78"/>
                <a:gd name="T14" fmla="*/ 25817776 w 62"/>
                <a:gd name="T15" fmla="*/ 60811259 h 78"/>
                <a:gd name="T16" fmla="*/ 25005414 w 62"/>
                <a:gd name="T17" fmla="*/ 61643505 h 78"/>
                <a:gd name="T18" fmla="*/ 30322337 w 62"/>
                <a:gd name="T19" fmla="*/ 60811259 h 78"/>
                <a:gd name="T20" fmla="*/ 33054703 w 62"/>
                <a:gd name="T21" fmla="*/ 56178462 h 78"/>
                <a:gd name="T22" fmla="*/ 35624170 w 62"/>
                <a:gd name="T23" fmla="*/ 53382531 h 78"/>
                <a:gd name="T24" fmla="*/ 39509418 w 62"/>
                <a:gd name="T25" fmla="*/ 52176775 h 78"/>
                <a:gd name="T26" fmla="*/ 40945869 w 62"/>
                <a:gd name="T27" fmla="*/ 50715532 h 78"/>
                <a:gd name="T28" fmla="*/ 40945869 w 62"/>
                <a:gd name="T29" fmla="*/ 47924093 h 78"/>
                <a:gd name="T30" fmla="*/ 42103809 w 62"/>
                <a:gd name="T31" fmla="*/ 42459465 h 78"/>
                <a:gd name="T32" fmla="*/ 42103809 w 62"/>
                <a:gd name="T33" fmla="*/ 41339160 h 78"/>
                <a:gd name="T34" fmla="*/ 42858374 w 62"/>
                <a:gd name="T35" fmla="*/ 37828621 h 78"/>
                <a:gd name="T36" fmla="*/ 44831050 w 62"/>
                <a:gd name="T37" fmla="*/ 39285089 h 78"/>
                <a:gd name="T38" fmla="*/ 47389648 w 62"/>
                <a:gd name="T39" fmla="*/ 35005515 h 78"/>
                <a:gd name="T40" fmla="*/ 47389648 w 62"/>
                <a:gd name="T41" fmla="*/ 35005515 h 78"/>
                <a:gd name="T42" fmla="*/ 52103393 w 62"/>
                <a:gd name="T43" fmla="*/ 26398262 h 78"/>
                <a:gd name="T44" fmla="*/ 54635428 w 62"/>
                <a:gd name="T45" fmla="*/ 22982846 h 78"/>
                <a:gd name="T46" fmla="*/ 55454196 w 62"/>
                <a:gd name="T47" fmla="*/ 20315659 h 78"/>
                <a:gd name="T48" fmla="*/ 53524322 w 62"/>
                <a:gd name="T49" fmla="*/ 18351884 h 78"/>
                <a:gd name="T50" fmla="*/ 52103393 w 62"/>
                <a:gd name="T51" fmla="*/ 18351884 h 78"/>
                <a:gd name="T52" fmla="*/ 49378073 w 62"/>
                <a:gd name="T53" fmla="*/ 14839297 h 78"/>
                <a:gd name="T54" fmla="*/ 48202802 w 62"/>
                <a:gd name="T55" fmla="*/ 13719388 h 78"/>
                <a:gd name="T56" fmla="*/ 47389648 w 62"/>
                <a:gd name="T57" fmla="*/ 12059200 h 78"/>
                <a:gd name="T58" fmla="*/ 46289769 w 62"/>
                <a:gd name="T59" fmla="*/ 10927930 h 78"/>
                <a:gd name="T60" fmla="*/ 40945869 w 62"/>
                <a:gd name="T61" fmla="*/ 10095401 h 78"/>
                <a:gd name="T62" fmla="*/ 40326189 w 62"/>
                <a:gd name="T63" fmla="*/ 9376294 h 78"/>
                <a:gd name="T64" fmla="*/ 35624170 w 62"/>
                <a:gd name="T65" fmla="*/ 9376294 h 78"/>
                <a:gd name="T66" fmla="*/ 34978078 w 62"/>
                <a:gd name="T67" fmla="*/ 8254343 h 78"/>
                <a:gd name="T68" fmla="*/ 32253248 w 62"/>
                <a:gd name="T69" fmla="*/ 4632494 h 78"/>
                <a:gd name="T70" fmla="*/ 31076639 w 62"/>
                <a:gd name="T71" fmla="*/ 832470 h 78"/>
                <a:gd name="T72" fmla="*/ 30322337 w 62"/>
                <a:gd name="T73" fmla="*/ 832470 h 78"/>
                <a:gd name="T74" fmla="*/ 25817776 w 62"/>
                <a:gd name="T75" fmla="*/ 832470 h 78"/>
                <a:gd name="T76" fmla="*/ 25005414 w 62"/>
                <a:gd name="T77" fmla="*/ 10927930 h 78"/>
                <a:gd name="T78" fmla="*/ 22384253 w 62"/>
                <a:gd name="T79" fmla="*/ 17524214 h 78"/>
                <a:gd name="T80" fmla="*/ 22384253 w 62"/>
                <a:gd name="T81" fmla="*/ 18351884 h 78"/>
                <a:gd name="T82" fmla="*/ 21634510 w 62"/>
                <a:gd name="T83" fmla="*/ 20315659 h 78"/>
                <a:gd name="T84" fmla="*/ 21634510 w 62"/>
                <a:gd name="T85" fmla="*/ 20315659 h 78"/>
                <a:gd name="T86" fmla="*/ 25005414 w 62"/>
                <a:gd name="T87" fmla="*/ 23814790 h 78"/>
                <a:gd name="T88" fmla="*/ 23201344 w 62"/>
                <a:gd name="T89" fmla="*/ 30411555 h 78"/>
                <a:gd name="T90" fmla="*/ 22384253 w 62"/>
                <a:gd name="T91" fmla="*/ 33910385 h 78"/>
                <a:gd name="T92" fmla="*/ 20469694 w 62"/>
                <a:gd name="T93" fmla="*/ 39285089 h 78"/>
                <a:gd name="T94" fmla="*/ 20469694 w 62"/>
                <a:gd name="T95" fmla="*/ 41339160 h 78"/>
                <a:gd name="T96" fmla="*/ 19657308 w 62"/>
                <a:gd name="T97" fmla="*/ 43291597 h 78"/>
                <a:gd name="T98" fmla="*/ 13196932 w 62"/>
                <a:gd name="T99" fmla="*/ 44119239 h 78"/>
                <a:gd name="T100" fmla="*/ 9852626 w 62"/>
                <a:gd name="T101" fmla="*/ 46805449 h 78"/>
                <a:gd name="T102" fmla="*/ 5348066 w 62"/>
                <a:gd name="T103" fmla="*/ 47924093 h 78"/>
                <a:gd name="T104" fmla="*/ 813185 w 62"/>
                <a:gd name="T105" fmla="*/ 50715532 h 78"/>
                <a:gd name="T106" fmla="*/ 813185 w 62"/>
                <a:gd name="T107" fmla="*/ 51399257 h 78"/>
                <a:gd name="T108" fmla="*/ 2596311 w 62"/>
                <a:gd name="T109" fmla="*/ 56178462 h 78"/>
                <a:gd name="T110" fmla="*/ 9187257 w 62"/>
                <a:gd name="T111" fmla="*/ 70879999 h 78"/>
                <a:gd name="T112" fmla="*/ 9187257 w 62"/>
                <a:gd name="T113" fmla="*/ 71740062 h 7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2"/>
                <a:gd name="T172" fmla="*/ 0 h 78"/>
                <a:gd name="T173" fmla="*/ 62 w 62"/>
                <a:gd name="T174" fmla="*/ 78 h 7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2" h="78">
                  <a:moveTo>
                    <a:pt x="10" y="78"/>
                  </a:moveTo>
                  <a:cubicBezTo>
                    <a:pt x="10" y="77"/>
                    <a:pt x="11" y="77"/>
                    <a:pt x="12" y="77"/>
                  </a:cubicBezTo>
                  <a:cubicBezTo>
                    <a:pt x="14" y="76"/>
                    <a:pt x="15" y="75"/>
                    <a:pt x="17" y="74"/>
                  </a:cubicBezTo>
                  <a:cubicBezTo>
                    <a:pt x="18" y="74"/>
                    <a:pt x="18" y="73"/>
                    <a:pt x="18" y="73"/>
                  </a:cubicBezTo>
                  <a:cubicBezTo>
                    <a:pt x="19" y="72"/>
                    <a:pt x="21" y="72"/>
                    <a:pt x="22" y="73"/>
                  </a:cubicBezTo>
                  <a:cubicBezTo>
                    <a:pt x="23" y="73"/>
                    <a:pt x="24" y="74"/>
                    <a:pt x="26" y="74"/>
                  </a:cubicBezTo>
                  <a:cubicBezTo>
                    <a:pt x="26" y="72"/>
                    <a:pt x="26" y="70"/>
                    <a:pt x="26" y="68"/>
                  </a:cubicBezTo>
                  <a:cubicBezTo>
                    <a:pt x="27" y="67"/>
                    <a:pt x="28" y="67"/>
                    <a:pt x="29" y="66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30" y="66"/>
                    <a:pt x="32" y="66"/>
                    <a:pt x="34" y="66"/>
                  </a:cubicBezTo>
                  <a:cubicBezTo>
                    <a:pt x="36" y="64"/>
                    <a:pt x="36" y="63"/>
                    <a:pt x="37" y="61"/>
                  </a:cubicBezTo>
                  <a:cubicBezTo>
                    <a:pt x="38" y="59"/>
                    <a:pt x="39" y="58"/>
                    <a:pt x="40" y="58"/>
                  </a:cubicBezTo>
                  <a:cubicBezTo>
                    <a:pt x="41" y="57"/>
                    <a:pt x="43" y="57"/>
                    <a:pt x="44" y="57"/>
                  </a:cubicBezTo>
                  <a:cubicBezTo>
                    <a:pt x="45" y="56"/>
                    <a:pt x="46" y="56"/>
                    <a:pt x="46" y="55"/>
                  </a:cubicBezTo>
                  <a:cubicBezTo>
                    <a:pt x="46" y="54"/>
                    <a:pt x="47" y="53"/>
                    <a:pt x="46" y="52"/>
                  </a:cubicBezTo>
                  <a:cubicBezTo>
                    <a:pt x="45" y="50"/>
                    <a:pt x="45" y="48"/>
                    <a:pt x="47" y="46"/>
                  </a:cubicBezTo>
                  <a:cubicBezTo>
                    <a:pt x="47" y="46"/>
                    <a:pt x="47" y="45"/>
                    <a:pt x="47" y="45"/>
                  </a:cubicBezTo>
                  <a:cubicBezTo>
                    <a:pt x="48" y="44"/>
                    <a:pt x="48" y="43"/>
                    <a:pt x="48" y="41"/>
                  </a:cubicBezTo>
                  <a:cubicBezTo>
                    <a:pt x="49" y="40"/>
                    <a:pt x="49" y="42"/>
                    <a:pt x="50" y="43"/>
                  </a:cubicBezTo>
                  <a:cubicBezTo>
                    <a:pt x="53" y="43"/>
                    <a:pt x="52" y="40"/>
                    <a:pt x="53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5" y="35"/>
                    <a:pt x="57" y="32"/>
                    <a:pt x="58" y="29"/>
                  </a:cubicBezTo>
                  <a:cubicBezTo>
                    <a:pt x="59" y="27"/>
                    <a:pt x="60" y="26"/>
                    <a:pt x="61" y="25"/>
                  </a:cubicBezTo>
                  <a:cubicBezTo>
                    <a:pt x="61" y="24"/>
                    <a:pt x="62" y="23"/>
                    <a:pt x="62" y="22"/>
                  </a:cubicBezTo>
                  <a:cubicBezTo>
                    <a:pt x="61" y="21"/>
                    <a:pt x="61" y="21"/>
                    <a:pt x="60" y="20"/>
                  </a:cubicBezTo>
                  <a:cubicBezTo>
                    <a:pt x="59" y="20"/>
                    <a:pt x="58" y="20"/>
                    <a:pt x="58" y="20"/>
                  </a:cubicBezTo>
                  <a:cubicBezTo>
                    <a:pt x="56" y="19"/>
                    <a:pt x="56" y="17"/>
                    <a:pt x="55" y="16"/>
                  </a:cubicBezTo>
                  <a:cubicBezTo>
                    <a:pt x="55" y="16"/>
                    <a:pt x="54" y="15"/>
                    <a:pt x="54" y="15"/>
                  </a:cubicBezTo>
                  <a:cubicBezTo>
                    <a:pt x="54" y="14"/>
                    <a:pt x="54" y="13"/>
                    <a:pt x="53" y="13"/>
                  </a:cubicBezTo>
                  <a:cubicBezTo>
                    <a:pt x="53" y="12"/>
                    <a:pt x="52" y="12"/>
                    <a:pt x="52" y="12"/>
                  </a:cubicBezTo>
                  <a:cubicBezTo>
                    <a:pt x="50" y="11"/>
                    <a:pt x="48" y="12"/>
                    <a:pt x="46" y="11"/>
                  </a:cubicBezTo>
                  <a:cubicBezTo>
                    <a:pt x="46" y="11"/>
                    <a:pt x="45" y="10"/>
                    <a:pt x="45" y="10"/>
                  </a:cubicBezTo>
                  <a:cubicBezTo>
                    <a:pt x="43" y="10"/>
                    <a:pt x="42" y="10"/>
                    <a:pt x="40" y="10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8" y="8"/>
                    <a:pt x="37" y="7"/>
                    <a:pt x="36" y="5"/>
                  </a:cubicBezTo>
                  <a:cubicBezTo>
                    <a:pt x="35" y="4"/>
                    <a:pt x="36" y="3"/>
                    <a:pt x="35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3" y="1"/>
                    <a:pt x="31" y="0"/>
                    <a:pt x="29" y="1"/>
                  </a:cubicBezTo>
                  <a:cubicBezTo>
                    <a:pt x="29" y="5"/>
                    <a:pt x="29" y="8"/>
                    <a:pt x="28" y="12"/>
                  </a:cubicBezTo>
                  <a:cubicBezTo>
                    <a:pt x="27" y="14"/>
                    <a:pt x="26" y="16"/>
                    <a:pt x="25" y="19"/>
                  </a:cubicBezTo>
                  <a:cubicBezTo>
                    <a:pt x="25" y="19"/>
                    <a:pt x="25" y="20"/>
                    <a:pt x="25" y="20"/>
                  </a:cubicBezTo>
                  <a:cubicBezTo>
                    <a:pt x="25" y="21"/>
                    <a:pt x="24" y="21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3"/>
                    <a:pt x="26" y="25"/>
                    <a:pt x="28" y="26"/>
                  </a:cubicBezTo>
                  <a:cubicBezTo>
                    <a:pt x="28" y="28"/>
                    <a:pt x="27" y="30"/>
                    <a:pt x="26" y="33"/>
                  </a:cubicBezTo>
                  <a:cubicBezTo>
                    <a:pt x="26" y="34"/>
                    <a:pt x="25" y="35"/>
                    <a:pt x="25" y="37"/>
                  </a:cubicBezTo>
                  <a:cubicBezTo>
                    <a:pt x="24" y="39"/>
                    <a:pt x="24" y="41"/>
                    <a:pt x="23" y="43"/>
                  </a:cubicBezTo>
                  <a:cubicBezTo>
                    <a:pt x="23" y="44"/>
                    <a:pt x="24" y="45"/>
                    <a:pt x="23" y="45"/>
                  </a:cubicBezTo>
                  <a:cubicBezTo>
                    <a:pt x="23" y="46"/>
                    <a:pt x="22" y="47"/>
                    <a:pt x="22" y="47"/>
                  </a:cubicBezTo>
                  <a:cubicBezTo>
                    <a:pt x="20" y="48"/>
                    <a:pt x="17" y="47"/>
                    <a:pt x="15" y="48"/>
                  </a:cubicBezTo>
                  <a:cubicBezTo>
                    <a:pt x="14" y="49"/>
                    <a:pt x="13" y="50"/>
                    <a:pt x="11" y="51"/>
                  </a:cubicBezTo>
                  <a:cubicBezTo>
                    <a:pt x="10" y="52"/>
                    <a:pt x="8" y="52"/>
                    <a:pt x="6" y="52"/>
                  </a:cubicBezTo>
                  <a:cubicBezTo>
                    <a:pt x="4" y="53"/>
                    <a:pt x="2" y="54"/>
                    <a:pt x="1" y="55"/>
                  </a:cubicBezTo>
                  <a:cubicBezTo>
                    <a:pt x="0" y="55"/>
                    <a:pt x="0" y="56"/>
                    <a:pt x="1" y="56"/>
                  </a:cubicBezTo>
                  <a:cubicBezTo>
                    <a:pt x="2" y="58"/>
                    <a:pt x="2" y="59"/>
                    <a:pt x="3" y="61"/>
                  </a:cubicBezTo>
                  <a:cubicBezTo>
                    <a:pt x="5" y="67"/>
                    <a:pt x="7" y="72"/>
                    <a:pt x="10" y="77"/>
                  </a:cubicBezTo>
                  <a:lnTo>
                    <a:pt x="10" y="78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1" name="Freeform 223"/>
            <p:cNvSpPr>
              <a:spLocks/>
            </p:cNvSpPr>
            <p:nvPr/>
          </p:nvSpPr>
          <p:spPr bwMode="auto">
            <a:xfrm>
              <a:off x="7269381" y="3457312"/>
              <a:ext cx="17809" cy="24334"/>
            </a:xfrm>
            <a:custGeom>
              <a:avLst/>
              <a:gdLst>
                <a:gd name="T0" fmla="*/ 26919051 w 38"/>
                <a:gd name="T1" fmla="*/ 45582442 h 50"/>
                <a:gd name="T2" fmla="*/ 26919051 w 38"/>
                <a:gd name="T3" fmla="*/ 43525467 h 50"/>
                <a:gd name="T4" fmla="*/ 25533856 w 38"/>
                <a:gd name="T5" fmla="*/ 36921216 h 50"/>
                <a:gd name="T6" fmla="*/ 25533856 w 38"/>
                <a:gd name="T7" fmla="*/ 36058042 h 50"/>
                <a:gd name="T8" fmla="*/ 21390411 w 38"/>
                <a:gd name="T9" fmla="*/ 34087443 h 50"/>
                <a:gd name="T10" fmla="*/ 21390411 w 38"/>
                <a:gd name="T11" fmla="*/ 36921216 h 50"/>
                <a:gd name="T12" fmla="*/ 19587801 w 38"/>
                <a:gd name="T13" fmla="*/ 34087443 h 50"/>
                <a:gd name="T14" fmla="*/ 17170524 w 38"/>
                <a:gd name="T15" fmla="*/ 34087443 h 50"/>
                <a:gd name="T16" fmla="*/ 18252192 w 38"/>
                <a:gd name="T17" fmla="*/ 36921216 h 50"/>
                <a:gd name="T18" fmla="*/ 18252192 w 38"/>
                <a:gd name="T19" fmla="*/ 38894799 h 50"/>
                <a:gd name="T20" fmla="*/ 17170524 w 38"/>
                <a:gd name="T21" fmla="*/ 39573289 h 50"/>
                <a:gd name="T22" fmla="*/ 15689949 w 38"/>
                <a:gd name="T23" fmla="*/ 39573289 h 50"/>
                <a:gd name="T24" fmla="*/ 14680483 w 38"/>
                <a:gd name="T25" fmla="*/ 38894799 h 50"/>
                <a:gd name="T26" fmla="*/ 13027061 w 38"/>
                <a:gd name="T27" fmla="*/ 38894799 h 50"/>
                <a:gd name="T28" fmla="*/ 10458606 w 38"/>
                <a:gd name="T29" fmla="*/ 41551677 h 50"/>
                <a:gd name="T30" fmla="*/ 9132987 w 38"/>
                <a:gd name="T31" fmla="*/ 40715331 h 50"/>
                <a:gd name="T32" fmla="*/ 9132987 w 38"/>
                <a:gd name="T33" fmla="*/ 39573289 h 50"/>
                <a:gd name="T34" fmla="*/ 7331239 w 38"/>
                <a:gd name="T35" fmla="*/ 38894799 h 50"/>
                <a:gd name="T36" fmla="*/ 6699081 w 38"/>
                <a:gd name="T37" fmla="*/ 35226680 h 50"/>
                <a:gd name="T38" fmla="*/ 5562116 w 38"/>
                <a:gd name="T39" fmla="*/ 29733301 h 50"/>
                <a:gd name="T40" fmla="*/ 4907354 w 38"/>
                <a:gd name="T41" fmla="*/ 27916384 h 50"/>
                <a:gd name="T42" fmla="*/ 4221836 w 38"/>
                <a:gd name="T43" fmla="*/ 20413475 h 50"/>
                <a:gd name="T44" fmla="*/ 2374836 w 38"/>
                <a:gd name="T45" fmla="*/ 20413475 h 50"/>
                <a:gd name="T46" fmla="*/ 2374836 w 38"/>
                <a:gd name="T47" fmla="*/ 19578455 h 50"/>
                <a:gd name="T48" fmla="*/ 769642 w 38"/>
                <a:gd name="T49" fmla="*/ 18442993 h 50"/>
                <a:gd name="T50" fmla="*/ 769642 w 38"/>
                <a:gd name="T51" fmla="*/ 16480852 h 50"/>
                <a:gd name="T52" fmla="*/ 2374836 w 38"/>
                <a:gd name="T53" fmla="*/ 15644591 h 50"/>
                <a:gd name="T54" fmla="*/ 2374836 w 38"/>
                <a:gd name="T55" fmla="*/ 9524393 h 50"/>
                <a:gd name="T56" fmla="*/ 769642 w 38"/>
                <a:gd name="T57" fmla="*/ 7460446 h 50"/>
                <a:gd name="T58" fmla="*/ 769642 w 38"/>
                <a:gd name="T59" fmla="*/ 3515237 h 50"/>
                <a:gd name="T60" fmla="*/ 1802582 w 38"/>
                <a:gd name="T61" fmla="*/ 0 h 50"/>
                <a:gd name="T62" fmla="*/ 1802582 w 38"/>
                <a:gd name="T63" fmla="*/ 0 h 50"/>
                <a:gd name="T64" fmla="*/ 4907354 w 38"/>
                <a:gd name="T65" fmla="*/ 3515237 h 50"/>
                <a:gd name="T66" fmla="*/ 5562116 w 38"/>
                <a:gd name="T67" fmla="*/ 3515237 h 50"/>
                <a:gd name="T68" fmla="*/ 5562116 w 38"/>
                <a:gd name="T69" fmla="*/ 2808927 h 50"/>
                <a:gd name="T70" fmla="*/ 9132987 w 38"/>
                <a:gd name="T71" fmla="*/ 5488568 h 50"/>
                <a:gd name="T72" fmla="*/ 9887985 w 38"/>
                <a:gd name="T73" fmla="*/ 9524393 h 50"/>
                <a:gd name="T74" fmla="*/ 11493535 w 38"/>
                <a:gd name="T75" fmla="*/ 10144084 h 50"/>
                <a:gd name="T76" fmla="*/ 16459658 w 38"/>
                <a:gd name="T77" fmla="*/ 12953021 h 50"/>
                <a:gd name="T78" fmla="*/ 17170524 w 38"/>
                <a:gd name="T79" fmla="*/ 12953021 h 50"/>
                <a:gd name="T80" fmla="*/ 23158699 w 38"/>
                <a:gd name="T81" fmla="*/ 13821180 h 50"/>
                <a:gd name="T82" fmla="*/ 24495142 w 38"/>
                <a:gd name="T83" fmla="*/ 13821180 h 50"/>
                <a:gd name="T84" fmla="*/ 26919051 w 38"/>
                <a:gd name="T85" fmla="*/ 13821180 h 50"/>
                <a:gd name="T86" fmla="*/ 27951132 w 38"/>
                <a:gd name="T87" fmla="*/ 17606647 h 50"/>
                <a:gd name="T88" fmla="*/ 26288838 w 38"/>
                <a:gd name="T89" fmla="*/ 18442993 h 50"/>
                <a:gd name="T90" fmla="*/ 20601796 w 38"/>
                <a:gd name="T91" fmla="*/ 25070678 h 50"/>
                <a:gd name="T92" fmla="*/ 20601796 w 38"/>
                <a:gd name="T93" fmla="*/ 27916384 h 50"/>
                <a:gd name="T94" fmla="*/ 23731260 w 38"/>
                <a:gd name="T95" fmla="*/ 30569118 h 50"/>
                <a:gd name="T96" fmla="*/ 24495142 w 38"/>
                <a:gd name="T97" fmla="*/ 30569118 h 50"/>
                <a:gd name="T98" fmla="*/ 25533856 w 38"/>
                <a:gd name="T99" fmla="*/ 28597593 h 50"/>
                <a:gd name="T100" fmla="*/ 25533856 w 38"/>
                <a:gd name="T101" fmla="*/ 26625087 h 50"/>
                <a:gd name="T102" fmla="*/ 26288838 w 38"/>
                <a:gd name="T103" fmla="*/ 25902097 h 50"/>
                <a:gd name="T104" fmla="*/ 28720860 w 38"/>
                <a:gd name="T105" fmla="*/ 27916384 h 50"/>
                <a:gd name="T106" fmla="*/ 29417196 w 38"/>
                <a:gd name="T107" fmla="*/ 32617975 h 50"/>
                <a:gd name="T108" fmla="*/ 30510734 w 38"/>
                <a:gd name="T109" fmla="*/ 34087443 h 50"/>
                <a:gd name="T110" fmla="*/ 30510734 w 38"/>
                <a:gd name="T111" fmla="*/ 41551677 h 50"/>
                <a:gd name="T112" fmla="*/ 31081326 w 38"/>
                <a:gd name="T113" fmla="*/ 41551677 h 50"/>
                <a:gd name="T114" fmla="*/ 31081326 w 38"/>
                <a:gd name="T115" fmla="*/ 41551677 h 50"/>
                <a:gd name="T116" fmla="*/ 30510734 w 38"/>
                <a:gd name="T117" fmla="*/ 45582442 h 50"/>
                <a:gd name="T118" fmla="*/ 27951132 w 38"/>
                <a:gd name="T119" fmla="*/ 45582442 h 50"/>
                <a:gd name="T120" fmla="*/ 26919051 w 38"/>
                <a:gd name="T121" fmla="*/ 45582442 h 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8"/>
                <a:gd name="T184" fmla="*/ 0 h 50"/>
                <a:gd name="T185" fmla="*/ 38 w 38"/>
                <a:gd name="T186" fmla="*/ 50 h 5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8" h="50">
                  <a:moveTo>
                    <a:pt x="33" y="49"/>
                  </a:moveTo>
                  <a:cubicBezTo>
                    <a:pt x="33" y="49"/>
                    <a:pt x="33" y="48"/>
                    <a:pt x="33" y="47"/>
                  </a:cubicBezTo>
                  <a:cubicBezTo>
                    <a:pt x="32" y="45"/>
                    <a:pt x="33" y="42"/>
                    <a:pt x="31" y="40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0" y="37"/>
                    <a:pt x="28" y="36"/>
                    <a:pt x="26" y="37"/>
                  </a:cubicBezTo>
                  <a:cubicBezTo>
                    <a:pt x="26" y="37"/>
                    <a:pt x="26" y="39"/>
                    <a:pt x="26" y="40"/>
                  </a:cubicBezTo>
                  <a:cubicBezTo>
                    <a:pt x="24" y="39"/>
                    <a:pt x="25" y="37"/>
                    <a:pt x="24" y="37"/>
                  </a:cubicBezTo>
                  <a:cubicBezTo>
                    <a:pt x="23" y="36"/>
                    <a:pt x="22" y="36"/>
                    <a:pt x="21" y="37"/>
                  </a:cubicBezTo>
                  <a:cubicBezTo>
                    <a:pt x="20" y="38"/>
                    <a:pt x="21" y="39"/>
                    <a:pt x="22" y="40"/>
                  </a:cubicBezTo>
                  <a:cubicBezTo>
                    <a:pt x="22" y="41"/>
                    <a:pt x="22" y="41"/>
                    <a:pt x="22" y="42"/>
                  </a:cubicBezTo>
                  <a:cubicBezTo>
                    <a:pt x="21" y="42"/>
                    <a:pt x="21" y="42"/>
                    <a:pt x="21" y="43"/>
                  </a:cubicBezTo>
                  <a:cubicBezTo>
                    <a:pt x="20" y="43"/>
                    <a:pt x="19" y="43"/>
                    <a:pt x="19" y="43"/>
                  </a:cubicBezTo>
                  <a:cubicBezTo>
                    <a:pt x="18" y="43"/>
                    <a:pt x="18" y="42"/>
                    <a:pt x="18" y="42"/>
                  </a:cubicBezTo>
                  <a:cubicBezTo>
                    <a:pt x="17" y="42"/>
                    <a:pt x="16" y="42"/>
                    <a:pt x="16" y="42"/>
                  </a:cubicBezTo>
                  <a:cubicBezTo>
                    <a:pt x="16" y="44"/>
                    <a:pt x="15" y="45"/>
                    <a:pt x="13" y="45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3"/>
                    <a:pt x="11" y="43"/>
                  </a:cubicBezTo>
                  <a:cubicBezTo>
                    <a:pt x="10" y="43"/>
                    <a:pt x="10" y="42"/>
                    <a:pt x="9" y="42"/>
                  </a:cubicBezTo>
                  <a:cubicBezTo>
                    <a:pt x="8" y="41"/>
                    <a:pt x="8" y="39"/>
                    <a:pt x="8" y="38"/>
                  </a:cubicBezTo>
                  <a:cubicBezTo>
                    <a:pt x="7" y="36"/>
                    <a:pt x="8" y="34"/>
                    <a:pt x="7" y="32"/>
                  </a:cubicBezTo>
                  <a:cubicBezTo>
                    <a:pt x="7" y="31"/>
                    <a:pt x="6" y="31"/>
                    <a:pt x="6" y="30"/>
                  </a:cubicBezTo>
                  <a:cubicBezTo>
                    <a:pt x="5" y="27"/>
                    <a:pt x="7" y="24"/>
                    <a:pt x="5" y="22"/>
                  </a:cubicBezTo>
                  <a:cubicBezTo>
                    <a:pt x="5" y="22"/>
                    <a:pt x="4" y="22"/>
                    <a:pt x="3" y="22"/>
                  </a:cubicBezTo>
                  <a:cubicBezTo>
                    <a:pt x="3" y="22"/>
                    <a:pt x="3" y="21"/>
                    <a:pt x="3" y="21"/>
                  </a:cubicBezTo>
                  <a:cubicBezTo>
                    <a:pt x="2" y="20"/>
                    <a:pt x="1" y="21"/>
                    <a:pt x="1" y="20"/>
                  </a:cubicBezTo>
                  <a:cubicBezTo>
                    <a:pt x="0" y="20"/>
                    <a:pt x="1" y="19"/>
                    <a:pt x="1" y="18"/>
                  </a:cubicBezTo>
                  <a:cubicBezTo>
                    <a:pt x="2" y="18"/>
                    <a:pt x="3" y="18"/>
                    <a:pt x="3" y="17"/>
                  </a:cubicBezTo>
                  <a:cubicBezTo>
                    <a:pt x="4" y="15"/>
                    <a:pt x="3" y="12"/>
                    <a:pt x="3" y="10"/>
                  </a:cubicBezTo>
                  <a:cubicBezTo>
                    <a:pt x="3" y="9"/>
                    <a:pt x="1" y="9"/>
                    <a:pt x="1" y="8"/>
                  </a:cubicBezTo>
                  <a:cubicBezTo>
                    <a:pt x="1" y="7"/>
                    <a:pt x="0" y="5"/>
                    <a:pt x="1" y="4"/>
                  </a:cubicBezTo>
                  <a:cubicBezTo>
                    <a:pt x="2" y="3"/>
                    <a:pt x="1" y="2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5" y="3"/>
                    <a:pt x="6" y="4"/>
                  </a:cubicBezTo>
                  <a:cubicBezTo>
                    <a:pt x="6" y="5"/>
                    <a:pt x="6" y="4"/>
                    <a:pt x="7" y="4"/>
                  </a:cubicBezTo>
                  <a:cubicBezTo>
                    <a:pt x="7" y="4"/>
                    <a:pt x="7" y="3"/>
                    <a:pt x="7" y="3"/>
                  </a:cubicBezTo>
                  <a:cubicBezTo>
                    <a:pt x="9" y="3"/>
                    <a:pt x="11" y="5"/>
                    <a:pt x="11" y="6"/>
                  </a:cubicBezTo>
                  <a:cubicBezTo>
                    <a:pt x="12" y="7"/>
                    <a:pt x="12" y="9"/>
                    <a:pt x="12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6" y="12"/>
                    <a:pt x="18" y="13"/>
                    <a:pt x="20" y="14"/>
                  </a:cubicBezTo>
                  <a:cubicBezTo>
                    <a:pt x="20" y="15"/>
                    <a:pt x="21" y="15"/>
                    <a:pt x="21" y="14"/>
                  </a:cubicBezTo>
                  <a:cubicBezTo>
                    <a:pt x="23" y="12"/>
                    <a:pt x="26" y="14"/>
                    <a:pt x="28" y="15"/>
                  </a:cubicBezTo>
                  <a:cubicBezTo>
                    <a:pt x="29" y="15"/>
                    <a:pt x="30" y="15"/>
                    <a:pt x="30" y="15"/>
                  </a:cubicBezTo>
                  <a:cubicBezTo>
                    <a:pt x="31" y="14"/>
                    <a:pt x="32" y="14"/>
                    <a:pt x="33" y="15"/>
                  </a:cubicBezTo>
                  <a:cubicBezTo>
                    <a:pt x="35" y="15"/>
                    <a:pt x="36" y="18"/>
                    <a:pt x="34" y="19"/>
                  </a:cubicBezTo>
                  <a:cubicBezTo>
                    <a:pt x="34" y="20"/>
                    <a:pt x="32" y="20"/>
                    <a:pt x="32" y="20"/>
                  </a:cubicBezTo>
                  <a:cubicBezTo>
                    <a:pt x="30" y="23"/>
                    <a:pt x="27" y="25"/>
                    <a:pt x="25" y="27"/>
                  </a:cubicBezTo>
                  <a:cubicBezTo>
                    <a:pt x="24" y="28"/>
                    <a:pt x="25" y="29"/>
                    <a:pt x="25" y="30"/>
                  </a:cubicBezTo>
                  <a:cubicBezTo>
                    <a:pt x="26" y="31"/>
                    <a:pt x="28" y="32"/>
                    <a:pt x="29" y="33"/>
                  </a:cubicBezTo>
                  <a:cubicBezTo>
                    <a:pt x="29" y="33"/>
                    <a:pt x="29" y="33"/>
                    <a:pt x="30" y="33"/>
                  </a:cubicBezTo>
                  <a:cubicBezTo>
                    <a:pt x="30" y="33"/>
                    <a:pt x="31" y="32"/>
                    <a:pt x="31" y="31"/>
                  </a:cubicBezTo>
                  <a:cubicBezTo>
                    <a:pt x="31" y="31"/>
                    <a:pt x="31" y="30"/>
                    <a:pt x="31" y="29"/>
                  </a:cubicBezTo>
                  <a:cubicBezTo>
                    <a:pt x="31" y="29"/>
                    <a:pt x="31" y="28"/>
                    <a:pt x="32" y="28"/>
                  </a:cubicBezTo>
                  <a:cubicBezTo>
                    <a:pt x="33" y="27"/>
                    <a:pt x="35" y="28"/>
                    <a:pt x="35" y="30"/>
                  </a:cubicBezTo>
                  <a:cubicBezTo>
                    <a:pt x="36" y="31"/>
                    <a:pt x="35" y="33"/>
                    <a:pt x="36" y="35"/>
                  </a:cubicBezTo>
                  <a:cubicBezTo>
                    <a:pt x="36" y="36"/>
                    <a:pt x="36" y="37"/>
                    <a:pt x="37" y="37"/>
                  </a:cubicBezTo>
                  <a:cubicBezTo>
                    <a:pt x="37" y="40"/>
                    <a:pt x="36" y="42"/>
                    <a:pt x="37" y="45"/>
                  </a:cubicBezTo>
                  <a:cubicBezTo>
                    <a:pt x="37" y="45"/>
                    <a:pt x="37" y="45"/>
                    <a:pt x="38" y="45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6" y="46"/>
                    <a:pt x="37" y="47"/>
                    <a:pt x="37" y="49"/>
                  </a:cubicBezTo>
                  <a:cubicBezTo>
                    <a:pt x="37" y="50"/>
                    <a:pt x="35" y="49"/>
                    <a:pt x="34" y="49"/>
                  </a:cubicBezTo>
                  <a:lnTo>
                    <a:pt x="33" y="49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2" name="Freeform 224"/>
            <p:cNvSpPr>
              <a:spLocks/>
            </p:cNvSpPr>
            <p:nvPr/>
          </p:nvSpPr>
          <p:spPr bwMode="auto">
            <a:xfrm>
              <a:off x="7238779" y="3439738"/>
              <a:ext cx="30601" cy="19738"/>
            </a:xfrm>
            <a:custGeom>
              <a:avLst/>
              <a:gdLst>
                <a:gd name="T0" fmla="*/ 61811426 w 66"/>
                <a:gd name="T1" fmla="*/ 31975401 h 40"/>
                <a:gd name="T2" fmla="*/ 61811426 w 66"/>
                <a:gd name="T3" fmla="*/ 24547145 h 40"/>
                <a:gd name="T4" fmla="*/ 58931611 w 66"/>
                <a:gd name="T5" fmla="*/ 25484852 h 40"/>
                <a:gd name="T6" fmla="*/ 49435583 w 66"/>
                <a:gd name="T7" fmla="*/ 22349397 h 40"/>
                <a:gd name="T8" fmla="*/ 48586036 w 66"/>
                <a:gd name="T9" fmla="*/ 22349397 h 40"/>
                <a:gd name="T10" fmla="*/ 43839705 w 66"/>
                <a:gd name="T11" fmla="*/ 23798963 h 40"/>
                <a:gd name="T12" fmla="*/ 42630772 w 66"/>
                <a:gd name="T13" fmla="*/ 22349397 h 40"/>
                <a:gd name="T14" fmla="*/ 40962007 w 66"/>
                <a:gd name="T15" fmla="*/ 21639804 h 40"/>
                <a:gd name="T16" fmla="*/ 36149069 w 66"/>
                <a:gd name="T17" fmla="*/ 18521929 h 40"/>
                <a:gd name="T18" fmla="*/ 32133915 w 66"/>
                <a:gd name="T19" fmla="*/ 17289162 h 40"/>
                <a:gd name="T20" fmla="*/ 31262565 w 66"/>
                <a:gd name="T21" fmla="*/ 15581405 h 40"/>
                <a:gd name="T22" fmla="*/ 30553758 w 66"/>
                <a:gd name="T23" fmla="*/ 11242633 h 40"/>
                <a:gd name="T24" fmla="*/ 29407055 w 66"/>
                <a:gd name="T25" fmla="*/ 8176459 h 40"/>
                <a:gd name="T26" fmla="*/ 27670974 w 66"/>
                <a:gd name="T27" fmla="*/ 8176459 h 40"/>
                <a:gd name="T28" fmla="*/ 26510883 w 66"/>
                <a:gd name="T29" fmla="*/ 11242633 h 40"/>
                <a:gd name="T30" fmla="*/ 24442627 w 66"/>
                <a:gd name="T31" fmla="*/ 10335640 h 40"/>
                <a:gd name="T32" fmla="*/ 20043996 w 66"/>
                <a:gd name="T33" fmla="*/ 7279650 h 40"/>
                <a:gd name="T34" fmla="*/ 17330084 w 66"/>
                <a:gd name="T35" fmla="*/ 4351850 h 40"/>
                <a:gd name="T36" fmla="*/ 12441453 w 66"/>
                <a:gd name="T37" fmla="*/ 2129867 h 40"/>
                <a:gd name="T38" fmla="*/ 11216144 w 66"/>
                <a:gd name="T39" fmla="*/ 896786 h 40"/>
                <a:gd name="T40" fmla="*/ 6840533 w 66"/>
                <a:gd name="T41" fmla="*/ 896786 h 40"/>
                <a:gd name="T42" fmla="*/ 6840533 w 66"/>
                <a:gd name="T43" fmla="*/ 896786 h 40"/>
                <a:gd name="T44" fmla="*/ 6840533 w 66"/>
                <a:gd name="T45" fmla="*/ 3065116 h 40"/>
                <a:gd name="T46" fmla="*/ 4745294 w 66"/>
                <a:gd name="T47" fmla="*/ 4351850 h 40"/>
                <a:gd name="T48" fmla="*/ 4745294 w 66"/>
                <a:gd name="T49" fmla="*/ 4351850 h 40"/>
                <a:gd name="T50" fmla="*/ 849380 w 66"/>
                <a:gd name="T51" fmla="*/ 9111496 h 40"/>
                <a:gd name="T52" fmla="*/ 2894072 w 66"/>
                <a:gd name="T53" fmla="*/ 18521929 h 40"/>
                <a:gd name="T54" fmla="*/ 7630663 w 66"/>
                <a:gd name="T55" fmla="*/ 20733999 h 40"/>
                <a:gd name="T56" fmla="*/ 8480158 w 66"/>
                <a:gd name="T57" fmla="*/ 20733999 h 40"/>
                <a:gd name="T58" fmla="*/ 12441453 w 66"/>
                <a:gd name="T59" fmla="*/ 23798963 h 40"/>
                <a:gd name="T60" fmla="*/ 16168527 w 66"/>
                <a:gd name="T61" fmla="*/ 26701250 h 40"/>
                <a:gd name="T62" fmla="*/ 21764401 w 66"/>
                <a:gd name="T63" fmla="*/ 28532717 h 40"/>
                <a:gd name="T64" fmla="*/ 24442627 w 66"/>
                <a:gd name="T65" fmla="*/ 30663471 h 40"/>
                <a:gd name="T66" fmla="*/ 29407055 w 66"/>
                <a:gd name="T67" fmla="*/ 29754340 h 40"/>
                <a:gd name="T68" fmla="*/ 35002574 w 66"/>
                <a:gd name="T69" fmla="*/ 29754340 h 40"/>
                <a:gd name="T70" fmla="*/ 35002574 w 66"/>
                <a:gd name="T71" fmla="*/ 32884513 h 40"/>
                <a:gd name="T72" fmla="*/ 38216494 w 66"/>
                <a:gd name="T73" fmla="*/ 35788852 h 40"/>
                <a:gd name="T74" fmla="*/ 41744238 w 66"/>
                <a:gd name="T75" fmla="*/ 37005820 h 40"/>
                <a:gd name="T76" fmla="*/ 42630772 w 66"/>
                <a:gd name="T77" fmla="*/ 37942938 h 40"/>
                <a:gd name="T78" fmla="*/ 42630772 w 66"/>
                <a:gd name="T79" fmla="*/ 37942938 h 40"/>
                <a:gd name="T80" fmla="*/ 48586036 w 66"/>
                <a:gd name="T81" fmla="*/ 38839757 h 40"/>
                <a:gd name="T82" fmla="*/ 50082122 w 66"/>
                <a:gd name="T83" fmla="*/ 40170146 h 40"/>
                <a:gd name="T84" fmla="*/ 54185658 w 66"/>
                <a:gd name="T85" fmla="*/ 40170146 h 40"/>
                <a:gd name="T86" fmla="*/ 55073742 w 66"/>
                <a:gd name="T87" fmla="*/ 41061739 h 40"/>
                <a:gd name="T88" fmla="*/ 58931611 w 66"/>
                <a:gd name="T89" fmla="*/ 41061739 h 40"/>
                <a:gd name="T90" fmla="*/ 61811426 w 66"/>
                <a:gd name="T91" fmla="*/ 38839757 h 40"/>
                <a:gd name="T92" fmla="*/ 61811426 w 66"/>
                <a:gd name="T93" fmla="*/ 31975401 h 4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6"/>
                <a:gd name="T142" fmla="*/ 0 h 40"/>
                <a:gd name="T143" fmla="*/ 66 w 66"/>
                <a:gd name="T144" fmla="*/ 40 h 4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6" h="40">
                  <a:moveTo>
                    <a:pt x="65" y="31"/>
                  </a:moveTo>
                  <a:cubicBezTo>
                    <a:pt x="65" y="29"/>
                    <a:pt x="66" y="26"/>
                    <a:pt x="65" y="24"/>
                  </a:cubicBezTo>
                  <a:cubicBezTo>
                    <a:pt x="64" y="24"/>
                    <a:pt x="63" y="24"/>
                    <a:pt x="62" y="25"/>
                  </a:cubicBezTo>
                  <a:cubicBezTo>
                    <a:pt x="59" y="25"/>
                    <a:pt x="55" y="25"/>
                    <a:pt x="52" y="22"/>
                  </a:cubicBezTo>
                  <a:cubicBezTo>
                    <a:pt x="52" y="22"/>
                    <a:pt x="51" y="22"/>
                    <a:pt x="51" y="22"/>
                  </a:cubicBezTo>
                  <a:cubicBezTo>
                    <a:pt x="50" y="23"/>
                    <a:pt x="48" y="24"/>
                    <a:pt x="46" y="23"/>
                  </a:cubicBezTo>
                  <a:cubicBezTo>
                    <a:pt x="46" y="23"/>
                    <a:pt x="45" y="22"/>
                    <a:pt x="45" y="22"/>
                  </a:cubicBezTo>
                  <a:cubicBezTo>
                    <a:pt x="44" y="21"/>
                    <a:pt x="43" y="21"/>
                    <a:pt x="43" y="21"/>
                  </a:cubicBezTo>
                  <a:cubicBezTo>
                    <a:pt x="41" y="19"/>
                    <a:pt x="40" y="19"/>
                    <a:pt x="38" y="18"/>
                  </a:cubicBezTo>
                  <a:cubicBezTo>
                    <a:pt x="37" y="17"/>
                    <a:pt x="35" y="17"/>
                    <a:pt x="34" y="17"/>
                  </a:cubicBezTo>
                  <a:cubicBezTo>
                    <a:pt x="33" y="16"/>
                    <a:pt x="33" y="15"/>
                    <a:pt x="33" y="15"/>
                  </a:cubicBezTo>
                  <a:cubicBezTo>
                    <a:pt x="32" y="14"/>
                    <a:pt x="33" y="13"/>
                    <a:pt x="32" y="11"/>
                  </a:cubicBezTo>
                  <a:cubicBezTo>
                    <a:pt x="32" y="10"/>
                    <a:pt x="32" y="9"/>
                    <a:pt x="31" y="8"/>
                  </a:cubicBezTo>
                  <a:cubicBezTo>
                    <a:pt x="30" y="8"/>
                    <a:pt x="30" y="8"/>
                    <a:pt x="29" y="8"/>
                  </a:cubicBezTo>
                  <a:cubicBezTo>
                    <a:pt x="29" y="9"/>
                    <a:pt x="29" y="10"/>
                    <a:pt x="28" y="11"/>
                  </a:cubicBezTo>
                  <a:cubicBezTo>
                    <a:pt x="28" y="11"/>
                    <a:pt x="27" y="11"/>
                    <a:pt x="26" y="10"/>
                  </a:cubicBezTo>
                  <a:cubicBezTo>
                    <a:pt x="25" y="9"/>
                    <a:pt x="24" y="7"/>
                    <a:pt x="21" y="7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5" y="2"/>
                    <a:pt x="13" y="2"/>
                  </a:cubicBezTo>
                  <a:cubicBezTo>
                    <a:pt x="13" y="2"/>
                    <a:pt x="12" y="1"/>
                    <a:pt x="12" y="1"/>
                  </a:cubicBezTo>
                  <a:cubicBezTo>
                    <a:pt x="11" y="0"/>
                    <a:pt x="9" y="0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8" y="2"/>
                    <a:pt x="7" y="3"/>
                  </a:cubicBezTo>
                  <a:cubicBezTo>
                    <a:pt x="7" y="4"/>
                    <a:pt x="5" y="3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6"/>
                    <a:pt x="2" y="8"/>
                    <a:pt x="1" y="9"/>
                  </a:cubicBezTo>
                  <a:cubicBezTo>
                    <a:pt x="1" y="12"/>
                    <a:pt x="0" y="16"/>
                    <a:pt x="3" y="18"/>
                  </a:cubicBezTo>
                  <a:cubicBezTo>
                    <a:pt x="4" y="19"/>
                    <a:pt x="6" y="19"/>
                    <a:pt x="8" y="20"/>
                  </a:cubicBezTo>
                  <a:cubicBezTo>
                    <a:pt x="8" y="20"/>
                    <a:pt x="9" y="20"/>
                    <a:pt x="9" y="20"/>
                  </a:cubicBezTo>
                  <a:cubicBezTo>
                    <a:pt x="10" y="21"/>
                    <a:pt x="11" y="22"/>
                    <a:pt x="13" y="23"/>
                  </a:cubicBezTo>
                  <a:cubicBezTo>
                    <a:pt x="14" y="24"/>
                    <a:pt x="15" y="25"/>
                    <a:pt x="17" y="26"/>
                  </a:cubicBezTo>
                  <a:cubicBezTo>
                    <a:pt x="19" y="26"/>
                    <a:pt x="21" y="27"/>
                    <a:pt x="23" y="28"/>
                  </a:cubicBezTo>
                  <a:cubicBezTo>
                    <a:pt x="24" y="29"/>
                    <a:pt x="25" y="30"/>
                    <a:pt x="26" y="30"/>
                  </a:cubicBezTo>
                  <a:cubicBezTo>
                    <a:pt x="28" y="30"/>
                    <a:pt x="30" y="31"/>
                    <a:pt x="31" y="29"/>
                  </a:cubicBezTo>
                  <a:cubicBezTo>
                    <a:pt x="33" y="28"/>
                    <a:pt x="35" y="28"/>
                    <a:pt x="37" y="29"/>
                  </a:cubicBezTo>
                  <a:cubicBezTo>
                    <a:pt x="38" y="30"/>
                    <a:pt x="37" y="31"/>
                    <a:pt x="37" y="32"/>
                  </a:cubicBezTo>
                  <a:cubicBezTo>
                    <a:pt x="38" y="33"/>
                    <a:pt x="39" y="34"/>
                    <a:pt x="40" y="35"/>
                  </a:cubicBezTo>
                  <a:cubicBezTo>
                    <a:pt x="41" y="36"/>
                    <a:pt x="43" y="35"/>
                    <a:pt x="44" y="36"/>
                  </a:cubicBezTo>
                  <a:cubicBezTo>
                    <a:pt x="44" y="36"/>
                    <a:pt x="44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7" y="38"/>
                    <a:pt x="49" y="37"/>
                    <a:pt x="51" y="38"/>
                  </a:cubicBezTo>
                  <a:cubicBezTo>
                    <a:pt x="52" y="38"/>
                    <a:pt x="52" y="38"/>
                    <a:pt x="53" y="39"/>
                  </a:cubicBezTo>
                  <a:cubicBezTo>
                    <a:pt x="54" y="39"/>
                    <a:pt x="56" y="38"/>
                    <a:pt x="57" y="39"/>
                  </a:cubicBezTo>
                  <a:cubicBezTo>
                    <a:pt x="57" y="39"/>
                    <a:pt x="58" y="39"/>
                    <a:pt x="58" y="40"/>
                  </a:cubicBezTo>
                  <a:cubicBezTo>
                    <a:pt x="59" y="40"/>
                    <a:pt x="61" y="40"/>
                    <a:pt x="62" y="40"/>
                  </a:cubicBezTo>
                  <a:cubicBezTo>
                    <a:pt x="63" y="39"/>
                    <a:pt x="64" y="38"/>
                    <a:pt x="65" y="38"/>
                  </a:cubicBezTo>
                  <a:cubicBezTo>
                    <a:pt x="65" y="35"/>
                    <a:pt x="65" y="33"/>
                    <a:pt x="65" y="3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3" name="Freeform 225"/>
            <p:cNvSpPr>
              <a:spLocks/>
            </p:cNvSpPr>
            <p:nvPr/>
          </p:nvSpPr>
          <p:spPr bwMode="auto">
            <a:xfrm>
              <a:off x="7271387" y="3449742"/>
              <a:ext cx="12291" cy="7571"/>
            </a:xfrm>
            <a:custGeom>
              <a:avLst/>
              <a:gdLst>
                <a:gd name="T0" fmla="*/ 27490878 w 26"/>
                <a:gd name="T1" fmla="*/ 7279645 h 16"/>
                <a:gd name="T2" fmla="*/ 26129511 w 26"/>
                <a:gd name="T3" fmla="*/ 7279645 h 16"/>
                <a:gd name="T4" fmla="*/ 18871302 w 26"/>
                <a:gd name="T5" fmla="*/ 3065115 h 16"/>
                <a:gd name="T6" fmla="*/ 11938254 w 26"/>
                <a:gd name="T7" fmla="*/ 896786 h 16"/>
                <a:gd name="T8" fmla="*/ 7913775 w 26"/>
                <a:gd name="T9" fmla="*/ 896786 h 16"/>
                <a:gd name="T10" fmla="*/ 4595099 w 26"/>
                <a:gd name="T11" fmla="*/ 4351847 h 16"/>
                <a:gd name="T12" fmla="*/ 2335724 w 26"/>
                <a:gd name="T13" fmla="*/ 7279645 h 16"/>
                <a:gd name="T14" fmla="*/ 2335724 w 26"/>
                <a:gd name="T15" fmla="*/ 8176458 h 16"/>
                <a:gd name="T16" fmla="*/ 979497 w 26"/>
                <a:gd name="T17" fmla="*/ 9111496 h 16"/>
                <a:gd name="T18" fmla="*/ 0 w 26"/>
                <a:gd name="T19" fmla="*/ 11241359 h 16"/>
                <a:gd name="T20" fmla="*/ 0 w 26"/>
                <a:gd name="T21" fmla="*/ 12013775 h 16"/>
                <a:gd name="T22" fmla="*/ 0 w 26"/>
                <a:gd name="T23" fmla="*/ 13463332 h 16"/>
                <a:gd name="T24" fmla="*/ 4595099 w 26"/>
                <a:gd name="T25" fmla="*/ 15456858 h 16"/>
                <a:gd name="T26" fmla="*/ 13281841 w 26"/>
                <a:gd name="T27" fmla="*/ 15456858 h 16"/>
                <a:gd name="T28" fmla="*/ 25150083 w 26"/>
                <a:gd name="T29" fmla="*/ 14143703 h 16"/>
                <a:gd name="T30" fmla="*/ 27490878 w 26"/>
                <a:gd name="T31" fmla="*/ 13463332 h 16"/>
                <a:gd name="T32" fmla="*/ 28468131 w 26"/>
                <a:gd name="T33" fmla="*/ 13463332 h 16"/>
                <a:gd name="T34" fmla="*/ 27490878 w 26"/>
                <a:gd name="T35" fmla="*/ 11241359 h 16"/>
                <a:gd name="T36" fmla="*/ 27490878 w 26"/>
                <a:gd name="T37" fmla="*/ 8176458 h 16"/>
                <a:gd name="T38" fmla="*/ 27490878 w 26"/>
                <a:gd name="T39" fmla="*/ 7279645 h 1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6"/>
                <a:gd name="T61" fmla="*/ 0 h 16"/>
                <a:gd name="T62" fmla="*/ 26 w 26"/>
                <a:gd name="T63" fmla="*/ 16 h 1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6" h="16">
                  <a:moveTo>
                    <a:pt x="25" y="7"/>
                  </a:moveTo>
                  <a:cubicBezTo>
                    <a:pt x="24" y="8"/>
                    <a:pt x="24" y="8"/>
                    <a:pt x="24" y="7"/>
                  </a:cubicBezTo>
                  <a:cubicBezTo>
                    <a:pt x="22" y="6"/>
                    <a:pt x="20" y="4"/>
                    <a:pt x="17" y="3"/>
                  </a:cubicBezTo>
                  <a:cubicBezTo>
                    <a:pt x="15" y="3"/>
                    <a:pt x="13" y="2"/>
                    <a:pt x="11" y="1"/>
                  </a:cubicBezTo>
                  <a:cubicBezTo>
                    <a:pt x="10" y="0"/>
                    <a:pt x="8" y="0"/>
                    <a:pt x="7" y="1"/>
                  </a:cubicBezTo>
                  <a:cubicBezTo>
                    <a:pt x="6" y="1"/>
                    <a:pt x="5" y="3"/>
                    <a:pt x="4" y="4"/>
                  </a:cubicBezTo>
                  <a:cubicBezTo>
                    <a:pt x="4" y="5"/>
                    <a:pt x="3" y="5"/>
                    <a:pt x="2" y="7"/>
                  </a:cubicBezTo>
                  <a:cubicBezTo>
                    <a:pt x="2" y="7"/>
                    <a:pt x="2" y="8"/>
                    <a:pt x="2" y="8"/>
                  </a:cubicBezTo>
                  <a:cubicBezTo>
                    <a:pt x="2" y="9"/>
                    <a:pt x="1" y="9"/>
                    <a:pt x="1" y="9"/>
                  </a:cubicBezTo>
                  <a:cubicBezTo>
                    <a:pt x="1" y="10"/>
                    <a:pt x="1" y="11"/>
                    <a:pt x="0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1" y="14"/>
                    <a:pt x="3" y="14"/>
                    <a:pt x="4" y="15"/>
                  </a:cubicBezTo>
                  <a:cubicBezTo>
                    <a:pt x="6" y="16"/>
                    <a:pt x="9" y="15"/>
                    <a:pt x="12" y="15"/>
                  </a:cubicBezTo>
                  <a:cubicBezTo>
                    <a:pt x="15" y="13"/>
                    <a:pt x="19" y="15"/>
                    <a:pt x="23" y="14"/>
                  </a:cubicBezTo>
                  <a:cubicBezTo>
                    <a:pt x="24" y="14"/>
                    <a:pt x="24" y="13"/>
                    <a:pt x="25" y="13"/>
                  </a:cubicBezTo>
                  <a:cubicBezTo>
                    <a:pt x="25" y="13"/>
                    <a:pt x="25" y="13"/>
                    <a:pt x="26" y="13"/>
                  </a:cubicBezTo>
                  <a:cubicBezTo>
                    <a:pt x="26" y="12"/>
                    <a:pt x="26" y="11"/>
                    <a:pt x="25" y="11"/>
                  </a:cubicBezTo>
                  <a:cubicBezTo>
                    <a:pt x="25" y="10"/>
                    <a:pt x="25" y="9"/>
                    <a:pt x="25" y="8"/>
                  </a:cubicBezTo>
                  <a:cubicBezTo>
                    <a:pt x="25" y="8"/>
                    <a:pt x="24" y="8"/>
                    <a:pt x="25" y="7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4" name="Freeform 226"/>
            <p:cNvSpPr>
              <a:spLocks/>
            </p:cNvSpPr>
            <p:nvPr/>
          </p:nvSpPr>
          <p:spPr bwMode="auto">
            <a:xfrm>
              <a:off x="7321553" y="3472724"/>
              <a:ext cx="29598" cy="66243"/>
            </a:xfrm>
            <a:custGeom>
              <a:avLst/>
              <a:gdLst>
                <a:gd name="T0" fmla="*/ 25852440 w 63"/>
                <a:gd name="T1" fmla="*/ 110176769 h 137"/>
                <a:gd name="T2" fmla="*/ 29619462 w 63"/>
                <a:gd name="T3" fmla="*/ 114129269 h 137"/>
                <a:gd name="T4" fmla="*/ 27960198 w 63"/>
                <a:gd name="T5" fmla="*/ 118232282 h 137"/>
                <a:gd name="T6" fmla="*/ 28765555 w 63"/>
                <a:gd name="T7" fmla="*/ 122121709 h 137"/>
                <a:gd name="T8" fmla="*/ 28765555 w 63"/>
                <a:gd name="T9" fmla="*/ 124975123 h 137"/>
                <a:gd name="T10" fmla="*/ 32379944 w 63"/>
                <a:gd name="T11" fmla="*/ 124122668 h 137"/>
                <a:gd name="T12" fmla="*/ 34398775 w 63"/>
                <a:gd name="T13" fmla="*/ 121347566 h 137"/>
                <a:gd name="T14" fmla="*/ 35653837 w 63"/>
                <a:gd name="T15" fmla="*/ 118232282 h 137"/>
                <a:gd name="T16" fmla="*/ 40073990 w 63"/>
                <a:gd name="T17" fmla="*/ 116778603 h 137"/>
                <a:gd name="T18" fmla="*/ 44202017 w 63"/>
                <a:gd name="T19" fmla="*/ 110176769 h 137"/>
                <a:gd name="T20" fmla="*/ 58383521 w 63"/>
                <a:gd name="T21" fmla="*/ 99377540 h 137"/>
                <a:gd name="T22" fmla="*/ 59601178 w 63"/>
                <a:gd name="T23" fmla="*/ 94772364 h 137"/>
                <a:gd name="T24" fmla="*/ 59601178 w 63"/>
                <a:gd name="T25" fmla="*/ 91184642 h 137"/>
                <a:gd name="T26" fmla="*/ 59601178 w 63"/>
                <a:gd name="T27" fmla="*/ 81148239 h 137"/>
                <a:gd name="T28" fmla="*/ 58383521 w 63"/>
                <a:gd name="T29" fmla="*/ 75721785 h 137"/>
                <a:gd name="T30" fmla="*/ 57579660 w 63"/>
                <a:gd name="T31" fmla="*/ 73779071 h 137"/>
                <a:gd name="T32" fmla="*/ 52597706 w 63"/>
                <a:gd name="T33" fmla="*/ 64597915 h 137"/>
                <a:gd name="T34" fmla="*/ 47816463 w 63"/>
                <a:gd name="T35" fmla="*/ 57577209 h 137"/>
                <a:gd name="T36" fmla="*/ 42143150 w 63"/>
                <a:gd name="T37" fmla="*/ 53751231 h 137"/>
                <a:gd name="T38" fmla="*/ 36508387 w 63"/>
                <a:gd name="T39" fmla="*/ 46406639 h 137"/>
                <a:gd name="T40" fmla="*/ 29619462 w 63"/>
                <a:gd name="T41" fmla="*/ 38171840 h 137"/>
                <a:gd name="T42" fmla="*/ 29619462 w 63"/>
                <a:gd name="T43" fmla="*/ 32831959 h 137"/>
                <a:gd name="T44" fmla="*/ 31525772 w 63"/>
                <a:gd name="T45" fmla="*/ 27399130 h 137"/>
                <a:gd name="T46" fmla="*/ 37361954 w 63"/>
                <a:gd name="T47" fmla="*/ 21969960 h 137"/>
                <a:gd name="T48" fmla="*/ 42143150 w 63"/>
                <a:gd name="T49" fmla="*/ 18229636 h 137"/>
                <a:gd name="T50" fmla="*/ 42143150 w 63"/>
                <a:gd name="T51" fmla="*/ 15426365 h 137"/>
                <a:gd name="T52" fmla="*/ 38528751 w 63"/>
                <a:gd name="T53" fmla="*/ 12800409 h 137"/>
                <a:gd name="T54" fmla="*/ 34398775 w 63"/>
                <a:gd name="T55" fmla="*/ 8192924 h 137"/>
                <a:gd name="T56" fmla="*/ 30872424 w 63"/>
                <a:gd name="T57" fmla="*/ 3475018 h 137"/>
                <a:gd name="T58" fmla="*/ 23092866 w 63"/>
                <a:gd name="T59" fmla="*/ 0 h 137"/>
                <a:gd name="T60" fmla="*/ 19050355 w 63"/>
                <a:gd name="T61" fmla="*/ 3475018 h 137"/>
                <a:gd name="T62" fmla="*/ 14204583 w 63"/>
                <a:gd name="T63" fmla="*/ 5429276 h 137"/>
                <a:gd name="T64" fmla="*/ 11308080 w 63"/>
                <a:gd name="T65" fmla="*/ 5429276 h 137"/>
                <a:gd name="T66" fmla="*/ 6888011 w 63"/>
                <a:gd name="T67" fmla="*/ 6543074 h 137"/>
                <a:gd name="T68" fmla="*/ 0 w 63"/>
                <a:gd name="T69" fmla="*/ 7371293 h 137"/>
                <a:gd name="T70" fmla="*/ 854775 w 63"/>
                <a:gd name="T71" fmla="*/ 8192924 h 137"/>
                <a:gd name="T72" fmla="*/ 4781270 w 63"/>
                <a:gd name="T73" fmla="*/ 11971530 h 137"/>
                <a:gd name="T74" fmla="*/ 6888011 w 63"/>
                <a:gd name="T75" fmla="*/ 13622517 h 137"/>
                <a:gd name="T76" fmla="*/ 7693651 w 63"/>
                <a:gd name="T77" fmla="*/ 19316160 h 137"/>
                <a:gd name="T78" fmla="*/ 8548424 w 63"/>
                <a:gd name="T79" fmla="*/ 20790789 h 137"/>
                <a:gd name="T80" fmla="*/ 19050355 w 63"/>
                <a:gd name="T81" fmla="*/ 21969960 h 137"/>
                <a:gd name="T82" fmla="*/ 21963115 w 63"/>
                <a:gd name="T83" fmla="*/ 28224840 h 137"/>
                <a:gd name="T84" fmla="*/ 17457730 w 63"/>
                <a:gd name="T85" fmla="*/ 31026914 h 137"/>
                <a:gd name="T86" fmla="*/ 16290686 w 63"/>
                <a:gd name="T87" fmla="*/ 33591315 h 137"/>
                <a:gd name="T88" fmla="*/ 23984349 w 63"/>
                <a:gd name="T89" fmla="*/ 38171840 h 137"/>
                <a:gd name="T90" fmla="*/ 32379944 w 63"/>
                <a:gd name="T91" fmla="*/ 50148081 h 137"/>
                <a:gd name="T92" fmla="*/ 37361954 w 63"/>
                <a:gd name="T93" fmla="*/ 55773050 h 137"/>
                <a:gd name="T94" fmla="*/ 41288921 w 63"/>
                <a:gd name="T95" fmla="*/ 61834168 h 137"/>
                <a:gd name="T96" fmla="*/ 45055602 w 63"/>
                <a:gd name="T97" fmla="*/ 66544666 h 137"/>
                <a:gd name="T98" fmla="*/ 46288206 w 63"/>
                <a:gd name="T99" fmla="*/ 71978457 h 137"/>
                <a:gd name="T100" fmla="*/ 46961705 w 63"/>
                <a:gd name="T101" fmla="*/ 83101667 h 137"/>
                <a:gd name="T102" fmla="*/ 46961705 w 63"/>
                <a:gd name="T103" fmla="*/ 92771255 h 137"/>
                <a:gd name="T104" fmla="*/ 44202017 w 63"/>
                <a:gd name="T105" fmla="*/ 94772364 h 137"/>
                <a:gd name="T106" fmla="*/ 39268056 w 63"/>
                <a:gd name="T107" fmla="*/ 96602665 h 137"/>
                <a:gd name="T108" fmla="*/ 35653837 w 63"/>
                <a:gd name="T109" fmla="*/ 98549076 h 137"/>
                <a:gd name="T110" fmla="*/ 36508387 w 63"/>
                <a:gd name="T111" fmla="*/ 101330817 h 137"/>
                <a:gd name="T112" fmla="*/ 38528751 w 63"/>
                <a:gd name="T113" fmla="*/ 104805975 h 137"/>
                <a:gd name="T114" fmla="*/ 29619462 w 63"/>
                <a:gd name="T115" fmla="*/ 106748765 h 137"/>
                <a:gd name="T116" fmla="*/ 25852440 w 63"/>
                <a:gd name="T117" fmla="*/ 108695176 h 13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"/>
                <a:gd name="T178" fmla="*/ 0 h 137"/>
                <a:gd name="T179" fmla="*/ 63 w 63"/>
                <a:gd name="T180" fmla="*/ 137 h 13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" h="137">
                  <a:moveTo>
                    <a:pt x="26" y="120"/>
                  </a:moveTo>
                  <a:cubicBezTo>
                    <a:pt x="26" y="120"/>
                    <a:pt x="27" y="121"/>
                    <a:pt x="27" y="121"/>
                  </a:cubicBezTo>
                  <a:cubicBezTo>
                    <a:pt x="27" y="122"/>
                    <a:pt x="29" y="121"/>
                    <a:pt x="30" y="122"/>
                  </a:cubicBezTo>
                  <a:cubicBezTo>
                    <a:pt x="31" y="123"/>
                    <a:pt x="32" y="124"/>
                    <a:pt x="31" y="125"/>
                  </a:cubicBezTo>
                  <a:cubicBezTo>
                    <a:pt x="31" y="126"/>
                    <a:pt x="29" y="126"/>
                    <a:pt x="29" y="127"/>
                  </a:cubicBezTo>
                  <a:cubicBezTo>
                    <a:pt x="29" y="128"/>
                    <a:pt x="29" y="129"/>
                    <a:pt x="29" y="130"/>
                  </a:cubicBezTo>
                  <a:cubicBezTo>
                    <a:pt x="29" y="131"/>
                    <a:pt x="29" y="132"/>
                    <a:pt x="30" y="133"/>
                  </a:cubicBezTo>
                  <a:cubicBezTo>
                    <a:pt x="30" y="133"/>
                    <a:pt x="30" y="133"/>
                    <a:pt x="30" y="134"/>
                  </a:cubicBezTo>
                  <a:cubicBezTo>
                    <a:pt x="30" y="134"/>
                    <a:pt x="30" y="135"/>
                    <a:pt x="30" y="135"/>
                  </a:cubicBezTo>
                  <a:cubicBezTo>
                    <a:pt x="30" y="136"/>
                    <a:pt x="29" y="136"/>
                    <a:pt x="30" y="137"/>
                  </a:cubicBezTo>
                  <a:cubicBezTo>
                    <a:pt x="30" y="137"/>
                    <a:pt x="31" y="137"/>
                    <a:pt x="31" y="137"/>
                  </a:cubicBezTo>
                  <a:cubicBezTo>
                    <a:pt x="32" y="136"/>
                    <a:pt x="33" y="137"/>
                    <a:pt x="34" y="136"/>
                  </a:cubicBezTo>
                  <a:cubicBezTo>
                    <a:pt x="34" y="136"/>
                    <a:pt x="34" y="136"/>
                    <a:pt x="34" y="136"/>
                  </a:cubicBezTo>
                  <a:cubicBezTo>
                    <a:pt x="35" y="135"/>
                    <a:pt x="35" y="134"/>
                    <a:pt x="36" y="133"/>
                  </a:cubicBezTo>
                  <a:cubicBezTo>
                    <a:pt x="36" y="132"/>
                    <a:pt x="36" y="132"/>
                    <a:pt x="36" y="131"/>
                  </a:cubicBezTo>
                  <a:cubicBezTo>
                    <a:pt x="36" y="131"/>
                    <a:pt x="37" y="130"/>
                    <a:pt x="37" y="130"/>
                  </a:cubicBezTo>
                  <a:cubicBezTo>
                    <a:pt x="39" y="130"/>
                    <a:pt x="40" y="129"/>
                    <a:pt x="41" y="128"/>
                  </a:cubicBezTo>
                  <a:cubicBezTo>
                    <a:pt x="41" y="128"/>
                    <a:pt x="42" y="128"/>
                    <a:pt x="42" y="128"/>
                  </a:cubicBezTo>
                  <a:cubicBezTo>
                    <a:pt x="44" y="127"/>
                    <a:pt x="45" y="125"/>
                    <a:pt x="46" y="125"/>
                  </a:cubicBezTo>
                  <a:cubicBezTo>
                    <a:pt x="47" y="124"/>
                    <a:pt x="46" y="123"/>
                    <a:pt x="46" y="121"/>
                  </a:cubicBezTo>
                  <a:cubicBezTo>
                    <a:pt x="49" y="120"/>
                    <a:pt x="52" y="118"/>
                    <a:pt x="54" y="116"/>
                  </a:cubicBezTo>
                  <a:cubicBezTo>
                    <a:pt x="57" y="115"/>
                    <a:pt x="60" y="112"/>
                    <a:pt x="61" y="109"/>
                  </a:cubicBezTo>
                  <a:cubicBezTo>
                    <a:pt x="62" y="109"/>
                    <a:pt x="62" y="109"/>
                    <a:pt x="62" y="108"/>
                  </a:cubicBezTo>
                  <a:cubicBezTo>
                    <a:pt x="62" y="107"/>
                    <a:pt x="62" y="105"/>
                    <a:pt x="62" y="104"/>
                  </a:cubicBezTo>
                  <a:cubicBezTo>
                    <a:pt x="62" y="104"/>
                    <a:pt x="62" y="103"/>
                    <a:pt x="61" y="103"/>
                  </a:cubicBezTo>
                  <a:cubicBezTo>
                    <a:pt x="61" y="102"/>
                    <a:pt x="61" y="101"/>
                    <a:pt x="62" y="100"/>
                  </a:cubicBezTo>
                  <a:cubicBezTo>
                    <a:pt x="62" y="100"/>
                    <a:pt x="62" y="99"/>
                    <a:pt x="62" y="98"/>
                  </a:cubicBezTo>
                  <a:cubicBezTo>
                    <a:pt x="62" y="95"/>
                    <a:pt x="63" y="92"/>
                    <a:pt x="62" y="89"/>
                  </a:cubicBezTo>
                  <a:cubicBezTo>
                    <a:pt x="62" y="87"/>
                    <a:pt x="62" y="85"/>
                    <a:pt x="62" y="83"/>
                  </a:cubicBezTo>
                  <a:cubicBezTo>
                    <a:pt x="62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2"/>
                  </a:cubicBezTo>
                  <a:cubicBezTo>
                    <a:pt x="61" y="82"/>
                    <a:pt x="61" y="81"/>
                    <a:pt x="60" y="81"/>
                  </a:cubicBezTo>
                  <a:cubicBezTo>
                    <a:pt x="60" y="79"/>
                    <a:pt x="60" y="78"/>
                    <a:pt x="59" y="76"/>
                  </a:cubicBezTo>
                  <a:cubicBezTo>
                    <a:pt x="58" y="74"/>
                    <a:pt x="57" y="73"/>
                    <a:pt x="55" y="71"/>
                  </a:cubicBezTo>
                  <a:cubicBezTo>
                    <a:pt x="54" y="69"/>
                    <a:pt x="53" y="67"/>
                    <a:pt x="52" y="65"/>
                  </a:cubicBezTo>
                  <a:cubicBezTo>
                    <a:pt x="51" y="64"/>
                    <a:pt x="51" y="64"/>
                    <a:pt x="50" y="63"/>
                  </a:cubicBezTo>
                  <a:cubicBezTo>
                    <a:pt x="50" y="63"/>
                    <a:pt x="50" y="63"/>
                    <a:pt x="49" y="63"/>
                  </a:cubicBezTo>
                  <a:cubicBezTo>
                    <a:pt x="47" y="62"/>
                    <a:pt x="46" y="60"/>
                    <a:pt x="44" y="59"/>
                  </a:cubicBezTo>
                  <a:cubicBezTo>
                    <a:pt x="42" y="58"/>
                    <a:pt x="40" y="56"/>
                    <a:pt x="39" y="54"/>
                  </a:cubicBezTo>
                  <a:cubicBezTo>
                    <a:pt x="38" y="53"/>
                    <a:pt x="39" y="52"/>
                    <a:pt x="38" y="51"/>
                  </a:cubicBezTo>
                  <a:cubicBezTo>
                    <a:pt x="38" y="50"/>
                    <a:pt x="37" y="48"/>
                    <a:pt x="36" y="48"/>
                  </a:cubicBezTo>
                  <a:cubicBezTo>
                    <a:pt x="34" y="47"/>
                    <a:pt x="32" y="45"/>
                    <a:pt x="31" y="42"/>
                  </a:cubicBezTo>
                  <a:cubicBezTo>
                    <a:pt x="30" y="41"/>
                    <a:pt x="30" y="39"/>
                    <a:pt x="31" y="38"/>
                  </a:cubicBezTo>
                  <a:cubicBezTo>
                    <a:pt x="31" y="37"/>
                    <a:pt x="31" y="36"/>
                    <a:pt x="31" y="36"/>
                  </a:cubicBezTo>
                  <a:cubicBezTo>
                    <a:pt x="31" y="35"/>
                    <a:pt x="31" y="33"/>
                    <a:pt x="31" y="32"/>
                  </a:cubicBezTo>
                  <a:cubicBezTo>
                    <a:pt x="32" y="31"/>
                    <a:pt x="32" y="31"/>
                    <a:pt x="33" y="30"/>
                  </a:cubicBezTo>
                  <a:cubicBezTo>
                    <a:pt x="34" y="30"/>
                    <a:pt x="35" y="29"/>
                    <a:pt x="36" y="28"/>
                  </a:cubicBezTo>
                  <a:cubicBezTo>
                    <a:pt x="37" y="26"/>
                    <a:pt x="37" y="25"/>
                    <a:pt x="39" y="24"/>
                  </a:cubicBezTo>
                  <a:cubicBezTo>
                    <a:pt x="40" y="23"/>
                    <a:pt x="42" y="22"/>
                    <a:pt x="43" y="21"/>
                  </a:cubicBezTo>
                  <a:cubicBezTo>
                    <a:pt x="43" y="21"/>
                    <a:pt x="44" y="21"/>
                    <a:pt x="44" y="20"/>
                  </a:cubicBezTo>
                  <a:cubicBezTo>
                    <a:pt x="45" y="20"/>
                    <a:pt x="45" y="18"/>
                    <a:pt x="46" y="17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1" y="16"/>
                    <a:pt x="41" y="16"/>
                  </a:cubicBezTo>
                  <a:cubicBezTo>
                    <a:pt x="40" y="16"/>
                    <a:pt x="40" y="14"/>
                    <a:pt x="40" y="14"/>
                  </a:cubicBezTo>
                  <a:cubicBezTo>
                    <a:pt x="39" y="12"/>
                    <a:pt x="38" y="13"/>
                    <a:pt x="37" y="12"/>
                  </a:cubicBezTo>
                  <a:cubicBezTo>
                    <a:pt x="36" y="11"/>
                    <a:pt x="36" y="10"/>
                    <a:pt x="36" y="9"/>
                  </a:cubicBezTo>
                  <a:cubicBezTo>
                    <a:pt x="37" y="7"/>
                    <a:pt x="37" y="6"/>
                    <a:pt x="37" y="5"/>
                  </a:cubicBezTo>
                  <a:cubicBezTo>
                    <a:pt x="36" y="3"/>
                    <a:pt x="34" y="4"/>
                    <a:pt x="32" y="4"/>
                  </a:cubicBezTo>
                  <a:cubicBezTo>
                    <a:pt x="31" y="4"/>
                    <a:pt x="29" y="4"/>
                    <a:pt x="28" y="4"/>
                  </a:cubicBezTo>
                  <a:cubicBezTo>
                    <a:pt x="27" y="3"/>
                    <a:pt x="26" y="1"/>
                    <a:pt x="24" y="0"/>
                  </a:cubicBezTo>
                  <a:cubicBezTo>
                    <a:pt x="23" y="0"/>
                    <a:pt x="21" y="0"/>
                    <a:pt x="21" y="1"/>
                  </a:cubicBezTo>
                  <a:cubicBezTo>
                    <a:pt x="21" y="2"/>
                    <a:pt x="21" y="4"/>
                    <a:pt x="20" y="4"/>
                  </a:cubicBezTo>
                  <a:cubicBezTo>
                    <a:pt x="19" y="5"/>
                    <a:pt x="18" y="6"/>
                    <a:pt x="16" y="6"/>
                  </a:cubicBezTo>
                  <a:cubicBezTo>
                    <a:pt x="16" y="6"/>
                    <a:pt x="15" y="6"/>
                    <a:pt x="15" y="6"/>
                  </a:cubicBezTo>
                  <a:cubicBezTo>
                    <a:pt x="15" y="7"/>
                    <a:pt x="14" y="7"/>
                    <a:pt x="13" y="7"/>
                  </a:cubicBezTo>
                  <a:cubicBezTo>
                    <a:pt x="13" y="6"/>
                    <a:pt x="12" y="6"/>
                    <a:pt x="12" y="6"/>
                  </a:cubicBezTo>
                  <a:cubicBezTo>
                    <a:pt x="11" y="5"/>
                    <a:pt x="10" y="6"/>
                    <a:pt x="8" y="6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6" y="8"/>
                    <a:pt x="5" y="7"/>
                    <a:pt x="4" y="7"/>
                  </a:cubicBezTo>
                  <a:cubicBezTo>
                    <a:pt x="2" y="6"/>
                    <a:pt x="1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2" y="10"/>
                    <a:pt x="3" y="11"/>
                    <a:pt x="5" y="1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4"/>
                    <a:pt x="5" y="14"/>
                    <a:pt x="6" y="15"/>
                  </a:cubicBezTo>
                  <a:cubicBezTo>
                    <a:pt x="6" y="15"/>
                    <a:pt x="7" y="15"/>
                    <a:pt x="7" y="15"/>
                  </a:cubicBezTo>
                  <a:cubicBezTo>
                    <a:pt x="7" y="17"/>
                    <a:pt x="7" y="18"/>
                    <a:pt x="7" y="19"/>
                  </a:cubicBezTo>
                  <a:cubicBezTo>
                    <a:pt x="7" y="20"/>
                    <a:pt x="7" y="20"/>
                    <a:pt x="8" y="21"/>
                  </a:cubicBezTo>
                  <a:cubicBezTo>
                    <a:pt x="8" y="21"/>
                    <a:pt x="8" y="22"/>
                    <a:pt x="8" y="22"/>
                  </a:cubicBezTo>
                  <a:cubicBezTo>
                    <a:pt x="8" y="23"/>
                    <a:pt x="9" y="23"/>
                    <a:pt x="9" y="23"/>
                  </a:cubicBezTo>
                  <a:cubicBezTo>
                    <a:pt x="12" y="24"/>
                    <a:pt x="16" y="23"/>
                    <a:pt x="19" y="24"/>
                  </a:cubicBezTo>
                  <a:cubicBezTo>
                    <a:pt x="19" y="24"/>
                    <a:pt x="20" y="24"/>
                    <a:pt x="20" y="24"/>
                  </a:cubicBezTo>
                  <a:cubicBezTo>
                    <a:pt x="20" y="26"/>
                    <a:pt x="22" y="26"/>
                    <a:pt x="23" y="27"/>
                  </a:cubicBezTo>
                  <a:cubicBezTo>
                    <a:pt x="24" y="29"/>
                    <a:pt x="23" y="30"/>
                    <a:pt x="23" y="31"/>
                  </a:cubicBezTo>
                  <a:cubicBezTo>
                    <a:pt x="23" y="32"/>
                    <a:pt x="22" y="33"/>
                    <a:pt x="22" y="33"/>
                  </a:cubicBezTo>
                  <a:cubicBezTo>
                    <a:pt x="21" y="34"/>
                    <a:pt x="19" y="33"/>
                    <a:pt x="18" y="34"/>
                  </a:cubicBezTo>
                  <a:cubicBezTo>
                    <a:pt x="18" y="34"/>
                    <a:pt x="17" y="35"/>
                    <a:pt x="17" y="36"/>
                  </a:cubicBezTo>
                  <a:cubicBezTo>
                    <a:pt x="17" y="36"/>
                    <a:pt x="16" y="37"/>
                    <a:pt x="17" y="37"/>
                  </a:cubicBezTo>
                  <a:cubicBezTo>
                    <a:pt x="19" y="39"/>
                    <a:pt x="22" y="39"/>
                    <a:pt x="24" y="41"/>
                  </a:cubicBezTo>
                  <a:cubicBezTo>
                    <a:pt x="24" y="41"/>
                    <a:pt x="24" y="41"/>
                    <a:pt x="25" y="42"/>
                  </a:cubicBezTo>
                  <a:cubicBezTo>
                    <a:pt x="26" y="44"/>
                    <a:pt x="26" y="45"/>
                    <a:pt x="27" y="47"/>
                  </a:cubicBezTo>
                  <a:cubicBezTo>
                    <a:pt x="29" y="50"/>
                    <a:pt x="32" y="52"/>
                    <a:pt x="34" y="55"/>
                  </a:cubicBezTo>
                  <a:cubicBezTo>
                    <a:pt x="36" y="56"/>
                    <a:pt x="37" y="57"/>
                    <a:pt x="38" y="59"/>
                  </a:cubicBezTo>
                  <a:cubicBezTo>
                    <a:pt x="39" y="59"/>
                    <a:pt x="39" y="60"/>
                    <a:pt x="39" y="61"/>
                  </a:cubicBezTo>
                  <a:cubicBezTo>
                    <a:pt x="40" y="63"/>
                    <a:pt x="42" y="64"/>
                    <a:pt x="43" y="65"/>
                  </a:cubicBezTo>
                  <a:cubicBezTo>
                    <a:pt x="43" y="66"/>
                    <a:pt x="43" y="67"/>
                    <a:pt x="43" y="68"/>
                  </a:cubicBezTo>
                  <a:cubicBezTo>
                    <a:pt x="44" y="69"/>
                    <a:pt x="44" y="70"/>
                    <a:pt x="45" y="70"/>
                  </a:cubicBezTo>
                  <a:cubicBezTo>
                    <a:pt x="46" y="71"/>
                    <a:pt x="47" y="72"/>
                    <a:pt x="47" y="73"/>
                  </a:cubicBezTo>
                  <a:cubicBezTo>
                    <a:pt x="48" y="74"/>
                    <a:pt x="47" y="76"/>
                    <a:pt x="47" y="78"/>
                  </a:cubicBezTo>
                  <a:cubicBezTo>
                    <a:pt x="47" y="79"/>
                    <a:pt x="48" y="79"/>
                    <a:pt x="48" y="79"/>
                  </a:cubicBezTo>
                  <a:cubicBezTo>
                    <a:pt x="49" y="82"/>
                    <a:pt x="48" y="84"/>
                    <a:pt x="49" y="87"/>
                  </a:cubicBezTo>
                  <a:cubicBezTo>
                    <a:pt x="49" y="88"/>
                    <a:pt x="49" y="89"/>
                    <a:pt x="49" y="91"/>
                  </a:cubicBezTo>
                  <a:cubicBezTo>
                    <a:pt x="50" y="93"/>
                    <a:pt x="50" y="95"/>
                    <a:pt x="49" y="96"/>
                  </a:cubicBezTo>
                  <a:cubicBezTo>
                    <a:pt x="49" y="98"/>
                    <a:pt x="49" y="100"/>
                    <a:pt x="49" y="102"/>
                  </a:cubicBezTo>
                  <a:cubicBezTo>
                    <a:pt x="49" y="103"/>
                    <a:pt x="48" y="103"/>
                    <a:pt x="48" y="104"/>
                  </a:cubicBezTo>
                  <a:cubicBezTo>
                    <a:pt x="47" y="104"/>
                    <a:pt x="46" y="104"/>
                    <a:pt x="46" y="104"/>
                  </a:cubicBezTo>
                  <a:cubicBezTo>
                    <a:pt x="45" y="104"/>
                    <a:pt x="45" y="105"/>
                    <a:pt x="44" y="105"/>
                  </a:cubicBezTo>
                  <a:cubicBezTo>
                    <a:pt x="43" y="106"/>
                    <a:pt x="42" y="106"/>
                    <a:pt x="41" y="106"/>
                  </a:cubicBezTo>
                  <a:cubicBezTo>
                    <a:pt x="41" y="106"/>
                    <a:pt x="40" y="106"/>
                    <a:pt x="39" y="107"/>
                  </a:cubicBezTo>
                  <a:cubicBezTo>
                    <a:pt x="39" y="107"/>
                    <a:pt x="38" y="107"/>
                    <a:pt x="37" y="108"/>
                  </a:cubicBezTo>
                  <a:cubicBezTo>
                    <a:pt x="37" y="109"/>
                    <a:pt x="37" y="110"/>
                    <a:pt x="37" y="110"/>
                  </a:cubicBezTo>
                  <a:cubicBezTo>
                    <a:pt x="37" y="111"/>
                    <a:pt x="38" y="111"/>
                    <a:pt x="38" y="111"/>
                  </a:cubicBezTo>
                  <a:cubicBezTo>
                    <a:pt x="38" y="112"/>
                    <a:pt x="38" y="113"/>
                    <a:pt x="39" y="113"/>
                  </a:cubicBezTo>
                  <a:cubicBezTo>
                    <a:pt x="39" y="114"/>
                    <a:pt x="39" y="114"/>
                    <a:pt x="40" y="115"/>
                  </a:cubicBezTo>
                  <a:cubicBezTo>
                    <a:pt x="40" y="116"/>
                    <a:pt x="39" y="117"/>
                    <a:pt x="39" y="116"/>
                  </a:cubicBezTo>
                  <a:cubicBezTo>
                    <a:pt x="36" y="115"/>
                    <a:pt x="33" y="115"/>
                    <a:pt x="31" y="117"/>
                  </a:cubicBezTo>
                  <a:cubicBezTo>
                    <a:pt x="30" y="117"/>
                    <a:pt x="29" y="117"/>
                    <a:pt x="28" y="118"/>
                  </a:cubicBezTo>
                  <a:cubicBezTo>
                    <a:pt x="28" y="118"/>
                    <a:pt x="27" y="119"/>
                    <a:pt x="27" y="119"/>
                  </a:cubicBezTo>
                  <a:lnTo>
                    <a:pt x="26" y="12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5" name="Freeform 227"/>
            <p:cNvSpPr>
              <a:spLocks/>
            </p:cNvSpPr>
            <p:nvPr/>
          </p:nvSpPr>
          <p:spPr bwMode="auto">
            <a:xfrm>
              <a:off x="7324814" y="3512199"/>
              <a:ext cx="20066" cy="18656"/>
            </a:xfrm>
            <a:custGeom>
              <a:avLst/>
              <a:gdLst>
                <a:gd name="T0" fmla="*/ 5161223 w 43"/>
                <a:gd name="T1" fmla="*/ 22982846 h 39"/>
                <a:gd name="T2" fmla="*/ 5161223 w 43"/>
                <a:gd name="T3" fmla="*/ 25778701 h 39"/>
                <a:gd name="T4" fmla="*/ 5893195 w 43"/>
                <a:gd name="T5" fmla="*/ 25778701 h 39"/>
                <a:gd name="T6" fmla="*/ 8402175 w 43"/>
                <a:gd name="T7" fmla="*/ 31243763 h 39"/>
                <a:gd name="T8" fmla="*/ 10262278 w 43"/>
                <a:gd name="T9" fmla="*/ 30411555 h 39"/>
                <a:gd name="T10" fmla="*/ 10262278 w 43"/>
                <a:gd name="T11" fmla="*/ 33196125 h 39"/>
                <a:gd name="T12" fmla="*/ 13842148 w 43"/>
                <a:gd name="T13" fmla="*/ 33196125 h 39"/>
                <a:gd name="T14" fmla="*/ 15426147 w 43"/>
                <a:gd name="T15" fmla="*/ 35005515 h 39"/>
                <a:gd name="T16" fmla="*/ 16494699 w 43"/>
                <a:gd name="T17" fmla="*/ 35874560 h 39"/>
                <a:gd name="T18" fmla="*/ 17081927 w 43"/>
                <a:gd name="T19" fmla="*/ 35005515 h 39"/>
                <a:gd name="T20" fmla="*/ 17874011 w 43"/>
                <a:gd name="T21" fmla="*/ 33910385 h 39"/>
                <a:gd name="T22" fmla="*/ 20531245 w 43"/>
                <a:gd name="T23" fmla="*/ 33196125 h 39"/>
                <a:gd name="T24" fmla="*/ 27351777 w 43"/>
                <a:gd name="T25" fmla="*/ 32363672 h 39"/>
                <a:gd name="T26" fmla="*/ 28474633 w 43"/>
                <a:gd name="T27" fmla="*/ 31243763 h 39"/>
                <a:gd name="T28" fmla="*/ 27351777 w 43"/>
                <a:gd name="T29" fmla="*/ 29280663 h 39"/>
                <a:gd name="T30" fmla="*/ 26613378 w 43"/>
                <a:gd name="T31" fmla="*/ 27583618 h 39"/>
                <a:gd name="T32" fmla="*/ 25490446 w 43"/>
                <a:gd name="T33" fmla="*/ 26398262 h 39"/>
                <a:gd name="T34" fmla="*/ 25490446 w 43"/>
                <a:gd name="T35" fmla="*/ 24946606 h 39"/>
                <a:gd name="T36" fmla="*/ 27351777 w 43"/>
                <a:gd name="T37" fmla="*/ 23814790 h 39"/>
                <a:gd name="T38" fmla="*/ 29266792 w 43"/>
                <a:gd name="T39" fmla="*/ 22982846 h 39"/>
                <a:gd name="T40" fmla="*/ 31720857 w 43"/>
                <a:gd name="T41" fmla="*/ 22118424 h 39"/>
                <a:gd name="T42" fmla="*/ 33580966 w 43"/>
                <a:gd name="T43" fmla="*/ 21019765 h 39"/>
                <a:gd name="T44" fmla="*/ 34971703 w 43"/>
                <a:gd name="T45" fmla="*/ 21019765 h 39"/>
                <a:gd name="T46" fmla="*/ 36233498 w 43"/>
                <a:gd name="T47" fmla="*/ 19471774 h 39"/>
                <a:gd name="T48" fmla="*/ 36233498 w 43"/>
                <a:gd name="T49" fmla="*/ 13719388 h 39"/>
                <a:gd name="T50" fmla="*/ 36233498 w 43"/>
                <a:gd name="T51" fmla="*/ 9376294 h 39"/>
                <a:gd name="T52" fmla="*/ 36233498 w 43"/>
                <a:gd name="T53" fmla="*/ 5465031 h 39"/>
                <a:gd name="T54" fmla="*/ 34971703 w 43"/>
                <a:gd name="T55" fmla="*/ 2796248 h 39"/>
                <a:gd name="T56" fmla="*/ 30003951 w 43"/>
                <a:gd name="T57" fmla="*/ 832470 h 39"/>
                <a:gd name="T58" fmla="*/ 26613378 w 43"/>
                <a:gd name="T59" fmla="*/ 832470 h 39"/>
                <a:gd name="T60" fmla="*/ 24896472 w 43"/>
                <a:gd name="T61" fmla="*/ 2796248 h 39"/>
                <a:gd name="T62" fmla="*/ 20531245 w 43"/>
                <a:gd name="T63" fmla="*/ 2796248 h 39"/>
                <a:gd name="T64" fmla="*/ 17874011 w 43"/>
                <a:gd name="T65" fmla="*/ 0 h 39"/>
                <a:gd name="T66" fmla="*/ 12122866 w 43"/>
                <a:gd name="T67" fmla="*/ 832470 h 39"/>
                <a:gd name="T68" fmla="*/ 5893195 w 43"/>
                <a:gd name="T69" fmla="*/ 1963775 h 39"/>
                <a:gd name="T70" fmla="*/ 4369091 w 43"/>
                <a:gd name="T71" fmla="*/ 3499125 h 39"/>
                <a:gd name="T72" fmla="*/ 791927 w 43"/>
                <a:gd name="T73" fmla="*/ 9376294 h 39"/>
                <a:gd name="T74" fmla="*/ 791927 w 43"/>
                <a:gd name="T75" fmla="*/ 12059200 h 39"/>
                <a:gd name="T76" fmla="*/ 1860108 w 43"/>
                <a:gd name="T77" fmla="*/ 13719388 h 39"/>
                <a:gd name="T78" fmla="*/ 4369091 w 43"/>
                <a:gd name="T79" fmla="*/ 16386029 h 39"/>
                <a:gd name="T80" fmla="*/ 5161223 w 43"/>
                <a:gd name="T81" fmla="*/ 18351884 h 39"/>
                <a:gd name="T82" fmla="*/ 5161223 w 43"/>
                <a:gd name="T83" fmla="*/ 21019765 h 39"/>
                <a:gd name="T84" fmla="*/ 5161223 w 43"/>
                <a:gd name="T85" fmla="*/ 22982846 h 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3"/>
                <a:gd name="T130" fmla="*/ 0 h 39"/>
                <a:gd name="T131" fmla="*/ 43 w 43"/>
                <a:gd name="T132" fmla="*/ 39 h 3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3" h="39">
                  <a:moveTo>
                    <a:pt x="6" y="25"/>
                  </a:moveTo>
                  <a:cubicBezTo>
                    <a:pt x="6" y="26"/>
                    <a:pt x="6" y="27"/>
                    <a:pt x="6" y="28"/>
                  </a:cubicBezTo>
                  <a:cubicBezTo>
                    <a:pt x="6" y="28"/>
                    <a:pt x="7" y="28"/>
                    <a:pt x="7" y="28"/>
                  </a:cubicBezTo>
                  <a:cubicBezTo>
                    <a:pt x="8" y="30"/>
                    <a:pt x="6" y="35"/>
                    <a:pt x="10" y="34"/>
                  </a:cubicBezTo>
                  <a:cubicBezTo>
                    <a:pt x="10" y="34"/>
                    <a:pt x="11" y="33"/>
                    <a:pt x="12" y="33"/>
                  </a:cubicBezTo>
                  <a:cubicBezTo>
                    <a:pt x="12" y="34"/>
                    <a:pt x="11" y="35"/>
                    <a:pt x="12" y="36"/>
                  </a:cubicBezTo>
                  <a:cubicBezTo>
                    <a:pt x="13" y="37"/>
                    <a:pt x="14" y="36"/>
                    <a:pt x="16" y="36"/>
                  </a:cubicBezTo>
                  <a:cubicBezTo>
                    <a:pt x="17" y="37"/>
                    <a:pt x="17" y="38"/>
                    <a:pt x="18" y="38"/>
                  </a:cubicBezTo>
                  <a:cubicBezTo>
                    <a:pt x="18" y="39"/>
                    <a:pt x="19" y="39"/>
                    <a:pt x="19" y="39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38"/>
                    <a:pt x="21" y="37"/>
                    <a:pt x="21" y="37"/>
                  </a:cubicBezTo>
                  <a:cubicBezTo>
                    <a:pt x="22" y="36"/>
                    <a:pt x="23" y="36"/>
                    <a:pt x="24" y="36"/>
                  </a:cubicBezTo>
                  <a:cubicBezTo>
                    <a:pt x="26" y="34"/>
                    <a:pt x="29" y="34"/>
                    <a:pt x="32" y="35"/>
                  </a:cubicBezTo>
                  <a:cubicBezTo>
                    <a:pt x="32" y="36"/>
                    <a:pt x="33" y="35"/>
                    <a:pt x="33" y="34"/>
                  </a:cubicBezTo>
                  <a:cubicBezTo>
                    <a:pt x="32" y="33"/>
                    <a:pt x="32" y="33"/>
                    <a:pt x="32" y="32"/>
                  </a:cubicBezTo>
                  <a:cubicBezTo>
                    <a:pt x="31" y="32"/>
                    <a:pt x="31" y="31"/>
                    <a:pt x="31" y="30"/>
                  </a:cubicBezTo>
                  <a:cubicBezTo>
                    <a:pt x="31" y="30"/>
                    <a:pt x="30" y="30"/>
                    <a:pt x="30" y="29"/>
                  </a:cubicBezTo>
                  <a:cubicBezTo>
                    <a:pt x="30" y="29"/>
                    <a:pt x="30" y="28"/>
                    <a:pt x="30" y="27"/>
                  </a:cubicBezTo>
                  <a:cubicBezTo>
                    <a:pt x="31" y="26"/>
                    <a:pt x="32" y="26"/>
                    <a:pt x="32" y="26"/>
                  </a:cubicBezTo>
                  <a:cubicBezTo>
                    <a:pt x="33" y="25"/>
                    <a:pt x="34" y="25"/>
                    <a:pt x="34" y="25"/>
                  </a:cubicBezTo>
                  <a:cubicBezTo>
                    <a:pt x="35" y="25"/>
                    <a:pt x="36" y="25"/>
                    <a:pt x="37" y="24"/>
                  </a:cubicBezTo>
                  <a:cubicBezTo>
                    <a:pt x="38" y="24"/>
                    <a:pt x="38" y="23"/>
                    <a:pt x="39" y="23"/>
                  </a:cubicBezTo>
                  <a:cubicBezTo>
                    <a:pt x="39" y="23"/>
                    <a:pt x="40" y="23"/>
                    <a:pt x="41" y="23"/>
                  </a:cubicBezTo>
                  <a:cubicBezTo>
                    <a:pt x="41" y="22"/>
                    <a:pt x="42" y="22"/>
                    <a:pt x="42" y="21"/>
                  </a:cubicBezTo>
                  <a:cubicBezTo>
                    <a:pt x="42" y="19"/>
                    <a:pt x="42" y="17"/>
                    <a:pt x="42" y="15"/>
                  </a:cubicBezTo>
                  <a:cubicBezTo>
                    <a:pt x="43" y="14"/>
                    <a:pt x="43" y="12"/>
                    <a:pt x="42" y="10"/>
                  </a:cubicBezTo>
                  <a:cubicBezTo>
                    <a:pt x="42" y="8"/>
                    <a:pt x="42" y="7"/>
                    <a:pt x="42" y="6"/>
                  </a:cubicBezTo>
                  <a:cubicBezTo>
                    <a:pt x="41" y="5"/>
                    <a:pt x="41" y="5"/>
                    <a:pt x="41" y="3"/>
                  </a:cubicBezTo>
                  <a:cubicBezTo>
                    <a:pt x="39" y="4"/>
                    <a:pt x="37" y="2"/>
                    <a:pt x="35" y="1"/>
                  </a:cubicBezTo>
                  <a:cubicBezTo>
                    <a:pt x="34" y="1"/>
                    <a:pt x="32" y="1"/>
                    <a:pt x="31" y="1"/>
                  </a:cubicBezTo>
                  <a:cubicBezTo>
                    <a:pt x="31" y="2"/>
                    <a:pt x="30" y="3"/>
                    <a:pt x="29" y="3"/>
                  </a:cubicBezTo>
                  <a:cubicBezTo>
                    <a:pt x="28" y="4"/>
                    <a:pt x="26" y="4"/>
                    <a:pt x="24" y="3"/>
                  </a:cubicBezTo>
                  <a:cubicBezTo>
                    <a:pt x="23" y="3"/>
                    <a:pt x="22" y="1"/>
                    <a:pt x="21" y="0"/>
                  </a:cubicBezTo>
                  <a:cubicBezTo>
                    <a:pt x="19" y="0"/>
                    <a:pt x="16" y="0"/>
                    <a:pt x="14" y="1"/>
                  </a:cubicBezTo>
                  <a:cubicBezTo>
                    <a:pt x="12" y="2"/>
                    <a:pt x="9" y="1"/>
                    <a:pt x="7" y="2"/>
                  </a:cubicBezTo>
                  <a:cubicBezTo>
                    <a:pt x="6" y="2"/>
                    <a:pt x="5" y="3"/>
                    <a:pt x="5" y="4"/>
                  </a:cubicBezTo>
                  <a:cubicBezTo>
                    <a:pt x="4" y="6"/>
                    <a:pt x="2" y="8"/>
                    <a:pt x="1" y="10"/>
                  </a:cubicBezTo>
                  <a:cubicBezTo>
                    <a:pt x="0" y="11"/>
                    <a:pt x="1" y="12"/>
                    <a:pt x="1" y="13"/>
                  </a:cubicBezTo>
                  <a:cubicBezTo>
                    <a:pt x="1" y="14"/>
                    <a:pt x="2" y="14"/>
                    <a:pt x="2" y="15"/>
                  </a:cubicBezTo>
                  <a:cubicBezTo>
                    <a:pt x="3" y="16"/>
                    <a:pt x="4" y="17"/>
                    <a:pt x="5" y="18"/>
                  </a:cubicBezTo>
                  <a:cubicBezTo>
                    <a:pt x="5" y="19"/>
                    <a:pt x="6" y="19"/>
                    <a:pt x="6" y="20"/>
                  </a:cubicBezTo>
                  <a:cubicBezTo>
                    <a:pt x="6" y="21"/>
                    <a:pt x="6" y="22"/>
                    <a:pt x="6" y="23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6" name="Freeform 228"/>
            <p:cNvSpPr>
              <a:spLocks/>
            </p:cNvSpPr>
            <p:nvPr/>
          </p:nvSpPr>
          <p:spPr bwMode="auto">
            <a:xfrm>
              <a:off x="7314781" y="3476780"/>
              <a:ext cx="29347" cy="37312"/>
            </a:xfrm>
            <a:custGeom>
              <a:avLst/>
              <a:gdLst>
                <a:gd name="T0" fmla="*/ 46288206 w 63"/>
                <a:gd name="T1" fmla="*/ 63557528 h 77"/>
                <a:gd name="T2" fmla="*/ 45055602 w 63"/>
                <a:gd name="T3" fmla="*/ 58009170 h 77"/>
                <a:gd name="T4" fmla="*/ 45055602 w 63"/>
                <a:gd name="T5" fmla="*/ 53928896 h 77"/>
                <a:gd name="T6" fmla="*/ 39268056 w 63"/>
                <a:gd name="T7" fmla="*/ 47646872 h 77"/>
                <a:gd name="T8" fmla="*/ 38528751 w 63"/>
                <a:gd name="T9" fmla="*/ 40752289 h 77"/>
                <a:gd name="T10" fmla="*/ 33594951 w 63"/>
                <a:gd name="T11" fmla="*/ 37255662 h 77"/>
                <a:gd name="T12" fmla="*/ 29619462 w 63"/>
                <a:gd name="T13" fmla="*/ 33986361 h 77"/>
                <a:gd name="T14" fmla="*/ 21071934 w 63"/>
                <a:gd name="T15" fmla="*/ 38079818 h 77"/>
                <a:gd name="T16" fmla="*/ 14204583 w 63"/>
                <a:gd name="T17" fmla="*/ 36663731 h 77"/>
                <a:gd name="T18" fmla="*/ 8548424 w 63"/>
                <a:gd name="T19" fmla="*/ 36663731 h 77"/>
                <a:gd name="T20" fmla="*/ 9764102 w 63"/>
                <a:gd name="T21" fmla="*/ 27690479 h 77"/>
                <a:gd name="T22" fmla="*/ 3614435 w 63"/>
                <a:gd name="T23" fmla="*/ 23282411 h 77"/>
                <a:gd name="T24" fmla="*/ 4781270 w 63"/>
                <a:gd name="T25" fmla="*/ 19212437 h 77"/>
                <a:gd name="T26" fmla="*/ 854775 w 63"/>
                <a:gd name="T27" fmla="*/ 15597281 h 77"/>
                <a:gd name="T28" fmla="*/ 2912380 w 63"/>
                <a:gd name="T29" fmla="*/ 12242426 h 77"/>
                <a:gd name="T30" fmla="*/ 2021611 w 63"/>
                <a:gd name="T31" fmla="*/ 7691362 h 77"/>
                <a:gd name="T32" fmla="*/ 2912380 w 63"/>
                <a:gd name="T33" fmla="*/ 7081923 h 77"/>
                <a:gd name="T34" fmla="*/ 7693651 w 63"/>
                <a:gd name="T35" fmla="*/ 7081923 h 77"/>
                <a:gd name="T36" fmla="*/ 11308080 w 63"/>
                <a:gd name="T37" fmla="*/ 8828850 h 77"/>
                <a:gd name="T38" fmla="*/ 10437561 w 63"/>
                <a:gd name="T39" fmla="*/ 3272017 h 77"/>
                <a:gd name="T40" fmla="*/ 14204583 w 63"/>
                <a:gd name="T41" fmla="*/ 0 h 77"/>
                <a:gd name="T42" fmla="*/ 15436439 w 63"/>
                <a:gd name="T43" fmla="*/ 798010 h 77"/>
                <a:gd name="T44" fmla="*/ 19050355 w 63"/>
                <a:gd name="T45" fmla="*/ 4409446 h 77"/>
                <a:gd name="T46" fmla="*/ 21071934 w 63"/>
                <a:gd name="T47" fmla="*/ 5944426 h 77"/>
                <a:gd name="T48" fmla="*/ 21963115 w 63"/>
                <a:gd name="T49" fmla="*/ 11502480 h 77"/>
                <a:gd name="T50" fmla="*/ 23092866 w 63"/>
                <a:gd name="T51" fmla="*/ 12917410 h 77"/>
                <a:gd name="T52" fmla="*/ 33594951 w 63"/>
                <a:gd name="T53" fmla="*/ 13973256 h 77"/>
                <a:gd name="T54" fmla="*/ 36508387 w 63"/>
                <a:gd name="T55" fmla="*/ 20016608 h 77"/>
                <a:gd name="T56" fmla="*/ 31525772 w 63"/>
                <a:gd name="T57" fmla="*/ 22484469 h 77"/>
                <a:gd name="T58" fmla="*/ 30872424 w 63"/>
                <a:gd name="T59" fmla="*/ 25162460 h 77"/>
                <a:gd name="T60" fmla="*/ 38528751 w 63"/>
                <a:gd name="T61" fmla="*/ 29566296 h 77"/>
                <a:gd name="T62" fmla="*/ 46961705 w 63"/>
                <a:gd name="T63" fmla="*/ 40752289 h 77"/>
                <a:gd name="T64" fmla="*/ 51944490 w 63"/>
                <a:gd name="T65" fmla="*/ 46212902 h 77"/>
                <a:gd name="T66" fmla="*/ 55510121 w 63"/>
                <a:gd name="T67" fmla="*/ 52048377 h 77"/>
                <a:gd name="T68" fmla="*/ 59601178 w 63"/>
                <a:gd name="T69" fmla="*/ 56602204 h 77"/>
                <a:gd name="T70" fmla="*/ 60339196 w 63"/>
                <a:gd name="T71" fmla="*/ 61819703 h 77"/>
                <a:gd name="T72" fmla="*/ 54616462 w 63"/>
                <a:gd name="T73" fmla="*/ 64292735 h 77"/>
                <a:gd name="T74" fmla="*/ 48983298 w 63"/>
                <a:gd name="T75" fmla="*/ 66230008 h 7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3"/>
                <a:gd name="T115" fmla="*/ 0 h 77"/>
                <a:gd name="T116" fmla="*/ 63 w 63"/>
                <a:gd name="T117" fmla="*/ 77 h 7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3" h="77">
                  <a:moveTo>
                    <a:pt x="46" y="76"/>
                  </a:moveTo>
                  <a:cubicBezTo>
                    <a:pt x="47" y="75"/>
                    <a:pt x="47" y="74"/>
                    <a:pt x="48" y="73"/>
                  </a:cubicBezTo>
                  <a:cubicBezTo>
                    <a:pt x="49" y="71"/>
                    <a:pt x="48" y="69"/>
                    <a:pt x="48" y="68"/>
                  </a:cubicBezTo>
                  <a:cubicBezTo>
                    <a:pt x="48" y="67"/>
                    <a:pt x="48" y="67"/>
                    <a:pt x="47" y="67"/>
                  </a:cubicBezTo>
                  <a:cubicBezTo>
                    <a:pt x="47" y="66"/>
                    <a:pt x="47" y="65"/>
                    <a:pt x="47" y="64"/>
                  </a:cubicBezTo>
                  <a:cubicBezTo>
                    <a:pt x="47" y="63"/>
                    <a:pt x="48" y="63"/>
                    <a:pt x="47" y="62"/>
                  </a:cubicBezTo>
                  <a:cubicBezTo>
                    <a:pt x="47" y="61"/>
                    <a:pt x="46" y="60"/>
                    <a:pt x="45" y="60"/>
                  </a:cubicBezTo>
                  <a:cubicBezTo>
                    <a:pt x="43" y="59"/>
                    <a:pt x="42" y="57"/>
                    <a:pt x="41" y="55"/>
                  </a:cubicBezTo>
                  <a:cubicBezTo>
                    <a:pt x="41" y="54"/>
                    <a:pt x="41" y="54"/>
                    <a:pt x="40" y="53"/>
                  </a:cubicBezTo>
                  <a:cubicBezTo>
                    <a:pt x="40" y="51"/>
                    <a:pt x="40" y="49"/>
                    <a:pt x="40" y="47"/>
                  </a:cubicBezTo>
                  <a:cubicBezTo>
                    <a:pt x="40" y="46"/>
                    <a:pt x="38" y="45"/>
                    <a:pt x="37" y="45"/>
                  </a:cubicBezTo>
                  <a:cubicBezTo>
                    <a:pt x="36" y="44"/>
                    <a:pt x="35" y="44"/>
                    <a:pt x="35" y="43"/>
                  </a:cubicBezTo>
                  <a:cubicBezTo>
                    <a:pt x="34" y="43"/>
                    <a:pt x="34" y="42"/>
                    <a:pt x="34" y="41"/>
                  </a:cubicBezTo>
                  <a:cubicBezTo>
                    <a:pt x="33" y="40"/>
                    <a:pt x="32" y="40"/>
                    <a:pt x="31" y="39"/>
                  </a:cubicBezTo>
                  <a:cubicBezTo>
                    <a:pt x="30" y="38"/>
                    <a:pt x="27" y="38"/>
                    <a:pt x="26" y="40"/>
                  </a:cubicBezTo>
                  <a:cubicBezTo>
                    <a:pt x="25" y="41"/>
                    <a:pt x="24" y="43"/>
                    <a:pt x="22" y="44"/>
                  </a:cubicBezTo>
                  <a:cubicBezTo>
                    <a:pt x="22" y="45"/>
                    <a:pt x="21" y="45"/>
                    <a:pt x="20" y="44"/>
                  </a:cubicBezTo>
                  <a:cubicBezTo>
                    <a:pt x="18" y="43"/>
                    <a:pt x="17" y="40"/>
                    <a:pt x="15" y="42"/>
                  </a:cubicBezTo>
                  <a:cubicBezTo>
                    <a:pt x="14" y="43"/>
                    <a:pt x="12" y="46"/>
                    <a:pt x="10" y="45"/>
                  </a:cubicBezTo>
                  <a:cubicBezTo>
                    <a:pt x="10" y="44"/>
                    <a:pt x="9" y="43"/>
                    <a:pt x="9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0" y="38"/>
                    <a:pt x="11" y="35"/>
                    <a:pt x="10" y="32"/>
                  </a:cubicBezTo>
                  <a:cubicBezTo>
                    <a:pt x="10" y="31"/>
                    <a:pt x="10" y="29"/>
                    <a:pt x="10" y="27"/>
                  </a:cubicBezTo>
                  <a:cubicBezTo>
                    <a:pt x="8" y="26"/>
                    <a:pt x="6" y="28"/>
                    <a:pt x="4" y="27"/>
                  </a:cubicBezTo>
                  <a:cubicBezTo>
                    <a:pt x="4" y="27"/>
                    <a:pt x="4" y="26"/>
                    <a:pt x="4" y="25"/>
                  </a:cubicBezTo>
                  <a:cubicBezTo>
                    <a:pt x="5" y="25"/>
                    <a:pt x="5" y="23"/>
                    <a:pt x="5" y="22"/>
                  </a:cubicBezTo>
                  <a:cubicBezTo>
                    <a:pt x="4" y="21"/>
                    <a:pt x="4" y="21"/>
                    <a:pt x="3" y="20"/>
                  </a:cubicBezTo>
                  <a:cubicBezTo>
                    <a:pt x="2" y="20"/>
                    <a:pt x="1" y="19"/>
                    <a:pt x="1" y="18"/>
                  </a:cubicBezTo>
                  <a:cubicBezTo>
                    <a:pt x="1" y="18"/>
                    <a:pt x="0" y="17"/>
                    <a:pt x="1" y="16"/>
                  </a:cubicBezTo>
                  <a:cubicBezTo>
                    <a:pt x="1" y="15"/>
                    <a:pt x="3" y="15"/>
                    <a:pt x="3" y="14"/>
                  </a:cubicBezTo>
                  <a:cubicBezTo>
                    <a:pt x="4" y="13"/>
                    <a:pt x="4" y="12"/>
                    <a:pt x="3" y="11"/>
                  </a:cubicBezTo>
                  <a:cubicBezTo>
                    <a:pt x="3" y="10"/>
                    <a:pt x="2" y="9"/>
                    <a:pt x="2" y="9"/>
                  </a:cubicBezTo>
                  <a:cubicBezTo>
                    <a:pt x="2" y="9"/>
                    <a:pt x="2" y="9"/>
                    <a:pt x="3" y="9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5" y="6"/>
                    <a:pt x="6" y="7"/>
                  </a:cubicBezTo>
                  <a:cubicBezTo>
                    <a:pt x="7" y="7"/>
                    <a:pt x="8" y="7"/>
                    <a:pt x="8" y="8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10" y="11"/>
                    <a:pt x="12" y="11"/>
                    <a:pt x="12" y="10"/>
                  </a:cubicBezTo>
                  <a:cubicBezTo>
                    <a:pt x="13" y="10"/>
                    <a:pt x="13" y="9"/>
                    <a:pt x="13" y="8"/>
                  </a:cubicBezTo>
                  <a:cubicBezTo>
                    <a:pt x="12" y="7"/>
                    <a:pt x="12" y="5"/>
                    <a:pt x="11" y="4"/>
                  </a:cubicBezTo>
                  <a:cubicBezTo>
                    <a:pt x="10" y="3"/>
                    <a:pt x="11" y="2"/>
                    <a:pt x="10" y="0"/>
                  </a:cubicBezTo>
                  <a:cubicBezTo>
                    <a:pt x="12" y="0"/>
                    <a:pt x="14" y="1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1"/>
                    <a:pt x="16" y="1"/>
                  </a:cubicBezTo>
                  <a:cubicBezTo>
                    <a:pt x="17" y="2"/>
                    <a:pt x="18" y="3"/>
                    <a:pt x="20" y="4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6"/>
                    <a:pt x="20" y="6"/>
                    <a:pt x="21" y="7"/>
                  </a:cubicBezTo>
                  <a:cubicBezTo>
                    <a:pt x="21" y="7"/>
                    <a:pt x="22" y="7"/>
                    <a:pt x="22" y="7"/>
                  </a:cubicBezTo>
                  <a:cubicBezTo>
                    <a:pt x="22" y="9"/>
                    <a:pt x="22" y="10"/>
                    <a:pt x="22" y="11"/>
                  </a:cubicBezTo>
                  <a:cubicBezTo>
                    <a:pt x="22" y="12"/>
                    <a:pt x="22" y="12"/>
                    <a:pt x="23" y="13"/>
                  </a:cubicBezTo>
                  <a:cubicBezTo>
                    <a:pt x="23" y="13"/>
                    <a:pt x="23" y="14"/>
                    <a:pt x="23" y="14"/>
                  </a:cubicBezTo>
                  <a:cubicBezTo>
                    <a:pt x="23" y="15"/>
                    <a:pt x="24" y="15"/>
                    <a:pt x="24" y="15"/>
                  </a:cubicBezTo>
                  <a:cubicBezTo>
                    <a:pt x="27" y="16"/>
                    <a:pt x="31" y="15"/>
                    <a:pt x="34" y="16"/>
                  </a:cubicBezTo>
                  <a:cubicBezTo>
                    <a:pt x="34" y="16"/>
                    <a:pt x="35" y="16"/>
                    <a:pt x="35" y="16"/>
                  </a:cubicBezTo>
                  <a:cubicBezTo>
                    <a:pt x="35" y="18"/>
                    <a:pt x="37" y="18"/>
                    <a:pt x="38" y="19"/>
                  </a:cubicBezTo>
                  <a:cubicBezTo>
                    <a:pt x="39" y="21"/>
                    <a:pt x="38" y="22"/>
                    <a:pt x="38" y="23"/>
                  </a:cubicBezTo>
                  <a:cubicBezTo>
                    <a:pt x="38" y="24"/>
                    <a:pt x="37" y="25"/>
                    <a:pt x="37" y="25"/>
                  </a:cubicBezTo>
                  <a:cubicBezTo>
                    <a:pt x="36" y="26"/>
                    <a:pt x="34" y="25"/>
                    <a:pt x="33" y="26"/>
                  </a:cubicBezTo>
                  <a:cubicBezTo>
                    <a:pt x="33" y="26"/>
                    <a:pt x="32" y="27"/>
                    <a:pt x="32" y="28"/>
                  </a:cubicBezTo>
                  <a:cubicBezTo>
                    <a:pt x="32" y="28"/>
                    <a:pt x="31" y="29"/>
                    <a:pt x="32" y="29"/>
                  </a:cubicBezTo>
                  <a:cubicBezTo>
                    <a:pt x="34" y="31"/>
                    <a:pt x="37" y="31"/>
                    <a:pt x="39" y="33"/>
                  </a:cubicBezTo>
                  <a:cubicBezTo>
                    <a:pt x="39" y="33"/>
                    <a:pt x="39" y="33"/>
                    <a:pt x="40" y="34"/>
                  </a:cubicBezTo>
                  <a:cubicBezTo>
                    <a:pt x="41" y="36"/>
                    <a:pt x="41" y="37"/>
                    <a:pt x="42" y="39"/>
                  </a:cubicBezTo>
                  <a:cubicBezTo>
                    <a:pt x="44" y="42"/>
                    <a:pt x="47" y="44"/>
                    <a:pt x="49" y="47"/>
                  </a:cubicBezTo>
                  <a:cubicBezTo>
                    <a:pt x="51" y="48"/>
                    <a:pt x="52" y="49"/>
                    <a:pt x="53" y="51"/>
                  </a:cubicBezTo>
                  <a:cubicBezTo>
                    <a:pt x="54" y="51"/>
                    <a:pt x="54" y="52"/>
                    <a:pt x="54" y="53"/>
                  </a:cubicBezTo>
                  <a:cubicBezTo>
                    <a:pt x="55" y="55"/>
                    <a:pt x="57" y="56"/>
                    <a:pt x="58" y="57"/>
                  </a:cubicBezTo>
                  <a:cubicBezTo>
                    <a:pt x="58" y="58"/>
                    <a:pt x="58" y="59"/>
                    <a:pt x="58" y="60"/>
                  </a:cubicBezTo>
                  <a:cubicBezTo>
                    <a:pt x="59" y="61"/>
                    <a:pt x="59" y="62"/>
                    <a:pt x="60" y="62"/>
                  </a:cubicBezTo>
                  <a:cubicBezTo>
                    <a:pt x="61" y="63"/>
                    <a:pt x="62" y="64"/>
                    <a:pt x="62" y="65"/>
                  </a:cubicBezTo>
                  <a:cubicBezTo>
                    <a:pt x="63" y="66"/>
                    <a:pt x="62" y="68"/>
                    <a:pt x="62" y="70"/>
                  </a:cubicBezTo>
                  <a:cubicBezTo>
                    <a:pt x="62" y="71"/>
                    <a:pt x="63" y="71"/>
                    <a:pt x="63" y="71"/>
                  </a:cubicBezTo>
                  <a:cubicBezTo>
                    <a:pt x="63" y="73"/>
                    <a:pt x="63" y="75"/>
                    <a:pt x="63" y="76"/>
                  </a:cubicBezTo>
                  <a:cubicBezTo>
                    <a:pt x="61" y="77"/>
                    <a:pt x="59" y="75"/>
                    <a:pt x="57" y="74"/>
                  </a:cubicBezTo>
                  <a:cubicBezTo>
                    <a:pt x="56" y="74"/>
                    <a:pt x="54" y="74"/>
                    <a:pt x="53" y="74"/>
                  </a:cubicBezTo>
                  <a:cubicBezTo>
                    <a:pt x="53" y="75"/>
                    <a:pt x="52" y="76"/>
                    <a:pt x="51" y="76"/>
                  </a:cubicBezTo>
                  <a:cubicBezTo>
                    <a:pt x="50" y="77"/>
                    <a:pt x="48" y="77"/>
                    <a:pt x="46" y="76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7" name="Freeform 229"/>
            <p:cNvSpPr>
              <a:spLocks/>
            </p:cNvSpPr>
            <p:nvPr/>
          </p:nvSpPr>
          <p:spPr bwMode="auto">
            <a:xfrm>
              <a:off x="7306253" y="3485432"/>
              <a:ext cx="31354" cy="67324"/>
            </a:xfrm>
            <a:custGeom>
              <a:avLst/>
              <a:gdLst>
                <a:gd name="T0" fmla="*/ 11131851 w 67"/>
                <a:gd name="T1" fmla="*/ 97915971 h 139"/>
                <a:gd name="T2" fmla="*/ 13334802 w 67"/>
                <a:gd name="T3" fmla="*/ 104584703 h 139"/>
                <a:gd name="T4" fmla="*/ 18310474 w 67"/>
                <a:gd name="T5" fmla="*/ 108048608 h 139"/>
                <a:gd name="T6" fmla="*/ 23538378 w 67"/>
                <a:gd name="T7" fmla="*/ 112041768 h 139"/>
                <a:gd name="T8" fmla="*/ 26417368 w 67"/>
                <a:gd name="T9" fmla="*/ 119010656 h 139"/>
                <a:gd name="T10" fmla="*/ 29442316 w 67"/>
                <a:gd name="T11" fmla="*/ 119010656 h 139"/>
                <a:gd name="T12" fmla="*/ 35452551 w 67"/>
                <a:gd name="T13" fmla="*/ 127666530 h 139"/>
                <a:gd name="T14" fmla="*/ 40428261 w 67"/>
                <a:gd name="T15" fmla="*/ 126461831 h 139"/>
                <a:gd name="T16" fmla="*/ 43453190 w 67"/>
                <a:gd name="T17" fmla="*/ 123016577 h 139"/>
                <a:gd name="T18" fmla="*/ 38477517 w 67"/>
                <a:gd name="T19" fmla="*/ 119010656 h 139"/>
                <a:gd name="T20" fmla="*/ 27345662 w 67"/>
                <a:gd name="T21" fmla="*/ 112871178 h 139"/>
                <a:gd name="T22" fmla="*/ 24214455 w 67"/>
                <a:gd name="T23" fmla="*/ 103403488 h 139"/>
                <a:gd name="T24" fmla="*/ 17035808 w 67"/>
                <a:gd name="T25" fmla="*/ 95078427 h 139"/>
                <a:gd name="T26" fmla="*/ 18310474 w 67"/>
                <a:gd name="T27" fmla="*/ 84109282 h 139"/>
                <a:gd name="T28" fmla="*/ 23538378 w 67"/>
                <a:gd name="T29" fmla="*/ 72012213 h 139"/>
                <a:gd name="T30" fmla="*/ 23538378 w 67"/>
                <a:gd name="T31" fmla="*/ 62741228 h 139"/>
                <a:gd name="T32" fmla="*/ 29442316 w 67"/>
                <a:gd name="T33" fmla="*/ 59075596 h 139"/>
                <a:gd name="T34" fmla="*/ 30208629 w 67"/>
                <a:gd name="T35" fmla="*/ 67387103 h 139"/>
                <a:gd name="T36" fmla="*/ 41356555 w 67"/>
                <a:gd name="T37" fmla="*/ 72012213 h 139"/>
                <a:gd name="T38" fmla="*/ 46546427 w 67"/>
                <a:gd name="T39" fmla="*/ 72012213 h 139"/>
                <a:gd name="T40" fmla="*/ 42563018 w 67"/>
                <a:gd name="T41" fmla="*/ 64556205 h 139"/>
                <a:gd name="T42" fmla="*/ 45656141 w 67"/>
                <a:gd name="T43" fmla="*/ 54429570 h 139"/>
                <a:gd name="T44" fmla="*/ 61763641 w 67"/>
                <a:gd name="T45" fmla="*/ 50906087 h 139"/>
                <a:gd name="T46" fmla="*/ 67007657 w 67"/>
                <a:gd name="T47" fmla="*/ 50906087 h 139"/>
                <a:gd name="T48" fmla="*/ 65570982 w 67"/>
                <a:gd name="T49" fmla="*/ 42619310 h 139"/>
                <a:gd name="T50" fmla="*/ 59666968 w 67"/>
                <a:gd name="T51" fmla="*/ 34037673 h 139"/>
                <a:gd name="T52" fmla="*/ 55859703 w 67"/>
                <a:gd name="T53" fmla="*/ 25035092 h 139"/>
                <a:gd name="T54" fmla="*/ 49447383 w 67"/>
                <a:gd name="T55" fmla="*/ 19554422 h 139"/>
                <a:gd name="T56" fmla="*/ 38477517 w 67"/>
                <a:gd name="T57" fmla="*/ 23900429 h 139"/>
                <a:gd name="T58" fmla="*/ 27345662 w 67"/>
                <a:gd name="T59" fmla="*/ 22444015 h 139"/>
                <a:gd name="T60" fmla="*/ 28235948 w 67"/>
                <a:gd name="T61" fmla="*/ 8286784 h 139"/>
                <a:gd name="T62" fmla="*/ 23538378 w 67"/>
                <a:gd name="T63" fmla="*/ 3511778 h 139"/>
                <a:gd name="T64" fmla="*/ 17035808 w 67"/>
                <a:gd name="T65" fmla="*/ 834356 h 139"/>
                <a:gd name="T66" fmla="*/ 10203576 w 67"/>
                <a:gd name="T67" fmla="*/ 7452065 h 139"/>
                <a:gd name="T68" fmla="*/ 2112690 w 67"/>
                <a:gd name="T69" fmla="*/ 10962968 h 139"/>
                <a:gd name="T70" fmla="*/ 3024951 w 67"/>
                <a:gd name="T71" fmla="*/ 20388858 h 139"/>
                <a:gd name="T72" fmla="*/ 8997191 w 67"/>
                <a:gd name="T73" fmla="*/ 33360172 h 139"/>
                <a:gd name="T74" fmla="*/ 10203576 w 67"/>
                <a:gd name="T75" fmla="*/ 40659428 h 139"/>
                <a:gd name="T76" fmla="*/ 11898173 w 67"/>
                <a:gd name="T77" fmla="*/ 53592081 h 139"/>
                <a:gd name="T78" fmla="*/ 15285508 w 67"/>
                <a:gd name="T79" fmla="*/ 65697286 h 139"/>
                <a:gd name="T80" fmla="*/ 19238759 w 67"/>
                <a:gd name="T81" fmla="*/ 74838241 h 139"/>
                <a:gd name="T82" fmla="*/ 14010851 w 67"/>
                <a:gd name="T83" fmla="*/ 85817637 h 13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7"/>
                <a:gd name="T127" fmla="*/ 0 h 139"/>
                <a:gd name="T128" fmla="*/ 67 w 67"/>
                <a:gd name="T129" fmla="*/ 139 h 13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7" h="139">
                  <a:moveTo>
                    <a:pt x="12" y="98"/>
                  </a:moveTo>
                  <a:cubicBezTo>
                    <a:pt x="12" y="100"/>
                    <a:pt x="12" y="102"/>
                    <a:pt x="12" y="104"/>
                  </a:cubicBezTo>
                  <a:cubicBezTo>
                    <a:pt x="12" y="105"/>
                    <a:pt x="11" y="105"/>
                    <a:pt x="11" y="106"/>
                  </a:cubicBezTo>
                  <a:cubicBezTo>
                    <a:pt x="11" y="109"/>
                    <a:pt x="10" y="113"/>
                    <a:pt x="10" y="116"/>
                  </a:cubicBezTo>
                  <a:cubicBezTo>
                    <a:pt x="10" y="116"/>
                    <a:pt x="11" y="117"/>
                    <a:pt x="11" y="116"/>
                  </a:cubicBezTo>
                  <a:cubicBezTo>
                    <a:pt x="12" y="115"/>
                    <a:pt x="12" y="114"/>
                    <a:pt x="13" y="113"/>
                  </a:cubicBezTo>
                  <a:cubicBezTo>
                    <a:pt x="13" y="113"/>
                    <a:pt x="14" y="113"/>
                    <a:pt x="14" y="113"/>
                  </a:cubicBezTo>
                  <a:cubicBezTo>
                    <a:pt x="14" y="114"/>
                    <a:pt x="14" y="115"/>
                    <a:pt x="15" y="116"/>
                  </a:cubicBezTo>
                  <a:cubicBezTo>
                    <a:pt x="16" y="116"/>
                    <a:pt x="17" y="116"/>
                    <a:pt x="18" y="117"/>
                  </a:cubicBezTo>
                  <a:cubicBezTo>
                    <a:pt x="19" y="118"/>
                    <a:pt x="19" y="119"/>
                    <a:pt x="20" y="120"/>
                  </a:cubicBezTo>
                  <a:cubicBezTo>
                    <a:pt x="20" y="121"/>
                    <a:pt x="20" y="121"/>
                    <a:pt x="21" y="121"/>
                  </a:cubicBezTo>
                  <a:cubicBezTo>
                    <a:pt x="21" y="121"/>
                    <a:pt x="22" y="121"/>
                    <a:pt x="23" y="121"/>
                  </a:cubicBezTo>
                  <a:cubicBezTo>
                    <a:pt x="24" y="122"/>
                    <a:pt x="24" y="122"/>
                    <a:pt x="24" y="123"/>
                  </a:cubicBezTo>
                  <a:cubicBezTo>
                    <a:pt x="24" y="124"/>
                    <a:pt x="24" y="126"/>
                    <a:pt x="25" y="127"/>
                  </a:cubicBezTo>
                  <a:cubicBezTo>
                    <a:pt x="25" y="128"/>
                    <a:pt x="25" y="128"/>
                    <a:pt x="26" y="129"/>
                  </a:cubicBezTo>
                  <a:cubicBezTo>
                    <a:pt x="26" y="128"/>
                    <a:pt x="26" y="128"/>
                    <a:pt x="26" y="128"/>
                  </a:cubicBezTo>
                  <a:cubicBezTo>
                    <a:pt x="27" y="128"/>
                    <a:pt x="28" y="127"/>
                    <a:pt x="29" y="128"/>
                  </a:cubicBezTo>
                  <a:cubicBezTo>
                    <a:pt x="29" y="128"/>
                    <a:pt x="29" y="129"/>
                    <a:pt x="29" y="129"/>
                  </a:cubicBezTo>
                  <a:cubicBezTo>
                    <a:pt x="31" y="130"/>
                    <a:pt x="33" y="131"/>
                    <a:pt x="34" y="133"/>
                  </a:cubicBezTo>
                  <a:cubicBezTo>
                    <a:pt x="35" y="134"/>
                    <a:pt x="33" y="136"/>
                    <a:pt x="34" y="137"/>
                  </a:cubicBezTo>
                  <a:cubicBezTo>
                    <a:pt x="34" y="138"/>
                    <a:pt x="35" y="138"/>
                    <a:pt x="35" y="138"/>
                  </a:cubicBezTo>
                  <a:cubicBezTo>
                    <a:pt x="35" y="139"/>
                    <a:pt x="36" y="138"/>
                    <a:pt x="36" y="138"/>
                  </a:cubicBezTo>
                  <a:cubicBezTo>
                    <a:pt x="36" y="138"/>
                    <a:pt x="36" y="137"/>
                    <a:pt x="37" y="137"/>
                  </a:cubicBezTo>
                  <a:cubicBezTo>
                    <a:pt x="38" y="136"/>
                    <a:pt x="39" y="137"/>
                    <a:pt x="40" y="137"/>
                  </a:cubicBezTo>
                  <a:cubicBezTo>
                    <a:pt x="40" y="136"/>
                    <a:pt x="40" y="135"/>
                    <a:pt x="41" y="135"/>
                  </a:cubicBezTo>
                  <a:cubicBezTo>
                    <a:pt x="41" y="135"/>
                    <a:pt x="42" y="134"/>
                    <a:pt x="42" y="134"/>
                  </a:cubicBezTo>
                  <a:cubicBezTo>
                    <a:pt x="43" y="133"/>
                    <a:pt x="43" y="133"/>
                    <a:pt x="43" y="133"/>
                  </a:cubicBezTo>
                  <a:cubicBezTo>
                    <a:pt x="43" y="133"/>
                    <a:pt x="42" y="133"/>
                    <a:pt x="42" y="133"/>
                  </a:cubicBezTo>
                  <a:cubicBezTo>
                    <a:pt x="41" y="132"/>
                    <a:pt x="40" y="130"/>
                    <a:pt x="39" y="129"/>
                  </a:cubicBezTo>
                  <a:cubicBezTo>
                    <a:pt x="39" y="129"/>
                    <a:pt x="38" y="129"/>
                    <a:pt x="38" y="129"/>
                  </a:cubicBezTo>
                  <a:cubicBezTo>
                    <a:pt x="38" y="128"/>
                    <a:pt x="38" y="128"/>
                    <a:pt x="37" y="127"/>
                  </a:cubicBezTo>
                  <a:cubicBezTo>
                    <a:pt x="35" y="126"/>
                    <a:pt x="32" y="128"/>
                    <a:pt x="30" y="126"/>
                  </a:cubicBezTo>
                  <a:cubicBezTo>
                    <a:pt x="29" y="125"/>
                    <a:pt x="28" y="124"/>
                    <a:pt x="27" y="122"/>
                  </a:cubicBezTo>
                  <a:cubicBezTo>
                    <a:pt x="27" y="121"/>
                    <a:pt x="28" y="119"/>
                    <a:pt x="27" y="118"/>
                  </a:cubicBezTo>
                  <a:cubicBezTo>
                    <a:pt x="26" y="116"/>
                    <a:pt x="27" y="115"/>
                    <a:pt x="26" y="113"/>
                  </a:cubicBezTo>
                  <a:cubicBezTo>
                    <a:pt x="25" y="113"/>
                    <a:pt x="25" y="112"/>
                    <a:pt x="24" y="112"/>
                  </a:cubicBezTo>
                  <a:cubicBezTo>
                    <a:pt x="24" y="111"/>
                    <a:pt x="25" y="109"/>
                    <a:pt x="24" y="108"/>
                  </a:cubicBezTo>
                  <a:cubicBezTo>
                    <a:pt x="23" y="107"/>
                    <a:pt x="23" y="106"/>
                    <a:pt x="22" y="105"/>
                  </a:cubicBezTo>
                  <a:cubicBezTo>
                    <a:pt x="20" y="104"/>
                    <a:pt x="17" y="106"/>
                    <a:pt x="17" y="103"/>
                  </a:cubicBezTo>
                  <a:cubicBezTo>
                    <a:pt x="17" y="101"/>
                    <a:pt x="17" y="99"/>
                    <a:pt x="17" y="96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5"/>
                    <a:pt x="17" y="93"/>
                    <a:pt x="18" y="91"/>
                  </a:cubicBezTo>
                  <a:cubicBezTo>
                    <a:pt x="18" y="91"/>
                    <a:pt x="19" y="91"/>
                    <a:pt x="20" y="90"/>
                  </a:cubicBezTo>
                  <a:cubicBezTo>
                    <a:pt x="21" y="87"/>
                    <a:pt x="20" y="84"/>
                    <a:pt x="22" y="81"/>
                  </a:cubicBezTo>
                  <a:cubicBezTo>
                    <a:pt x="22" y="80"/>
                    <a:pt x="23" y="79"/>
                    <a:pt x="23" y="78"/>
                  </a:cubicBezTo>
                  <a:cubicBezTo>
                    <a:pt x="24" y="76"/>
                    <a:pt x="21" y="73"/>
                    <a:pt x="22" y="72"/>
                  </a:cubicBezTo>
                  <a:cubicBezTo>
                    <a:pt x="23" y="70"/>
                    <a:pt x="23" y="69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7"/>
                    <a:pt x="22" y="66"/>
                    <a:pt x="23" y="65"/>
                  </a:cubicBezTo>
                  <a:cubicBezTo>
                    <a:pt x="24" y="65"/>
                    <a:pt x="25" y="65"/>
                    <a:pt x="26" y="65"/>
                  </a:cubicBezTo>
                  <a:cubicBezTo>
                    <a:pt x="27" y="64"/>
                    <a:pt x="28" y="64"/>
                    <a:pt x="29" y="64"/>
                  </a:cubicBezTo>
                  <a:cubicBezTo>
                    <a:pt x="30" y="65"/>
                    <a:pt x="29" y="67"/>
                    <a:pt x="29" y="68"/>
                  </a:cubicBezTo>
                  <a:cubicBezTo>
                    <a:pt x="30" y="69"/>
                    <a:pt x="29" y="71"/>
                    <a:pt x="30" y="72"/>
                  </a:cubicBezTo>
                  <a:cubicBezTo>
                    <a:pt x="30" y="72"/>
                    <a:pt x="30" y="73"/>
                    <a:pt x="30" y="73"/>
                  </a:cubicBezTo>
                  <a:cubicBezTo>
                    <a:pt x="33" y="73"/>
                    <a:pt x="35" y="73"/>
                    <a:pt x="37" y="73"/>
                  </a:cubicBezTo>
                  <a:cubicBezTo>
                    <a:pt x="38" y="73"/>
                    <a:pt x="39" y="74"/>
                    <a:pt x="39" y="75"/>
                  </a:cubicBezTo>
                  <a:cubicBezTo>
                    <a:pt x="39" y="76"/>
                    <a:pt x="40" y="77"/>
                    <a:pt x="41" y="78"/>
                  </a:cubicBezTo>
                  <a:cubicBezTo>
                    <a:pt x="42" y="79"/>
                    <a:pt x="44" y="78"/>
                    <a:pt x="45" y="79"/>
                  </a:cubicBezTo>
                  <a:cubicBezTo>
                    <a:pt x="45" y="79"/>
                    <a:pt x="45" y="79"/>
                    <a:pt x="46" y="80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7"/>
                    <a:pt x="46" y="76"/>
                    <a:pt x="46" y="75"/>
                  </a:cubicBezTo>
                  <a:cubicBezTo>
                    <a:pt x="46" y="74"/>
                    <a:pt x="45" y="74"/>
                    <a:pt x="45" y="73"/>
                  </a:cubicBezTo>
                  <a:cubicBezTo>
                    <a:pt x="44" y="72"/>
                    <a:pt x="43" y="71"/>
                    <a:pt x="42" y="70"/>
                  </a:cubicBezTo>
                  <a:cubicBezTo>
                    <a:pt x="42" y="69"/>
                    <a:pt x="41" y="69"/>
                    <a:pt x="41" y="68"/>
                  </a:cubicBezTo>
                  <a:cubicBezTo>
                    <a:pt x="41" y="67"/>
                    <a:pt x="40" y="66"/>
                    <a:pt x="41" y="65"/>
                  </a:cubicBezTo>
                  <a:cubicBezTo>
                    <a:pt x="42" y="63"/>
                    <a:pt x="44" y="61"/>
                    <a:pt x="45" y="59"/>
                  </a:cubicBezTo>
                  <a:cubicBezTo>
                    <a:pt x="45" y="58"/>
                    <a:pt x="46" y="57"/>
                    <a:pt x="47" y="57"/>
                  </a:cubicBezTo>
                  <a:cubicBezTo>
                    <a:pt x="49" y="56"/>
                    <a:pt x="52" y="57"/>
                    <a:pt x="54" y="56"/>
                  </a:cubicBezTo>
                  <a:cubicBezTo>
                    <a:pt x="56" y="55"/>
                    <a:pt x="59" y="55"/>
                    <a:pt x="61" y="55"/>
                  </a:cubicBezTo>
                  <a:cubicBezTo>
                    <a:pt x="62" y="56"/>
                    <a:pt x="63" y="58"/>
                    <a:pt x="64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5" y="57"/>
                    <a:pt x="65" y="56"/>
                    <a:pt x="66" y="55"/>
                  </a:cubicBezTo>
                  <a:cubicBezTo>
                    <a:pt x="67" y="53"/>
                    <a:pt x="66" y="51"/>
                    <a:pt x="66" y="50"/>
                  </a:cubicBezTo>
                  <a:cubicBezTo>
                    <a:pt x="66" y="49"/>
                    <a:pt x="66" y="49"/>
                    <a:pt x="65" y="49"/>
                  </a:cubicBezTo>
                  <a:cubicBezTo>
                    <a:pt x="65" y="48"/>
                    <a:pt x="65" y="47"/>
                    <a:pt x="65" y="46"/>
                  </a:cubicBezTo>
                  <a:cubicBezTo>
                    <a:pt x="65" y="45"/>
                    <a:pt x="66" y="45"/>
                    <a:pt x="65" y="44"/>
                  </a:cubicBezTo>
                  <a:cubicBezTo>
                    <a:pt x="65" y="43"/>
                    <a:pt x="64" y="42"/>
                    <a:pt x="63" y="42"/>
                  </a:cubicBezTo>
                  <a:cubicBezTo>
                    <a:pt x="61" y="41"/>
                    <a:pt x="60" y="39"/>
                    <a:pt x="59" y="37"/>
                  </a:cubicBezTo>
                  <a:cubicBezTo>
                    <a:pt x="59" y="36"/>
                    <a:pt x="59" y="36"/>
                    <a:pt x="58" y="35"/>
                  </a:cubicBezTo>
                  <a:cubicBezTo>
                    <a:pt x="58" y="33"/>
                    <a:pt x="58" y="31"/>
                    <a:pt x="58" y="29"/>
                  </a:cubicBezTo>
                  <a:cubicBezTo>
                    <a:pt x="58" y="28"/>
                    <a:pt x="56" y="27"/>
                    <a:pt x="55" y="27"/>
                  </a:cubicBezTo>
                  <a:cubicBezTo>
                    <a:pt x="54" y="26"/>
                    <a:pt x="53" y="26"/>
                    <a:pt x="53" y="25"/>
                  </a:cubicBezTo>
                  <a:cubicBezTo>
                    <a:pt x="52" y="25"/>
                    <a:pt x="52" y="24"/>
                    <a:pt x="52" y="23"/>
                  </a:cubicBezTo>
                  <a:cubicBezTo>
                    <a:pt x="51" y="22"/>
                    <a:pt x="50" y="22"/>
                    <a:pt x="49" y="21"/>
                  </a:cubicBezTo>
                  <a:cubicBezTo>
                    <a:pt x="48" y="20"/>
                    <a:pt x="45" y="20"/>
                    <a:pt x="44" y="22"/>
                  </a:cubicBezTo>
                  <a:cubicBezTo>
                    <a:pt x="43" y="23"/>
                    <a:pt x="42" y="25"/>
                    <a:pt x="40" y="26"/>
                  </a:cubicBezTo>
                  <a:cubicBezTo>
                    <a:pt x="40" y="27"/>
                    <a:pt x="39" y="27"/>
                    <a:pt x="38" y="26"/>
                  </a:cubicBezTo>
                  <a:cubicBezTo>
                    <a:pt x="36" y="25"/>
                    <a:pt x="35" y="22"/>
                    <a:pt x="33" y="24"/>
                  </a:cubicBezTo>
                  <a:cubicBezTo>
                    <a:pt x="32" y="25"/>
                    <a:pt x="30" y="28"/>
                    <a:pt x="28" y="27"/>
                  </a:cubicBezTo>
                  <a:cubicBezTo>
                    <a:pt x="28" y="26"/>
                    <a:pt x="27" y="25"/>
                    <a:pt x="27" y="24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0"/>
                    <a:pt x="29" y="17"/>
                    <a:pt x="28" y="14"/>
                  </a:cubicBezTo>
                  <a:cubicBezTo>
                    <a:pt x="28" y="13"/>
                    <a:pt x="28" y="11"/>
                    <a:pt x="28" y="9"/>
                  </a:cubicBezTo>
                  <a:cubicBezTo>
                    <a:pt x="26" y="8"/>
                    <a:pt x="24" y="10"/>
                    <a:pt x="22" y="9"/>
                  </a:cubicBezTo>
                  <a:cubicBezTo>
                    <a:pt x="22" y="9"/>
                    <a:pt x="22" y="8"/>
                    <a:pt x="22" y="7"/>
                  </a:cubicBezTo>
                  <a:cubicBezTo>
                    <a:pt x="23" y="7"/>
                    <a:pt x="23" y="5"/>
                    <a:pt x="23" y="4"/>
                  </a:cubicBezTo>
                  <a:cubicBezTo>
                    <a:pt x="22" y="3"/>
                    <a:pt x="22" y="3"/>
                    <a:pt x="21" y="2"/>
                  </a:cubicBezTo>
                  <a:cubicBezTo>
                    <a:pt x="20" y="2"/>
                    <a:pt x="19" y="1"/>
                    <a:pt x="19" y="0"/>
                  </a:cubicBezTo>
                  <a:cubicBezTo>
                    <a:pt x="18" y="0"/>
                    <a:pt x="17" y="1"/>
                    <a:pt x="17" y="1"/>
                  </a:cubicBezTo>
                  <a:cubicBezTo>
                    <a:pt x="16" y="1"/>
                    <a:pt x="15" y="2"/>
                    <a:pt x="15" y="3"/>
                  </a:cubicBezTo>
                  <a:cubicBezTo>
                    <a:pt x="15" y="4"/>
                    <a:pt x="14" y="4"/>
                    <a:pt x="13" y="5"/>
                  </a:cubicBezTo>
                  <a:cubicBezTo>
                    <a:pt x="12" y="5"/>
                    <a:pt x="11" y="7"/>
                    <a:pt x="10" y="8"/>
                  </a:cubicBezTo>
                  <a:cubicBezTo>
                    <a:pt x="10" y="8"/>
                    <a:pt x="9" y="8"/>
                    <a:pt x="9" y="8"/>
                  </a:cubicBezTo>
                  <a:cubicBezTo>
                    <a:pt x="8" y="8"/>
                    <a:pt x="6" y="8"/>
                    <a:pt x="5" y="8"/>
                  </a:cubicBezTo>
                  <a:cubicBezTo>
                    <a:pt x="3" y="9"/>
                    <a:pt x="2" y="10"/>
                    <a:pt x="2" y="12"/>
                  </a:cubicBezTo>
                  <a:cubicBezTo>
                    <a:pt x="2" y="14"/>
                    <a:pt x="2" y="15"/>
                    <a:pt x="2" y="17"/>
                  </a:cubicBezTo>
                  <a:cubicBezTo>
                    <a:pt x="1" y="18"/>
                    <a:pt x="0" y="19"/>
                    <a:pt x="1" y="20"/>
                  </a:cubicBezTo>
                  <a:cubicBezTo>
                    <a:pt x="1" y="21"/>
                    <a:pt x="2" y="21"/>
                    <a:pt x="3" y="22"/>
                  </a:cubicBezTo>
                  <a:cubicBezTo>
                    <a:pt x="3" y="24"/>
                    <a:pt x="3" y="26"/>
                    <a:pt x="3" y="27"/>
                  </a:cubicBezTo>
                  <a:cubicBezTo>
                    <a:pt x="4" y="29"/>
                    <a:pt x="6" y="29"/>
                    <a:pt x="7" y="31"/>
                  </a:cubicBezTo>
                  <a:cubicBezTo>
                    <a:pt x="8" y="32"/>
                    <a:pt x="8" y="34"/>
                    <a:pt x="9" y="36"/>
                  </a:cubicBezTo>
                  <a:cubicBezTo>
                    <a:pt x="10" y="37"/>
                    <a:pt x="10" y="37"/>
                    <a:pt x="11" y="38"/>
                  </a:cubicBezTo>
                  <a:cubicBezTo>
                    <a:pt x="12" y="39"/>
                    <a:pt x="12" y="41"/>
                    <a:pt x="12" y="42"/>
                  </a:cubicBezTo>
                  <a:cubicBezTo>
                    <a:pt x="11" y="43"/>
                    <a:pt x="10" y="43"/>
                    <a:pt x="10" y="44"/>
                  </a:cubicBezTo>
                  <a:cubicBezTo>
                    <a:pt x="9" y="45"/>
                    <a:pt x="10" y="47"/>
                    <a:pt x="9" y="48"/>
                  </a:cubicBezTo>
                  <a:cubicBezTo>
                    <a:pt x="8" y="50"/>
                    <a:pt x="7" y="52"/>
                    <a:pt x="8" y="54"/>
                  </a:cubicBezTo>
                  <a:cubicBezTo>
                    <a:pt x="10" y="55"/>
                    <a:pt x="11" y="57"/>
                    <a:pt x="12" y="58"/>
                  </a:cubicBezTo>
                  <a:cubicBezTo>
                    <a:pt x="12" y="59"/>
                    <a:pt x="13" y="59"/>
                    <a:pt x="14" y="60"/>
                  </a:cubicBezTo>
                  <a:cubicBezTo>
                    <a:pt x="14" y="61"/>
                    <a:pt x="15" y="62"/>
                    <a:pt x="15" y="64"/>
                  </a:cubicBezTo>
                  <a:cubicBezTo>
                    <a:pt x="15" y="66"/>
                    <a:pt x="14" y="69"/>
                    <a:pt x="15" y="71"/>
                  </a:cubicBezTo>
                  <a:cubicBezTo>
                    <a:pt x="15" y="71"/>
                    <a:pt x="16" y="72"/>
                    <a:pt x="16" y="72"/>
                  </a:cubicBezTo>
                  <a:cubicBezTo>
                    <a:pt x="16" y="73"/>
                    <a:pt x="18" y="74"/>
                    <a:pt x="19" y="76"/>
                  </a:cubicBezTo>
                  <a:cubicBezTo>
                    <a:pt x="19" y="78"/>
                    <a:pt x="19" y="80"/>
                    <a:pt x="19" y="81"/>
                  </a:cubicBezTo>
                  <a:cubicBezTo>
                    <a:pt x="18" y="82"/>
                    <a:pt x="18" y="82"/>
                    <a:pt x="18" y="83"/>
                  </a:cubicBezTo>
                  <a:cubicBezTo>
                    <a:pt x="17" y="84"/>
                    <a:pt x="17" y="86"/>
                    <a:pt x="16" y="88"/>
                  </a:cubicBezTo>
                  <a:cubicBezTo>
                    <a:pt x="15" y="89"/>
                    <a:pt x="15" y="91"/>
                    <a:pt x="14" y="93"/>
                  </a:cubicBezTo>
                  <a:cubicBezTo>
                    <a:pt x="14" y="94"/>
                    <a:pt x="13" y="95"/>
                    <a:pt x="13" y="97"/>
                  </a:cubicBezTo>
                  <a:lnTo>
                    <a:pt x="12" y="98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8" name="Freeform 230"/>
            <p:cNvSpPr>
              <a:spLocks/>
            </p:cNvSpPr>
            <p:nvPr/>
          </p:nvSpPr>
          <p:spPr bwMode="auto">
            <a:xfrm>
              <a:off x="7284932" y="3449742"/>
              <a:ext cx="31605" cy="83277"/>
            </a:xfrm>
            <a:custGeom>
              <a:avLst/>
              <a:gdLst>
                <a:gd name="T0" fmla="*/ 54083270 w 68"/>
                <a:gd name="T1" fmla="*/ 74389825 h 172"/>
                <a:gd name="T2" fmla="*/ 48439752 w 68"/>
                <a:gd name="T3" fmla="*/ 79192650 h 172"/>
                <a:gd name="T4" fmla="*/ 42415774 w 68"/>
                <a:gd name="T5" fmla="*/ 87801303 h 172"/>
                <a:gd name="T6" fmla="*/ 43227632 w 68"/>
                <a:gd name="T7" fmla="*/ 97625636 h 172"/>
                <a:gd name="T8" fmla="*/ 50223770 w 68"/>
                <a:gd name="T9" fmla="*/ 108226562 h 172"/>
                <a:gd name="T10" fmla="*/ 48439752 w 68"/>
                <a:gd name="T11" fmla="*/ 118056044 h 172"/>
                <a:gd name="T12" fmla="*/ 52929313 w 68"/>
                <a:gd name="T13" fmla="*/ 129425840 h 172"/>
                <a:gd name="T14" fmla="*/ 54826197 w 68"/>
                <a:gd name="T15" fmla="*/ 140807980 h 172"/>
                <a:gd name="T16" fmla="*/ 56589433 w 68"/>
                <a:gd name="T17" fmla="*/ 151837713 h 172"/>
                <a:gd name="T18" fmla="*/ 52084814 w 68"/>
                <a:gd name="T19" fmla="*/ 165305320 h 172"/>
                <a:gd name="T20" fmla="*/ 50223770 w 68"/>
                <a:gd name="T21" fmla="*/ 160499314 h 172"/>
                <a:gd name="T22" fmla="*/ 51019441 w 68"/>
                <a:gd name="T23" fmla="*/ 149767655 h 172"/>
                <a:gd name="T24" fmla="*/ 51019441 w 68"/>
                <a:gd name="T25" fmla="*/ 138033111 h 172"/>
                <a:gd name="T26" fmla="*/ 44975697 w 68"/>
                <a:gd name="T27" fmla="*/ 124555396 h 172"/>
                <a:gd name="T28" fmla="*/ 43227632 w 68"/>
                <a:gd name="T29" fmla="*/ 118056044 h 172"/>
                <a:gd name="T30" fmla="*/ 41611294 w 68"/>
                <a:gd name="T31" fmla="*/ 108226562 h 172"/>
                <a:gd name="T32" fmla="*/ 37948265 w 68"/>
                <a:gd name="T33" fmla="*/ 101296206 h 172"/>
                <a:gd name="T34" fmla="*/ 35244662 w 68"/>
                <a:gd name="T35" fmla="*/ 106101455 h 172"/>
                <a:gd name="T36" fmla="*/ 29344636 w 68"/>
                <a:gd name="T37" fmla="*/ 113042260 h 172"/>
                <a:gd name="T38" fmla="*/ 24731857 w 68"/>
                <a:gd name="T39" fmla="*/ 113900178 h 172"/>
                <a:gd name="T40" fmla="*/ 18371752 w 68"/>
                <a:gd name="T41" fmla="*/ 109029507 h 172"/>
                <a:gd name="T42" fmla="*/ 19433342 w 68"/>
                <a:gd name="T43" fmla="*/ 98369593 h 172"/>
                <a:gd name="T44" fmla="*/ 17684806 w 68"/>
                <a:gd name="T45" fmla="*/ 89028739 h 172"/>
                <a:gd name="T46" fmla="*/ 15774699 w 68"/>
                <a:gd name="T47" fmla="*/ 82099897 h 172"/>
                <a:gd name="T48" fmla="*/ 7807999 w 68"/>
                <a:gd name="T49" fmla="*/ 75534119 h 172"/>
                <a:gd name="T50" fmla="*/ 2560181 w 68"/>
                <a:gd name="T51" fmla="*/ 67827775 h 172"/>
                <a:gd name="T52" fmla="*/ 0 w 68"/>
                <a:gd name="T53" fmla="*/ 62769581 h 172"/>
                <a:gd name="T54" fmla="*/ 4467192 w 68"/>
                <a:gd name="T55" fmla="*/ 58869425 h 172"/>
                <a:gd name="T56" fmla="*/ 7173119 w 68"/>
                <a:gd name="T57" fmla="*/ 49374288 h 172"/>
                <a:gd name="T58" fmla="*/ 12471472 w 68"/>
                <a:gd name="T59" fmla="*/ 42429735 h 172"/>
                <a:gd name="T60" fmla="*/ 14978991 w 68"/>
                <a:gd name="T61" fmla="*/ 34695801 h 172"/>
                <a:gd name="T62" fmla="*/ 14174003 w 68"/>
                <a:gd name="T63" fmla="*/ 25354908 h 172"/>
                <a:gd name="T64" fmla="*/ 18371752 w 68"/>
                <a:gd name="T65" fmla="*/ 23275006 h 172"/>
                <a:gd name="T66" fmla="*/ 22985392 w 68"/>
                <a:gd name="T67" fmla="*/ 10715099 h 172"/>
                <a:gd name="T68" fmla="*/ 28048994 w 68"/>
                <a:gd name="T69" fmla="*/ 9836124 h 172"/>
                <a:gd name="T70" fmla="*/ 30754932 w 68"/>
                <a:gd name="T71" fmla="*/ 8596601 h 172"/>
                <a:gd name="T72" fmla="*/ 32654658 w 68"/>
                <a:gd name="T73" fmla="*/ 0 h 172"/>
                <a:gd name="T74" fmla="*/ 39712716 w 68"/>
                <a:gd name="T75" fmla="*/ 6928863 h 172"/>
                <a:gd name="T76" fmla="*/ 43227632 w 68"/>
                <a:gd name="T77" fmla="*/ 13489987 h 172"/>
                <a:gd name="T78" fmla="*/ 41611294 w 68"/>
                <a:gd name="T79" fmla="*/ 29027315 h 172"/>
                <a:gd name="T80" fmla="*/ 39013959 w 68"/>
                <a:gd name="T81" fmla="*/ 37623947 h 172"/>
                <a:gd name="T82" fmla="*/ 45725476 w 68"/>
                <a:gd name="T83" fmla="*/ 40396704 h 172"/>
                <a:gd name="T84" fmla="*/ 52929313 w 68"/>
                <a:gd name="T85" fmla="*/ 50233380 h 172"/>
                <a:gd name="T86" fmla="*/ 54826197 w 68"/>
                <a:gd name="T87" fmla="*/ 57965847 h 172"/>
                <a:gd name="T88" fmla="*/ 59295465 w 68"/>
                <a:gd name="T89" fmla="*/ 64895445 h 172"/>
                <a:gd name="T90" fmla="*/ 57385179 w 68"/>
                <a:gd name="T91" fmla="*/ 71461659 h 17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68"/>
                <a:gd name="T139" fmla="*/ 0 h 172"/>
                <a:gd name="T140" fmla="*/ 68 w 68"/>
                <a:gd name="T141" fmla="*/ 172 h 17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68" h="172">
                  <a:moveTo>
                    <a:pt x="65" y="74"/>
                  </a:moveTo>
                  <a:cubicBezTo>
                    <a:pt x="64" y="74"/>
                    <a:pt x="63" y="75"/>
                    <a:pt x="63" y="75"/>
                  </a:cubicBezTo>
                  <a:cubicBezTo>
                    <a:pt x="62" y="75"/>
                    <a:pt x="61" y="76"/>
                    <a:pt x="61" y="77"/>
                  </a:cubicBezTo>
                  <a:cubicBezTo>
                    <a:pt x="61" y="78"/>
                    <a:pt x="60" y="78"/>
                    <a:pt x="59" y="79"/>
                  </a:cubicBezTo>
                  <a:cubicBezTo>
                    <a:pt x="58" y="79"/>
                    <a:pt x="57" y="81"/>
                    <a:pt x="56" y="82"/>
                  </a:cubicBezTo>
                  <a:cubicBezTo>
                    <a:pt x="56" y="82"/>
                    <a:pt x="55" y="82"/>
                    <a:pt x="55" y="82"/>
                  </a:cubicBezTo>
                  <a:cubicBezTo>
                    <a:pt x="54" y="82"/>
                    <a:pt x="52" y="82"/>
                    <a:pt x="51" y="82"/>
                  </a:cubicBezTo>
                  <a:cubicBezTo>
                    <a:pt x="49" y="83"/>
                    <a:pt x="48" y="84"/>
                    <a:pt x="48" y="86"/>
                  </a:cubicBezTo>
                  <a:cubicBezTo>
                    <a:pt x="48" y="88"/>
                    <a:pt x="48" y="89"/>
                    <a:pt x="48" y="91"/>
                  </a:cubicBezTo>
                  <a:cubicBezTo>
                    <a:pt x="47" y="92"/>
                    <a:pt x="46" y="93"/>
                    <a:pt x="47" y="94"/>
                  </a:cubicBezTo>
                  <a:cubicBezTo>
                    <a:pt x="47" y="95"/>
                    <a:pt x="48" y="95"/>
                    <a:pt x="49" y="96"/>
                  </a:cubicBezTo>
                  <a:cubicBezTo>
                    <a:pt x="49" y="98"/>
                    <a:pt x="49" y="100"/>
                    <a:pt x="49" y="101"/>
                  </a:cubicBezTo>
                  <a:cubicBezTo>
                    <a:pt x="50" y="103"/>
                    <a:pt x="52" y="103"/>
                    <a:pt x="53" y="105"/>
                  </a:cubicBezTo>
                  <a:cubicBezTo>
                    <a:pt x="54" y="106"/>
                    <a:pt x="54" y="108"/>
                    <a:pt x="55" y="110"/>
                  </a:cubicBezTo>
                  <a:cubicBezTo>
                    <a:pt x="56" y="111"/>
                    <a:pt x="56" y="111"/>
                    <a:pt x="57" y="112"/>
                  </a:cubicBezTo>
                  <a:cubicBezTo>
                    <a:pt x="58" y="113"/>
                    <a:pt x="58" y="115"/>
                    <a:pt x="58" y="116"/>
                  </a:cubicBezTo>
                  <a:cubicBezTo>
                    <a:pt x="57" y="117"/>
                    <a:pt x="56" y="117"/>
                    <a:pt x="56" y="118"/>
                  </a:cubicBezTo>
                  <a:cubicBezTo>
                    <a:pt x="55" y="119"/>
                    <a:pt x="56" y="121"/>
                    <a:pt x="55" y="122"/>
                  </a:cubicBezTo>
                  <a:cubicBezTo>
                    <a:pt x="54" y="124"/>
                    <a:pt x="53" y="126"/>
                    <a:pt x="54" y="128"/>
                  </a:cubicBezTo>
                  <a:cubicBezTo>
                    <a:pt x="56" y="129"/>
                    <a:pt x="57" y="131"/>
                    <a:pt x="58" y="132"/>
                  </a:cubicBezTo>
                  <a:cubicBezTo>
                    <a:pt x="58" y="133"/>
                    <a:pt x="59" y="133"/>
                    <a:pt x="60" y="134"/>
                  </a:cubicBezTo>
                  <a:cubicBezTo>
                    <a:pt x="60" y="135"/>
                    <a:pt x="61" y="136"/>
                    <a:pt x="61" y="138"/>
                  </a:cubicBezTo>
                  <a:cubicBezTo>
                    <a:pt x="61" y="140"/>
                    <a:pt x="60" y="143"/>
                    <a:pt x="61" y="145"/>
                  </a:cubicBezTo>
                  <a:cubicBezTo>
                    <a:pt x="61" y="145"/>
                    <a:pt x="62" y="146"/>
                    <a:pt x="62" y="146"/>
                  </a:cubicBezTo>
                  <a:cubicBezTo>
                    <a:pt x="62" y="147"/>
                    <a:pt x="64" y="148"/>
                    <a:pt x="65" y="150"/>
                  </a:cubicBezTo>
                  <a:cubicBezTo>
                    <a:pt x="65" y="152"/>
                    <a:pt x="65" y="154"/>
                    <a:pt x="65" y="155"/>
                  </a:cubicBezTo>
                  <a:cubicBezTo>
                    <a:pt x="64" y="156"/>
                    <a:pt x="64" y="156"/>
                    <a:pt x="64" y="157"/>
                  </a:cubicBezTo>
                  <a:cubicBezTo>
                    <a:pt x="63" y="158"/>
                    <a:pt x="63" y="160"/>
                    <a:pt x="62" y="162"/>
                  </a:cubicBezTo>
                  <a:cubicBezTo>
                    <a:pt x="61" y="163"/>
                    <a:pt x="61" y="165"/>
                    <a:pt x="60" y="167"/>
                  </a:cubicBezTo>
                  <a:cubicBezTo>
                    <a:pt x="60" y="168"/>
                    <a:pt x="59" y="169"/>
                    <a:pt x="59" y="171"/>
                  </a:cubicBezTo>
                  <a:cubicBezTo>
                    <a:pt x="58" y="172"/>
                    <a:pt x="58" y="172"/>
                    <a:pt x="58" y="172"/>
                  </a:cubicBezTo>
                  <a:cubicBezTo>
                    <a:pt x="58" y="171"/>
                    <a:pt x="58" y="170"/>
                    <a:pt x="58" y="169"/>
                  </a:cubicBezTo>
                  <a:cubicBezTo>
                    <a:pt x="58" y="168"/>
                    <a:pt x="58" y="167"/>
                    <a:pt x="57" y="166"/>
                  </a:cubicBezTo>
                  <a:cubicBezTo>
                    <a:pt x="57" y="164"/>
                    <a:pt x="58" y="163"/>
                    <a:pt x="58" y="162"/>
                  </a:cubicBezTo>
                  <a:cubicBezTo>
                    <a:pt x="59" y="160"/>
                    <a:pt x="59" y="159"/>
                    <a:pt x="58" y="157"/>
                  </a:cubicBezTo>
                  <a:cubicBezTo>
                    <a:pt x="58" y="156"/>
                    <a:pt x="58" y="156"/>
                    <a:pt x="58" y="155"/>
                  </a:cubicBezTo>
                  <a:cubicBezTo>
                    <a:pt x="57" y="154"/>
                    <a:pt x="57" y="152"/>
                    <a:pt x="58" y="150"/>
                  </a:cubicBezTo>
                  <a:cubicBezTo>
                    <a:pt x="58" y="150"/>
                    <a:pt x="58" y="149"/>
                    <a:pt x="58" y="149"/>
                  </a:cubicBezTo>
                  <a:cubicBezTo>
                    <a:pt x="58" y="147"/>
                    <a:pt x="59" y="145"/>
                    <a:pt x="58" y="143"/>
                  </a:cubicBezTo>
                  <a:cubicBezTo>
                    <a:pt x="57" y="141"/>
                    <a:pt x="56" y="139"/>
                    <a:pt x="55" y="137"/>
                  </a:cubicBezTo>
                  <a:cubicBezTo>
                    <a:pt x="54" y="136"/>
                    <a:pt x="54" y="135"/>
                    <a:pt x="54" y="135"/>
                  </a:cubicBezTo>
                  <a:cubicBezTo>
                    <a:pt x="53" y="133"/>
                    <a:pt x="51" y="131"/>
                    <a:pt x="51" y="129"/>
                  </a:cubicBezTo>
                  <a:cubicBezTo>
                    <a:pt x="50" y="128"/>
                    <a:pt x="51" y="127"/>
                    <a:pt x="50" y="126"/>
                  </a:cubicBezTo>
                  <a:cubicBezTo>
                    <a:pt x="50" y="125"/>
                    <a:pt x="51" y="124"/>
                    <a:pt x="50" y="123"/>
                  </a:cubicBezTo>
                  <a:cubicBezTo>
                    <a:pt x="50" y="123"/>
                    <a:pt x="49" y="122"/>
                    <a:pt x="49" y="122"/>
                  </a:cubicBezTo>
                  <a:cubicBezTo>
                    <a:pt x="49" y="120"/>
                    <a:pt x="49" y="118"/>
                    <a:pt x="49" y="117"/>
                  </a:cubicBezTo>
                  <a:cubicBezTo>
                    <a:pt x="49" y="116"/>
                    <a:pt x="48" y="116"/>
                    <a:pt x="48" y="116"/>
                  </a:cubicBezTo>
                  <a:cubicBezTo>
                    <a:pt x="47" y="115"/>
                    <a:pt x="48" y="113"/>
                    <a:pt x="47" y="112"/>
                  </a:cubicBezTo>
                  <a:cubicBezTo>
                    <a:pt x="45" y="111"/>
                    <a:pt x="45" y="109"/>
                    <a:pt x="44" y="108"/>
                  </a:cubicBezTo>
                  <a:cubicBezTo>
                    <a:pt x="44" y="107"/>
                    <a:pt x="43" y="107"/>
                    <a:pt x="43" y="107"/>
                  </a:cubicBezTo>
                  <a:cubicBezTo>
                    <a:pt x="43" y="106"/>
                    <a:pt x="43" y="105"/>
                    <a:pt x="43" y="105"/>
                  </a:cubicBezTo>
                  <a:cubicBezTo>
                    <a:pt x="42" y="104"/>
                    <a:pt x="41" y="104"/>
                    <a:pt x="41" y="105"/>
                  </a:cubicBezTo>
                  <a:cubicBezTo>
                    <a:pt x="41" y="105"/>
                    <a:pt x="41" y="107"/>
                    <a:pt x="41" y="108"/>
                  </a:cubicBezTo>
                  <a:cubicBezTo>
                    <a:pt x="41" y="109"/>
                    <a:pt x="41" y="110"/>
                    <a:pt x="40" y="110"/>
                  </a:cubicBezTo>
                  <a:cubicBezTo>
                    <a:pt x="39" y="111"/>
                    <a:pt x="39" y="111"/>
                    <a:pt x="38" y="111"/>
                  </a:cubicBezTo>
                  <a:cubicBezTo>
                    <a:pt x="37" y="112"/>
                    <a:pt x="35" y="113"/>
                    <a:pt x="34" y="115"/>
                  </a:cubicBezTo>
                  <a:cubicBezTo>
                    <a:pt x="33" y="115"/>
                    <a:pt x="33" y="116"/>
                    <a:pt x="33" y="117"/>
                  </a:cubicBezTo>
                  <a:cubicBezTo>
                    <a:pt x="32" y="118"/>
                    <a:pt x="31" y="119"/>
                    <a:pt x="30" y="119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29" y="118"/>
                    <a:pt x="28" y="118"/>
                    <a:pt x="28" y="118"/>
                  </a:cubicBezTo>
                  <a:cubicBezTo>
                    <a:pt x="27" y="117"/>
                    <a:pt x="26" y="117"/>
                    <a:pt x="25" y="116"/>
                  </a:cubicBezTo>
                  <a:cubicBezTo>
                    <a:pt x="24" y="116"/>
                    <a:pt x="23" y="116"/>
                    <a:pt x="23" y="116"/>
                  </a:cubicBezTo>
                  <a:cubicBezTo>
                    <a:pt x="22" y="115"/>
                    <a:pt x="21" y="114"/>
                    <a:pt x="21" y="113"/>
                  </a:cubicBezTo>
                  <a:cubicBezTo>
                    <a:pt x="21" y="112"/>
                    <a:pt x="21" y="110"/>
                    <a:pt x="22" y="109"/>
                  </a:cubicBezTo>
                  <a:cubicBezTo>
                    <a:pt x="22" y="108"/>
                    <a:pt x="23" y="107"/>
                    <a:pt x="23" y="105"/>
                  </a:cubicBezTo>
                  <a:cubicBezTo>
                    <a:pt x="23" y="104"/>
                    <a:pt x="23" y="103"/>
                    <a:pt x="22" y="102"/>
                  </a:cubicBezTo>
                  <a:cubicBezTo>
                    <a:pt x="22" y="101"/>
                    <a:pt x="22" y="99"/>
                    <a:pt x="22" y="97"/>
                  </a:cubicBezTo>
                  <a:cubicBezTo>
                    <a:pt x="22" y="97"/>
                    <a:pt x="22" y="96"/>
                    <a:pt x="21" y="96"/>
                  </a:cubicBezTo>
                  <a:cubicBezTo>
                    <a:pt x="21" y="95"/>
                    <a:pt x="20" y="93"/>
                    <a:pt x="20" y="92"/>
                  </a:cubicBezTo>
                  <a:cubicBezTo>
                    <a:pt x="19" y="91"/>
                    <a:pt x="20" y="90"/>
                    <a:pt x="19" y="89"/>
                  </a:cubicBezTo>
                  <a:cubicBezTo>
                    <a:pt x="19" y="89"/>
                    <a:pt x="19" y="88"/>
                    <a:pt x="19" y="88"/>
                  </a:cubicBezTo>
                  <a:cubicBezTo>
                    <a:pt x="18" y="87"/>
                    <a:pt x="18" y="86"/>
                    <a:pt x="18" y="85"/>
                  </a:cubicBezTo>
                  <a:cubicBezTo>
                    <a:pt x="17" y="84"/>
                    <a:pt x="17" y="83"/>
                    <a:pt x="16" y="82"/>
                  </a:cubicBezTo>
                  <a:cubicBezTo>
                    <a:pt x="16" y="81"/>
                    <a:pt x="15" y="80"/>
                    <a:pt x="14" y="80"/>
                  </a:cubicBezTo>
                  <a:cubicBezTo>
                    <a:pt x="13" y="78"/>
                    <a:pt x="11" y="79"/>
                    <a:pt x="9" y="78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8" y="77"/>
                    <a:pt x="8" y="76"/>
                    <a:pt x="7" y="75"/>
                  </a:cubicBezTo>
                  <a:cubicBezTo>
                    <a:pt x="6" y="73"/>
                    <a:pt x="4" y="72"/>
                    <a:pt x="3" y="70"/>
                  </a:cubicBezTo>
                  <a:cubicBezTo>
                    <a:pt x="3" y="69"/>
                    <a:pt x="3" y="68"/>
                    <a:pt x="2" y="68"/>
                  </a:cubicBezTo>
                  <a:cubicBezTo>
                    <a:pt x="2" y="67"/>
                    <a:pt x="1" y="67"/>
                    <a:pt x="1" y="67"/>
                  </a:cubicBezTo>
                  <a:cubicBezTo>
                    <a:pt x="1" y="66"/>
                    <a:pt x="0" y="66"/>
                    <a:pt x="0" y="65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2" y="65"/>
                    <a:pt x="4" y="66"/>
                    <a:pt x="4" y="65"/>
                  </a:cubicBezTo>
                  <a:cubicBezTo>
                    <a:pt x="4" y="63"/>
                    <a:pt x="3" y="62"/>
                    <a:pt x="5" y="61"/>
                  </a:cubicBezTo>
                  <a:cubicBezTo>
                    <a:pt x="6" y="60"/>
                    <a:pt x="8" y="60"/>
                    <a:pt x="9" y="59"/>
                  </a:cubicBezTo>
                  <a:cubicBezTo>
                    <a:pt x="9" y="58"/>
                    <a:pt x="9" y="57"/>
                    <a:pt x="9" y="57"/>
                  </a:cubicBezTo>
                  <a:cubicBezTo>
                    <a:pt x="8" y="55"/>
                    <a:pt x="9" y="53"/>
                    <a:pt x="8" y="51"/>
                  </a:cubicBezTo>
                  <a:cubicBezTo>
                    <a:pt x="10" y="50"/>
                    <a:pt x="10" y="47"/>
                    <a:pt x="11" y="45"/>
                  </a:cubicBezTo>
                  <a:cubicBezTo>
                    <a:pt x="11" y="44"/>
                    <a:pt x="11" y="44"/>
                    <a:pt x="12" y="44"/>
                  </a:cubicBezTo>
                  <a:cubicBezTo>
                    <a:pt x="12" y="44"/>
                    <a:pt x="13" y="44"/>
                    <a:pt x="14" y="44"/>
                  </a:cubicBezTo>
                  <a:cubicBezTo>
                    <a:pt x="14" y="43"/>
                    <a:pt x="15" y="43"/>
                    <a:pt x="15" y="43"/>
                  </a:cubicBezTo>
                  <a:cubicBezTo>
                    <a:pt x="16" y="40"/>
                    <a:pt x="16" y="38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5"/>
                    <a:pt x="17" y="33"/>
                    <a:pt x="18" y="32"/>
                  </a:cubicBezTo>
                  <a:cubicBezTo>
                    <a:pt x="18" y="31"/>
                    <a:pt x="19" y="30"/>
                    <a:pt x="18" y="29"/>
                  </a:cubicBezTo>
                  <a:cubicBezTo>
                    <a:pt x="18" y="28"/>
                    <a:pt x="16" y="28"/>
                    <a:pt x="16" y="26"/>
                  </a:cubicBezTo>
                  <a:cubicBezTo>
                    <a:pt x="16" y="26"/>
                    <a:pt x="17" y="26"/>
                    <a:pt x="17" y="26"/>
                  </a:cubicBezTo>
                  <a:cubicBezTo>
                    <a:pt x="18" y="26"/>
                    <a:pt x="19" y="26"/>
                    <a:pt x="19" y="25"/>
                  </a:cubicBezTo>
                  <a:cubicBezTo>
                    <a:pt x="20" y="25"/>
                    <a:pt x="21" y="24"/>
                    <a:pt x="21" y="24"/>
                  </a:cubicBezTo>
                  <a:cubicBezTo>
                    <a:pt x="22" y="22"/>
                    <a:pt x="22" y="20"/>
                    <a:pt x="21" y="19"/>
                  </a:cubicBezTo>
                  <a:cubicBezTo>
                    <a:pt x="21" y="18"/>
                    <a:pt x="20" y="17"/>
                    <a:pt x="21" y="17"/>
                  </a:cubicBezTo>
                  <a:cubicBezTo>
                    <a:pt x="23" y="15"/>
                    <a:pt x="24" y="13"/>
                    <a:pt x="26" y="11"/>
                  </a:cubicBezTo>
                  <a:cubicBezTo>
                    <a:pt x="26" y="11"/>
                    <a:pt x="27" y="11"/>
                    <a:pt x="27" y="11"/>
                  </a:cubicBezTo>
                  <a:cubicBezTo>
                    <a:pt x="28" y="10"/>
                    <a:pt x="30" y="9"/>
                    <a:pt x="31" y="10"/>
                  </a:cubicBezTo>
                  <a:cubicBezTo>
                    <a:pt x="31" y="10"/>
                    <a:pt x="31" y="10"/>
                    <a:pt x="32" y="10"/>
                  </a:cubicBezTo>
                  <a:cubicBezTo>
                    <a:pt x="33" y="11"/>
                    <a:pt x="33" y="11"/>
                    <a:pt x="34" y="12"/>
                  </a:cubicBezTo>
                  <a:cubicBezTo>
                    <a:pt x="34" y="12"/>
                    <a:pt x="35" y="12"/>
                    <a:pt x="35" y="12"/>
                  </a:cubicBezTo>
                  <a:cubicBezTo>
                    <a:pt x="35" y="11"/>
                    <a:pt x="35" y="10"/>
                    <a:pt x="35" y="9"/>
                  </a:cubicBezTo>
                  <a:cubicBezTo>
                    <a:pt x="34" y="9"/>
                    <a:pt x="34" y="7"/>
                    <a:pt x="34" y="7"/>
                  </a:cubicBezTo>
                  <a:cubicBezTo>
                    <a:pt x="34" y="5"/>
                    <a:pt x="36" y="5"/>
                    <a:pt x="37" y="5"/>
                  </a:cubicBezTo>
                  <a:cubicBezTo>
                    <a:pt x="37" y="4"/>
                    <a:pt x="38" y="1"/>
                    <a:pt x="37" y="0"/>
                  </a:cubicBezTo>
                  <a:cubicBezTo>
                    <a:pt x="39" y="0"/>
                    <a:pt x="39" y="0"/>
                    <a:pt x="41" y="0"/>
                  </a:cubicBezTo>
                  <a:cubicBezTo>
                    <a:pt x="42" y="0"/>
                    <a:pt x="43" y="1"/>
                    <a:pt x="43" y="2"/>
                  </a:cubicBezTo>
                  <a:cubicBezTo>
                    <a:pt x="44" y="4"/>
                    <a:pt x="44" y="6"/>
                    <a:pt x="45" y="7"/>
                  </a:cubicBezTo>
                  <a:cubicBezTo>
                    <a:pt x="45" y="7"/>
                    <a:pt x="45" y="8"/>
                    <a:pt x="45" y="8"/>
                  </a:cubicBezTo>
                  <a:cubicBezTo>
                    <a:pt x="47" y="8"/>
                    <a:pt x="47" y="9"/>
                    <a:pt x="48" y="10"/>
                  </a:cubicBezTo>
                  <a:cubicBezTo>
                    <a:pt x="49" y="11"/>
                    <a:pt x="49" y="12"/>
                    <a:pt x="49" y="14"/>
                  </a:cubicBezTo>
                  <a:cubicBezTo>
                    <a:pt x="49" y="17"/>
                    <a:pt x="50" y="20"/>
                    <a:pt x="49" y="24"/>
                  </a:cubicBezTo>
                  <a:cubicBezTo>
                    <a:pt x="49" y="25"/>
                    <a:pt x="49" y="27"/>
                    <a:pt x="49" y="28"/>
                  </a:cubicBezTo>
                  <a:cubicBezTo>
                    <a:pt x="48" y="29"/>
                    <a:pt x="48" y="30"/>
                    <a:pt x="47" y="30"/>
                  </a:cubicBezTo>
                  <a:cubicBezTo>
                    <a:pt x="45" y="31"/>
                    <a:pt x="44" y="33"/>
                    <a:pt x="43" y="34"/>
                  </a:cubicBezTo>
                  <a:cubicBezTo>
                    <a:pt x="42" y="35"/>
                    <a:pt x="43" y="36"/>
                    <a:pt x="43" y="37"/>
                  </a:cubicBezTo>
                  <a:cubicBezTo>
                    <a:pt x="43" y="37"/>
                    <a:pt x="43" y="38"/>
                    <a:pt x="44" y="39"/>
                  </a:cubicBezTo>
                  <a:cubicBezTo>
                    <a:pt x="44" y="40"/>
                    <a:pt x="43" y="41"/>
                    <a:pt x="44" y="42"/>
                  </a:cubicBezTo>
                  <a:cubicBezTo>
                    <a:pt x="44" y="42"/>
                    <a:pt x="45" y="42"/>
                    <a:pt x="45" y="42"/>
                  </a:cubicBezTo>
                  <a:cubicBezTo>
                    <a:pt x="47" y="41"/>
                    <a:pt x="51" y="39"/>
                    <a:pt x="52" y="42"/>
                  </a:cubicBezTo>
                  <a:cubicBezTo>
                    <a:pt x="53" y="44"/>
                    <a:pt x="53" y="46"/>
                    <a:pt x="54" y="48"/>
                  </a:cubicBezTo>
                  <a:cubicBezTo>
                    <a:pt x="55" y="48"/>
                    <a:pt x="57" y="48"/>
                    <a:pt x="58" y="49"/>
                  </a:cubicBezTo>
                  <a:cubicBezTo>
                    <a:pt x="60" y="49"/>
                    <a:pt x="60" y="51"/>
                    <a:pt x="60" y="52"/>
                  </a:cubicBezTo>
                  <a:cubicBezTo>
                    <a:pt x="59" y="53"/>
                    <a:pt x="59" y="55"/>
                    <a:pt x="58" y="56"/>
                  </a:cubicBezTo>
                  <a:cubicBezTo>
                    <a:pt x="58" y="57"/>
                    <a:pt x="57" y="58"/>
                    <a:pt x="58" y="58"/>
                  </a:cubicBezTo>
                  <a:cubicBezTo>
                    <a:pt x="59" y="59"/>
                    <a:pt x="62" y="59"/>
                    <a:pt x="62" y="60"/>
                  </a:cubicBezTo>
                  <a:cubicBezTo>
                    <a:pt x="62" y="61"/>
                    <a:pt x="62" y="62"/>
                    <a:pt x="62" y="63"/>
                  </a:cubicBezTo>
                  <a:cubicBezTo>
                    <a:pt x="63" y="63"/>
                    <a:pt x="65" y="64"/>
                    <a:pt x="66" y="65"/>
                  </a:cubicBezTo>
                  <a:cubicBezTo>
                    <a:pt x="66" y="65"/>
                    <a:pt x="67" y="66"/>
                    <a:pt x="67" y="67"/>
                  </a:cubicBezTo>
                  <a:cubicBezTo>
                    <a:pt x="68" y="68"/>
                    <a:pt x="68" y="69"/>
                    <a:pt x="67" y="70"/>
                  </a:cubicBezTo>
                  <a:cubicBezTo>
                    <a:pt x="67" y="71"/>
                    <a:pt x="65" y="71"/>
                    <a:pt x="65" y="72"/>
                  </a:cubicBezTo>
                  <a:cubicBezTo>
                    <a:pt x="64" y="73"/>
                    <a:pt x="65" y="74"/>
                    <a:pt x="65" y="7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9" name="Freeform 231"/>
            <p:cNvSpPr>
              <a:spLocks/>
            </p:cNvSpPr>
            <p:nvPr/>
          </p:nvSpPr>
          <p:spPr bwMode="auto">
            <a:xfrm>
              <a:off x="7370465" y="3554649"/>
              <a:ext cx="4766" cy="4326"/>
            </a:xfrm>
            <a:custGeom>
              <a:avLst/>
              <a:gdLst>
                <a:gd name="T0" fmla="*/ 11140513 w 10"/>
                <a:gd name="T1" fmla="*/ 1697572 h 9"/>
                <a:gd name="T2" fmla="*/ 11140513 w 10"/>
                <a:gd name="T3" fmla="*/ 5234180 h 9"/>
                <a:gd name="T4" fmla="*/ 9650293 w 10"/>
                <a:gd name="T5" fmla="*/ 5234180 h 9"/>
                <a:gd name="T6" fmla="*/ 7196548 w 10"/>
                <a:gd name="T7" fmla="*/ 2970751 h 9"/>
                <a:gd name="T8" fmla="*/ 6131150 w 10"/>
                <a:gd name="T9" fmla="*/ 2970751 h 9"/>
                <a:gd name="T10" fmla="*/ 6131150 w 10"/>
                <a:gd name="T11" fmla="*/ 6253179 h 9"/>
                <a:gd name="T12" fmla="*/ 1064436 w 10"/>
                <a:gd name="T13" fmla="*/ 3961001 h 9"/>
                <a:gd name="T14" fmla="*/ 0 w 10"/>
                <a:gd name="T15" fmla="*/ 3961001 h 9"/>
                <a:gd name="T16" fmla="*/ 5085394 w 10"/>
                <a:gd name="T17" fmla="*/ 1697572 h 9"/>
                <a:gd name="T18" fmla="*/ 6131150 w 10"/>
                <a:gd name="T19" fmla="*/ 727531 h 9"/>
                <a:gd name="T20" fmla="*/ 8585865 w 10"/>
                <a:gd name="T21" fmla="*/ 727531 h 9"/>
                <a:gd name="T22" fmla="*/ 11140513 w 10"/>
                <a:gd name="T23" fmla="*/ 1697572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"/>
                <a:gd name="T37" fmla="*/ 0 h 9"/>
                <a:gd name="T38" fmla="*/ 10 w 10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" h="9">
                  <a:moveTo>
                    <a:pt x="9" y="2"/>
                  </a:moveTo>
                  <a:cubicBezTo>
                    <a:pt x="9" y="4"/>
                    <a:pt x="10" y="5"/>
                    <a:pt x="9" y="7"/>
                  </a:cubicBezTo>
                  <a:cubicBezTo>
                    <a:pt x="9" y="7"/>
                    <a:pt x="8" y="7"/>
                    <a:pt x="8" y="7"/>
                  </a:cubicBezTo>
                  <a:cubicBezTo>
                    <a:pt x="7" y="6"/>
                    <a:pt x="7" y="4"/>
                    <a:pt x="6" y="4"/>
                  </a:cubicBezTo>
                  <a:cubicBezTo>
                    <a:pt x="6" y="3"/>
                    <a:pt x="5" y="3"/>
                    <a:pt x="5" y="4"/>
                  </a:cubicBezTo>
                  <a:cubicBezTo>
                    <a:pt x="4" y="5"/>
                    <a:pt x="5" y="7"/>
                    <a:pt x="5" y="8"/>
                  </a:cubicBezTo>
                  <a:cubicBezTo>
                    <a:pt x="2" y="9"/>
                    <a:pt x="2" y="6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3" y="4"/>
                    <a:pt x="4" y="2"/>
                  </a:cubicBezTo>
                  <a:cubicBezTo>
                    <a:pt x="4" y="2"/>
                    <a:pt x="5" y="1"/>
                    <a:pt x="5" y="1"/>
                  </a:cubicBezTo>
                  <a:cubicBezTo>
                    <a:pt x="6" y="0"/>
                    <a:pt x="7" y="0"/>
                    <a:pt x="7" y="1"/>
                  </a:cubicBezTo>
                  <a:cubicBezTo>
                    <a:pt x="8" y="1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0" name="Freeform 232"/>
            <p:cNvSpPr>
              <a:spLocks/>
            </p:cNvSpPr>
            <p:nvPr/>
          </p:nvSpPr>
          <p:spPr bwMode="auto">
            <a:xfrm>
              <a:off x="7318543" y="3547078"/>
              <a:ext cx="16806" cy="23523"/>
            </a:xfrm>
            <a:custGeom>
              <a:avLst/>
              <a:gdLst>
                <a:gd name="T0" fmla="*/ 0 w 36"/>
                <a:gd name="T1" fmla="*/ 2040963 h 49"/>
                <a:gd name="T2" fmla="*/ 839472 w 36"/>
                <a:gd name="T3" fmla="*/ 2947885 h 49"/>
                <a:gd name="T4" fmla="*/ 1982086 w 36"/>
                <a:gd name="T5" fmla="*/ 8635868 h 49"/>
                <a:gd name="T6" fmla="*/ 1982086 w 36"/>
                <a:gd name="T7" fmla="*/ 10787414 h 49"/>
                <a:gd name="T8" fmla="*/ 3548896 w 36"/>
                <a:gd name="T9" fmla="*/ 16520918 h 49"/>
                <a:gd name="T10" fmla="*/ 4679924 w 36"/>
                <a:gd name="T11" fmla="*/ 20444089 h 49"/>
                <a:gd name="T12" fmla="*/ 5519055 w 36"/>
                <a:gd name="T13" fmla="*/ 22208899 h 49"/>
                <a:gd name="T14" fmla="*/ 5519055 w 36"/>
                <a:gd name="T15" fmla="*/ 26398420 h 49"/>
                <a:gd name="T16" fmla="*/ 8379337 w 36"/>
                <a:gd name="T17" fmla="*/ 29185468 h 49"/>
                <a:gd name="T18" fmla="*/ 10210418 w 36"/>
                <a:gd name="T19" fmla="*/ 31226594 h 49"/>
                <a:gd name="T20" fmla="*/ 10210418 w 36"/>
                <a:gd name="T21" fmla="*/ 32784232 h 49"/>
                <a:gd name="T22" fmla="*/ 10210418 w 36"/>
                <a:gd name="T23" fmla="*/ 34919048 h 49"/>
                <a:gd name="T24" fmla="*/ 15040843 w 36"/>
                <a:gd name="T25" fmla="*/ 39110728 h 49"/>
                <a:gd name="T26" fmla="*/ 15729730 w 36"/>
                <a:gd name="T27" fmla="*/ 39906544 h 49"/>
                <a:gd name="T28" fmla="*/ 17710644 w 36"/>
                <a:gd name="T29" fmla="*/ 40651671 h 49"/>
                <a:gd name="T30" fmla="*/ 19784540 w 36"/>
                <a:gd name="T31" fmla="*/ 42692589 h 49"/>
                <a:gd name="T32" fmla="*/ 25303554 w 36"/>
                <a:gd name="T33" fmla="*/ 44799603 h 49"/>
                <a:gd name="T34" fmla="*/ 26089842 w 36"/>
                <a:gd name="T35" fmla="*/ 44799603 h 49"/>
                <a:gd name="T36" fmla="*/ 26089842 w 36"/>
                <a:gd name="T37" fmla="*/ 45705406 h 49"/>
                <a:gd name="T38" fmla="*/ 28785776 w 36"/>
                <a:gd name="T39" fmla="*/ 45705406 h 49"/>
                <a:gd name="T40" fmla="*/ 32815247 w 36"/>
                <a:gd name="T41" fmla="*/ 46882375 h 49"/>
                <a:gd name="T42" fmla="*/ 32815247 w 36"/>
                <a:gd name="T43" fmla="*/ 45705406 h 49"/>
                <a:gd name="T44" fmla="*/ 31608852 w 36"/>
                <a:gd name="T45" fmla="*/ 43935692 h 49"/>
                <a:gd name="T46" fmla="*/ 29992152 w 36"/>
                <a:gd name="T47" fmla="*/ 39110728 h 49"/>
                <a:gd name="T48" fmla="*/ 28123853 w 36"/>
                <a:gd name="T49" fmla="*/ 36095789 h 49"/>
                <a:gd name="T50" fmla="*/ 25303554 w 36"/>
                <a:gd name="T51" fmla="*/ 32784232 h 49"/>
                <a:gd name="T52" fmla="*/ 25303554 w 36"/>
                <a:gd name="T53" fmla="*/ 19306603 h 49"/>
                <a:gd name="T54" fmla="*/ 23229971 w 36"/>
                <a:gd name="T55" fmla="*/ 16520918 h 49"/>
                <a:gd name="T56" fmla="*/ 23229971 w 36"/>
                <a:gd name="T57" fmla="*/ 13573033 h 49"/>
                <a:gd name="T58" fmla="*/ 15729730 w 36"/>
                <a:gd name="T59" fmla="*/ 5733436 h 49"/>
                <a:gd name="T60" fmla="*/ 15040843 w 36"/>
                <a:gd name="T61" fmla="*/ 6978664 h 49"/>
                <a:gd name="T62" fmla="*/ 13898226 w 36"/>
                <a:gd name="T63" fmla="*/ 7839602 h 49"/>
                <a:gd name="T64" fmla="*/ 13031094 w 36"/>
                <a:gd name="T65" fmla="*/ 9918056 h 49"/>
                <a:gd name="T66" fmla="*/ 10210418 w 36"/>
                <a:gd name="T67" fmla="*/ 9918056 h 49"/>
                <a:gd name="T68" fmla="*/ 9573822 w 36"/>
                <a:gd name="T69" fmla="*/ 10787414 h 49"/>
                <a:gd name="T70" fmla="*/ 8379337 w 36"/>
                <a:gd name="T71" fmla="*/ 10787414 h 49"/>
                <a:gd name="T72" fmla="*/ 7500980 w 36"/>
                <a:gd name="T73" fmla="*/ 9918056 h 49"/>
                <a:gd name="T74" fmla="*/ 7500980 w 36"/>
                <a:gd name="T75" fmla="*/ 5733436 h 49"/>
                <a:gd name="T76" fmla="*/ 2821556 w 36"/>
                <a:gd name="T77" fmla="*/ 2040963 h 49"/>
                <a:gd name="T78" fmla="*/ 2821556 w 36"/>
                <a:gd name="T79" fmla="*/ 862131 h 49"/>
                <a:gd name="T80" fmla="*/ 0 w 36"/>
                <a:gd name="T81" fmla="*/ 862131 h 49"/>
                <a:gd name="T82" fmla="*/ 0 w 36"/>
                <a:gd name="T83" fmla="*/ 2040963 h 4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6"/>
                <a:gd name="T127" fmla="*/ 0 h 49"/>
                <a:gd name="T128" fmla="*/ 36 w 36"/>
                <a:gd name="T129" fmla="*/ 49 h 4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6" h="49">
                  <a:moveTo>
                    <a:pt x="0" y="2"/>
                  </a:moveTo>
                  <a:cubicBezTo>
                    <a:pt x="0" y="2"/>
                    <a:pt x="1" y="3"/>
                    <a:pt x="1" y="3"/>
                  </a:cubicBezTo>
                  <a:cubicBezTo>
                    <a:pt x="2" y="5"/>
                    <a:pt x="2" y="7"/>
                    <a:pt x="2" y="9"/>
                  </a:cubicBezTo>
                  <a:cubicBezTo>
                    <a:pt x="2" y="9"/>
                    <a:pt x="2" y="10"/>
                    <a:pt x="2" y="11"/>
                  </a:cubicBezTo>
                  <a:cubicBezTo>
                    <a:pt x="3" y="13"/>
                    <a:pt x="4" y="15"/>
                    <a:pt x="4" y="17"/>
                  </a:cubicBezTo>
                  <a:cubicBezTo>
                    <a:pt x="5" y="18"/>
                    <a:pt x="4" y="20"/>
                    <a:pt x="5" y="21"/>
                  </a:cubicBezTo>
                  <a:cubicBezTo>
                    <a:pt x="5" y="22"/>
                    <a:pt x="5" y="22"/>
                    <a:pt x="6" y="23"/>
                  </a:cubicBezTo>
                  <a:cubicBezTo>
                    <a:pt x="6" y="24"/>
                    <a:pt x="6" y="25"/>
                    <a:pt x="6" y="27"/>
                  </a:cubicBezTo>
                  <a:cubicBezTo>
                    <a:pt x="7" y="28"/>
                    <a:pt x="8" y="29"/>
                    <a:pt x="9" y="30"/>
                  </a:cubicBezTo>
                  <a:cubicBezTo>
                    <a:pt x="9" y="31"/>
                    <a:pt x="11" y="31"/>
                    <a:pt x="11" y="32"/>
                  </a:cubicBezTo>
                  <a:cubicBezTo>
                    <a:pt x="11" y="33"/>
                    <a:pt x="12" y="34"/>
                    <a:pt x="11" y="34"/>
                  </a:cubicBezTo>
                  <a:cubicBezTo>
                    <a:pt x="10" y="35"/>
                    <a:pt x="10" y="36"/>
                    <a:pt x="11" y="36"/>
                  </a:cubicBezTo>
                  <a:cubicBezTo>
                    <a:pt x="12" y="38"/>
                    <a:pt x="14" y="39"/>
                    <a:pt x="16" y="40"/>
                  </a:cubicBezTo>
                  <a:cubicBezTo>
                    <a:pt x="16" y="40"/>
                    <a:pt x="16" y="41"/>
                    <a:pt x="17" y="41"/>
                  </a:cubicBezTo>
                  <a:cubicBezTo>
                    <a:pt x="18" y="41"/>
                    <a:pt x="18" y="42"/>
                    <a:pt x="19" y="42"/>
                  </a:cubicBezTo>
                  <a:cubicBezTo>
                    <a:pt x="20" y="42"/>
                    <a:pt x="20" y="43"/>
                    <a:pt x="21" y="44"/>
                  </a:cubicBezTo>
                  <a:cubicBezTo>
                    <a:pt x="23" y="45"/>
                    <a:pt x="25" y="45"/>
                    <a:pt x="27" y="46"/>
                  </a:cubicBezTo>
                  <a:cubicBezTo>
                    <a:pt x="27" y="46"/>
                    <a:pt x="27" y="46"/>
                    <a:pt x="28" y="46"/>
                  </a:cubicBezTo>
                  <a:cubicBezTo>
                    <a:pt x="28" y="46"/>
                    <a:pt x="28" y="47"/>
                    <a:pt x="28" y="47"/>
                  </a:cubicBezTo>
                  <a:cubicBezTo>
                    <a:pt x="29" y="47"/>
                    <a:pt x="31" y="47"/>
                    <a:pt x="31" y="47"/>
                  </a:cubicBezTo>
                  <a:cubicBezTo>
                    <a:pt x="32" y="48"/>
                    <a:pt x="34" y="49"/>
                    <a:pt x="35" y="48"/>
                  </a:cubicBezTo>
                  <a:cubicBezTo>
                    <a:pt x="36" y="48"/>
                    <a:pt x="36" y="47"/>
                    <a:pt x="35" y="47"/>
                  </a:cubicBezTo>
                  <a:cubicBezTo>
                    <a:pt x="35" y="46"/>
                    <a:pt x="34" y="46"/>
                    <a:pt x="34" y="45"/>
                  </a:cubicBezTo>
                  <a:cubicBezTo>
                    <a:pt x="34" y="44"/>
                    <a:pt x="33" y="42"/>
                    <a:pt x="32" y="40"/>
                  </a:cubicBezTo>
                  <a:cubicBezTo>
                    <a:pt x="32" y="39"/>
                    <a:pt x="31" y="38"/>
                    <a:pt x="30" y="37"/>
                  </a:cubicBezTo>
                  <a:cubicBezTo>
                    <a:pt x="28" y="36"/>
                    <a:pt x="27" y="36"/>
                    <a:pt x="27" y="34"/>
                  </a:cubicBezTo>
                  <a:cubicBezTo>
                    <a:pt x="26" y="29"/>
                    <a:pt x="27" y="25"/>
                    <a:pt x="27" y="20"/>
                  </a:cubicBezTo>
                  <a:cubicBezTo>
                    <a:pt x="27" y="19"/>
                    <a:pt x="26" y="18"/>
                    <a:pt x="25" y="17"/>
                  </a:cubicBezTo>
                  <a:cubicBezTo>
                    <a:pt x="25" y="16"/>
                    <a:pt x="25" y="15"/>
                    <a:pt x="25" y="14"/>
                  </a:cubicBezTo>
                  <a:cubicBezTo>
                    <a:pt x="22" y="11"/>
                    <a:pt x="20" y="9"/>
                    <a:pt x="17" y="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5" y="8"/>
                    <a:pt x="15" y="8"/>
                  </a:cubicBezTo>
                  <a:cubicBezTo>
                    <a:pt x="14" y="8"/>
                    <a:pt x="14" y="9"/>
                    <a:pt x="14" y="10"/>
                  </a:cubicBezTo>
                  <a:cubicBezTo>
                    <a:pt x="13" y="10"/>
                    <a:pt x="12" y="9"/>
                    <a:pt x="11" y="10"/>
                  </a:cubicBezTo>
                  <a:cubicBezTo>
                    <a:pt x="10" y="10"/>
                    <a:pt x="10" y="11"/>
                    <a:pt x="10" y="11"/>
                  </a:cubicBezTo>
                  <a:cubicBezTo>
                    <a:pt x="10" y="11"/>
                    <a:pt x="9" y="12"/>
                    <a:pt x="9" y="11"/>
                  </a:cubicBezTo>
                  <a:cubicBezTo>
                    <a:pt x="9" y="11"/>
                    <a:pt x="8" y="11"/>
                    <a:pt x="8" y="10"/>
                  </a:cubicBezTo>
                  <a:cubicBezTo>
                    <a:pt x="7" y="9"/>
                    <a:pt x="9" y="7"/>
                    <a:pt x="8" y="6"/>
                  </a:cubicBezTo>
                  <a:cubicBezTo>
                    <a:pt x="7" y="4"/>
                    <a:pt x="5" y="3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0"/>
                    <a:pt x="1" y="1"/>
                    <a:pt x="0" y="1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1" name="Freeform 233"/>
            <p:cNvSpPr>
              <a:spLocks/>
            </p:cNvSpPr>
            <p:nvPr/>
          </p:nvSpPr>
          <p:spPr bwMode="auto">
            <a:xfrm>
              <a:off x="7354412" y="3545997"/>
              <a:ext cx="35618" cy="26227"/>
            </a:xfrm>
            <a:custGeom>
              <a:avLst/>
              <a:gdLst>
                <a:gd name="T0" fmla="*/ 798010 w 77"/>
                <a:gd name="T1" fmla="*/ 45648068 h 54"/>
                <a:gd name="T2" fmla="*/ 7691362 w 77"/>
                <a:gd name="T3" fmla="*/ 47731111 h 54"/>
                <a:gd name="T4" fmla="*/ 11502480 w 77"/>
                <a:gd name="T5" fmla="*/ 40654059 h 54"/>
                <a:gd name="T6" fmla="*/ 14773275 w 77"/>
                <a:gd name="T7" fmla="*/ 36902683 h 54"/>
                <a:gd name="T8" fmla="*/ 21890432 w 77"/>
                <a:gd name="T9" fmla="*/ 33951763 h 54"/>
                <a:gd name="T10" fmla="*/ 24364612 w 77"/>
                <a:gd name="T11" fmla="*/ 31844808 h 54"/>
                <a:gd name="T12" fmla="*/ 29566296 w 77"/>
                <a:gd name="T13" fmla="*/ 25959805 h 54"/>
                <a:gd name="T14" fmla="*/ 31446363 w 77"/>
                <a:gd name="T15" fmla="*/ 22964094 h 54"/>
                <a:gd name="T16" fmla="*/ 34726778 w 77"/>
                <a:gd name="T17" fmla="*/ 21766963 h 54"/>
                <a:gd name="T18" fmla="*/ 37255662 w 77"/>
                <a:gd name="T19" fmla="*/ 24755278 h 54"/>
                <a:gd name="T20" fmla="*/ 38079818 w 77"/>
                <a:gd name="T21" fmla="*/ 19605475 h 54"/>
                <a:gd name="T22" fmla="*/ 39929299 w 77"/>
                <a:gd name="T23" fmla="*/ 18943658 h 54"/>
                <a:gd name="T24" fmla="*/ 39131498 w 77"/>
                <a:gd name="T25" fmla="*/ 15887104 h 54"/>
                <a:gd name="T26" fmla="*/ 43539594 w 77"/>
                <a:gd name="T27" fmla="*/ 11641450 h 54"/>
                <a:gd name="T28" fmla="*/ 44337573 w 77"/>
                <a:gd name="T29" fmla="*/ 7991856 h 54"/>
                <a:gd name="T30" fmla="*/ 47052027 w 77"/>
                <a:gd name="T31" fmla="*/ 874095 h 54"/>
                <a:gd name="T32" fmla="*/ 48784248 w 77"/>
                <a:gd name="T33" fmla="*/ 3739447 h 54"/>
                <a:gd name="T34" fmla="*/ 51456728 w 77"/>
                <a:gd name="T35" fmla="*/ 0 h 54"/>
                <a:gd name="T36" fmla="*/ 53928896 w 77"/>
                <a:gd name="T37" fmla="*/ 3739447 h 54"/>
                <a:gd name="T38" fmla="*/ 53928896 w 77"/>
                <a:gd name="T39" fmla="*/ 7073252 h 54"/>
                <a:gd name="T40" fmla="*/ 57272646 w 77"/>
                <a:gd name="T41" fmla="*/ 10072692 h 54"/>
                <a:gd name="T42" fmla="*/ 55525531 w 77"/>
                <a:gd name="T43" fmla="*/ 12901007 h 54"/>
                <a:gd name="T44" fmla="*/ 61021912 w 77"/>
                <a:gd name="T45" fmla="*/ 11641450 h 54"/>
                <a:gd name="T46" fmla="*/ 62417294 w 77"/>
                <a:gd name="T47" fmla="*/ 12901007 h 54"/>
                <a:gd name="T48" fmla="*/ 66230008 w 77"/>
                <a:gd name="T49" fmla="*/ 14972246 h 54"/>
                <a:gd name="T50" fmla="*/ 58009170 w 77"/>
                <a:gd name="T51" fmla="*/ 18943658 h 54"/>
                <a:gd name="T52" fmla="*/ 59934746 w 77"/>
                <a:gd name="T53" fmla="*/ 25959805 h 54"/>
                <a:gd name="T54" fmla="*/ 53928896 w 77"/>
                <a:gd name="T55" fmla="*/ 24755278 h 54"/>
                <a:gd name="T56" fmla="*/ 41808689 w 77"/>
                <a:gd name="T57" fmla="*/ 23876004 h 54"/>
                <a:gd name="T58" fmla="*/ 39929299 w 77"/>
                <a:gd name="T59" fmla="*/ 33951763 h 54"/>
                <a:gd name="T60" fmla="*/ 37255662 w 77"/>
                <a:gd name="T61" fmla="*/ 35489754 h 54"/>
                <a:gd name="T62" fmla="*/ 36663731 w 77"/>
                <a:gd name="T63" fmla="*/ 38549332 h 54"/>
                <a:gd name="T64" fmla="*/ 33986361 w 77"/>
                <a:gd name="T65" fmla="*/ 47731111 h 54"/>
                <a:gd name="T66" fmla="*/ 27690479 w 77"/>
                <a:gd name="T67" fmla="*/ 49803041 h 54"/>
                <a:gd name="T68" fmla="*/ 24364612 w 77"/>
                <a:gd name="T69" fmla="*/ 47731111 h 54"/>
                <a:gd name="T70" fmla="*/ 14773275 w 77"/>
                <a:gd name="T71" fmla="*/ 52895407 h 54"/>
                <a:gd name="T72" fmla="*/ 5944426 w 77"/>
                <a:gd name="T73" fmla="*/ 53542461 h 54"/>
                <a:gd name="T74" fmla="*/ 3272017 w 77"/>
                <a:gd name="T75" fmla="*/ 51595761 h 54"/>
                <a:gd name="T76" fmla="*/ 0 w 77"/>
                <a:gd name="T77" fmla="*/ 45648068 h 5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77"/>
                <a:gd name="T118" fmla="*/ 0 h 54"/>
                <a:gd name="T119" fmla="*/ 77 w 77"/>
                <a:gd name="T120" fmla="*/ 54 h 5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77" h="54">
                  <a:moveTo>
                    <a:pt x="0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2" y="47"/>
                    <a:pt x="3" y="48"/>
                    <a:pt x="4" y="48"/>
                  </a:cubicBezTo>
                  <a:cubicBezTo>
                    <a:pt x="6" y="49"/>
                    <a:pt x="8" y="49"/>
                    <a:pt x="9" y="48"/>
                  </a:cubicBezTo>
                  <a:cubicBezTo>
                    <a:pt x="10" y="48"/>
                    <a:pt x="12" y="49"/>
                    <a:pt x="13" y="48"/>
                  </a:cubicBezTo>
                  <a:cubicBezTo>
                    <a:pt x="14" y="46"/>
                    <a:pt x="13" y="44"/>
                    <a:pt x="13" y="41"/>
                  </a:cubicBezTo>
                  <a:cubicBezTo>
                    <a:pt x="13" y="41"/>
                    <a:pt x="14" y="41"/>
                    <a:pt x="14" y="40"/>
                  </a:cubicBezTo>
                  <a:cubicBezTo>
                    <a:pt x="16" y="40"/>
                    <a:pt x="15" y="37"/>
                    <a:pt x="17" y="37"/>
                  </a:cubicBezTo>
                  <a:cubicBezTo>
                    <a:pt x="18" y="36"/>
                    <a:pt x="20" y="37"/>
                    <a:pt x="21" y="36"/>
                  </a:cubicBezTo>
                  <a:cubicBezTo>
                    <a:pt x="23" y="36"/>
                    <a:pt x="24" y="35"/>
                    <a:pt x="25" y="34"/>
                  </a:cubicBezTo>
                  <a:cubicBezTo>
                    <a:pt x="26" y="34"/>
                    <a:pt x="26" y="34"/>
                    <a:pt x="27" y="33"/>
                  </a:cubicBezTo>
                  <a:cubicBezTo>
                    <a:pt x="27" y="33"/>
                    <a:pt x="28" y="33"/>
                    <a:pt x="28" y="32"/>
                  </a:cubicBezTo>
                  <a:cubicBezTo>
                    <a:pt x="29" y="31"/>
                    <a:pt x="31" y="30"/>
                    <a:pt x="32" y="28"/>
                  </a:cubicBezTo>
                  <a:cubicBezTo>
                    <a:pt x="33" y="27"/>
                    <a:pt x="33" y="27"/>
                    <a:pt x="34" y="26"/>
                  </a:cubicBezTo>
                  <a:cubicBezTo>
                    <a:pt x="34" y="25"/>
                    <a:pt x="34" y="24"/>
                    <a:pt x="35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7" y="24"/>
                    <a:pt x="37" y="27"/>
                    <a:pt x="40" y="26"/>
                  </a:cubicBezTo>
                  <a:cubicBezTo>
                    <a:pt x="40" y="25"/>
                    <a:pt x="39" y="23"/>
                    <a:pt x="40" y="22"/>
                  </a:cubicBezTo>
                  <a:cubicBezTo>
                    <a:pt x="40" y="21"/>
                    <a:pt x="41" y="21"/>
                    <a:pt x="41" y="22"/>
                  </a:cubicBezTo>
                  <a:cubicBezTo>
                    <a:pt x="42" y="22"/>
                    <a:pt x="42" y="24"/>
                    <a:pt x="43" y="25"/>
                  </a:cubicBezTo>
                  <a:cubicBezTo>
                    <a:pt x="43" y="25"/>
                    <a:pt x="44" y="25"/>
                    <a:pt x="44" y="25"/>
                  </a:cubicBezTo>
                  <a:cubicBezTo>
                    <a:pt x="45" y="23"/>
                    <a:pt x="44" y="22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5" y="20"/>
                    <a:pt x="46" y="19"/>
                    <a:pt x="46" y="19"/>
                  </a:cubicBezTo>
                  <a:cubicBezTo>
                    <a:pt x="46" y="18"/>
                    <a:pt x="47" y="16"/>
                    <a:pt x="45" y="16"/>
                  </a:cubicBezTo>
                  <a:cubicBezTo>
                    <a:pt x="45" y="15"/>
                    <a:pt x="45" y="16"/>
                    <a:pt x="45" y="16"/>
                  </a:cubicBezTo>
                  <a:cubicBezTo>
                    <a:pt x="44" y="14"/>
                    <a:pt x="46" y="13"/>
                    <a:pt x="47" y="13"/>
                  </a:cubicBezTo>
                  <a:cubicBezTo>
                    <a:pt x="48" y="13"/>
                    <a:pt x="49" y="13"/>
                    <a:pt x="50" y="12"/>
                  </a:cubicBezTo>
                  <a:cubicBezTo>
                    <a:pt x="51" y="11"/>
                    <a:pt x="50" y="10"/>
                    <a:pt x="51" y="9"/>
                  </a:cubicBezTo>
                  <a:cubicBezTo>
                    <a:pt x="51" y="9"/>
                    <a:pt x="51" y="8"/>
                    <a:pt x="51" y="8"/>
                  </a:cubicBezTo>
                  <a:cubicBezTo>
                    <a:pt x="52" y="6"/>
                    <a:pt x="52" y="4"/>
                    <a:pt x="52" y="1"/>
                  </a:cubicBezTo>
                  <a:cubicBezTo>
                    <a:pt x="53" y="1"/>
                    <a:pt x="53" y="1"/>
                    <a:pt x="54" y="1"/>
                  </a:cubicBezTo>
                  <a:cubicBezTo>
                    <a:pt x="55" y="2"/>
                    <a:pt x="54" y="3"/>
                    <a:pt x="55" y="4"/>
                  </a:cubicBezTo>
                  <a:cubicBezTo>
                    <a:pt x="55" y="4"/>
                    <a:pt x="56" y="4"/>
                    <a:pt x="56" y="4"/>
                  </a:cubicBezTo>
                  <a:cubicBezTo>
                    <a:pt x="56" y="3"/>
                    <a:pt x="57" y="1"/>
                    <a:pt x="58" y="0"/>
                  </a:cubicBezTo>
                  <a:cubicBezTo>
                    <a:pt x="58" y="0"/>
                    <a:pt x="59" y="0"/>
                    <a:pt x="59" y="0"/>
                  </a:cubicBezTo>
                  <a:cubicBezTo>
                    <a:pt x="59" y="1"/>
                    <a:pt x="59" y="3"/>
                    <a:pt x="60" y="3"/>
                  </a:cubicBezTo>
                  <a:cubicBezTo>
                    <a:pt x="61" y="4"/>
                    <a:pt x="61" y="4"/>
                    <a:pt x="62" y="4"/>
                  </a:cubicBezTo>
                  <a:cubicBezTo>
                    <a:pt x="63" y="4"/>
                    <a:pt x="63" y="6"/>
                    <a:pt x="63" y="7"/>
                  </a:cubicBezTo>
                  <a:cubicBezTo>
                    <a:pt x="63" y="7"/>
                    <a:pt x="62" y="7"/>
                    <a:pt x="62" y="7"/>
                  </a:cubicBezTo>
                  <a:cubicBezTo>
                    <a:pt x="62" y="8"/>
                    <a:pt x="63" y="9"/>
                    <a:pt x="63" y="9"/>
                  </a:cubicBezTo>
                  <a:cubicBezTo>
                    <a:pt x="64" y="10"/>
                    <a:pt x="65" y="9"/>
                    <a:pt x="66" y="10"/>
                  </a:cubicBezTo>
                  <a:cubicBezTo>
                    <a:pt x="66" y="10"/>
                    <a:pt x="66" y="11"/>
                    <a:pt x="66" y="11"/>
                  </a:cubicBezTo>
                  <a:cubicBezTo>
                    <a:pt x="65" y="12"/>
                    <a:pt x="65" y="12"/>
                    <a:pt x="64" y="13"/>
                  </a:cubicBezTo>
                  <a:cubicBezTo>
                    <a:pt x="65" y="13"/>
                    <a:pt x="66" y="13"/>
                    <a:pt x="67" y="12"/>
                  </a:cubicBezTo>
                  <a:cubicBezTo>
                    <a:pt x="68" y="12"/>
                    <a:pt x="69" y="12"/>
                    <a:pt x="70" y="12"/>
                  </a:cubicBezTo>
                  <a:cubicBezTo>
                    <a:pt x="70" y="11"/>
                    <a:pt x="71" y="12"/>
                    <a:pt x="71" y="12"/>
                  </a:cubicBezTo>
                  <a:cubicBezTo>
                    <a:pt x="72" y="12"/>
                    <a:pt x="72" y="13"/>
                    <a:pt x="72" y="13"/>
                  </a:cubicBezTo>
                  <a:cubicBezTo>
                    <a:pt x="73" y="14"/>
                    <a:pt x="75" y="13"/>
                    <a:pt x="76" y="14"/>
                  </a:cubicBezTo>
                  <a:cubicBezTo>
                    <a:pt x="77" y="14"/>
                    <a:pt x="77" y="15"/>
                    <a:pt x="76" y="15"/>
                  </a:cubicBezTo>
                  <a:cubicBezTo>
                    <a:pt x="75" y="16"/>
                    <a:pt x="74" y="18"/>
                    <a:pt x="72" y="18"/>
                  </a:cubicBezTo>
                  <a:cubicBezTo>
                    <a:pt x="71" y="19"/>
                    <a:pt x="69" y="18"/>
                    <a:pt x="67" y="19"/>
                  </a:cubicBezTo>
                  <a:cubicBezTo>
                    <a:pt x="66" y="21"/>
                    <a:pt x="68" y="22"/>
                    <a:pt x="70" y="23"/>
                  </a:cubicBezTo>
                  <a:cubicBezTo>
                    <a:pt x="71" y="24"/>
                    <a:pt x="70" y="25"/>
                    <a:pt x="69" y="26"/>
                  </a:cubicBezTo>
                  <a:cubicBezTo>
                    <a:pt x="67" y="26"/>
                    <a:pt x="65" y="26"/>
                    <a:pt x="63" y="26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1" y="25"/>
                    <a:pt x="61" y="24"/>
                    <a:pt x="61" y="24"/>
                  </a:cubicBezTo>
                  <a:cubicBezTo>
                    <a:pt x="56" y="24"/>
                    <a:pt x="52" y="23"/>
                    <a:pt x="48" y="24"/>
                  </a:cubicBezTo>
                  <a:cubicBezTo>
                    <a:pt x="47" y="24"/>
                    <a:pt x="47" y="24"/>
                    <a:pt x="47" y="25"/>
                  </a:cubicBezTo>
                  <a:cubicBezTo>
                    <a:pt x="46" y="28"/>
                    <a:pt x="46" y="31"/>
                    <a:pt x="46" y="34"/>
                  </a:cubicBezTo>
                  <a:cubicBezTo>
                    <a:pt x="45" y="35"/>
                    <a:pt x="45" y="36"/>
                    <a:pt x="45" y="36"/>
                  </a:cubicBezTo>
                  <a:cubicBezTo>
                    <a:pt x="44" y="37"/>
                    <a:pt x="44" y="36"/>
                    <a:pt x="43" y="36"/>
                  </a:cubicBezTo>
                  <a:cubicBezTo>
                    <a:pt x="43" y="37"/>
                    <a:pt x="43" y="37"/>
                    <a:pt x="42" y="37"/>
                  </a:cubicBezTo>
                  <a:cubicBezTo>
                    <a:pt x="42" y="38"/>
                    <a:pt x="42" y="38"/>
                    <a:pt x="42" y="39"/>
                  </a:cubicBezTo>
                  <a:cubicBezTo>
                    <a:pt x="41" y="41"/>
                    <a:pt x="41" y="42"/>
                    <a:pt x="40" y="43"/>
                  </a:cubicBezTo>
                  <a:cubicBezTo>
                    <a:pt x="39" y="44"/>
                    <a:pt x="39" y="46"/>
                    <a:pt x="39" y="48"/>
                  </a:cubicBezTo>
                  <a:cubicBezTo>
                    <a:pt x="37" y="49"/>
                    <a:pt x="35" y="48"/>
                    <a:pt x="33" y="49"/>
                  </a:cubicBezTo>
                  <a:cubicBezTo>
                    <a:pt x="33" y="49"/>
                    <a:pt x="33" y="50"/>
                    <a:pt x="32" y="50"/>
                  </a:cubicBezTo>
                  <a:cubicBezTo>
                    <a:pt x="31" y="51"/>
                    <a:pt x="29" y="49"/>
                    <a:pt x="29" y="48"/>
                  </a:cubicBezTo>
                  <a:cubicBezTo>
                    <a:pt x="29" y="48"/>
                    <a:pt x="28" y="48"/>
                    <a:pt x="28" y="48"/>
                  </a:cubicBezTo>
                  <a:cubicBezTo>
                    <a:pt x="26" y="47"/>
                    <a:pt x="23" y="47"/>
                    <a:pt x="20" y="49"/>
                  </a:cubicBezTo>
                  <a:cubicBezTo>
                    <a:pt x="19" y="50"/>
                    <a:pt x="19" y="52"/>
                    <a:pt x="17" y="53"/>
                  </a:cubicBezTo>
                  <a:cubicBezTo>
                    <a:pt x="15" y="53"/>
                    <a:pt x="12" y="53"/>
                    <a:pt x="10" y="53"/>
                  </a:cubicBezTo>
                  <a:cubicBezTo>
                    <a:pt x="9" y="53"/>
                    <a:pt x="8" y="53"/>
                    <a:pt x="7" y="54"/>
                  </a:cubicBezTo>
                  <a:cubicBezTo>
                    <a:pt x="7" y="54"/>
                    <a:pt x="6" y="54"/>
                    <a:pt x="5" y="54"/>
                  </a:cubicBezTo>
                  <a:cubicBezTo>
                    <a:pt x="4" y="53"/>
                    <a:pt x="5" y="52"/>
                    <a:pt x="4" y="52"/>
                  </a:cubicBezTo>
                  <a:cubicBezTo>
                    <a:pt x="2" y="51"/>
                    <a:pt x="0" y="49"/>
                    <a:pt x="1" y="47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2" name="Freeform 234"/>
            <p:cNvSpPr>
              <a:spLocks/>
            </p:cNvSpPr>
            <p:nvPr/>
          </p:nvSpPr>
          <p:spPr bwMode="auto">
            <a:xfrm>
              <a:off x="7089034" y="3375388"/>
              <a:ext cx="24832" cy="13248"/>
            </a:xfrm>
            <a:custGeom>
              <a:avLst/>
              <a:gdLst>
                <a:gd name="T0" fmla="*/ 15806619 w 53"/>
                <a:gd name="T1" fmla="*/ 21766963 h 27"/>
                <a:gd name="T2" fmla="*/ 14341349 w 53"/>
                <a:gd name="T3" fmla="*/ 16766227 h 27"/>
                <a:gd name="T4" fmla="*/ 14341349 w 53"/>
                <a:gd name="T5" fmla="*/ 15887104 h 27"/>
                <a:gd name="T6" fmla="*/ 13628066 w 53"/>
                <a:gd name="T7" fmla="*/ 12901007 h 27"/>
                <a:gd name="T8" fmla="*/ 10530055 w 53"/>
                <a:gd name="T9" fmla="*/ 10951795 h 27"/>
                <a:gd name="T10" fmla="*/ 9226932 w 53"/>
                <a:gd name="T11" fmla="*/ 10072692 h 27"/>
                <a:gd name="T12" fmla="*/ 8281466 w 53"/>
                <a:gd name="T13" fmla="*/ 7073252 h 27"/>
                <a:gd name="T14" fmla="*/ 2248967 w 53"/>
                <a:gd name="T15" fmla="*/ 3739447 h 27"/>
                <a:gd name="T16" fmla="*/ 2248967 w 53"/>
                <a:gd name="T17" fmla="*/ 2984029 h 27"/>
                <a:gd name="T18" fmla="*/ 945994 w 53"/>
                <a:gd name="T19" fmla="*/ 874095 h 27"/>
                <a:gd name="T20" fmla="*/ 0 w 53"/>
                <a:gd name="T21" fmla="*/ 874095 h 27"/>
                <a:gd name="T22" fmla="*/ 945994 w 53"/>
                <a:gd name="T23" fmla="*/ 874095 h 27"/>
                <a:gd name="T24" fmla="*/ 7365024 w 53"/>
                <a:gd name="T25" fmla="*/ 874095 h 27"/>
                <a:gd name="T26" fmla="*/ 11379171 w 53"/>
                <a:gd name="T27" fmla="*/ 2984029 h 27"/>
                <a:gd name="T28" fmla="*/ 16592165 w 53"/>
                <a:gd name="T29" fmla="*/ 3739447 h 27"/>
                <a:gd name="T30" fmla="*/ 18741059 w 53"/>
                <a:gd name="T31" fmla="*/ 3739447 h 27"/>
                <a:gd name="T32" fmla="*/ 19688008 w 53"/>
                <a:gd name="T33" fmla="*/ 5830377 h 27"/>
                <a:gd name="T34" fmla="*/ 25033701 w 53"/>
                <a:gd name="T35" fmla="*/ 5830377 h 27"/>
                <a:gd name="T36" fmla="*/ 30218072 w 53"/>
                <a:gd name="T37" fmla="*/ 10951795 h 27"/>
                <a:gd name="T38" fmla="*/ 33316055 w 53"/>
                <a:gd name="T39" fmla="*/ 10951795 h 27"/>
                <a:gd name="T40" fmla="*/ 35563742 w 53"/>
                <a:gd name="T41" fmla="*/ 8863872 h 27"/>
                <a:gd name="T42" fmla="*/ 37577991 w 53"/>
                <a:gd name="T43" fmla="*/ 8863872 h 27"/>
                <a:gd name="T44" fmla="*/ 39445511 w 53"/>
                <a:gd name="T45" fmla="*/ 10072692 h 27"/>
                <a:gd name="T46" fmla="*/ 46026807 w 53"/>
                <a:gd name="T47" fmla="*/ 10072692 h 27"/>
                <a:gd name="T48" fmla="*/ 46805440 w 53"/>
                <a:gd name="T49" fmla="*/ 10951795 h 27"/>
                <a:gd name="T50" fmla="*/ 47710699 w 53"/>
                <a:gd name="T51" fmla="*/ 12901007 h 27"/>
                <a:gd name="T52" fmla="*/ 54330671 w 53"/>
                <a:gd name="T53" fmla="*/ 18943658 h 27"/>
                <a:gd name="T54" fmla="*/ 54330671 w 53"/>
                <a:gd name="T55" fmla="*/ 18943658 h 27"/>
                <a:gd name="T56" fmla="*/ 54330671 w 53"/>
                <a:gd name="T57" fmla="*/ 23876004 h 27"/>
                <a:gd name="T58" fmla="*/ 54330671 w 53"/>
                <a:gd name="T59" fmla="*/ 26838890 h 27"/>
                <a:gd name="T60" fmla="*/ 50854061 w 53"/>
                <a:gd name="T61" fmla="*/ 26838890 h 27"/>
                <a:gd name="T62" fmla="*/ 46026807 w 53"/>
                <a:gd name="T63" fmla="*/ 22964094 h 27"/>
                <a:gd name="T64" fmla="*/ 43874823 w 53"/>
                <a:gd name="T65" fmla="*/ 22964094 h 27"/>
                <a:gd name="T66" fmla="*/ 40680187 w 53"/>
                <a:gd name="T67" fmla="*/ 23876004 h 27"/>
                <a:gd name="T68" fmla="*/ 40680187 w 53"/>
                <a:gd name="T69" fmla="*/ 24755278 h 27"/>
                <a:gd name="T70" fmla="*/ 37577991 w 53"/>
                <a:gd name="T71" fmla="*/ 24755278 h 27"/>
                <a:gd name="T72" fmla="*/ 33316055 w 53"/>
                <a:gd name="T73" fmla="*/ 24755278 h 27"/>
                <a:gd name="T74" fmla="*/ 31164089 w 53"/>
                <a:gd name="T75" fmla="*/ 25959805 h 27"/>
                <a:gd name="T76" fmla="*/ 31164089 w 53"/>
                <a:gd name="T77" fmla="*/ 26838890 h 27"/>
                <a:gd name="T78" fmla="*/ 27969472 w 53"/>
                <a:gd name="T79" fmla="*/ 24755278 h 27"/>
                <a:gd name="T80" fmla="*/ 25033701 w 53"/>
                <a:gd name="T81" fmla="*/ 21010663 h 27"/>
                <a:gd name="T82" fmla="*/ 22853379 w 53"/>
                <a:gd name="T83" fmla="*/ 21010663 h 27"/>
                <a:gd name="T84" fmla="*/ 21935719 w 53"/>
                <a:gd name="T85" fmla="*/ 21766963 h 27"/>
                <a:gd name="T86" fmla="*/ 16592165 w 53"/>
                <a:gd name="T87" fmla="*/ 21766963 h 27"/>
                <a:gd name="T88" fmla="*/ 15806619 w 53"/>
                <a:gd name="T89" fmla="*/ 21766963 h 2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3"/>
                <a:gd name="T136" fmla="*/ 0 h 27"/>
                <a:gd name="T137" fmla="*/ 53 w 53"/>
                <a:gd name="T138" fmla="*/ 27 h 27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3" h="27">
                  <a:moveTo>
                    <a:pt x="15" y="22"/>
                  </a:moveTo>
                  <a:cubicBezTo>
                    <a:pt x="16" y="21"/>
                    <a:pt x="15" y="19"/>
                    <a:pt x="14" y="17"/>
                  </a:cubicBezTo>
                  <a:cubicBezTo>
                    <a:pt x="14" y="17"/>
                    <a:pt x="14" y="17"/>
                    <a:pt x="14" y="16"/>
                  </a:cubicBezTo>
                  <a:cubicBezTo>
                    <a:pt x="14" y="15"/>
                    <a:pt x="14" y="14"/>
                    <a:pt x="13" y="13"/>
                  </a:cubicBezTo>
                  <a:cubicBezTo>
                    <a:pt x="13" y="12"/>
                    <a:pt x="11" y="12"/>
                    <a:pt x="10" y="11"/>
                  </a:cubicBezTo>
                  <a:cubicBezTo>
                    <a:pt x="10" y="11"/>
                    <a:pt x="9" y="10"/>
                    <a:pt x="9" y="10"/>
                  </a:cubicBezTo>
                  <a:cubicBezTo>
                    <a:pt x="9" y="9"/>
                    <a:pt x="9" y="7"/>
                    <a:pt x="8" y="7"/>
                  </a:cubicBezTo>
                  <a:cubicBezTo>
                    <a:pt x="6" y="6"/>
                    <a:pt x="4" y="5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1" y="2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3" y="1"/>
                    <a:pt x="5" y="0"/>
                    <a:pt x="7" y="1"/>
                  </a:cubicBezTo>
                  <a:cubicBezTo>
                    <a:pt x="8" y="2"/>
                    <a:pt x="9" y="3"/>
                    <a:pt x="11" y="3"/>
                  </a:cubicBezTo>
                  <a:cubicBezTo>
                    <a:pt x="12" y="4"/>
                    <a:pt x="14" y="3"/>
                    <a:pt x="16" y="4"/>
                  </a:cubicBezTo>
                  <a:cubicBezTo>
                    <a:pt x="16" y="4"/>
                    <a:pt x="17" y="4"/>
                    <a:pt x="18" y="4"/>
                  </a:cubicBezTo>
                  <a:cubicBezTo>
                    <a:pt x="18" y="5"/>
                    <a:pt x="19" y="5"/>
                    <a:pt x="19" y="6"/>
                  </a:cubicBezTo>
                  <a:cubicBezTo>
                    <a:pt x="21" y="6"/>
                    <a:pt x="23" y="6"/>
                    <a:pt x="24" y="6"/>
                  </a:cubicBezTo>
                  <a:cubicBezTo>
                    <a:pt x="26" y="7"/>
                    <a:pt x="27" y="9"/>
                    <a:pt x="29" y="11"/>
                  </a:cubicBezTo>
                  <a:cubicBezTo>
                    <a:pt x="30" y="11"/>
                    <a:pt x="31" y="11"/>
                    <a:pt x="32" y="11"/>
                  </a:cubicBezTo>
                  <a:cubicBezTo>
                    <a:pt x="33" y="11"/>
                    <a:pt x="33" y="10"/>
                    <a:pt x="34" y="9"/>
                  </a:cubicBezTo>
                  <a:cubicBezTo>
                    <a:pt x="35" y="9"/>
                    <a:pt x="36" y="9"/>
                    <a:pt x="36" y="9"/>
                  </a:cubicBezTo>
                  <a:cubicBezTo>
                    <a:pt x="37" y="9"/>
                    <a:pt x="37" y="9"/>
                    <a:pt x="38" y="10"/>
                  </a:cubicBezTo>
                  <a:cubicBezTo>
                    <a:pt x="40" y="11"/>
                    <a:pt x="42" y="10"/>
                    <a:pt x="44" y="10"/>
                  </a:cubicBezTo>
                  <a:cubicBezTo>
                    <a:pt x="44" y="10"/>
                    <a:pt x="44" y="11"/>
                    <a:pt x="45" y="11"/>
                  </a:cubicBezTo>
                  <a:cubicBezTo>
                    <a:pt x="45" y="12"/>
                    <a:pt x="45" y="13"/>
                    <a:pt x="46" y="13"/>
                  </a:cubicBezTo>
                  <a:cubicBezTo>
                    <a:pt x="48" y="15"/>
                    <a:pt x="51" y="17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21"/>
                    <a:pt x="51" y="22"/>
                    <a:pt x="52" y="24"/>
                  </a:cubicBezTo>
                  <a:cubicBezTo>
                    <a:pt x="53" y="25"/>
                    <a:pt x="52" y="26"/>
                    <a:pt x="52" y="27"/>
                  </a:cubicBezTo>
                  <a:cubicBezTo>
                    <a:pt x="51" y="27"/>
                    <a:pt x="50" y="27"/>
                    <a:pt x="49" y="27"/>
                  </a:cubicBezTo>
                  <a:cubicBezTo>
                    <a:pt x="47" y="25"/>
                    <a:pt x="46" y="24"/>
                    <a:pt x="44" y="23"/>
                  </a:cubicBezTo>
                  <a:cubicBezTo>
                    <a:pt x="43" y="22"/>
                    <a:pt x="43" y="22"/>
                    <a:pt x="42" y="23"/>
                  </a:cubicBezTo>
                  <a:cubicBezTo>
                    <a:pt x="41" y="24"/>
                    <a:pt x="40" y="24"/>
                    <a:pt x="39" y="24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8" y="25"/>
                    <a:pt x="37" y="25"/>
                    <a:pt x="36" y="25"/>
                  </a:cubicBezTo>
                  <a:cubicBezTo>
                    <a:pt x="34" y="25"/>
                    <a:pt x="33" y="25"/>
                    <a:pt x="32" y="25"/>
                  </a:cubicBezTo>
                  <a:cubicBezTo>
                    <a:pt x="31" y="25"/>
                    <a:pt x="30" y="26"/>
                    <a:pt x="30" y="26"/>
                  </a:cubicBezTo>
                  <a:cubicBezTo>
                    <a:pt x="30" y="27"/>
                    <a:pt x="30" y="26"/>
                    <a:pt x="30" y="27"/>
                  </a:cubicBezTo>
                  <a:cubicBezTo>
                    <a:pt x="29" y="26"/>
                    <a:pt x="28" y="26"/>
                    <a:pt x="27" y="25"/>
                  </a:cubicBezTo>
                  <a:cubicBezTo>
                    <a:pt x="26" y="24"/>
                    <a:pt x="25" y="22"/>
                    <a:pt x="24" y="21"/>
                  </a:cubicBezTo>
                  <a:cubicBezTo>
                    <a:pt x="24" y="20"/>
                    <a:pt x="23" y="20"/>
                    <a:pt x="22" y="21"/>
                  </a:cubicBezTo>
                  <a:cubicBezTo>
                    <a:pt x="22" y="21"/>
                    <a:pt x="21" y="22"/>
                    <a:pt x="21" y="22"/>
                  </a:cubicBezTo>
                  <a:cubicBezTo>
                    <a:pt x="19" y="23"/>
                    <a:pt x="18" y="23"/>
                    <a:pt x="16" y="22"/>
                  </a:cubicBezTo>
                  <a:lnTo>
                    <a:pt x="15" y="22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3" name="Rectangle 235"/>
            <p:cNvSpPr>
              <a:spLocks noChangeArrowheads="1"/>
            </p:cNvSpPr>
            <p:nvPr/>
          </p:nvSpPr>
          <p:spPr bwMode="auto">
            <a:xfrm>
              <a:off x="7131926" y="3459475"/>
              <a:ext cx="753" cy="1352"/>
            </a:xfrm>
            <a:prstGeom prst="rect">
              <a:avLst/>
            </a:prstGeom>
            <a:solidFill>
              <a:srgbClr val="D3CFB1"/>
            </a:solidFill>
            <a:ln w="9525">
              <a:solidFill>
                <a:srgbClr val="D3CFB1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4" name="Freeform 236"/>
            <p:cNvSpPr>
              <a:spLocks/>
            </p:cNvSpPr>
            <p:nvPr/>
          </p:nvSpPr>
          <p:spPr bwMode="auto">
            <a:xfrm>
              <a:off x="7142712" y="3467046"/>
              <a:ext cx="1756" cy="1352"/>
            </a:xfrm>
            <a:custGeom>
              <a:avLst/>
              <a:gdLst>
                <a:gd name="T0" fmla="*/ 0 w 10"/>
                <a:gd name="T1" fmla="*/ 3 h 7"/>
                <a:gd name="T2" fmla="*/ 2 w 10"/>
                <a:gd name="T3" fmla="*/ 7 h 7"/>
                <a:gd name="T4" fmla="*/ 10 w 10"/>
                <a:gd name="T5" fmla="*/ 5 h 7"/>
                <a:gd name="T6" fmla="*/ 7 w 10"/>
                <a:gd name="T7" fmla="*/ 0 h 7"/>
                <a:gd name="T8" fmla="*/ 0 w 10"/>
                <a:gd name="T9" fmla="*/ 3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7"/>
                <a:gd name="T17" fmla="*/ 10 w 10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7">
                  <a:moveTo>
                    <a:pt x="0" y="3"/>
                  </a:moveTo>
                  <a:lnTo>
                    <a:pt x="2" y="7"/>
                  </a:lnTo>
                  <a:lnTo>
                    <a:pt x="10" y="5"/>
                  </a:lnTo>
                  <a:lnTo>
                    <a:pt x="7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5" name="Freeform 238"/>
            <p:cNvSpPr>
              <a:spLocks/>
            </p:cNvSpPr>
            <p:nvPr/>
          </p:nvSpPr>
          <p:spPr bwMode="auto">
            <a:xfrm>
              <a:off x="7040875" y="3382688"/>
              <a:ext cx="66971" cy="32175"/>
            </a:xfrm>
            <a:custGeom>
              <a:avLst/>
              <a:gdLst>
                <a:gd name="T0" fmla="*/ 72217928 w 143"/>
                <a:gd name="T1" fmla="*/ 57773467 h 66"/>
                <a:gd name="T2" fmla="*/ 72217928 w 143"/>
                <a:gd name="T3" fmla="*/ 54185658 h 66"/>
                <a:gd name="T4" fmla="*/ 57773469 w 143"/>
                <a:gd name="T5" fmla="*/ 57773467 h 66"/>
                <a:gd name="T6" fmla="*/ 48586037 w 143"/>
                <a:gd name="T7" fmla="*/ 57773467 h 66"/>
                <a:gd name="T8" fmla="*/ 39736171 w 143"/>
                <a:gd name="T9" fmla="*/ 52962808 h 66"/>
                <a:gd name="T10" fmla="*/ 33265624 w 143"/>
                <a:gd name="T11" fmla="*/ 52962808 h 66"/>
                <a:gd name="T12" fmla="*/ 25663076 w 143"/>
                <a:gd name="T13" fmla="*/ 57773467 h 66"/>
                <a:gd name="T14" fmla="*/ 20043997 w 143"/>
                <a:gd name="T15" fmla="*/ 54185658 h 66"/>
                <a:gd name="T16" fmla="*/ 15293841 w 143"/>
                <a:gd name="T17" fmla="*/ 52962808 h 66"/>
                <a:gd name="T18" fmla="*/ 14073922 w 143"/>
                <a:gd name="T19" fmla="*/ 51443122 h 66"/>
                <a:gd name="T20" fmla="*/ 11216145 w 143"/>
                <a:gd name="T21" fmla="*/ 49435583 h 66"/>
                <a:gd name="T22" fmla="*/ 10341117 w 143"/>
                <a:gd name="T23" fmla="*/ 48586036 h 66"/>
                <a:gd name="T24" fmla="*/ 7630663 w 143"/>
                <a:gd name="T25" fmla="*/ 45332010 h 66"/>
                <a:gd name="T26" fmla="*/ 8480159 w 143"/>
                <a:gd name="T27" fmla="*/ 41744238 h 66"/>
                <a:gd name="T28" fmla="*/ 6840533 w 143"/>
                <a:gd name="T29" fmla="*/ 39736169 h 66"/>
                <a:gd name="T30" fmla="*/ 849380 w 143"/>
                <a:gd name="T31" fmla="*/ 36149069 h 66"/>
                <a:gd name="T32" fmla="*/ 5595819 w 143"/>
                <a:gd name="T33" fmla="*/ 38216494 h 66"/>
                <a:gd name="T34" fmla="*/ 4745295 w 143"/>
                <a:gd name="T35" fmla="*/ 36149069 h 66"/>
                <a:gd name="T36" fmla="*/ 5595819 w 143"/>
                <a:gd name="T37" fmla="*/ 34141530 h 66"/>
                <a:gd name="T38" fmla="*/ 6840533 w 143"/>
                <a:gd name="T39" fmla="*/ 33265604 h 66"/>
                <a:gd name="T40" fmla="*/ 4745295 w 143"/>
                <a:gd name="T41" fmla="*/ 25663075 h 66"/>
                <a:gd name="T42" fmla="*/ 0 w 143"/>
                <a:gd name="T43" fmla="*/ 25663075 h 66"/>
                <a:gd name="T44" fmla="*/ 849380 w 143"/>
                <a:gd name="T45" fmla="*/ 20043996 h 66"/>
                <a:gd name="T46" fmla="*/ 14073922 w 143"/>
                <a:gd name="T47" fmla="*/ 18036102 h 66"/>
                <a:gd name="T48" fmla="*/ 20915062 w 143"/>
                <a:gd name="T49" fmla="*/ 17330084 h 66"/>
                <a:gd name="T50" fmla="*/ 24442627 w 143"/>
                <a:gd name="T51" fmla="*/ 14073912 h 66"/>
                <a:gd name="T52" fmla="*/ 21764402 w 143"/>
                <a:gd name="T53" fmla="*/ 10341117 h 66"/>
                <a:gd name="T54" fmla="*/ 33265624 w 143"/>
                <a:gd name="T55" fmla="*/ 9698924 h 66"/>
                <a:gd name="T56" fmla="*/ 44482691 w 143"/>
                <a:gd name="T57" fmla="*/ 4745294 h 66"/>
                <a:gd name="T58" fmla="*/ 55921589 w 143"/>
                <a:gd name="T59" fmla="*/ 2007625 h 66"/>
                <a:gd name="T60" fmla="*/ 61811428 w 143"/>
                <a:gd name="T61" fmla="*/ 2007625 h 66"/>
                <a:gd name="T62" fmla="*/ 65404078 w 143"/>
                <a:gd name="T63" fmla="*/ 4745294 h 66"/>
                <a:gd name="T64" fmla="*/ 72217928 w 143"/>
                <a:gd name="T65" fmla="*/ 5595819 h 66"/>
                <a:gd name="T66" fmla="*/ 78627805 w 143"/>
                <a:gd name="T67" fmla="*/ 11216144 h 66"/>
                <a:gd name="T68" fmla="*/ 91196200 w 143"/>
                <a:gd name="T69" fmla="*/ 13226473 h 66"/>
                <a:gd name="T70" fmla="*/ 107148356 w 143"/>
                <a:gd name="T71" fmla="*/ 10341117 h 66"/>
                <a:gd name="T72" fmla="*/ 111263426 w 143"/>
                <a:gd name="T73" fmla="*/ 7630663 h 66"/>
                <a:gd name="T74" fmla="*/ 112781220 w 143"/>
                <a:gd name="T75" fmla="*/ 6840533 h 66"/>
                <a:gd name="T76" fmla="*/ 118375964 w 143"/>
                <a:gd name="T77" fmla="*/ 5595819 h 66"/>
                <a:gd name="T78" fmla="*/ 123329009 w 143"/>
                <a:gd name="T79" fmla="*/ 9698924 h 66"/>
                <a:gd name="T80" fmla="*/ 126070902 w 143"/>
                <a:gd name="T81" fmla="*/ 18819581 h 66"/>
                <a:gd name="T82" fmla="*/ 130959505 w 143"/>
                <a:gd name="T83" fmla="*/ 20915062 h 66"/>
                <a:gd name="T84" fmla="*/ 132178233 w 143"/>
                <a:gd name="T85" fmla="*/ 21764401 h 66"/>
                <a:gd name="T86" fmla="*/ 130959505 w 143"/>
                <a:gd name="T87" fmla="*/ 27670974 h 66"/>
                <a:gd name="T88" fmla="*/ 132808359 w 143"/>
                <a:gd name="T89" fmla="*/ 36149069 h 66"/>
                <a:gd name="T90" fmla="*/ 132808359 w 143"/>
                <a:gd name="T91" fmla="*/ 42630772 h 66"/>
                <a:gd name="T92" fmla="*/ 135770429 w 143"/>
                <a:gd name="T93" fmla="*/ 48586036 h 66"/>
                <a:gd name="T94" fmla="*/ 133674849 w 143"/>
                <a:gd name="T95" fmla="*/ 48586036 h 66"/>
                <a:gd name="T96" fmla="*/ 126070902 w 143"/>
                <a:gd name="T97" fmla="*/ 47376686 h 66"/>
                <a:gd name="T98" fmla="*/ 119584860 w 143"/>
                <a:gd name="T99" fmla="*/ 49435583 h 66"/>
                <a:gd name="T100" fmla="*/ 111263426 w 143"/>
                <a:gd name="T101" fmla="*/ 49435583 h 66"/>
                <a:gd name="T102" fmla="*/ 101564504 w 143"/>
                <a:gd name="T103" fmla="*/ 52962808 h 66"/>
                <a:gd name="T104" fmla="*/ 85443225 w 143"/>
                <a:gd name="T105" fmla="*/ 52177665 h 66"/>
                <a:gd name="T106" fmla="*/ 75952850 w 143"/>
                <a:gd name="T107" fmla="*/ 55073742 h 66"/>
                <a:gd name="T108" fmla="*/ 73006740 w 143"/>
                <a:gd name="T109" fmla="*/ 62662070 h 6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43"/>
                <a:gd name="T166" fmla="*/ 0 h 66"/>
                <a:gd name="T167" fmla="*/ 143 w 143"/>
                <a:gd name="T168" fmla="*/ 66 h 6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43" h="66">
                  <a:moveTo>
                    <a:pt x="76" y="66"/>
                  </a:moveTo>
                  <a:cubicBezTo>
                    <a:pt x="76" y="65"/>
                    <a:pt x="76" y="63"/>
                    <a:pt x="76" y="61"/>
                  </a:cubicBezTo>
                  <a:cubicBezTo>
                    <a:pt x="77" y="60"/>
                    <a:pt x="81" y="58"/>
                    <a:pt x="78" y="56"/>
                  </a:cubicBezTo>
                  <a:cubicBezTo>
                    <a:pt x="78" y="55"/>
                    <a:pt x="77" y="57"/>
                    <a:pt x="76" y="57"/>
                  </a:cubicBezTo>
                  <a:cubicBezTo>
                    <a:pt x="72" y="58"/>
                    <a:pt x="70" y="57"/>
                    <a:pt x="66" y="57"/>
                  </a:cubicBezTo>
                  <a:cubicBezTo>
                    <a:pt x="64" y="58"/>
                    <a:pt x="63" y="60"/>
                    <a:pt x="61" y="61"/>
                  </a:cubicBezTo>
                  <a:cubicBezTo>
                    <a:pt x="59" y="62"/>
                    <a:pt x="57" y="61"/>
                    <a:pt x="55" y="61"/>
                  </a:cubicBezTo>
                  <a:cubicBezTo>
                    <a:pt x="53" y="61"/>
                    <a:pt x="52" y="62"/>
                    <a:pt x="51" y="61"/>
                  </a:cubicBezTo>
                  <a:cubicBezTo>
                    <a:pt x="49" y="60"/>
                    <a:pt x="48" y="58"/>
                    <a:pt x="47" y="57"/>
                  </a:cubicBezTo>
                  <a:cubicBezTo>
                    <a:pt x="45" y="57"/>
                    <a:pt x="43" y="56"/>
                    <a:pt x="42" y="56"/>
                  </a:cubicBezTo>
                  <a:cubicBezTo>
                    <a:pt x="40" y="55"/>
                    <a:pt x="38" y="55"/>
                    <a:pt x="37" y="55"/>
                  </a:cubicBezTo>
                  <a:cubicBezTo>
                    <a:pt x="36" y="56"/>
                    <a:pt x="35" y="56"/>
                    <a:pt x="35" y="56"/>
                  </a:cubicBezTo>
                  <a:cubicBezTo>
                    <a:pt x="34" y="58"/>
                    <a:pt x="35" y="60"/>
                    <a:pt x="34" y="60"/>
                  </a:cubicBezTo>
                  <a:cubicBezTo>
                    <a:pt x="31" y="61"/>
                    <a:pt x="29" y="62"/>
                    <a:pt x="27" y="61"/>
                  </a:cubicBezTo>
                  <a:cubicBezTo>
                    <a:pt x="26" y="60"/>
                    <a:pt x="25" y="58"/>
                    <a:pt x="24" y="57"/>
                  </a:cubicBezTo>
                  <a:cubicBezTo>
                    <a:pt x="23" y="57"/>
                    <a:pt x="22" y="57"/>
                    <a:pt x="21" y="57"/>
                  </a:cubicBezTo>
                  <a:cubicBezTo>
                    <a:pt x="21" y="57"/>
                    <a:pt x="21" y="57"/>
                    <a:pt x="21" y="57"/>
                  </a:cubicBezTo>
                  <a:cubicBezTo>
                    <a:pt x="19" y="57"/>
                    <a:pt x="17" y="57"/>
                    <a:pt x="16" y="56"/>
                  </a:cubicBezTo>
                  <a:cubicBezTo>
                    <a:pt x="16" y="56"/>
                    <a:pt x="17" y="56"/>
                    <a:pt x="17" y="56"/>
                  </a:cubicBezTo>
                  <a:cubicBezTo>
                    <a:pt x="16" y="55"/>
                    <a:pt x="16" y="54"/>
                    <a:pt x="15" y="54"/>
                  </a:cubicBezTo>
                  <a:cubicBezTo>
                    <a:pt x="14" y="54"/>
                    <a:pt x="12" y="54"/>
                    <a:pt x="11" y="54"/>
                  </a:cubicBezTo>
                  <a:cubicBezTo>
                    <a:pt x="11" y="54"/>
                    <a:pt x="11" y="53"/>
                    <a:pt x="12" y="52"/>
                  </a:cubicBezTo>
                  <a:cubicBezTo>
                    <a:pt x="12" y="52"/>
                    <a:pt x="12" y="51"/>
                    <a:pt x="12" y="51"/>
                  </a:cubicBezTo>
                  <a:cubicBezTo>
                    <a:pt x="11" y="50"/>
                    <a:pt x="11" y="51"/>
                    <a:pt x="11" y="51"/>
                  </a:cubicBezTo>
                  <a:cubicBezTo>
                    <a:pt x="10" y="50"/>
                    <a:pt x="10" y="49"/>
                    <a:pt x="10" y="49"/>
                  </a:cubicBezTo>
                  <a:cubicBezTo>
                    <a:pt x="9" y="48"/>
                    <a:pt x="9" y="48"/>
                    <a:pt x="8" y="48"/>
                  </a:cubicBezTo>
                  <a:cubicBezTo>
                    <a:pt x="8" y="47"/>
                    <a:pt x="8" y="46"/>
                    <a:pt x="9" y="46"/>
                  </a:cubicBezTo>
                  <a:cubicBezTo>
                    <a:pt x="9" y="45"/>
                    <a:pt x="9" y="44"/>
                    <a:pt x="9" y="44"/>
                  </a:cubicBezTo>
                  <a:cubicBezTo>
                    <a:pt x="9" y="43"/>
                    <a:pt x="8" y="44"/>
                    <a:pt x="7" y="43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5" y="41"/>
                    <a:pt x="2" y="42"/>
                    <a:pt x="1" y="41"/>
                  </a:cubicBezTo>
                  <a:cubicBezTo>
                    <a:pt x="1" y="40"/>
                    <a:pt x="1" y="39"/>
                    <a:pt x="1" y="38"/>
                  </a:cubicBezTo>
                  <a:cubicBezTo>
                    <a:pt x="2" y="37"/>
                    <a:pt x="3" y="37"/>
                    <a:pt x="4" y="37"/>
                  </a:cubicBezTo>
                  <a:cubicBezTo>
                    <a:pt x="5" y="38"/>
                    <a:pt x="5" y="39"/>
                    <a:pt x="6" y="40"/>
                  </a:cubicBezTo>
                  <a:cubicBezTo>
                    <a:pt x="7" y="40"/>
                    <a:pt x="7" y="40"/>
                    <a:pt x="8" y="40"/>
                  </a:cubicBezTo>
                  <a:cubicBezTo>
                    <a:pt x="8" y="39"/>
                    <a:pt x="6" y="38"/>
                    <a:pt x="5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6" y="37"/>
                    <a:pt x="6" y="36"/>
                    <a:pt x="6" y="36"/>
                  </a:cubicBezTo>
                  <a:cubicBezTo>
                    <a:pt x="6" y="36"/>
                    <a:pt x="6" y="35"/>
                    <a:pt x="6" y="35"/>
                  </a:cubicBezTo>
                  <a:cubicBezTo>
                    <a:pt x="6" y="35"/>
                    <a:pt x="7" y="35"/>
                    <a:pt x="7" y="35"/>
                  </a:cubicBezTo>
                  <a:cubicBezTo>
                    <a:pt x="7" y="33"/>
                    <a:pt x="6" y="32"/>
                    <a:pt x="6" y="31"/>
                  </a:cubicBezTo>
                  <a:cubicBezTo>
                    <a:pt x="5" y="30"/>
                    <a:pt x="6" y="28"/>
                    <a:pt x="5" y="27"/>
                  </a:cubicBezTo>
                  <a:cubicBezTo>
                    <a:pt x="5" y="27"/>
                    <a:pt x="5" y="27"/>
                    <a:pt x="4" y="27"/>
                  </a:cubicBezTo>
                  <a:cubicBezTo>
                    <a:pt x="3" y="28"/>
                    <a:pt x="1" y="28"/>
                    <a:pt x="0" y="27"/>
                  </a:cubicBezTo>
                  <a:cubicBezTo>
                    <a:pt x="0" y="27"/>
                    <a:pt x="0" y="26"/>
                    <a:pt x="0" y="25"/>
                  </a:cubicBezTo>
                  <a:cubicBezTo>
                    <a:pt x="1" y="24"/>
                    <a:pt x="0" y="22"/>
                    <a:pt x="1" y="21"/>
                  </a:cubicBezTo>
                  <a:cubicBezTo>
                    <a:pt x="2" y="20"/>
                    <a:pt x="3" y="20"/>
                    <a:pt x="5" y="20"/>
                  </a:cubicBezTo>
                  <a:cubicBezTo>
                    <a:pt x="8" y="19"/>
                    <a:pt x="11" y="20"/>
                    <a:pt x="15" y="19"/>
                  </a:cubicBezTo>
                  <a:cubicBezTo>
                    <a:pt x="16" y="19"/>
                    <a:pt x="18" y="19"/>
                    <a:pt x="19" y="19"/>
                  </a:cubicBezTo>
                  <a:cubicBezTo>
                    <a:pt x="20" y="18"/>
                    <a:pt x="21" y="18"/>
                    <a:pt x="22" y="18"/>
                  </a:cubicBezTo>
                  <a:cubicBezTo>
                    <a:pt x="22" y="18"/>
                    <a:pt x="21" y="17"/>
                    <a:pt x="22" y="16"/>
                  </a:cubicBezTo>
                  <a:cubicBezTo>
                    <a:pt x="23" y="15"/>
                    <a:pt x="24" y="14"/>
                    <a:pt x="26" y="15"/>
                  </a:cubicBezTo>
                  <a:cubicBezTo>
                    <a:pt x="26" y="13"/>
                    <a:pt x="24" y="13"/>
                    <a:pt x="23" y="12"/>
                  </a:cubicBezTo>
                  <a:cubicBezTo>
                    <a:pt x="23" y="12"/>
                    <a:pt x="23" y="11"/>
                    <a:pt x="23" y="11"/>
                  </a:cubicBezTo>
                  <a:cubicBezTo>
                    <a:pt x="26" y="9"/>
                    <a:pt x="29" y="10"/>
                    <a:pt x="31" y="10"/>
                  </a:cubicBezTo>
                  <a:cubicBezTo>
                    <a:pt x="33" y="10"/>
                    <a:pt x="34" y="11"/>
                    <a:pt x="35" y="10"/>
                  </a:cubicBezTo>
                  <a:cubicBezTo>
                    <a:pt x="38" y="10"/>
                    <a:pt x="41" y="9"/>
                    <a:pt x="44" y="7"/>
                  </a:cubicBezTo>
                  <a:cubicBezTo>
                    <a:pt x="45" y="7"/>
                    <a:pt x="46" y="5"/>
                    <a:pt x="47" y="5"/>
                  </a:cubicBezTo>
                  <a:cubicBezTo>
                    <a:pt x="49" y="4"/>
                    <a:pt x="52" y="3"/>
                    <a:pt x="54" y="2"/>
                  </a:cubicBezTo>
                  <a:cubicBezTo>
                    <a:pt x="55" y="2"/>
                    <a:pt x="57" y="2"/>
                    <a:pt x="59" y="2"/>
                  </a:cubicBezTo>
                  <a:cubicBezTo>
                    <a:pt x="59" y="2"/>
                    <a:pt x="60" y="3"/>
                    <a:pt x="60" y="3"/>
                  </a:cubicBezTo>
                  <a:cubicBezTo>
                    <a:pt x="62" y="3"/>
                    <a:pt x="63" y="3"/>
                    <a:pt x="65" y="2"/>
                  </a:cubicBezTo>
                  <a:cubicBezTo>
                    <a:pt x="66" y="2"/>
                    <a:pt x="66" y="1"/>
                    <a:pt x="66" y="1"/>
                  </a:cubicBezTo>
                  <a:cubicBezTo>
                    <a:pt x="69" y="0"/>
                    <a:pt x="68" y="3"/>
                    <a:pt x="69" y="5"/>
                  </a:cubicBezTo>
                  <a:cubicBezTo>
                    <a:pt x="69" y="5"/>
                    <a:pt x="70" y="5"/>
                    <a:pt x="70" y="6"/>
                  </a:cubicBezTo>
                  <a:cubicBezTo>
                    <a:pt x="72" y="6"/>
                    <a:pt x="75" y="5"/>
                    <a:pt x="76" y="6"/>
                  </a:cubicBezTo>
                  <a:cubicBezTo>
                    <a:pt x="77" y="8"/>
                    <a:pt x="76" y="9"/>
                    <a:pt x="76" y="11"/>
                  </a:cubicBezTo>
                  <a:cubicBezTo>
                    <a:pt x="78" y="11"/>
                    <a:pt x="81" y="10"/>
                    <a:pt x="83" y="12"/>
                  </a:cubicBezTo>
                  <a:cubicBezTo>
                    <a:pt x="85" y="13"/>
                    <a:pt x="89" y="11"/>
                    <a:pt x="89" y="14"/>
                  </a:cubicBezTo>
                  <a:cubicBezTo>
                    <a:pt x="91" y="14"/>
                    <a:pt x="94" y="14"/>
                    <a:pt x="96" y="14"/>
                  </a:cubicBezTo>
                  <a:cubicBezTo>
                    <a:pt x="99" y="13"/>
                    <a:pt x="103" y="14"/>
                    <a:pt x="107" y="13"/>
                  </a:cubicBezTo>
                  <a:cubicBezTo>
                    <a:pt x="109" y="12"/>
                    <a:pt x="111" y="12"/>
                    <a:pt x="113" y="11"/>
                  </a:cubicBezTo>
                  <a:cubicBezTo>
                    <a:pt x="113" y="11"/>
                    <a:pt x="114" y="11"/>
                    <a:pt x="114" y="11"/>
                  </a:cubicBezTo>
                  <a:cubicBezTo>
                    <a:pt x="115" y="10"/>
                    <a:pt x="116" y="9"/>
                    <a:pt x="117" y="8"/>
                  </a:cubicBezTo>
                  <a:cubicBezTo>
                    <a:pt x="117" y="8"/>
                    <a:pt x="118" y="8"/>
                    <a:pt x="118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21" y="8"/>
                    <a:pt x="122" y="8"/>
                    <a:pt x="124" y="7"/>
                  </a:cubicBezTo>
                  <a:cubicBezTo>
                    <a:pt x="124" y="7"/>
                    <a:pt x="125" y="6"/>
                    <a:pt x="125" y="6"/>
                  </a:cubicBezTo>
                  <a:cubicBezTo>
                    <a:pt x="126" y="5"/>
                    <a:pt x="127" y="5"/>
                    <a:pt x="127" y="6"/>
                  </a:cubicBezTo>
                  <a:cubicBezTo>
                    <a:pt x="128" y="7"/>
                    <a:pt x="129" y="9"/>
                    <a:pt x="130" y="10"/>
                  </a:cubicBezTo>
                  <a:cubicBezTo>
                    <a:pt x="131" y="11"/>
                    <a:pt x="132" y="11"/>
                    <a:pt x="133" y="12"/>
                  </a:cubicBezTo>
                  <a:cubicBezTo>
                    <a:pt x="132" y="14"/>
                    <a:pt x="132" y="18"/>
                    <a:pt x="133" y="20"/>
                  </a:cubicBezTo>
                  <a:cubicBezTo>
                    <a:pt x="133" y="20"/>
                    <a:pt x="134" y="21"/>
                    <a:pt x="134" y="21"/>
                  </a:cubicBezTo>
                  <a:cubicBezTo>
                    <a:pt x="135" y="21"/>
                    <a:pt x="137" y="21"/>
                    <a:pt x="138" y="22"/>
                  </a:cubicBezTo>
                  <a:cubicBezTo>
                    <a:pt x="139" y="22"/>
                    <a:pt x="139" y="23"/>
                    <a:pt x="139" y="23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39" y="24"/>
                    <a:pt x="139" y="24"/>
                  </a:cubicBezTo>
                  <a:cubicBezTo>
                    <a:pt x="138" y="26"/>
                    <a:pt x="138" y="27"/>
                    <a:pt x="138" y="29"/>
                  </a:cubicBezTo>
                  <a:cubicBezTo>
                    <a:pt x="138" y="30"/>
                    <a:pt x="138" y="31"/>
                    <a:pt x="139" y="32"/>
                  </a:cubicBezTo>
                  <a:cubicBezTo>
                    <a:pt x="140" y="34"/>
                    <a:pt x="139" y="37"/>
                    <a:pt x="140" y="38"/>
                  </a:cubicBezTo>
                  <a:cubicBezTo>
                    <a:pt x="140" y="39"/>
                    <a:pt x="140" y="39"/>
                    <a:pt x="140" y="39"/>
                  </a:cubicBezTo>
                  <a:cubicBezTo>
                    <a:pt x="140" y="41"/>
                    <a:pt x="140" y="43"/>
                    <a:pt x="140" y="45"/>
                  </a:cubicBezTo>
                  <a:cubicBezTo>
                    <a:pt x="141" y="46"/>
                    <a:pt x="142" y="47"/>
                    <a:pt x="143" y="48"/>
                  </a:cubicBezTo>
                  <a:cubicBezTo>
                    <a:pt x="143" y="49"/>
                    <a:pt x="142" y="50"/>
                    <a:pt x="143" y="51"/>
                  </a:cubicBezTo>
                  <a:cubicBezTo>
                    <a:pt x="143" y="51"/>
                    <a:pt x="143" y="51"/>
                    <a:pt x="143" y="51"/>
                  </a:cubicBezTo>
                  <a:cubicBezTo>
                    <a:pt x="142" y="51"/>
                    <a:pt x="142" y="52"/>
                    <a:pt x="141" y="51"/>
                  </a:cubicBezTo>
                  <a:cubicBezTo>
                    <a:pt x="140" y="51"/>
                    <a:pt x="140" y="50"/>
                    <a:pt x="139" y="50"/>
                  </a:cubicBezTo>
                  <a:cubicBezTo>
                    <a:pt x="137" y="49"/>
                    <a:pt x="135" y="50"/>
                    <a:pt x="133" y="50"/>
                  </a:cubicBezTo>
                  <a:cubicBezTo>
                    <a:pt x="132" y="49"/>
                    <a:pt x="132" y="48"/>
                    <a:pt x="130" y="49"/>
                  </a:cubicBezTo>
                  <a:cubicBezTo>
                    <a:pt x="129" y="50"/>
                    <a:pt x="128" y="51"/>
                    <a:pt x="126" y="52"/>
                  </a:cubicBezTo>
                  <a:cubicBezTo>
                    <a:pt x="125" y="53"/>
                    <a:pt x="123" y="52"/>
                    <a:pt x="121" y="52"/>
                  </a:cubicBezTo>
                  <a:cubicBezTo>
                    <a:pt x="120" y="51"/>
                    <a:pt x="119" y="51"/>
                    <a:pt x="117" y="52"/>
                  </a:cubicBezTo>
                  <a:cubicBezTo>
                    <a:pt x="116" y="52"/>
                    <a:pt x="115" y="53"/>
                    <a:pt x="114" y="53"/>
                  </a:cubicBezTo>
                  <a:cubicBezTo>
                    <a:pt x="112" y="54"/>
                    <a:pt x="109" y="55"/>
                    <a:pt x="107" y="56"/>
                  </a:cubicBezTo>
                  <a:cubicBezTo>
                    <a:pt x="104" y="56"/>
                    <a:pt x="101" y="56"/>
                    <a:pt x="99" y="56"/>
                  </a:cubicBezTo>
                  <a:cubicBezTo>
                    <a:pt x="96" y="55"/>
                    <a:pt x="93" y="55"/>
                    <a:pt x="90" y="55"/>
                  </a:cubicBezTo>
                  <a:cubicBezTo>
                    <a:pt x="88" y="57"/>
                    <a:pt x="85" y="56"/>
                    <a:pt x="82" y="57"/>
                  </a:cubicBezTo>
                  <a:cubicBezTo>
                    <a:pt x="81" y="57"/>
                    <a:pt x="80" y="58"/>
                    <a:pt x="80" y="58"/>
                  </a:cubicBezTo>
                  <a:cubicBezTo>
                    <a:pt x="80" y="60"/>
                    <a:pt x="81" y="61"/>
                    <a:pt x="80" y="63"/>
                  </a:cubicBezTo>
                  <a:cubicBezTo>
                    <a:pt x="79" y="64"/>
                    <a:pt x="78" y="65"/>
                    <a:pt x="77" y="66"/>
                  </a:cubicBezTo>
                  <a:lnTo>
                    <a:pt x="76" y="6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6" name="Freeform 240"/>
            <p:cNvSpPr>
              <a:spLocks/>
            </p:cNvSpPr>
            <p:nvPr/>
          </p:nvSpPr>
          <p:spPr bwMode="auto">
            <a:xfrm>
              <a:off x="7064202" y="3415133"/>
              <a:ext cx="8027" cy="5408"/>
            </a:xfrm>
            <a:custGeom>
              <a:avLst/>
              <a:gdLst>
                <a:gd name="T0" fmla="*/ 11661007 w 17"/>
                <a:gd name="T1" fmla="*/ 849380 h 11"/>
                <a:gd name="T2" fmla="*/ 7807999 w 17"/>
                <a:gd name="T3" fmla="*/ 2007625 h 11"/>
                <a:gd name="T4" fmla="*/ 4467192 w 17"/>
                <a:gd name="T5" fmla="*/ 2894074 h 11"/>
                <a:gd name="T6" fmla="*/ 806887 w 17"/>
                <a:gd name="T7" fmla="*/ 4745295 h 11"/>
                <a:gd name="T8" fmla="*/ 806887 w 17"/>
                <a:gd name="T9" fmla="*/ 4745295 h 11"/>
                <a:gd name="T10" fmla="*/ 0 w 17"/>
                <a:gd name="T11" fmla="*/ 6840539 h 11"/>
                <a:gd name="T12" fmla="*/ 806887 w 17"/>
                <a:gd name="T13" fmla="*/ 8480159 h 11"/>
                <a:gd name="T14" fmla="*/ 4467192 w 17"/>
                <a:gd name="T15" fmla="*/ 10341118 h 11"/>
                <a:gd name="T16" fmla="*/ 5300376 w 17"/>
                <a:gd name="T17" fmla="*/ 10341118 h 11"/>
                <a:gd name="T18" fmla="*/ 8957156 w 17"/>
                <a:gd name="T19" fmla="*/ 7630664 h 11"/>
                <a:gd name="T20" fmla="*/ 11661007 w 17"/>
                <a:gd name="T21" fmla="*/ 6840539 h 11"/>
                <a:gd name="T22" fmla="*/ 11661007 w 17"/>
                <a:gd name="T23" fmla="*/ 2894074 h 11"/>
                <a:gd name="T24" fmla="*/ 14978991 w 17"/>
                <a:gd name="T25" fmla="*/ 0 h 11"/>
                <a:gd name="T26" fmla="*/ 12471472 w 17"/>
                <a:gd name="T27" fmla="*/ 0 h 11"/>
                <a:gd name="T28" fmla="*/ 10511040 w 17"/>
                <a:gd name="T29" fmla="*/ 849380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"/>
                <a:gd name="T46" fmla="*/ 0 h 11"/>
                <a:gd name="T47" fmla="*/ 17 w 17"/>
                <a:gd name="T48" fmla="*/ 11 h 1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" h="11">
                  <a:moveTo>
                    <a:pt x="13" y="1"/>
                  </a:moveTo>
                  <a:cubicBezTo>
                    <a:pt x="12" y="1"/>
                    <a:pt x="11" y="2"/>
                    <a:pt x="9" y="2"/>
                  </a:cubicBezTo>
                  <a:cubicBezTo>
                    <a:pt x="8" y="3"/>
                    <a:pt x="6" y="2"/>
                    <a:pt x="5" y="3"/>
                  </a:cubicBezTo>
                  <a:cubicBezTo>
                    <a:pt x="4" y="4"/>
                    <a:pt x="3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1" y="8"/>
                    <a:pt x="0" y="9"/>
                    <a:pt x="1" y="9"/>
                  </a:cubicBezTo>
                  <a:cubicBezTo>
                    <a:pt x="2" y="10"/>
                    <a:pt x="4" y="10"/>
                    <a:pt x="5" y="11"/>
                  </a:cubicBezTo>
                  <a:cubicBezTo>
                    <a:pt x="5" y="11"/>
                    <a:pt x="6" y="11"/>
                    <a:pt x="6" y="11"/>
                  </a:cubicBezTo>
                  <a:cubicBezTo>
                    <a:pt x="7" y="9"/>
                    <a:pt x="9" y="9"/>
                    <a:pt x="10" y="8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4" y="6"/>
                    <a:pt x="12" y="4"/>
                    <a:pt x="13" y="3"/>
                  </a:cubicBezTo>
                  <a:cubicBezTo>
                    <a:pt x="14" y="2"/>
                    <a:pt x="17" y="2"/>
                    <a:pt x="17" y="0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14" y="1"/>
                    <a:pt x="13" y="1"/>
                    <a:pt x="12" y="1"/>
                  </a:cubicBezTo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7" name="Freeform 241"/>
            <p:cNvSpPr>
              <a:spLocks/>
            </p:cNvSpPr>
            <p:nvPr/>
          </p:nvSpPr>
          <p:spPr bwMode="auto">
            <a:xfrm>
              <a:off x="7104335" y="3492732"/>
              <a:ext cx="38628" cy="28930"/>
            </a:xfrm>
            <a:custGeom>
              <a:avLst/>
              <a:gdLst>
                <a:gd name="T0" fmla="*/ 77611872 w 83"/>
                <a:gd name="T1" fmla="*/ 19858463 h 60"/>
                <a:gd name="T2" fmla="*/ 72925518 w 83"/>
                <a:gd name="T3" fmla="*/ 20679741 h 60"/>
                <a:gd name="T4" fmla="*/ 70941678 w 83"/>
                <a:gd name="T5" fmla="*/ 27604230 h 60"/>
                <a:gd name="T6" fmla="*/ 65399499 w 83"/>
                <a:gd name="T7" fmla="*/ 29479474 h 60"/>
                <a:gd name="T8" fmla="*/ 64564228 w 83"/>
                <a:gd name="T9" fmla="*/ 30260143 h 60"/>
                <a:gd name="T10" fmla="*/ 54333390 w 83"/>
                <a:gd name="T11" fmla="*/ 32736986 h 60"/>
                <a:gd name="T12" fmla="*/ 52322044 w 83"/>
                <a:gd name="T13" fmla="*/ 34605499 h 60"/>
                <a:gd name="T14" fmla="*/ 46784097 w 83"/>
                <a:gd name="T15" fmla="*/ 37927853 h 60"/>
                <a:gd name="T16" fmla="*/ 43959468 w 83"/>
                <a:gd name="T17" fmla="*/ 39799233 h 60"/>
                <a:gd name="T18" fmla="*/ 38431241 w 83"/>
                <a:gd name="T19" fmla="*/ 39799233 h 60"/>
                <a:gd name="T20" fmla="*/ 31670046 w 83"/>
                <a:gd name="T21" fmla="*/ 43410035 h 60"/>
                <a:gd name="T22" fmla="*/ 24140721 w 83"/>
                <a:gd name="T23" fmla="*/ 44190536 h 60"/>
                <a:gd name="T24" fmla="*/ 23300575 w 83"/>
                <a:gd name="T25" fmla="*/ 44928736 h 60"/>
                <a:gd name="T26" fmla="*/ 17735618 w 83"/>
                <a:gd name="T27" fmla="*/ 49331244 h 60"/>
                <a:gd name="T28" fmla="*/ 13077479 w 83"/>
                <a:gd name="T29" fmla="*/ 51206468 h 60"/>
                <a:gd name="T30" fmla="*/ 8389631 w 83"/>
                <a:gd name="T31" fmla="*/ 50118099 h 60"/>
                <a:gd name="T32" fmla="*/ 7510493 w 83"/>
                <a:gd name="T33" fmla="*/ 50118099 h 60"/>
                <a:gd name="T34" fmla="*/ 6670267 w 83"/>
                <a:gd name="T35" fmla="*/ 48597367 h 60"/>
                <a:gd name="T36" fmla="*/ 5537912 w 83"/>
                <a:gd name="T37" fmla="*/ 40594360 h 60"/>
                <a:gd name="T38" fmla="*/ 4686182 w 83"/>
                <a:gd name="T39" fmla="*/ 39003269 h 60"/>
                <a:gd name="T40" fmla="*/ 2824655 w 83"/>
                <a:gd name="T41" fmla="*/ 31938644 h 60"/>
                <a:gd name="T42" fmla="*/ 840356 w 83"/>
                <a:gd name="T43" fmla="*/ 30260143 h 60"/>
                <a:gd name="T44" fmla="*/ 840356 w 83"/>
                <a:gd name="T45" fmla="*/ 27604230 h 60"/>
                <a:gd name="T46" fmla="*/ 1984455 w 83"/>
                <a:gd name="T47" fmla="*/ 25071420 h 60"/>
                <a:gd name="T48" fmla="*/ 1984455 w 83"/>
                <a:gd name="T49" fmla="*/ 25071420 h 60"/>
                <a:gd name="T50" fmla="*/ 1984455 w 83"/>
                <a:gd name="T51" fmla="*/ 21789993 h 60"/>
                <a:gd name="T52" fmla="*/ 2824655 w 83"/>
                <a:gd name="T53" fmla="*/ 19858463 h 60"/>
                <a:gd name="T54" fmla="*/ 3552753 w 83"/>
                <a:gd name="T55" fmla="*/ 19858463 h 60"/>
                <a:gd name="T56" fmla="*/ 5537912 w 83"/>
                <a:gd name="T57" fmla="*/ 14725750 h 60"/>
                <a:gd name="T58" fmla="*/ 6670267 w 83"/>
                <a:gd name="T59" fmla="*/ 13930632 h 60"/>
                <a:gd name="T60" fmla="*/ 8389631 w 83"/>
                <a:gd name="T61" fmla="*/ 14725750 h 60"/>
                <a:gd name="T62" fmla="*/ 17114813 w 83"/>
                <a:gd name="T63" fmla="*/ 13930632 h 60"/>
                <a:gd name="T64" fmla="*/ 22643206 w 83"/>
                <a:gd name="T65" fmla="*/ 16597139 h 60"/>
                <a:gd name="T66" fmla="*/ 26972490 w 83"/>
                <a:gd name="T67" fmla="*/ 19118622 h 60"/>
                <a:gd name="T68" fmla="*/ 28842547 w 83"/>
                <a:gd name="T69" fmla="*/ 26920719 h 60"/>
                <a:gd name="T70" fmla="*/ 33745057 w 83"/>
                <a:gd name="T71" fmla="*/ 22415394 h 60"/>
                <a:gd name="T72" fmla="*/ 41881699 w 83"/>
                <a:gd name="T73" fmla="*/ 5927928 h 60"/>
                <a:gd name="T74" fmla="*/ 55023008 w 83"/>
                <a:gd name="T75" fmla="*/ 3261053 h 60"/>
                <a:gd name="T76" fmla="*/ 57006999 w 83"/>
                <a:gd name="T77" fmla="*/ 3261053 h 60"/>
                <a:gd name="T78" fmla="*/ 58999265 w 83"/>
                <a:gd name="T79" fmla="*/ 2522523 h 60"/>
                <a:gd name="T80" fmla="*/ 63694045 w 83"/>
                <a:gd name="T81" fmla="*/ 1868516 h 60"/>
                <a:gd name="T82" fmla="*/ 68110098 w 83"/>
                <a:gd name="T83" fmla="*/ 0 h 60"/>
                <a:gd name="T84" fmla="*/ 69222131 w 83"/>
                <a:gd name="T85" fmla="*/ 0 h 60"/>
                <a:gd name="T86" fmla="*/ 69222131 w 83"/>
                <a:gd name="T87" fmla="*/ 795113 h 60"/>
                <a:gd name="T88" fmla="*/ 70941678 w 83"/>
                <a:gd name="T89" fmla="*/ 5193717 h 60"/>
                <a:gd name="T90" fmla="*/ 77611872 w 83"/>
                <a:gd name="T91" fmla="*/ 19118622 h 60"/>
                <a:gd name="T92" fmla="*/ 77611872 w 83"/>
                <a:gd name="T93" fmla="*/ 19858463 h 6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83"/>
                <a:gd name="T142" fmla="*/ 0 h 60"/>
                <a:gd name="T143" fmla="*/ 83 w 83"/>
                <a:gd name="T144" fmla="*/ 60 h 6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83" h="60">
                  <a:moveTo>
                    <a:pt x="83" y="23"/>
                  </a:moveTo>
                  <a:cubicBezTo>
                    <a:pt x="81" y="23"/>
                    <a:pt x="79" y="23"/>
                    <a:pt x="78" y="24"/>
                  </a:cubicBezTo>
                  <a:cubicBezTo>
                    <a:pt x="76" y="26"/>
                    <a:pt x="77" y="30"/>
                    <a:pt x="76" y="32"/>
                  </a:cubicBezTo>
                  <a:cubicBezTo>
                    <a:pt x="75" y="34"/>
                    <a:pt x="72" y="34"/>
                    <a:pt x="70" y="34"/>
                  </a:cubicBezTo>
                  <a:cubicBezTo>
                    <a:pt x="70" y="35"/>
                    <a:pt x="69" y="35"/>
                    <a:pt x="69" y="35"/>
                  </a:cubicBezTo>
                  <a:cubicBezTo>
                    <a:pt x="65" y="37"/>
                    <a:pt x="61" y="36"/>
                    <a:pt x="58" y="38"/>
                  </a:cubicBezTo>
                  <a:cubicBezTo>
                    <a:pt x="57" y="38"/>
                    <a:pt x="57" y="40"/>
                    <a:pt x="56" y="40"/>
                  </a:cubicBezTo>
                  <a:cubicBezTo>
                    <a:pt x="54" y="41"/>
                    <a:pt x="50" y="41"/>
                    <a:pt x="50" y="44"/>
                  </a:cubicBezTo>
                  <a:cubicBezTo>
                    <a:pt x="49" y="44"/>
                    <a:pt x="49" y="46"/>
                    <a:pt x="47" y="46"/>
                  </a:cubicBezTo>
                  <a:cubicBezTo>
                    <a:pt x="46" y="47"/>
                    <a:pt x="43" y="46"/>
                    <a:pt x="41" y="46"/>
                  </a:cubicBezTo>
                  <a:cubicBezTo>
                    <a:pt x="39" y="47"/>
                    <a:pt x="37" y="50"/>
                    <a:pt x="34" y="50"/>
                  </a:cubicBezTo>
                  <a:cubicBezTo>
                    <a:pt x="31" y="50"/>
                    <a:pt x="28" y="49"/>
                    <a:pt x="26" y="51"/>
                  </a:cubicBezTo>
                  <a:cubicBezTo>
                    <a:pt x="25" y="51"/>
                    <a:pt x="25" y="51"/>
                    <a:pt x="25" y="52"/>
                  </a:cubicBezTo>
                  <a:cubicBezTo>
                    <a:pt x="23" y="54"/>
                    <a:pt x="21" y="56"/>
                    <a:pt x="19" y="57"/>
                  </a:cubicBezTo>
                  <a:cubicBezTo>
                    <a:pt x="17" y="58"/>
                    <a:pt x="15" y="58"/>
                    <a:pt x="14" y="59"/>
                  </a:cubicBezTo>
                  <a:cubicBezTo>
                    <a:pt x="12" y="60"/>
                    <a:pt x="10" y="59"/>
                    <a:pt x="9" y="58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7" y="57"/>
                    <a:pt x="7" y="57"/>
                    <a:pt x="7" y="56"/>
                  </a:cubicBezTo>
                  <a:cubicBezTo>
                    <a:pt x="6" y="53"/>
                    <a:pt x="6" y="50"/>
                    <a:pt x="6" y="47"/>
                  </a:cubicBezTo>
                  <a:cubicBezTo>
                    <a:pt x="6" y="47"/>
                    <a:pt x="6" y="46"/>
                    <a:pt x="5" y="45"/>
                  </a:cubicBezTo>
                  <a:cubicBezTo>
                    <a:pt x="4" y="43"/>
                    <a:pt x="3" y="40"/>
                    <a:pt x="3" y="37"/>
                  </a:cubicBezTo>
                  <a:cubicBezTo>
                    <a:pt x="3" y="36"/>
                    <a:pt x="1" y="36"/>
                    <a:pt x="1" y="35"/>
                  </a:cubicBezTo>
                  <a:cubicBezTo>
                    <a:pt x="0" y="34"/>
                    <a:pt x="1" y="33"/>
                    <a:pt x="1" y="32"/>
                  </a:cubicBezTo>
                  <a:cubicBezTo>
                    <a:pt x="2" y="32"/>
                    <a:pt x="2" y="30"/>
                    <a:pt x="2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8"/>
                    <a:pt x="2" y="26"/>
                    <a:pt x="2" y="25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4" y="23"/>
                  </a:cubicBezTo>
                  <a:cubicBezTo>
                    <a:pt x="5" y="21"/>
                    <a:pt x="5" y="19"/>
                    <a:pt x="6" y="17"/>
                  </a:cubicBezTo>
                  <a:cubicBezTo>
                    <a:pt x="6" y="16"/>
                    <a:pt x="6" y="16"/>
                    <a:pt x="7" y="16"/>
                  </a:cubicBezTo>
                  <a:cubicBezTo>
                    <a:pt x="8" y="15"/>
                    <a:pt x="9" y="16"/>
                    <a:pt x="9" y="17"/>
                  </a:cubicBezTo>
                  <a:cubicBezTo>
                    <a:pt x="12" y="17"/>
                    <a:pt x="15" y="16"/>
                    <a:pt x="18" y="16"/>
                  </a:cubicBezTo>
                  <a:cubicBezTo>
                    <a:pt x="20" y="17"/>
                    <a:pt x="22" y="18"/>
                    <a:pt x="24" y="19"/>
                  </a:cubicBezTo>
                  <a:cubicBezTo>
                    <a:pt x="26" y="20"/>
                    <a:pt x="27" y="21"/>
                    <a:pt x="29" y="22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50" y="6"/>
                    <a:pt x="55" y="6"/>
                    <a:pt x="59" y="4"/>
                  </a:cubicBezTo>
                  <a:cubicBezTo>
                    <a:pt x="60" y="4"/>
                    <a:pt x="60" y="4"/>
                    <a:pt x="61" y="4"/>
                  </a:cubicBezTo>
                  <a:cubicBezTo>
                    <a:pt x="62" y="3"/>
                    <a:pt x="63" y="3"/>
                    <a:pt x="63" y="3"/>
                  </a:cubicBezTo>
                  <a:cubicBezTo>
                    <a:pt x="65" y="2"/>
                    <a:pt x="66" y="2"/>
                    <a:pt x="68" y="2"/>
                  </a:cubicBezTo>
                  <a:cubicBezTo>
                    <a:pt x="70" y="1"/>
                    <a:pt x="71" y="0"/>
                    <a:pt x="7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3" y="0"/>
                    <a:pt x="73" y="1"/>
                    <a:pt x="74" y="1"/>
                  </a:cubicBezTo>
                  <a:cubicBezTo>
                    <a:pt x="75" y="3"/>
                    <a:pt x="75" y="4"/>
                    <a:pt x="76" y="6"/>
                  </a:cubicBezTo>
                  <a:cubicBezTo>
                    <a:pt x="78" y="12"/>
                    <a:pt x="80" y="17"/>
                    <a:pt x="83" y="22"/>
                  </a:cubicBezTo>
                  <a:lnTo>
                    <a:pt x="83" y="2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8" name="Freeform 242"/>
            <p:cNvSpPr>
              <a:spLocks/>
            </p:cNvSpPr>
            <p:nvPr/>
          </p:nvSpPr>
          <p:spPr bwMode="auto">
            <a:xfrm>
              <a:off x="7149986" y="3456231"/>
              <a:ext cx="3010" cy="2704"/>
            </a:xfrm>
            <a:custGeom>
              <a:avLst/>
              <a:gdLst>
                <a:gd name="T0" fmla="*/ 3961001 w 6"/>
                <a:gd name="T1" fmla="*/ 0 h 5"/>
                <a:gd name="T2" fmla="*/ 3961001 w 6"/>
                <a:gd name="T3" fmla="*/ 0 h 5"/>
                <a:gd name="T4" fmla="*/ 2243220 w 6"/>
                <a:gd name="T5" fmla="*/ 1064436 h 5"/>
                <a:gd name="T6" fmla="*/ 0 w 6"/>
                <a:gd name="T7" fmla="*/ 6131150 h 5"/>
                <a:gd name="T8" fmla="*/ 727531 w 6"/>
                <a:gd name="T9" fmla="*/ 6131150 h 5"/>
                <a:gd name="T10" fmla="*/ 1697572 w 6"/>
                <a:gd name="T11" fmla="*/ 5085394 h 5"/>
                <a:gd name="T12" fmla="*/ 2970751 w 6"/>
                <a:gd name="T13" fmla="*/ 5085394 h 5"/>
                <a:gd name="T14" fmla="*/ 3961001 w 6"/>
                <a:gd name="T15" fmla="*/ 3577445 h 5"/>
                <a:gd name="T16" fmla="*/ 4688532 w 6"/>
                <a:gd name="T17" fmla="*/ 0 h 5"/>
                <a:gd name="T18" fmla="*/ 3961001 w 6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5"/>
                <a:gd name="T32" fmla="*/ 6 w 6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5"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3" y="0"/>
                    <a:pt x="3" y="1"/>
                  </a:cubicBezTo>
                  <a:cubicBezTo>
                    <a:pt x="1" y="2"/>
                    <a:pt x="0" y="3"/>
                    <a:pt x="0" y="5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1" y="5"/>
                    <a:pt x="1" y="4"/>
                    <a:pt x="2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4" y="4"/>
                    <a:pt x="5" y="3"/>
                    <a:pt x="5" y="3"/>
                  </a:cubicBezTo>
                  <a:cubicBezTo>
                    <a:pt x="6" y="2"/>
                    <a:pt x="6" y="1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9" name="Freeform 243"/>
            <p:cNvSpPr>
              <a:spLocks/>
            </p:cNvSpPr>
            <p:nvPr/>
          </p:nvSpPr>
          <p:spPr bwMode="auto">
            <a:xfrm>
              <a:off x="7243044" y="3534370"/>
              <a:ext cx="8277" cy="16493"/>
            </a:xfrm>
            <a:custGeom>
              <a:avLst/>
              <a:gdLst>
                <a:gd name="T0" fmla="*/ 16931056 w 18"/>
                <a:gd name="T1" fmla="*/ 14174003 h 34"/>
                <a:gd name="T2" fmla="*/ 12233175 w 18"/>
                <a:gd name="T3" fmla="*/ 8957156 h 34"/>
                <a:gd name="T4" fmla="*/ 11221395 w 18"/>
                <a:gd name="T5" fmla="*/ 5300376 h 34"/>
                <a:gd name="T6" fmla="*/ 8080076 w 18"/>
                <a:gd name="T7" fmla="*/ 1898557 h 34"/>
                <a:gd name="T8" fmla="*/ 6519426 w 18"/>
                <a:gd name="T9" fmla="*/ 806887 h 34"/>
                <a:gd name="T10" fmla="*/ 2384158 w 18"/>
                <a:gd name="T11" fmla="*/ 2560181 h 34"/>
                <a:gd name="T12" fmla="*/ 998020 w 18"/>
                <a:gd name="T13" fmla="*/ 7807999 h 34"/>
                <a:gd name="T14" fmla="*/ 998020 w 18"/>
                <a:gd name="T15" fmla="*/ 10511040 h 34"/>
                <a:gd name="T16" fmla="*/ 0 w 18"/>
                <a:gd name="T17" fmla="*/ 13070851 h 34"/>
                <a:gd name="T18" fmla="*/ 0 w 18"/>
                <a:gd name="T19" fmla="*/ 15774699 h 34"/>
                <a:gd name="T20" fmla="*/ 0 w 18"/>
                <a:gd name="T21" fmla="*/ 20263812 h 34"/>
                <a:gd name="T22" fmla="*/ 2384158 w 18"/>
                <a:gd name="T23" fmla="*/ 26630397 h 34"/>
                <a:gd name="T24" fmla="*/ 4697331 w 18"/>
                <a:gd name="T25" fmla="*/ 27437644 h 34"/>
                <a:gd name="T26" fmla="*/ 4697331 w 18"/>
                <a:gd name="T27" fmla="*/ 28048994 h 34"/>
                <a:gd name="T28" fmla="*/ 5695489 w 18"/>
                <a:gd name="T29" fmla="*/ 29344636 h 34"/>
                <a:gd name="T30" fmla="*/ 11221395 w 18"/>
                <a:gd name="T31" fmla="*/ 29344636 h 34"/>
                <a:gd name="T32" fmla="*/ 12233175 w 18"/>
                <a:gd name="T33" fmla="*/ 29344636 h 34"/>
                <a:gd name="T34" fmla="*/ 15574178 w 18"/>
                <a:gd name="T35" fmla="*/ 26630397 h 34"/>
                <a:gd name="T36" fmla="*/ 19302400 w 18"/>
                <a:gd name="T37" fmla="*/ 22136056 h 34"/>
                <a:gd name="T38" fmla="*/ 19302400 w 18"/>
                <a:gd name="T39" fmla="*/ 18371752 h 34"/>
                <a:gd name="T40" fmla="*/ 17885570 w 18"/>
                <a:gd name="T41" fmla="*/ 15774699 h 34"/>
                <a:gd name="T42" fmla="*/ 16931056 w 18"/>
                <a:gd name="T43" fmla="*/ 14174003 h 3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8"/>
                <a:gd name="T67" fmla="*/ 0 h 34"/>
                <a:gd name="T68" fmla="*/ 18 w 18"/>
                <a:gd name="T69" fmla="*/ 34 h 3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8" h="34">
                  <a:moveTo>
                    <a:pt x="15" y="16"/>
                  </a:moveTo>
                  <a:cubicBezTo>
                    <a:pt x="14" y="15"/>
                    <a:pt x="13" y="12"/>
                    <a:pt x="11" y="10"/>
                  </a:cubicBezTo>
                  <a:cubicBezTo>
                    <a:pt x="11" y="9"/>
                    <a:pt x="11" y="7"/>
                    <a:pt x="10" y="6"/>
                  </a:cubicBezTo>
                  <a:cubicBezTo>
                    <a:pt x="9" y="5"/>
                    <a:pt x="8" y="4"/>
                    <a:pt x="7" y="2"/>
                  </a:cubicBezTo>
                  <a:cubicBezTo>
                    <a:pt x="7" y="2"/>
                    <a:pt x="7" y="1"/>
                    <a:pt x="6" y="1"/>
                  </a:cubicBezTo>
                  <a:cubicBezTo>
                    <a:pt x="5" y="0"/>
                    <a:pt x="2" y="1"/>
                    <a:pt x="2" y="3"/>
                  </a:cubicBezTo>
                  <a:cubicBezTo>
                    <a:pt x="2" y="5"/>
                    <a:pt x="2" y="7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3"/>
                    <a:pt x="0" y="14"/>
                    <a:pt x="0" y="15"/>
                  </a:cubicBezTo>
                  <a:cubicBezTo>
                    <a:pt x="0" y="16"/>
                    <a:pt x="0" y="17"/>
                    <a:pt x="0" y="18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1" y="25"/>
                    <a:pt x="1" y="28"/>
                    <a:pt x="2" y="30"/>
                  </a:cubicBezTo>
                  <a:cubicBezTo>
                    <a:pt x="3" y="30"/>
                    <a:pt x="3" y="31"/>
                    <a:pt x="4" y="31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7" y="34"/>
                    <a:pt x="8" y="34"/>
                    <a:pt x="10" y="33"/>
                  </a:cubicBezTo>
                  <a:cubicBezTo>
                    <a:pt x="10" y="33"/>
                    <a:pt x="10" y="33"/>
                    <a:pt x="11" y="33"/>
                  </a:cubicBezTo>
                  <a:cubicBezTo>
                    <a:pt x="12" y="32"/>
                    <a:pt x="13" y="31"/>
                    <a:pt x="14" y="30"/>
                  </a:cubicBezTo>
                  <a:cubicBezTo>
                    <a:pt x="15" y="28"/>
                    <a:pt x="16" y="27"/>
                    <a:pt x="17" y="25"/>
                  </a:cubicBezTo>
                  <a:cubicBezTo>
                    <a:pt x="18" y="24"/>
                    <a:pt x="18" y="23"/>
                    <a:pt x="17" y="21"/>
                  </a:cubicBezTo>
                  <a:cubicBezTo>
                    <a:pt x="17" y="20"/>
                    <a:pt x="17" y="19"/>
                    <a:pt x="16" y="18"/>
                  </a:cubicBezTo>
                  <a:lnTo>
                    <a:pt x="15" y="1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0" name="Freeform 244"/>
            <p:cNvSpPr>
              <a:spLocks/>
            </p:cNvSpPr>
            <p:nvPr/>
          </p:nvSpPr>
          <p:spPr bwMode="auto">
            <a:xfrm>
              <a:off x="7398558" y="3534370"/>
              <a:ext cx="17809" cy="18386"/>
            </a:xfrm>
            <a:custGeom>
              <a:avLst/>
              <a:gdLst>
                <a:gd name="T0" fmla="*/ 26570670 w 38"/>
                <a:gd name="T1" fmla="*/ 20601796 h 38"/>
                <a:gd name="T2" fmla="*/ 27228977 w 38"/>
                <a:gd name="T3" fmla="*/ 19587801 h 38"/>
                <a:gd name="T4" fmla="*/ 28478632 w 38"/>
                <a:gd name="T5" fmla="*/ 16459658 h 38"/>
                <a:gd name="T6" fmla="*/ 29374918 w 38"/>
                <a:gd name="T7" fmla="*/ 16459658 h 38"/>
                <a:gd name="T8" fmla="*/ 31441222 w 38"/>
                <a:gd name="T9" fmla="*/ 19587801 h 38"/>
                <a:gd name="T10" fmla="*/ 33584529 w 38"/>
                <a:gd name="T11" fmla="*/ 23731260 h 38"/>
                <a:gd name="T12" fmla="*/ 34448850 w 38"/>
                <a:gd name="T13" fmla="*/ 23731260 h 38"/>
                <a:gd name="T14" fmla="*/ 35106153 w 38"/>
                <a:gd name="T15" fmla="*/ 18824771 h 38"/>
                <a:gd name="T16" fmla="*/ 36383698 w 38"/>
                <a:gd name="T17" fmla="*/ 14680483 h 38"/>
                <a:gd name="T18" fmla="*/ 34448850 w 38"/>
                <a:gd name="T19" fmla="*/ 9132987 h 38"/>
                <a:gd name="T20" fmla="*/ 32306434 w 38"/>
                <a:gd name="T21" fmla="*/ 7331239 h 38"/>
                <a:gd name="T22" fmla="*/ 32306434 w 38"/>
                <a:gd name="T23" fmla="*/ 6699081 h 38"/>
                <a:gd name="T24" fmla="*/ 32306434 w 38"/>
                <a:gd name="T25" fmla="*/ 5562116 h 38"/>
                <a:gd name="T26" fmla="*/ 33584529 w 38"/>
                <a:gd name="T27" fmla="*/ 4221836 h 38"/>
                <a:gd name="T28" fmla="*/ 32306434 w 38"/>
                <a:gd name="T29" fmla="*/ 2374836 h 38"/>
                <a:gd name="T30" fmla="*/ 28478632 w 38"/>
                <a:gd name="T31" fmla="*/ 769642 h 38"/>
                <a:gd name="T32" fmla="*/ 27228977 w 38"/>
                <a:gd name="T33" fmla="*/ 0 h 38"/>
                <a:gd name="T34" fmla="*/ 26570670 w 38"/>
                <a:gd name="T35" fmla="*/ 0 h 38"/>
                <a:gd name="T36" fmla="*/ 25674877 w 38"/>
                <a:gd name="T37" fmla="*/ 3130193 h 38"/>
                <a:gd name="T38" fmla="*/ 23608573 w 38"/>
                <a:gd name="T39" fmla="*/ 4221836 h 38"/>
                <a:gd name="T40" fmla="*/ 19416389 w 38"/>
                <a:gd name="T41" fmla="*/ 7331239 h 38"/>
                <a:gd name="T42" fmla="*/ 17849252 w 38"/>
                <a:gd name="T43" fmla="*/ 9132987 h 38"/>
                <a:gd name="T44" fmla="*/ 14822601 w 38"/>
                <a:gd name="T45" fmla="*/ 10458606 h 38"/>
                <a:gd name="T46" fmla="*/ 12773055 w 38"/>
                <a:gd name="T47" fmla="*/ 7331239 h 38"/>
                <a:gd name="T48" fmla="*/ 10840510 w 38"/>
                <a:gd name="T49" fmla="*/ 7331239 h 38"/>
                <a:gd name="T50" fmla="*/ 8696832 w 38"/>
                <a:gd name="T51" fmla="*/ 8037547 h 38"/>
                <a:gd name="T52" fmla="*/ 7881242 w 38"/>
                <a:gd name="T53" fmla="*/ 9132987 h 38"/>
                <a:gd name="T54" fmla="*/ 5759327 w 38"/>
                <a:gd name="T55" fmla="*/ 10458606 h 38"/>
                <a:gd name="T56" fmla="*/ 2959271 w 38"/>
                <a:gd name="T57" fmla="*/ 11493535 h 38"/>
                <a:gd name="T58" fmla="*/ 2049534 w 38"/>
                <a:gd name="T59" fmla="*/ 13027061 h 38"/>
                <a:gd name="T60" fmla="*/ 2049534 w 38"/>
                <a:gd name="T61" fmla="*/ 15689949 h 38"/>
                <a:gd name="T62" fmla="*/ 0 w 38"/>
                <a:gd name="T63" fmla="*/ 18252192 h 38"/>
                <a:gd name="T64" fmla="*/ 0 w 38"/>
                <a:gd name="T65" fmla="*/ 19587801 h 38"/>
                <a:gd name="T66" fmla="*/ 865359 w 38"/>
                <a:gd name="T67" fmla="*/ 19587801 h 38"/>
                <a:gd name="T68" fmla="*/ 2959271 w 38"/>
                <a:gd name="T69" fmla="*/ 17170524 h 38"/>
                <a:gd name="T70" fmla="*/ 3671997 w 38"/>
                <a:gd name="T71" fmla="*/ 14680483 h 38"/>
                <a:gd name="T72" fmla="*/ 5759327 w 38"/>
                <a:gd name="T73" fmla="*/ 14680483 h 38"/>
                <a:gd name="T74" fmla="*/ 7008797 w 38"/>
                <a:gd name="T75" fmla="*/ 17170524 h 38"/>
                <a:gd name="T76" fmla="*/ 7881242 w 38"/>
                <a:gd name="T77" fmla="*/ 17170524 h 38"/>
                <a:gd name="T78" fmla="*/ 7881242 w 38"/>
                <a:gd name="T79" fmla="*/ 15689949 h 38"/>
                <a:gd name="T80" fmla="*/ 9968069 w 38"/>
                <a:gd name="T81" fmla="*/ 15689949 h 38"/>
                <a:gd name="T82" fmla="*/ 11496685 w 38"/>
                <a:gd name="T83" fmla="*/ 16459658 h 38"/>
                <a:gd name="T84" fmla="*/ 12773055 w 38"/>
                <a:gd name="T85" fmla="*/ 16459658 h 38"/>
                <a:gd name="T86" fmla="*/ 12773055 w 38"/>
                <a:gd name="T87" fmla="*/ 14680483 h 38"/>
                <a:gd name="T88" fmla="*/ 11496685 w 38"/>
                <a:gd name="T89" fmla="*/ 13027061 h 38"/>
                <a:gd name="T90" fmla="*/ 15706817 w 38"/>
                <a:gd name="T91" fmla="*/ 13027061 h 38"/>
                <a:gd name="T92" fmla="*/ 18666092 w 38"/>
                <a:gd name="T93" fmla="*/ 14680483 h 38"/>
                <a:gd name="T94" fmla="*/ 18666092 w 38"/>
                <a:gd name="T95" fmla="*/ 17170524 h 38"/>
                <a:gd name="T96" fmla="*/ 14822601 w 38"/>
                <a:gd name="T97" fmla="*/ 18824771 h 38"/>
                <a:gd name="T98" fmla="*/ 14822601 w 38"/>
                <a:gd name="T99" fmla="*/ 19587801 h 38"/>
                <a:gd name="T100" fmla="*/ 15706817 w 38"/>
                <a:gd name="T101" fmla="*/ 20601796 h 38"/>
                <a:gd name="T102" fmla="*/ 16599778 w 38"/>
                <a:gd name="T103" fmla="*/ 23158699 h 38"/>
                <a:gd name="T104" fmla="*/ 16599778 w 38"/>
                <a:gd name="T105" fmla="*/ 23731260 h 38"/>
                <a:gd name="T106" fmla="*/ 18666092 w 38"/>
                <a:gd name="T107" fmla="*/ 25533856 h 38"/>
                <a:gd name="T108" fmla="*/ 23608573 w 38"/>
                <a:gd name="T109" fmla="*/ 27951132 h 38"/>
                <a:gd name="T110" fmla="*/ 25674877 w 38"/>
                <a:gd name="T111" fmla="*/ 26919051 h 38"/>
                <a:gd name="T112" fmla="*/ 26570670 w 38"/>
                <a:gd name="T113" fmla="*/ 26919051 h 38"/>
                <a:gd name="T114" fmla="*/ 26570670 w 38"/>
                <a:gd name="T115" fmla="*/ 30510734 h 38"/>
                <a:gd name="T116" fmla="*/ 27228977 w 38"/>
                <a:gd name="T117" fmla="*/ 30510734 h 38"/>
                <a:gd name="T118" fmla="*/ 28478632 w 38"/>
                <a:gd name="T119" fmla="*/ 27951132 h 38"/>
                <a:gd name="T120" fmla="*/ 29374918 w 38"/>
                <a:gd name="T121" fmla="*/ 27951132 h 38"/>
                <a:gd name="T122" fmla="*/ 27228977 w 38"/>
                <a:gd name="T123" fmla="*/ 22145880 h 38"/>
                <a:gd name="T124" fmla="*/ 26570670 w 38"/>
                <a:gd name="T125" fmla="*/ 20601796 h 3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8"/>
                <a:gd name="T190" fmla="*/ 0 h 38"/>
                <a:gd name="T191" fmla="*/ 38 w 38"/>
                <a:gd name="T192" fmla="*/ 38 h 3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8" h="38">
                  <a:moveTo>
                    <a:pt x="27" y="25"/>
                  </a:moveTo>
                  <a:cubicBezTo>
                    <a:pt x="27" y="25"/>
                    <a:pt x="27" y="24"/>
                    <a:pt x="28" y="24"/>
                  </a:cubicBezTo>
                  <a:cubicBezTo>
                    <a:pt x="28" y="23"/>
                    <a:pt x="28" y="21"/>
                    <a:pt x="29" y="20"/>
                  </a:cubicBezTo>
                  <a:cubicBezTo>
                    <a:pt x="29" y="20"/>
                    <a:pt x="30" y="20"/>
                    <a:pt x="30" y="20"/>
                  </a:cubicBezTo>
                  <a:cubicBezTo>
                    <a:pt x="31" y="21"/>
                    <a:pt x="31" y="23"/>
                    <a:pt x="32" y="24"/>
                  </a:cubicBezTo>
                  <a:cubicBezTo>
                    <a:pt x="33" y="26"/>
                    <a:pt x="32" y="28"/>
                    <a:pt x="34" y="29"/>
                  </a:cubicBezTo>
                  <a:cubicBezTo>
                    <a:pt x="34" y="30"/>
                    <a:pt x="34" y="29"/>
                    <a:pt x="35" y="29"/>
                  </a:cubicBezTo>
                  <a:cubicBezTo>
                    <a:pt x="35" y="27"/>
                    <a:pt x="35" y="24"/>
                    <a:pt x="36" y="23"/>
                  </a:cubicBezTo>
                  <a:cubicBezTo>
                    <a:pt x="37" y="21"/>
                    <a:pt x="38" y="19"/>
                    <a:pt x="37" y="18"/>
                  </a:cubicBezTo>
                  <a:cubicBezTo>
                    <a:pt x="36" y="16"/>
                    <a:pt x="36" y="13"/>
                    <a:pt x="35" y="11"/>
                  </a:cubicBezTo>
                  <a:cubicBezTo>
                    <a:pt x="35" y="10"/>
                    <a:pt x="33" y="10"/>
                    <a:pt x="33" y="9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8"/>
                    <a:pt x="33" y="7"/>
                    <a:pt x="33" y="7"/>
                  </a:cubicBezTo>
                  <a:cubicBezTo>
                    <a:pt x="34" y="7"/>
                    <a:pt x="34" y="6"/>
                    <a:pt x="34" y="5"/>
                  </a:cubicBezTo>
                  <a:cubicBezTo>
                    <a:pt x="34" y="4"/>
                    <a:pt x="34" y="3"/>
                    <a:pt x="33" y="3"/>
                  </a:cubicBezTo>
                  <a:cubicBezTo>
                    <a:pt x="32" y="1"/>
                    <a:pt x="30" y="2"/>
                    <a:pt x="29" y="1"/>
                  </a:cubicBezTo>
                  <a:cubicBezTo>
                    <a:pt x="29" y="1"/>
                    <a:pt x="29" y="1"/>
                    <a:pt x="28" y="0"/>
                  </a:cubicBezTo>
                  <a:cubicBezTo>
                    <a:pt x="28" y="0"/>
                    <a:pt x="27" y="0"/>
                    <a:pt x="27" y="0"/>
                  </a:cubicBezTo>
                  <a:cubicBezTo>
                    <a:pt x="26" y="1"/>
                    <a:pt x="28" y="3"/>
                    <a:pt x="26" y="4"/>
                  </a:cubicBezTo>
                  <a:cubicBezTo>
                    <a:pt x="25" y="4"/>
                    <a:pt x="25" y="5"/>
                    <a:pt x="24" y="5"/>
                  </a:cubicBezTo>
                  <a:cubicBezTo>
                    <a:pt x="22" y="6"/>
                    <a:pt x="20" y="7"/>
                    <a:pt x="20" y="9"/>
                  </a:cubicBezTo>
                  <a:cubicBezTo>
                    <a:pt x="19" y="10"/>
                    <a:pt x="18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1"/>
                    <a:pt x="14" y="10"/>
                    <a:pt x="13" y="9"/>
                  </a:cubicBezTo>
                  <a:cubicBezTo>
                    <a:pt x="12" y="8"/>
                    <a:pt x="11" y="8"/>
                    <a:pt x="11" y="9"/>
                  </a:cubicBezTo>
                  <a:cubicBezTo>
                    <a:pt x="10" y="9"/>
                    <a:pt x="10" y="10"/>
                    <a:pt x="9" y="10"/>
                  </a:cubicBezTo>
                  <a:cubicBezTo>
                    <a:pt x="9" y="10"/>
                    <a:pt x="8" y="11"/>
                    <a:pt x="8" y="11"/>
                  </a:cubicBezTo>
                  <a:cubicBezTo>
                    <a:pt x="7" y="12"/>
                    <a:pt x="7" y="13"/>
                    <a:pt x="6" y="13"/>
                  </a:cubicBezTo>
                  <a:cubicBezTo>
                    <a:pt x="5" y="14"/>
                    <a:pt x="4" y="14"/>
                    <a:pt x="3" y="14"/>
                  </a:cubicBezTo>
                  <a:cubicBezTo>
                    <a:pt x="2" y="14"/>
                    <a:pt x="2" y="15"/>
                    <a:pt x="2" y="16"/>
                  </a:cubicBezTo>
                  <a:cubicBezTo>
                    <a:pt x="2" y="17"/>
                    <a:pt x="2" y="18"/>
                    <a:pt x="2" y="19"/>
                  </a:cubicBezTo>
                  <a:cubicBezTo>
                    <a:pt x="2" y="20"/>
                    <a:pt x="1" y="21"/>
                    <a:pt x="0" y="22"/>
                  </a:cubicBezTo>
                  <a:cubicBezTo>
                    <a:pt x="0" y="23"/>
                    <a:pt x="0" y="23"/>
                    <a:pt x="0" y="24"/>
                  </a:cubicBezTo>
                  <a:cubicBezTo>
                    <a:pt x="0" y="24"/>
                    <a:pt x="1" y="24"/>
                    <a:pt x="1" y="24"/>
                  </a:cubicBezTo>
                  <a:cubicBezTo>
                    <a:pt x="2" y="23"/>
                    <a:pt x="2" y="22"/>
                    <a:pt x="3" y="21"/>
                  </a:cubicBezTo>
                  <a:cubicBezTo>
                    <a:pt x="3" y="20"/>
                    <a:pt x="4" y="19"/>
                    <a:pt x="4" y="18"/>
                  </a:cubicBezTo>
                  <a:cubicBezTo>
                    <a:pt x="5" y="18"/>
                    <a:pt x="6" y="17"/>
                    <a:pt x="6" y="18"/>
                  </a:cubicBezTo>
                  <a:cubicBezTo>
                    <a:pt x="7" y="18"/>
                    <a:pt x="7" y="20"/>
                    <a:pt x="7" y="21"/>
                  </a:cubicBezTo>
                  <a:cubicBezTo>
                    <a:pt x="7" y="21"/>
                    <a:pt x="8" y="21"/>
                    <a:pt x="8" y="21"/>
                  </a:cubicBezTo>
                  <a:cubicBezTo>
                    <a:pt x="8" y="20"/>
                    <a:pt x="8" y="20"/>
                    <a:pt x="8" y="19"/>
                  </a:cubicBezTo>
                  <a:cubicBezTo>
                    <a:pt x="9" y="18"/>
                    <a:pt x="10" y="18"/>
                    <a:pt x="10" y="19"/>
                  </a:cubicBezTo>
                  <a:cubicBezTo>
                    <a:pt x="11" y="19"/>
                    <a:pt x="11" y="20"/>
                    <a:pt x="12" y="20"/>
                  </a:cubicBezTo>
                  <a:cubicBezTo>
                    <a:pt x="12" y="20"/>
                    <a:pt x="13" y="20"/>
                    <a:pt x="13" y="20"/>
                  </a:cubicBezTo>
                  <a:cubicBezTo>
                    <a:pt x="13" y="20"/>
                    <a:pt x="13" y="19"/>
                    <a:pt x="13" y="18"/>
                  </a:cubicBezTo>
                  <a:cubicBezTo>
                    <a:pt x="12" y="17"/>
                    <a:pt x="12" y="17"/>
                    <a:pt x="12" y="16"/>
                  </a:cubicBezTo>
                  <a:cubicBezTo>
                    <a:pt x="14" y="16"/>
                    <a:pt x="15" y="15"/>
                    <a:pt x="16" y="16"/>
                  </a:cubicBezTo>
                  <a:cubicBezTo>
                    <a:pt x="17" y="17"/>
                    <a:pt x="18" y="17"/>
                    <a:pt x="19" y="18"/>
                  </a:cubicBezTo>
                  <a:cubicBezTo>
                    <a:pt x="19" y="19"/>
                    <a:pt x="19" y="20"/>
                    <a:pt x="19" y="21"/>
                  </a:cubicBezTo>
                  <a:cubicBezTo>
                    <a:pt x="18" y="22"/>
                    <a:pt x="17" y="22"/>
                    <a:pt x="15" y="23"/>
                  </a:cubicBezTo>
                  <a:cubicBezTo>
                    <a:pt x="15" y="23"/>
                    <a:pt x="15" y="24"/>
                    <a:pt x="15" y="24"/>
                  </a:cubicBezTo>
                  <a:cubicBezTo>
                    <a:pt x="15" y="25"/>
                    <a:pt x="16" y="25"/>
                    <a:pt x="16" y="25"/>
                  </a:cubicBezTo>
                  <a:cubicBezTo>
                    <a:pt x="17" y="26"/>
                    <a:pt x="16" y="27"/>
                    <a:pt x="17" y="28"/>
                  </a:cubicBezTo>
                  <a:cubicBezTo>
                    <a:pt x="17" y="28"/>
                    <a:pt x="17" y="29"/>
                    <a:pt x="17" y="29"/>
                  </a:cubicBezTo>
                  <a:cubicBezTo>
                    <a:pt x="18" y="30"/>
                    <a:pt x="18" y="30"/>
                    <a:pt x="19" y="31"/>
                  </a:cubicBezTo>
                  <a:cubicBezTo>
                    <a:pt x="20" y="32"/>
                    <a:pt x="22" y="33"/>
                    <a:pt x="24" y="34"/>
                  </a:cubicBezTo>
                  <a:cubicBezTo>
                    <a:pt x="25" y="34"/>
                    <a:pt x="26" y="34"/>
                    <a:pt x="26" y="33"/>
                  </a:cubicBezTo>
                  <a:cubicBezTo>
                    <a:pt x="26" y="33"/>
                    <a:pt x="27" y="33"/>
                    <a:pt x="27" y="33"/>
                  </a:cubicBezTo>
                  <a:cubicBezTo>
                    <a:pt x="27" y="34"/>
                    <a:pt x="27" y="36"/>
                    <a:pt x="27" y="37"/>
                  </a:cubicBezTo>
                  <a:cubicBezTo>
                    <a:pt x="27" y="38"/>
                    <a:pt x="28" y="38"/>
                    <a:pt x="28" y="37"/>
                  </a:cubicBezTo>
                  <a:cubicBezTo>
                    <a:pt x="29" y="36"/>
                    <a:pt x="28" y="35"/>
                    <a:pt x="29" y="34"/>
                  </a:cubicBezTo>
                  <a:cubicBezTo>
                    <a:pt x="29" y="34"/>
                    <a:pt x="30" y="34"/>
                    <a:pt x="30" y="34"/>
                  </a:cubicBezTo>
                  <a:cubicBezTo>
                    <a:pt x="31" y="31"/>
                    <a:pt x="30" y="28"/>
                    <a:pt x="28" y="27"/>
                  </a:cubicBezTo>
                  <a:cubicBezTo>
                    <a:pt x="27" y="27"/>
                    <a:pt x="28" y="26"/>
                    <a:pt x="27" y="2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1" name="Freeform 245"/>
            <p:cNvSpPr>
              <a:spLocks/>
            </p:cNvSpPr>
            <p:nvPr/>
          </p:nvSpPr>
          <p:spPr bwMode="auto">
            <a:xfrm>
              <a:off x="7405581" y="3532207"/>
              <a:ext cx="2257" cy="2163"/>
            </a:xfrm>
            <a:custGeom>
              <a:avLst/>
              <a:gdLst>
                <a:gd name="T0" fmla="*/ 3577445 w 5"/>
                <a:gd name="T1" fmla="*/ 0 h 5"/>
                <a:gd name="T2" fmla="*/ 1064436 w 5"/>
                <a:gd name="T3" fmla="*/ 1064436 h 5"/>
                <a:gd name="T4" fmla="*/ 0 w 5"/>
                <a:gd name="T5" fmla="*/ 6131150 h 5"/>
                <a:gd name="T6" fmla="*/ 1064436 w 5"/>
                <a:gd name="T7" fmla="*/ 5085394 h 5"/>
                <a:gd name="T8" fmla="*/ 5085394 w 5"/>
                <a:gd name="T9" fmla="*/ 3577445 h 5"/>
                <a:gd name="T10" fmla="*/ 3577445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3" y="0"/>
                  </a:move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4" y="4"/>
                    <a:pt x="4" y="3"/>
                  </a:cubicBezTo>
                  <a:cubicBezTo>
                    <a:pt x="5" y="2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2" name="Freeform 246"/>
            <p:cNvSpPr>
              <a:spLocks/>
            </p:cNvSpPr>
            <p:nvPr/>
          </p:nvSpPr>
          <p:spPr bwMode="auto">
            <a:xfrm>
              <a:off x="7406585" y="3525718"/>
              <a:ext cx="3512" cy="6489"/>
            </a:xfrm>
            <a:custGeom>
              <a:avLst/>
              <a:gdLst>
                <a:gd name="T0" fmla="*/ 7279645 w 8"/>
                <a:gd name="T1" fmla="*/ 8174845 h 14"/>
                <a:gd name="T2" fmla="*/ 5955246 w 8"/>
                <a:gd name="T3" fmla="*/ 6527726 h 14"/>
                <a:gd name="T4" fmla="*/ 5058432 w 8"/>
                <a:gd name="T5" fmla="*/ 826407 h 14"/>
                <a:gd name="T6" fmla="*/ 896786 w 8"/>
                <a:gd name="T7" fmla="*/ 0 h 14"/>
                <a:gd name="T8" fmla="*/ 896786 w 8"/>
                <a:gd name="T9" fmla="*/ 3468116 h 14"/>
                <a:gd name="T10" fmla="*/ 4351847 w 8"/>
                <a:gd name="T11" fmla="*/ 4591618 h 14"/>
                <a:gd name="T12" fmla="*/ 5058432 w 8"/>
                <a:gd name="T13" fmla="*/ 7350477 h 14"/>
                <a:gd name="T14" fmla="*/ 4351847 w 8"/>
                <a:gd name="T15" fmla="*/ 8174845 h 14"/>
                <a:gd name="T16" fmla="*/ 5955246 w 8"/>
                <a:gd name="T17" fmla="*/ 11919092 h 14"/>
                <a:gd name="T18" fmla="*/ 8176458 w 8"/>
                <a:gd name="T19" fmla="*/ 9297269 h 14"/>
                <a:gd name="T20" fmla="*/ 8176458 w 8"/>
                <a:gd name="T21" fmla="*/ 8174845 h 14"/>
                <a:gd name="T22" fmla="*/ 7279645 w 8"/>
                <a:gd name="T23" fmla="*/ 8174845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"/>
                <a:gd name="T37" fmla="*/ 0 h 14"/>
                <a:gd name="T38" fmla="*/ 8 w 8"/>
                <a:gd name="T39" fmla="*/ 14 h 1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" h="14">
                  <a:moveTo>
                    <a:pt x="7" y="9"/>
                  </a:moveTo>
                  <a:cubicBezTo>
                    <a:pt x="7" y="8"/>
                    <a:pt x="6" y="7"/>
                    <a:pt x="6" y="7"/>
                  </a:cubicBezTo>
                  <a:cubicBezTo>
                    <a:pt x="6" y="5"/>
                    <a:pt x="6" y="3"/>
                    <a:pt x="5" y="1"/>
                  </a:cubicBezTo>
                  <a:cubicBezTo>
                    <a:pt x="4" y="0"/>
                    <a:pt x="2" y="0"/>
                    <a:pt x="1" y="0"/>
                  </a:cubicBezTo>
                  <a:cubicBezTo>
                    <a:pt x="0" y="1"/>
                    <a:pt x="0" y="3"/>
                    <a:pt x="1" y="4"/>
                  </a:cubicBezTo>
                  <a:cubicBezTo>
                    <a:pt x="1" y="5"/>
                    <a:pt x="3" y="4"/>
                    <a:pt x="4" y="5"/>
                  </a:cubicBezTo>
                  <a:cubicBezTo>
                    <a:pt x="5" y="6"/>
                    <a:pt x="5" y="7"/>
                    <a:pt x="5" y="8"/>
                  </a:cubicBezTo>
                  <a:cubicBezTo>
                    <a:pt x="5" y="8"/>
                    <a:pt x="4" y="9"/>
                    <a:pt x="4" y="9"/>
                  </a:cubicBezTo>
                  <a:cubicBezTo>
                    <a:pt x="3" y="11"/>
                    <a:pt x="3" y="14"/>
                    <a:pt x="6" y="13"/>
                  </a:cubicBezTo>
                  <a:cubicBezTo>
                    <a:pt x="7" y="13"/>
                    <a:pt x="7" y="11"/>
                    <a:pt x="8" y="10"/>
                  </a:cubicBezTo>
                  <a:cubicBezTo>
                    <a:pt x="8" y="10"/>
                    <a:pt x="8" y="9"/>
                    <a:pt x="8" y="9"/>
                  </a:cubicBezTo>
                  <a:lnTo>
                    <a:pt x="7" y="9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3" name="Freeform 247"/>
            <p:cNvSpPr>
              <a:spLocks/>
            </p:cNvSpPr>
            <p:nvPr/>
          </p:nvSpPr>
          <p:spPr bwMode="auto">
            <a:xfrm>
              <a:off x="7405581" y="3520311"/>
              <a:ext cx="6020" cy="7300"/>
            </a:xfrm>
            <a:custGeom>
              <a:avLst/>
              <a:gdLst>
                <a:gd name="T0" fmla="*/ 11938254 w 13"/>
                <a:gd name="T1" fmla="*/ 5085395 h 15"/>
                <a:gd name="T2" fmla="*/ 11938254 w 13"/>
                <a:gd name="T3" fmla="*/ 3577445 h 15"/>
                <a:gd name="T4" fmla="*/ 9596174 w 13"/>
                <a:gd name="T5" fmla="*/ 1064436 h 15"/>
                <a:gd name="T6" fmla="*/ 6350665 w 13"/>
                <a:gd name="T7" fmla="*/ 0 h 15"/>
                <a:gd name="T8" fmla="*/ 2335724 w 13"/>
                <a:gd name="T9" fmla="*/ 1064436 h 15"/>
                <a:gd name="T10" fmla="*/ 979497 w 13"/>
                <a:gd name="T11" fmla="*/ 3577445 h 15"/>
                <a:gd name="T12" fmla="*/ 2335724 w 13"/>
                <a:gd name="T13" fmla="*/ 7196554 h 15"/>
                <a:gd name="T14" fmla="*/ 4595099 w 13"/>
                <a:gd name="T15" fmla="*/ 8585866 h 15"/>
                <a:gd name="T16" fmla="*/ 6350665 w 13"/>
                <a:gd name="T17" fmla="*/ 9650299 h 15"/>
                <a:gd name="T18" fmla="*/ 7913775 w 13"/>
                <a:gd name="T19" fmla="*/ 14714756 h 15"/>
                <a:gd name="T20" fmla="*/ 8621839 w 13"/>
                <a:gd name="T21" fmla="*/ 15597639 h 15"/>
                <a:gd name="T22" fmla="*/ 14203962 w 13"/>
                <a:gd name="T23" fmla="*/ 17271725 h 15"/>
                <a:gd name="T24" fmla="*/ 14203962 w 13"/>
                <a:gd name="T25" fmla="*/ 14714756 h 15"/>
                <a:gd name="T26" fmla="*/ 11938254 w 13"/>
                <a:gd name="T27" fmla="*/ 13074693 h 15"/>
                <a:gd name="T28" fmla="*/ 11938254 w 13"/>
                <a:gd name="T29" fmla="*/ 8585866 h 15"/>
                <a:gd name="T30" fmla="*/ 11938254 w 13"/>
                <a:gd name="T31" fmla="*/ 5085395 h 1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3"/>
                <a:gd name="T49" fmla="*/ 0 h 15"/>
                <a:gd name="T50" fmla="*/ 13 w 13"/>
                <a:gd name="T51" fmla="*/ 15 h 1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3" h="15">
                  <a:moveTo>
                    <a:pt x="11" y="4"/>
                  </a:moveTo>
                  <a:cubicBezTo>
                    <a:pt x="11" y="4"/>
                    <a:pt x="12" y="3"/>
                    <a:pt x="11" y="3"/>
                  </a:cubicBezTo>
                  <a:cubicBezTo>
                    <a:pt x="11" y="2"/>
                    <a:pt x="10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2"/>
                    <a:pt x="3" y="1"/>
                    <a:pt x="2" y="1"/>
                  </a:cubicBezTo>
                  <a:cubicBezTo>
                    <a:pt x="1" y="2"/>
                    <a:pt x="0" y="3"/>
                    <a:pt x="1" y="3"/>
                  </a:cubicBezTo>
                  <a:cubicBezTo>
                    <a:pt x="1" y="4"/>
                    <a:pt x="2" y="5"/>
                    <a:pt x="2" y="6"/>
                  </a:cubicBezTo>
                  <a:cubicBezTo>
                    <a:pt x="3" y="6"/>
                    <a:pt x="4" y="6"/>
                    <a:pt x="4" y="7"/>
                  </a:cubicBezTo>
                  <a:cubicBezTo>
                    <a:pt x="5" y="8"/>
                    <a:pt x="6" y="8"/>
                    <a:pt x="6" y="8"/>
                  </a:cubicBezTo>
                  <a:cubicBezTo>
                    <a:pt x="8" y="9"/>
                    <a:pt x="6" y="11"/>
                    <a:pt x="7" y="12"/>
                  </a:cubicBezTo>
                  <a:cubicBezTo>
                    <a:pt x="8" y="12"/>
                    <a:pt x="8" y="13"/>
                    <a:pt x="8" y="13"/>
                  </a:cubicBezTo>
                  <a:cubicBezTo>
                    <a:pt x="10" y="14"/>
                    <a:pt x="11" y="15"/>
                    <a:pt x="13" y="14"/>
                  </a:cubicBezTo>
                  <a:cubicBezTo>
                    <a:pt x="13" y="14"/>
                    <a:pt x="13" y="13"/>
                    <a:pt x="13" y="12"/>
                  </a:cubicBezTo>
                  <a:cubicBezTo>
                    <a:pt x="12" y="12"/>
                    <a:pt x="11" y="12"/>
                    <a:pt x="11" y="11"/>
                  </a:cubicBezTo>
                  <a:cubicBezTo>
                    <a:pt x="11" y="10"/>
                    <a:pt x="11" y="8"/>
                    <a:pt x="11" y="7"/>
                  </a:cubicBezTo>
                  <a:cubicBezTo>
                    <a:pt x="12" y="6"/>
                    <a:pt x="11" y="5"/>
                    <a:pt x="11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4" name="Freeform 248"/>
            <p:cNvSpPr>
              <a:spLocks/>
            </p:cNvSpPr>
            <p:nvPr/>
          </p:nvSpPr>
          <p:spPr bwMode="auto">
            <a:xfrm>
              <a:off x="7401317" y="3520851"/>
              <a:ext cx="4264" cy="3785"/>
            </a:xfrm>
            <a:custGeom>
              <a:avLst/>
              <a:gdLst>
                <a:gd name="T0" fmla="*/ 6253179 w 9"/>
                <a:gd name="T1" fmla="*/ 2117562 h 8"/>
                <a:gd name="T2" fmla="*/ 727531 w 9"/>
                <a:gd name="T3" fmla="*/ 418284 h 8"/>
                <a:gd name="T4" fmla="*/ 727531 w 9"/>
                <a:gd name="T5" fmla="*/ 2453348 h 8"/>
                <a:gd name="T6" fmla="*/ 1697572 w 9"/>
                <a:gd name="T7" fmla="*/ 2117562 h 8"/>
                <a:gd name="T8" fmla="*/ 2970751 w 9"/>
                <a:gd name="T9" fmla="*/ 2117562 h 8"/>
                <a:gd name="T10" fmla="*/ 6931749 w 9"/>
                <a:gd name="T11" fmla="*/ 3058782 h 8"/>
                <a:gd name="T12" fmla="*/ 6253179 w 9"/>
                <a:gd name="T13" fmla="*/ 2117562 h 8"/>
                <a:gd name="T14" fmla="*/ 6253179 w 9"/>
                <a:gd name="T15" fmla="*/ 2117562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8"/>
                <a:gd name="T26" fmla="*/ 9 w 9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8">
                  <a:moveTo>
                    <a:pt x="8" y="5"/>
                  </a:moveTo>
                  <a:cubicBezTo>
                    <a:pt x="5" y="5"/>
                    <a:pt x="4" y="0"/>
                    <a:pt x="1" y="1"/>
                  </a:cubicBezTo>
                  <a:cubicBezTo>
                    <a:pt x="1" y="2"/>
                    <a:pt x="0" y="4"/>
                    <a:pt x="1" y="6"/>
                  </a:cubicBezTo>
                  <a:cubicBezTo>
                    <a:pt x="1" y="6"/>
                    <a:pt x="2" y="5"/>
                    <a:pt x="2" y="5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6" y="6"/>
                    <a:pt x="7" y="8"/>
                    <a:pt x="9" y="7"/>
                  </a:cubicBezTo>
                  <a:cubicBezTo>
                    <a:pt x="9" y="7"/>
                    <a:pt x="8" y="6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5" name="Freeform 249"/>
            <p:cNvSpPr>
              <a:spLocks/>
            </p:cNvSpPr>
            <p:nvPr/>
          </p:nvSpPr>
          <p:spPr bwMode="auto">
            <a:xfrm>
              <a:off x="7403324" y="3527611"/>
              <a:ext cx="2759" cy="6760"/>
            </a:xfrm>
            <a:custGeom>
              <a:avLst/>
              <a:gdLst>
                <a:gd name="T0" fmla="*/ 4688532 w 6"/>
                <a:gd name="T1" fmla="*/ 4591618 h 14"/>
                <a:gd name="T2" fmla="*/ 2970751 w 6"/>
                <a:gd name="T3" fmla="*/ 0 h 14"/>
                <a:gd name="T4" fmla="*/ 727531 w 6"/>
                <a:gd name="T5" fmla="*/ 5415918 h 14"/>
                <a:gd name="T6" fmla="*/ 0 w 6"/>
                <a:gd name="T7" fmla="*/ 10823097 h 14"/>
                <a:gd name="T8" fmla="*/ 0 w 6"/>
                <a:gd name="T9" fmla="*/ 12766089 h 14"/>
                <a:gd name="T10" fmla="*/ 727531 w 6"/>
                <a:gd name="T11" fmla="*/ 12766089 h 14"/>
                <a:gd name="T12" fmla="*/ 1697572 w 6"/>
                <a:gd name="T13" fmla="*/ 9969095 h 14"/>
                <a:gd name="T14" fmla="*/ 3961001 w 6"/>
                <a:gd name="T15" fmla="*/ 5415918 h 14"/>
                <a:gd name="T16" fmla="*/ 4688532 w 6"/>
                <a:gd name="T17" fmla="*/ 4591618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14"/>
                <a:gd name="T29" fmla="*/ 6 w 6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14">
                  <a:moveTo>
                    <a:pt x="6" y="5"/>
                  </a:moveTo>
                  <a:cubicBezTo>
                    <a:pt x="5" y="3"/>
                    <a:pt x="6" y="0"/>
                    <a:pt x="4" y="0"/>
                  </a:cubicBezTo>
                  <a:cubicBezTo>
                    <a:pt x="3" y="2"/>
                    <a:pt x="2" y="4"/>
                    <a:pt x="1" y="6"/>
                  </a:cubicBezTo>
                  <a:cubicBezTo>
                    <a:pt x="0" y="8"/>
                    <a:pt x="1" y="10"/>
                    <a:pt x="0" y="12"/>
                  </a:cubicBezTo>
                  <a:cubicBezTo>
                    <a:pt x="0" y="13"/>
                    <a:pt x="0" y="13"/>
                    <a:pt x="0" y="14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1" y="13"/>
                    <a:pt x="2" y="12"/>
                    <a:pt x="2" y="11"/>
                  </a:cubicBezTo>
                  <a:cubicBezTo>
                    <a:pt x="3" y="9"/>
                    <a:pt x="4" y="8"/>
                    <a:pt x="5" y="6"/>
                  </a:cubicBezTo>
                  <a:cubicBezTo>
                    <a:pt x="6" y="6"/>
                    <a:pt x="6" y="5"/>
                    <a:pt x="6" y="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6" name="Freeform 250"/>
            <p:cNvSpPr>
              <a:spLocks/>
            </p:cNvSpPr>
            <p:nvPr/>
          </p:nvSpPr>
          <p:spPr bwMode="auto">
            <a:xfrm>
              <a:off x="7399561" y="3527070"/>
              <a:ext cx="3762" cy="8382"/>
            </a:xfrm>
            <a:custGeom>
              <a:avLst/>
              <a:gdLst>
                <a:gd name="T0" fmla="*/ 7279645 w 8"/>
                <a:gd name="T1" fmla="*/ 0 h 17"/>
                <a:gd name="T2" fmla="*/ 5058432 w 8"/>
                <a:gd name="T3" fmla="*/ 806887 h 17"/>
                <a:gd name="T4" fmla="*/ 5058432 w 8"/>
                <a:gd name="T5" fmla="*/ 4467192 h 17"/>
                <a:gd name="T6" fmla="*/ 3065115 w 8"/>
                <a:gd name="T7" fmla="*/ 7807999 h 17"/>
                <a:gd name="T8" fmla="*/ 0 w 8"/>
                <a:gd name="T9" fmla="*/ 10511040 h 17"/>
                <a:gd name="T10" fmla="*/ 2129866 w 8"/>
                <a:gd name="T11" fmla="*/ 11661007 h 17"/>
                <a:gd name="T12" fmla="*/ 3065115 w 8"/>
                <a:gd name="T13" fmla="*/ 12471472 h 17"/>
                <a:gd name="T14" fmla="*/ 3065115 w 8"/>
                <a:gd name="T15" fmla="*/ 14174003 h 17"/>
                <a:gd name="T16" fmla="*/ 5955246 w 8"/>
                <a:gd name="T17" fmla="*/ 14978991 h 17"/>
                <a:gd name="T18" fmla="*/ 5955246 w 8"/>
                <a:gd name="T19" fmla="*/ 11661007 h 17"/>
                <a:gd name="T20" fmla="*/ 5955246 w 8"/>
                <a:gd name="T21" fmla="*/ 8957156 h 17"/>
                <a:gd name="T22" fmla="*/ 7279645 w 8"/>
                <a:gd name="T23" fmla="*/ 7807999 h 17"/>
                <a:gd name="T24" fmla="*/ 8176458 w 8"/>
                <a:gd name="T25" fmla="*/ 2560181 h 17"/>
                <a:gd name="T26" fmla="*/ 8176458 w 8"/>
                <a:gd name="T27" fmla="*/ 0 h 17"/>
                <a:gd name="T28" fmla="*/ 7279645 w 8"/>
                <a:gd name="T29" fmla="*/ 0 h 1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"/>
                <a:gd name="T46" fmla="*/ 0 h 17"/>
                <a:gd name="T47" fmla="*/ 8 w 8"/>
                <a:gd name="T48" fmla="*/ 17 h 1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" h="17">
                  <a:moveTo>
                    <a:pt x="7" y="0"/>
                  </a:moveTo>
                  <a:cubicBezTo>
                    <a:pt x="6" y="0"/>
                    <a:pt x="5" y="0"/>
                    <a:pt x="5" y="1"/>
                  </a:cubicBezTo>
                  <a:cubicBezTo>
                    <a:pt x="5" y="2"/>
                    <a:pt x="5" y="4"/>
                    <a:pt x="5" y="5"/>
                  </a:cubicBezTo>
                  <a:cubicBezTo>
                    <a:pt x="4" y="6"/>
                    <a:pt x="4" y="8"/>
                    <a:pt x="3" y="9"/>
                  </a:cubicBezTo>
                  <a:cubicBezTo>
                    <a:pt x="2" y="9"/>
                    <a:pt x="0" y="10"/>
                    <a:pt x="0" y="12"/>
                  </a:cubicBezTo>
                  <a:cubicBezTo>
                    <a:pt x="0" y="12"/>
                    <a:pt x="1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5"/>
                    <a:pt x="3" y="15"/>
                    <a:pt x="3" y="16"/>
                  </a:cubicBezTo>
                  <a:cubicBezTo>
                    <a:pt x="4" y="17"/>
                    <a:pt x="5" y="17"/>
                    <a:pt x="6" y="17"/>
                  </a:cubicBezTo>
                  <a:cubicBezTo>
                    <a:pt x="7" y="16"/>
                    <a:pt x="7" y="14"/>
                    <a:pt x="6" y="13"/>
                  </a:cubicBezTo>
                  <a:cubicBezTo>
                    <a:pt x="6" y="12"/>
                    <a:pt x="6" y="11"/>
                    <a:pt x="6" y="10"/>
                  </a:cubicBezTo>
                  <a:cubicBezTo>
                    <a:pt x="6" y="9"/>
                    <a:pt x="7" y="9"/>
                    <a:pt x="7" y="9"/>
                  </a:cubicBezTo>
                  <a:cubicBezTo>
                    <a:pt x="8" y="7"/>
                    <a:pt x="7" y="5"/>
                    <a:pt x="8" y="3"/>
                  </a:cubicBezTo>
                  <a:cubicBezTo>
                    <a:pt x="8" y="2"/>
                    <a:pt x="8" y="1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7" name="Freeform 251"/>
            <p:cNvSpPr>
              <a:spLocks/>
            </p:cNvSpPr>
            <p:nvPr/>
          </p:nvSpPr>
          <p:spPr bwMode="auto">
            <a:xfrm>
              <a:off x="7398056" y="3523825"/>
              <a:ext cx="4264" cy="6760"/>
            </a:xfrm>
            <a:custGeom>
              <a:avLst/>
              <a:gdLst>
                <a:gd name="T0" fmla="*/ 4688532 w 9"/>
                <a:gd name="T1" fmla="*/ 2769339 h 14"/>
                <a:gd name="T2" fmla="*/ 2243220 w 9"/>
                <a:gd name="T3" fmla="*/ 1947959 h 14"/>
                <a:gd name="T4" fmla="*/ 727531 w 9"/>
                <a:gd name="T5" fmla="*/ 826407 h 14"/>
                <a:gd name="T6" fmla="*/ 0 w 9"/>
                <a:gd name="T7" fmla="*/ 826407 h 14"/>
                <a:gd name="T8" fmla="*/ 727531 w 9"/>
                <a:gd name="T9" fmla="*/ 3468116 h 14"/>
                <a:gd name="T10" fmla="*/ 727531 w 9"/>
                <a:gd name="T11" fmla="*/ 7350477 h 14"/>
                <a:gd name="T12" fmla="*/ 0 w 9"/>
                <a:gd name="T13" fmla="*/ 9969095 h 14"/>
                <a:gd name="T14" fmla="*/ 0 w 9"/>
                <a:gd name="T15" fmla="*/ 11919092 h 14"/>
                <a:gd name="T16" fmla="*/ 727531 w 9"/>
                <a:gd name="T17" fmla="*/ 12766089 h 14"/>
                <a:gd name="T18" fmla="*/ 1697572 w 9"/>
                <a:gd name="T19" fmla="*/ 11919092 h 14"/>
                <a:gd name="T20" fmla="*/ 2970751 w 9"/>
                <a:gd name="T21" fmla="*/ 10823097 h 14"/>
                <a:gd name="T22" fmla="*/ 3961001 w 9"/>
                <a:gd name="T23" fmla="*/ 9969095 h 14"/>
                <a:gd name="T24" fmla="*/ 5234180 w 9"/>
                <a:gd name="T25" fmla="*/ 6527726 h 14"/>
                <a:gd name="T26" fmla="*/ 5234180 w 9"/>
                <a:gd name="T27" fmla="*/ 5415918 h 14"/>
                <a:gd name="T28" fmla="*/ 6931749 w 9"/>
                <a:gd name="T29" fmla="*/ 3468116 h 14"/>
                <a:gd name="T30" fmla="*/ 6931749 w 9"/>
                <a:gd name="T31" fmla="*/ 2769339 h 14"/>
                <a:gd name="T32" fmla="*/ 4688532 w 9"/>
                <a:gd name="T33" fmla="*/ 2769339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"/>
                <a:gd name="T52" fmla="*/ 0 h 14"/>
                <a:gd name="T53" fmla="*/ 9 w 9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" h="14">
                  <a:moveTo>
                    <a:pt x="6" y="3"/>
                  </a:moveTo>
                  <a:cubicBezTo>
                    <a:pt x="5" y="3"/>
                    <a:pt x="4" y="3"/>
                    <a:pt x="3" y="2"/>
                  </a:cubicBezTo>
                  <a:cubicBezTo>
                    <a:pt x="3" y="2"/>
                    <a:pt x="2" y="1"/>
                    <a:pt x="1" y="1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1" y="4"/>
                  </a:cubicBezTo>
                  <a:cubicBezTo>
                    <a:pt x="1" y="5"/>
                    <a:pt x="1" y="7"/>
                    <a:pt x="1" y="8"/>
                  </a:cubicBezTo>
                  <a:cubicBezTo>
                    <a:pt x="0" y="9"/>
                    <a:pt x="1" y="10"/>
                    <a:pt x="0" y="11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1" y="14"/>
                    <a:pt x="1" y="14"/>
                  </a:cubicBezTo>
                  <a:cubicBezTo>
                    <a:pt x="1" y="13"/>
                    <a:pt x="2" y="13"/>
                    <a:pt x="2" y="13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9"/>
                    <a:pt x="5" y="8"/>
                    <a:pt x="7" y="7"/>
                  </a:cubicBezTo>
                  <a:cubicBezTo>
                    <a:pt x="7" y="7"/>
                    <a:pt x="7" y="6"/>
                    <a:pt x="7" y="6"/>
                  </a:cubicBezTo>
                  <a:cubicBezTo>
                    <a:pt x="7" y="5"/>
                    <a:pt x="8" y="5"/>
                    <a:pt x="9" y="4"/>
                  </a:cubicBezTo>
                  <a:cubicBezTo>
                    <a:pt x="9" y="4"/>
                    <a:pt x="9" y="3"/>
                    <a:pt x="9" y="3"/>
                  </a:cubicBezTo>
                  <a:cubicBezTo>
                    <a:pt x="8" y="2"/>
                    <a:pt x="7" y="2"/>
                    <a:pt x="6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8" name="Freeform 252"/>
            <p:cNvSpPr>
              <a:spLocks/>
            </p:cNvSpPr>
            <p:nvPr/>
          </p:nvSpPr>
          <p:spPr bwMode="auto">
            <a:xfrm>
              <a:off x="7381251" y="3528692"/>
              <a:ext cx="8779" cy="10274"/>
            </a:xfrm>
            <a:custGeom>
              <a:avLst/>
              <a:gdLst>
                <a:gd name="T0" fmla="*/ 12399237 w 19"/>
                <a:gd name="T1" fmla="*/ 2007625 h 22"/>
                <a:gd name="T2" fmla="*/ 11462750 w 19"/>
                <a:gd name="T3" fmla="*/ 849380 h 22"/>
                <a:gd name="T4" fmla="*/ 11462750 w 19"/>
                <a:gd name="T5" fmla="*/ 849380 h 22"/>
                <a:gd name="T6" fmla="*/ 10343734 w 19"/>
                <a:gd name="T7" fmla="*/ 849380 h 22"/>
                <a:gd name="T8" fmla="*/ 9422159 w 19"/>
                <a:gd name="T9" fmla="*/ 2894074 h 22"/>
                <a:gd name="T10" fmla="*/ 8823513 w 19"/>
                <a:gd name="T11" fmla="*/ 4745295 h 22"/>
                <a:gd name="T12" fmla="*/ 8823513 w 19"/>
                <a:gd name="T13" fmla="*/ 5595820 h 22"/>
                <a:gd name="T14" fmla="*/ 6236801 w 19"/>
                <a:gd name="T15" fmla="*/ 6840539 h 22"/>
                <a:gd name="T16" fmla="*/ 5620625 w 19"/>
                <a:gd name="T17" fmla="*/ 8480159 h 22"/>
                <a:gd name="T18" fmla="*/ 2693164 w 19"/>
                <a:gd name="T19" fmla="*/ 14073923 h 22"/>
                <a:gd name="T20" fmla="*/ 2693164 w 19"/>
                <a:gd name="T21" fmla="*/ 15293852 h 22"/>
                <a:gd name="T22" fmla="*/ 0 w 19"/>
                <a:gd name="T23" fmla="*/ 20915083 h 22"/>
                <a:gd name="T24" fmla="*/ 670752 w 19"/>
                <a:gd name="T25" fmla="*/ 20915083 h 22"/>
                <a:gd name="T26" fmla="*/ 6236801 w 19"/>
                <a:gd name="T27" fmla="*/ 14073923 h 22"/>
                <a:gd name="T28" fmla="*/ 6779427 w 19"/>
                <a:gd name="T29" fmla="*/ 12441464 h 22"/>
                <a:gd name="T30" fmla="*/ 7376632 w 19"/>
                <a:gd name="T31" fmla="*/ 8480159 h 22"/>
                <a:gd name="T32" fmla="*/ 10970534 w 19"/>
                <a:gd name="T33" fmla="*/ 4745295 h 22"/>
                <a:gd name="T34" fmla="*/ 12399237 w 19"/>
                <a:gd name="T35" fmla="*/ 3587761 h 22"/>
                <a:gd name="T36" fmla="*/ 13016181 w 19"/>
                <a:gd name="T37" fmla="*/ 2007625 h 22"/>
                <a:gd name="T38" fmla="*/ 12399237 w 19"/>
                <a:gd name="T39" fmla="*/ 2007625 h 2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"/>
                <a:gd name="T61" fmla="*/ 0 h 22"/>
                <a:gd name="T62" fmla="*/ 19 w 19"/>
                <a:gd name="T63" fmla="*/ 22 h 2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" h="22">
                  <a:moveTo>
                    <a:pt x="18" y="2"/>
                  </a:moveTo>
                  <a:cubicBezTo>
                    <a:pt x="18" y="2"/>
                    <a:pt x="18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0"/>
                    <a:pt x="15" y="1"/>
                  </a:cubicBezTo>
                  <a:cubicBezTo>
                    <a:pt x="14" y="2"/>
                    <a:pt x="14" y="3"/>
                    <a:pt x="14" y="3"/>
                  </a:cubicBezTo>
                  <a:cubicBezTo>
                    <a:pt x="13" y="4"/>
                    <a:pt x="14" y="4"/>
                    <a:pt x="13" y="5"/>
                  </a:cubicBezTo>
                  <a:cubicBezTo>
                    <a:pt x="13" y="5"/>
                    <a:pt x="13" y="5"/>
                    <a:pt x="13" y="6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9" y="8"/>
                    <a:pt x="9" y="9"/>
                    <a:pt x="8" y="9"/>
                  </a:cubicBezTo>
                  <a:cubicBezTo>
                    <a:pt x="7" y="11"/>
                    <a:pt x="5" y="13"/>
                    <a:pt x="4" y="15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2" y="18"/>
                    <a:pt x="1" y="20"/>
                    <a:pt x="0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4" y="20"/>
                    <a:pt x="6" y="17"/>
                    <a:pt x="9" y="15"/>
                  </a:cubicBezTo>
                  <a:cubicBezTo>
                    <a:pt x="9" y="14"/>
                    <a:pt x="10" y="13"/>
                    <a:pt x="10" y="13"/>
                  </a:cubicBezTo>
                  <a:cubicBezTo>
                    <a:pt x="10" y="11"/>
                    <a:pt x="10" y="10"/>
                    <a:pt x="11" y="9"/>
                  </a:cubicBezTo>
                  <a:cubicBezTo>
                    <a:pt x="12" y="7"/>
                    <a:pt x="15" y="7"/>
                    <a:pt x="16" y="5"/>
                  </a:cubicBezTo>
                  <a:cubicBezTo>
                    <a:pt x="17" y="5"/>
                    <a:pt x="18" y="5"/>
                    <a:pt x="18" y="4"/>
                  </a:cubicBezTo>
                  <a:cubicBezTo>
                    <a:pt x="19" y="4"/>
                    <a:pt x="19" y="3"/>
                    <a:pt x="19" y="2"/>
                  </a:cubicBezTo>
                  <a:cubicBezTo>
                    <a:pt x="18" y="2"/>
                    <a:pt x="18" y="2"/>
                    <a:pt x="18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9" name="Freeform 253"/>
            <p:cNvSpPr>
              <a:spLocks/>
            </p:cNvSpPr>
            <p:nvPr/>
          </p:nvSpPr>
          <p:spPr bwMode="auto">
            <a:xfrm>
              <a:off x="7387772" y="3526259"/>
              <a:ext cx="1505" cy="1893"/>
            </a:xfrm>
            <a:custGeom>
              <a:avLst/>
              <a:gdLst>
                <a:gd name="T0" fmla="*/ 1697572 w 3"/>
                <a:gd name="T1" fmla="*/ 0 h 4"/>
                <a:gd name="T2" fmla="*/ 727531 w 3"/>
                <a:gd name="T3" fmla="*/ 0 h 4"/>
                <a:gd name="T4" fmla="*/ 727531 w 3"/>
                <a:gd name="T5" fmla="*/ 941139 h 4"/>
                <a:gd name="T6" fmla="*/ 727531 w 3"/>
                <a:gd name="T7" fmla="*/ 1359459 h 4"/>
                <a:gd name="T8" fmla="*/ 2243220 w 3"/>
                <a:gd name="T9" fmla="*/ 0 h 4"/>
                <a:gd name="T10" fmla="*/ 1697572 w 3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0" y="3"/>
                    <a:pt x="1" y="3"/>
                  </a:cubicBezTo>
                  <a:cubicBezTo>
                    <a:pt x="2" y="4"/>
                    <a:pt x="3" y="2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0" name="Freeform 254"/>
            <p:cNvSpPr>
              <a:spLocks/>
            </p:cNvSpPr>
            <p:nvPr/>
          </p:nvSpPr>
          <p:spPr bwMode="auto">
            <a:xfrm>
              <a:off x="7389779" y="3522474"/>
              <a:ext cx="2508" cy="1352"/>
            </a:xfrm>
            <a:custGeom>
              <a:avLst/>
              <a:gdLst>
                <a:gd name="T0" fmla="*/ 5085394 w 5"/>
                <a:gd name="T1" fmla="*/ 727531 h 3"/>
                <a:gd name="T2" fmla="*/ 2554647 w 5"/>
                <a:gd name="T3" fmla="*/ 0 h 3"/>
                <a:gd name="T4" fmla="*/ 1064436 w 5"/>
                <a:gd name="T5" fmla="*/ 0 h 3"/>
                <a:gd name="T6" fmla="*/ 1064436 w 5"/>
                <a:gd name="T7" fmla="*/ 727531 h 3"/>
                <a:gd name="T8" fmla="*/ 6131150 w 5"/>
                <a:gd name="T9" fmla="*/ 1697572 h 3"/>
                <a:gd name="T10" fmla="*/ 6131150 w 5"/>
                <a:gd name="T11" fmla="*/ 727531 h 3"/>
                <a:gd name="T12" fmla="*/ 5085394 w 5"/>
                <a:gd name="T13" fmla="*/ 727531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3"/>
                <a:gd name="T23" fmla="*/ 5 w 5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3">
                  <a:moveTo>
                    <a:pt x="4" y="1"/>
                  </a:moveTo>
                  <a:cubicBezTo>
                    <a:pt x="3" y="1"/>
                    <a:pt x="3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1" y="1"/>
                  </a:cubicBezTo>
                  <a:cubicBezTo>
                    <a:pt x="1" y="3"/>
                    <a:pt x="3" y="3"/>
                    <a:pt x="5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1" name="Freeform 255"/>
            <p:cNvSpPr>
              <a:spLocks/>
            </p:cNvSpPr>
            <p:nvPr/>
          </p:nvSpPr>
          <p:spPr bwMode="auto">
            <a:xfrm>
              <a:off x="7390782" y="3515985"/>
              <a:ext cx="6020" cy="7300"/>
            </a:xfrm>
            <a:custGeom>
              <a:avLst/>
              <a:gdLst>
                <a:gd name="T0" fmla="*/ 11938254 w 13"/>
                <a:gd name="T1" fmla="*/ 2243220 h 15"/>
                <a:gd name="T2" fmla="*/ 8621839 w 13"/>
                <a:gd name="T3" fmla="*/ 1697572 h 15"/>
                <a:gd name="T4" fmla="*/ 6350665 w 13"/>
                <a:gd name="T5" fmla="*/ 727531 h 15"/>
                <a:gd name="T6" fmla="*/ 4595099 w 13"/>
                <a:gd name="T7" fmla="*/ 727531 h 15"/>
                <a:gd name="T8" fmla="*/ 979497 w 13"/>
                <a:gd name="T9" fmla="*/ 1697572 h 15"/>
                <a:gd name="T10" fmla="*/ 979497 w 13"/>
                <a:gd name="T11" fmla="*/ 2243220 h 15"/>
                <a:gd name="T12" fmla="*/ 3318681 w 13"/>
                <a:gd name="T13" fmla="*/ 2243220 h 15"/>
                <a:gd name="T14" fmla="*/ 6350665 w 13"/>
                <a:gd name="T15" fmla="*/ 5234181 h 15"/>
                <a:gd name="T16" fmla="*/ 6350665 w 13"/>
                <a:gd name="T17" fmla="*/ 8614993 h 15"/>
                <a:gd name="T18" fmla="*/ 7913775 w 13"/>
                <a:gd name="T19" fmla="*/ 9242333 h 15"/>
                <a:gd name="T20" fmla="*/ 7913775 w 13"/>
                <a:gd name="T21" fmla="*/ 10939910 h 15"/>
                <a:gd name="T22" fmla="*/ 9596174 w 13"/>
                <a:gd name="T23" fmla="*/ 11620011 h 15"/>
                <a:gd name="T24" fmla="*/ 11938254 w 13"/>
                <a:gd name="T25" fmla="*/ 10939910 h 15"/>
                <a:gd name="T26" fmla="*/ 11938254 w 13"/>
                <a:gd name="T27" fmla="*/ 9902491 h 15"/>
                <a:gd name="T28" fmla="*/ 13281841 w 13"/>
                <a:gd name="T29" fmla="*/ 6253185 h 15"/>
                <a:gd name="T30" fmla="*/ 11938254 w 13"/>
                <a:gd name="T31" fmla="*/ 2243220 h 1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3"/>
                <a:gd name="T49" fmla="*/ 0 h 15"/>
                <a:gd name="T50" fmla="*/ 13 w 13"/>
                <a:gd name="T51" fmla="*/ 15 h 1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3" h="15">
                  <a:moveTo>
                    <a:pt x="11" y="3"/>
                  </a:moveTo>
                  <a:cubicBezTo>
                    <a:pt x="10" y="3"/>
                    <a:pt x="9" y="3"/>
                    <a:pt x="8" y="2"/>
                  </a:cubicBezTo>
                  <a:cubicBezTo>
                    <a:pt x="8" y="2"/>
                    <a:pt x="7" y="1"/>
                    <a:pt x="6" y="1"/>
                  </a:cubicBezTo>
                  <a:cubicBezTo>
                    <a:pt x="5" y="0"/>
                    <a:pt x="5" y="0"/>
                    <a:pt x="4" y="1"/>
                  </a:cubicBezTo>
                  <a:cubicBezTo>
                    <a:pt x="3" y="1"/>
                    <a:pt x="1" y="1"/>
                    <a:pt x="1" y="2"/>
                  </a:cubicBezTo>
                  <a:cubicBezTo>
                    <a:pt x="1" y="2"/>
                    <a:pt x="0" y="3"/>
                    <a:pt x="1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4" y="4"/>
                    <a:pt x="5" y="6"/>
                    <a:pt x="6" y="7"/>
                  </a:cubicBezTo>
                  <a:cubicBezTo>
                    <a:pt x="7" y="8"/>
                    <a:pt x="6" y="9"/>
                    <a:pt x="6" y="11"/>
                  </a:cubicBezTo>
                  <a:cubicBezTo>
                    <a:pt x="6" y="11"/>
                    <a:pt x="7" y="12"/>
                    <a:pt x="7" y="12"/>
                  </a:cubicBezTo>
                  <a:cubicBezTo>
                    <a:pt x="7" y="13"/>
                    <a:pt x="7" y="14"/>
                    <a:pt x="7" y="14"/>
                  </a:cubicBezTo>
                  <a:cubicBezTo>
                    <a:pt x="7" y="15"/>
                    <a:pt x="8" y="15"/>
                    <a:pt x="9" y="15"/>
                  </a:cubicBezTo>
                  <a:cubicBezTo>
                    <a:pt x="10" y="15"/>
                    <a:pt x="10" y="14"/>
                    <a:pt x="11" y="14"/>
                  </a:cubicBezTo>
                  <a:cubicBezTo>
                    <a:pt x="11" y="14"/>
                    <a:pt x="11" y="13"/>
                    <a:pt x="11" y="13"/>
                  </a:cubicBezTo>
                  <a:cubicBezTo>
                    <a:pt x="12" y="12"/>
                    <a:pt x="12" y="10"/>
                    <a:pt x="12" y="8"/>
                  </a:cubicBezTo>
                  <a:cubicBezTo>
                    <a:pt x="13" y="7"/>
                    <a:pt x="13" y="4"/>
                    <a:pt x="11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2" name="Freeform 256"/>
            <p:cNvSpPr>
              <a:spLocks/>
            </p:cNvSpPr>
            <p:nvPr/>
          </p:nvSpPr>
          <p:spPr bwMode="auto">
            <a:xfrm>
              <a:off x="7397805" y="3513010"/>
              <a:ext cx="7776" cy="7300"/>
            </a:xfrm>
            <a:custGeom>
              <a:avLst/>
              <a:gdLst>
                <a:gd name="T0" fmla="*/ 11661007 w 17"/>
                <a:gd name="T1" fmla="*/ 4688532 h 15"/>
                <a:gd name="T2" fmla="*/ 11661007 w 17"/>
                <a:gd name="T3" fmla="*/ 5234181 h 15"/>
                <a:gd name="T4" fmla="*/ 12471472 w 17"/>
                <a:gd name="T5" fmla="*/ 6931751 h 15"/>
                <a:gd name="T6" fmla="*/ 12471472 w 17"/>
                <a:gd name="T7" fmla="*/ 8614993 h 15"/>
                <a:gd name="T8" fmla="*/ 14174003 w 17"/>
                <a:gd name="T9" fmla="*/ 9902491 h 15"/>
                <a:gd name="T10" fmla="*/ 14174003 w 17"/>
                <a:gd name="T11" fmla="*/ 11620011 h 15"/>
                <a:gd name="T12" fmla="*/ 13070851 w 17"/>
                <a:gd name="T13" fmla="*/ 10939910 h 15"/>
                <a:gd name="T14" fmla="*/ 11661007 w 17"/>
                <a:gd name="T15" fmla="*/ 9902491 h 15"/>
                <a:gd name="T16" fmla="*/ 10511040 w 17"/>
                <a:gd name="T17" fmla="*/ 9902491 h 15"/>
                <a:gd name="T18" fmla="*/ 9768793 w 17"/>
                <a:gd name="T19" fmla="*/ 8614993 h 15"/>
                <a:gd name="T20" fmla="*/ 7173119 w 17"/>
                <a:gd name="T21" fmla="*/ 6931751 h 15"/>
                <a:gd name="T22" fmla="*/ 5300376 w 17"/>
                <a:gd name="T23" fmla="*/ 5234181 h 15"/>
                <a:gd name="T24" fmla="*/ 4467192 w 17"/>
                <a:gd name="T25" fmla="*/ 4688532 h 15"/>
                <a:gd name="T26" fmla="*/ 3318400 w 17"/>
                <a:gd name="T27" fmla="*/ 4688532 h 15"/>
                <a:gd name="T28" fmla="*/ 3318400 w 17"/>
                <a:gd name="T29" fmla="*/ 6931751 h 15"/>
                <a:gd name="T30" fmla="*/ 2560181 w 17"/>
                <a:gd name="T31" fmla="*/ 6931751 h 15"/>
                <a:gd name="T32" fmla="*/ 0 w 17"/>
                <a:gd name="T33" fmla="*/ 4688532 h 15"/>
                <a:gd name="T34" fmla="*/ 0 w 17"/>
                <a:gd name="T35" fmla="*/ 3961001 h 15"/>
                <a:gd name="T36" fmla="*/ 1898557 w 17"/>
                <a:gd name="T37" fmla="*/ 2970751 h 15"/>
                <a:gd name="T38" fmla="*/ 1898557 w 17"/>
                <a:gd name="T39" fmla="*/ 1697572 h 15"/>
                <a:gd name="T40" fmla="*/ 2560181 w 17"/>
                <a:gd name="T41" fmla="*/ 0 h 15"/>
                <a:gd name="T42" fmla="*/ 5300376 w 17"/>
                <a:gd name="T43" fmla="*/ 727531 h 15"/>
                <a:gd name="T44" fmla="*/ 7173119 w 17"/>
                <a:gd name="T45" fmla="*/ 2970751 h 15"/>
                <a:gd name="T46" fmla="*/ 7807999 w 17"/>
                <a:gd name="T47" fmla="*/ 4688532 h 15"/>
                <a:gd name="T48" fmla="*/ 8957156 w 17"/>
                <a:gd name="T49" fmla="*/ 5234181 h 15"/>
                <a:gd name="T50" fmla="*/ 8957156 w 17"/>
                <a:gd name="T51" fmla="*/ 2970751 h 15"/>
                <a:gd name="T52" fmla="*/ 7807999 w 17"/>
                <a:gd name="T53" fmla="*/ 1697572 h 15"/>
                <a:gd name="T54" fmla="*/ 11661007 w 17"/>
                <a:gd name="T55" fmla="*/ 2970751 h 15"/>
                <a:gd name="T56" fmla="*/ 11661007 w 17"/>
                <a:gd name="T57" fmla="*/ 3961001 h 15"/>
                <a:gd name="T58" fmla="*/ 11661007 w 17"/>
                <a:gd name="T59" fmla="*/ 4688532 h 1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"/>
                <a:gd name="T91" fmla="*/ 0 h 15"/>
                <a:gd name="T92" fmla="*/ 17 w 17"/>
                <a:gd name="T93" fmla="*/ 15 h 1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" h="15">
                  <a:moveTo>
                    <a:pt x="13" y="6"/>
                  </a:moveTo>
                  <a:cubicBezTo>
                    <a:pt x="13" y="6"/>
                    <a:pt x="13" y="7"/>
                    <a:pt x="13" y="7"/>
                  </a:cubicBezTo>
                  <a:cubicBezTo>
                    <a:pt x="13" y="8"/>
                    <a:pt x="14" y="8"/>
                    <a:pt x="14" y="9"/>
                  </a:cubicBezTo>
                  <a:cubicBezTo>
                    <a:pt x="14" y="10"/>
                    <a:pt x="14" y="11"/>
                    <a:pt x="14" y="11"/>
                  </a:cubicBezTo>
                  <a:cubicBezTo>
                    <a:pt x="15" y="12"/>
                    <a:pt x="16" y="12"/>
                    <a:pt x="16" y="13"/>
                  </a:cubicBezTo>
                  <a:cubicBezTo>
                    <a:pt x="17" y="13"/>
                    <a:pt x="17" y="14"/>
                    <a:pt x="16" y="15"/>
                  </a:cubicBezTo>
                  <a:cubicBezTo>
                    <a:pt x="16" y="15"/>
                    <a:pt x="16" y="14"/>
                    <a:pt x="15" y="14"/>
                  </a:cubicBezTo>
                  <a:cubicBezTo>
                    <a:pt x="15" y="14"/>
                    <a:pt x="14" y="14"/>
                    <a:pt x="13" y="13"/>
                  </a:cubicBezTo>
                  <a:cubicBezTo>
                    <a:pt x="13" y="13"/>
                    <a:pt x="13" y="13"/>
                    <a:pt x="12" y="13"/>
                  </a:cubicBezTo>
                  <a:cubicBezTo>
                    <a:pt x="12" y="12"/>
                    <a:pt x="11" y="12"/>
                    <a:pt x="11" y="11"/>
                  </a:cubicBezTo>
                  <a:cubicBezTo>
                    <a:pt x="10" y="10"/>
                    <a:pt x="9" y="10"/>
                    <a:pt x="8" y="9"/>
                  </a:cubicBezTo>
                  <a:cubicBezTo>
                    <a:pt x="8" y="8"/>
                    <a:pt x="6" y="8"/>
                    <a:pt x="6" y="7"/>
                  </a:cubicBezTo>
                  <a:cubicBezTo>
                    <a:pt x="5" y="7"/>
                    <a:pt x="5" y="6"/>
                    <a:pt x="5" y="6"/>
                  </a:cubicBezTo>
                  <a:cubicBezTo>
                    <a:pt x="5" y="6"/>
                    <a:pt x="4" y="6"/>
                    <a:pt x="4" y="6"/>
                  </a:cubicBezTo>
                  <a:cubicBezTo>
                    <a:pt x="4" y="7"/>
                    <a:pt x="4" y="8"/>
                    <a:pt x="4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8"/>
                    <a:pt x="1" y="7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2" y="5"/>
                    <a:pt x="2" y="4"/>
                  </a:cubicBezTo>
                  <a:cubicBezTo>
                    <a:pt x="3" y="4"/>
                    <a:pt x="2" y="3"/>
                    <a:pt x="2" y="2"/>
                  </a:cubicBezTo>
                  <a:cubicBezTo>
                    <a:pt x="2" y="2"/>
                    <a:pt x="2" y="0"/>
                    <a:pt x="3" y="0"/>
                  </a:cubicBezTo>
                  <a:cubicBezTo>
                    <a:pt x="4" y="0"/>
                    <a:pt x="5" y="0"/>
                    <a:pt x="6" y="1"/>
                  </a:cubicBezTo>
                  <a:cubicBezTo>
                    <a:pt x="6" y="2"/>
                    <a:pt x="8" y="2"/>
                    <a:pt x="8" y="4"/>
                  </a:cubicBezTo>
                  <a:cubicBezTo>
                    <a:pt x="9" y="4"/>
                    <a:pt x="8" y="6"/>
                    <a:pt x="9" y="6"/>
                  </a:cubicBezTo>
                  <a:cubicBezTo>
                    <a:pt x="9" y="7"/>
                    <a:pt x="9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9" y="4"/>
                    <a:pt x="9" y="3"/>
                    <a:pt x="9" y="2"/>
                  </a:cubicBezTo>
                  <a:cubicBezTo>
                    <a:pt x="10" y="2"/>
                    <a:pt x="12" y="3"/>
                    <a:pt x="13" y="4"/>
                  </a:cubicBezTo>
                  <a:cubicBezTo>
                    <a:pt x="13" y="4"/>
                    <a:pt x="14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3" name="Freeform 257"/>
            <p:cNvSpPr>
              <a:spLocks/>
            </p:cNvSpPr>
            <p:nvPr/>
          </p:nvSpPr>
          <p:spPr bwMode="auto">
            <a:xfrm>
              <a:off x="7404578" y="3514092"/>
              <a:ext cx="1505" cy="2163"/>
            </a:xfrm>
            <a:custGeom>
              <a:avLst/>
              <a:gdLst>
                <a:gd name="T0" fmla="*/ 2243220 w 3"/>
                <a:gd name="T1" fmla="*/ 5085394 h 5"/>
                <a:gd name="T2" fmla="*/ 727531 w 3"/>
                <a:gd name="T3" fmla="*/ 1064436 h 5"/>
                <a:gd name="T4" fmla="*/ 727531 w 3"/>
                <a:gd name="T5" fmla="*/ 5085394 h 5"/>
                <a:gd name="T6" fmla="*/ 2243220 w 3"/>
                <a:gd name="T7" fmla="*/ 6131150 h 5"/>
                <a:gd name="T8" fmla="*/ 2243220 w 3"/>
                <a:gd name="T9" fmla="*/ 5085394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4"/>
                  </a:moveTo>
                  <a:cubicBezTo>
                    <a:pt x="3" y="3"/>
                    <a:pt x="3" y="0"/>
                    <a:pt x="1" y="1"/>
                  </a:cubicBezTo>
                  <a:cubicBezTo>
                    <a:pt x="1" y="1"/>
                    <a:pt x="0" y="3"/>
                    <a:pt x="1" y="4"/>
                  </a:cubicBezTo>
                  <a:cubicBezTo>
                    <a:pt x="1" y="5"/>
                    <a:pt x="2" y="5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4" name="Freeform 258"/>
            <p:cNvSpPr>
              <a:spLocks/>
            </p:cNvSpPr>
            <p:nvPr/>
          </p:nvSpPr>
          <p:spPr bwMode="auto">
            <a:xfrm>
              <a:off x="7388274" y="3493814"/>
              <a:ext cx="10284" cy="22171"/>
            </a:xfrm>
            <a:custGeom>
              <a:avLst/>
              <a:gdLst>
                <a:gd name="T0" fmla="*/ 15293852 w 22"/>
                <a:gd name="T1" fmla="*/ 37501248 h 46"/>
                <a:gd name="T2" fmla="*/ 14073923 w 22"/>
                <a:gd name="T3" fmla="*/ 33775497 h 46"/>
                <a:gd name="T4" fmla="*/ 13226484 w 22"/>
                <a:gd name="T5" fmla="*/ 31710070 h 46"/>
                <a:gd name="T6" fmla="*/ 13226484 w 22"/>
                <a:gd name="T7" fmla="*/ 29543189 h 46"/>
                <a:gd name="T8" fmla="*/ 14073923 w 22"/>
                <a:gd name="T9" fmla="*/ 28898004 h 46"/>
                <a:gd name="T10" fmla="*/ 14073923 w 22"/>
                <a:gd name="T11" fmla="*/ 25849910 h 46"/>
                <a:gd name="T12" fmla="*/ 14073923 w 22"/>
                <a:gd name="T13" fmla="*/ 24661090 h 46"/>
                <a:gd name="T14" fmla="*/ 15293852 w 22"/>
                <a:gd name="T15" fmla="*/ 23751424 h 46"/>
                <a:gd name="T16" fmla="*/ 17330086 w 22"/>
                <a:gd name="T17" fmla="*/ 22875917 h 46"/>
                <a:gd name="T18" fmla="*/ 18036113 w 22"/>
                <a:gd name="T19" fmla="*/ 22875917 h 46"/>
                <a:gd name="T20" fmla="*/ 18819602 w 22"/>
                <a:gd name="T21" fmla="*/ 20776711 h 46"/>
                <a:gd name="T22" fmla="*/ 20915083 w 22"/>
                <a:gd name="T23" fmla="*/ 15826221 h 46"/>
                <a:gd name="T24" fmla="*/ 18036113 w 22"/>
                <a:gd name="T25" fmla="*/ 10909138 h 46"/>
                <a:gd name="T26" fmla="*/ 17330086 w 22"/>
                <a:gd name="T27" fmla="*/ 2065424 h 46"/>
                <a:gd name="T28" fmla="*/ 16168539 w 22"/>
                <a:gd name="T29" fmla="*/ 2065424 h 46"/>
                <a:gd name="T30" fmla="*/ 15293852 w 22"/>
                <a:gd name="T31" fmla="*/ 2065424 h 46"/>
                <a:gd name="T32" fmla="*/ 12441464 w 22"/>
                <a:gd name="T33" fmla="*/ 3700325 h 46"/>
                <a:gd name="T34" fmla="*/ 5595820 w 22"/>
                <a:gd name="T35" fmla="*/ 0 h 46"/>
                <a:gd name="T36" fmla="*/ 2894074 w 22"/>
                <a:gd name="T37" fmla="*/ 2974764 h 46"/>
                <a:gd name="T38" fmla="*/ 2894074 w 22"/>
                <a:gd name="T39" fmla="*/ 10023537 h 46"/>
                <a:gd name="T40" fmla="*/ 3587761 w 22"/>
                <a:gd name="T41" fmla="*/ 12852437 h 46"/>
                <a:gd name="T42" fmla="*/ 3587761 w 22"/>
                <a:gd name="T43" fmla="*/ 15826221 h 46"/>
                <a:gd name="T44" fmla="*/ 849380 w 22"/>
                <a:gd name="T45" fmla="*/ 19514591 h 46"/>
                <a:gd name="T46" fmla="*/ 0 w 22"/>
                <a:gd name="T47" fmla="*/ 20776711 h 46"/>
                <a:gd name="T48" fmla="*/ 849380 w 22"/>
                <a:gd name="T49" fmla="*/ 24661090 h 46"/>
                <a:gd name="T50" fmla="*/ 849380 w 22"/>
                <a:gd name="T51" fmla="*/ 29543189 h 46"/>
                <a:gd name="T52" fmla="*/ 3587761 w 22"/>
                <a:gd name="T53" fmla="*/ 32528727 h 46"/>
                <a:gd name="T54" fmla="*/ 3587761 w 22"/>
                <a:gd name="T55" fmla="*/ 35348811 h 46"/>
                <a:gd name="T56" fmla="*/ 10341118 w 22"/>
                <a:gd name="T57" fmla="*/ 37501248 h 46"/>
                <a:gd name="T58" fmla="*/ 10341118 w 22"/>
                <a:gd name="T59" fmla="*/ 38388792 h 46"/>
                <a:gd name="T60" fmla="*/ 8480159 w 22"/>
                <a:gd name="T61" fmla="*/ 42552430 h 46"/>
                <a:gd name="T62" fmla="*/ 12441464 w 22"/>
                <a:gd name="T63" fmla="*/ 44684393 h 46"/>
                <a:gd name="T64" fmla="*/ 13226484 w 22"/>
                <a:gd name="T65" fmla="*/ 44684393 h 46"/>
                <a:gd name="T66" fmla="*/ 17330086 w 22"/>
                <a:gd name="T67" fmla="*/ 43266332 h 46"/>
                <a:gd name="T68" fmla="*/ 15293852 w 22"/>
                <a:gd name="T69" fmla="*/ 39578408 h 46"/>
                <a:gd name="T70" fmla="*/ 15293852 w 22"/>
                <a:gd name="T71" fmla="*/ 36758930 h 4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"/>
                <a:gd name="T109" fmla="*/ 0 h 46"/>
                <a:gd name="T110" fmla="*/ 22 w 22"/>
                <a:gd name="T111" fmla="*/ 46 h 4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" h="46">
                  <a:moveTo>
                    <a:pt x="16" y="38"/>
                  </a:moveTo>
                  <a:cubicBezTo>
                    <a:pt x="16" y="37"/>
                    <a:pt x="16" y="35"/>
                    <a:pt x="15" y="34"/>
                  </a:cubicBezTo>
                  <a:cubicBezTo>
                    <a:pt x="15" y="33"/>
                    <a:pt x="14" y="33"/>
                    <a:pt x="14" y="32"/>
                  </a:cubicBezTo>
                  <a:cubicBezTo>
                    <a:pt x="14" y="31"/>
                    <a:pt x="14" y="31"/>
                    <a:pt x="14" y="30"/>
                  </a:cubicBezTo>
                  <a:cubicBezTo>
                    <a:pt x="15" y="30"/>
                    <a:pt x="15" y="29"/>
                    <a:pt x="15" y="29"/>
                  </a:cubicBezTo>
                  <a:cubicBezTo>
                    <a:pt x="15" y="28"/>
                    <a:pt x="15" y="27"/>
                    <a:pt x="15" y="26"/>
                  </a:cubicBezTo>
                  <a:cubicBezTo>
                    <a:pt x="15" y="26"/>
                    <a:pt x="15" y="25"/>
                    <a:pt x="15" y="25"/>
                  </a:cubicBezTo>
                  <a:cubicBezTo>
                    <a:pt x="16" y="25"/>
                    <a:pt x="16" y="24"/>
                    <a:pt x="16" y="24"/>
                  </a:cubicBezTo>
                  <a:cubicBezTo>
                    <a:pt x="17" y="23"/>
                    <a:pt x="17" y="23"/>
                    <a:pt x="18" y="23"/>
                  </a:cubicBezTo>
                  <a:cubicBezTo>
                    <a:pt x="18" y="23"/>
                    <a:pt x="19" y="23"/>
                    <a:pt x="19" y="23"/>
                  </a:cubicBezTo>
                  <a:cubicBezTo>
                    <a:pt x="20" y="22"/>
                    <a:pt x="20" y="22"/>
                    <a:pt x="20" y="21"/>
                  </a:cubicBezTo>
                  <a:cubicBezTo>
                    <a:pt x="20" y="19"/>
                    <a:pt x="21" y="18"/>
                    <a:pt x="22" y="16"/>
                  </a:cubicBezTo>
                  <a:cubicBezTo>
                    <a:pt x="22" y="14"/>
                    <a:pt x="19" y="13"/>
                    <a:pt x="19" y="11"/>
                  </a:cubicBezTo>
                  <a:cubicBezTo>
                    <a:pt x="17" y="8"/>
                    <a:pt x="18" y="5"/>
                    <a:pt x="18" y="2"/>
                  </a:cubicBezTo>
                  <a:cubicBezTo>
                    <a:pt x="18" y="2"/>
                    <a:pt x="18" y="2"/>
                    <a:pt x="17" y="2"/>
                  </a:cubicBezTo>
                  <a:cubicBezTo>
                    <a:pt x="17" y="2"/>
                    <a:pt x="16" y="1"/>
                    <a:pt x="16" y="2"/>
                  </a:cubicBezTo>
                  <a:cubicBezTo>
                    <a:pt x="15" y="3"/>
                    <a:pt x="15" y="5"/>
                    <a:pt x="13" y="4"/>
                  </a:cubicBezTo>
                  <a:cubicBezTo>
                    <a:pt x="12" y="2"/>
                    <a:pt x="9" y="1"/>
                    <a:pt x="6" y="0"/>
                  </a:cubicBezTo>
                  <a:cubicBezTo>
                    <a:pt x="5" y="1"/>
                    <a:pt x="4" y="3"/>
                    <a:pt x="3" y="3"/>
                  </a:cubicBezTo>
                  <a:cubicBezTo>
                    <a:pt x="3" y="5"/>
                    <a:pt x="3" y="8"/>
                    <a:pt x="3" y="10"/>
                  </a:cubicBezTo>
                  <a:cubicBezTo>
                    <a:pt x="3" y="11"/>
                    <a:pt x="3" y="12"/>
                    <a:pt x="4" y="13"/>
                  </a:cubicBezTo>
                  <a:cubicBezTo>
                    <a:pt x="4" y="14"/>
                    <a:pt x="4" y="15"/>
                    <a:pt x="4" y="16"/>
                  </a:cubicBezTo>
                  <a:cubicBezTo>
                    <a:pt x="3" y="18"/>
                    <a:pt x="2" y="18"/>
                    <a:pt x="1" y="20"/>
                  </a:cubicBezTo>
                  <a:cubicBezTo>
                    <a:pt x="0" y="20"/>
                    <a:pt x="0" y="20"/>
                    <a:pt x="0" y="21"/>
                  </a:cubicBezTo>
                  <a:cubicBezTo>
                    <a:pt x="0" y="22"/>
                    <a:pt x="0" y="23"/>
                    <a:pt x="1" y="25"/>
                  </a:cubicBezTo>
                  <a:cubicBezTo>
                    <a:pt x="1" y="26"/>
                    <a:pt x="1" y="28"/>
                    <a:pt x="1" y="30"/>
                  </a:cubicBezTo>
                  <a:cubicBezTo>
                    <a:pt x="1" y="31"/>
                    <a:pt x="3" y="32"/>
                    <a:pt x="4" y="33"/>
                  </a:cubicBezTo>
                  <a:cubicBezTo>
                    <a:pt x="4" y="34"/>
                    <a:pt x="4" y="35"/>
                    <a:pt x="4" y="36"/>
                  </a:cubicBezTo>
                  <a:cubicBezTo>
                    <a:pt x="6" y="38"/>
                    <a:pt x="9" y="36"/>
                    <a:pt x="11" y="38"/>
                  </a:cubicBezTo>
                  <a:cubicBezTo>
                    <a:pt x="11" y="38"/>
                    <a:pt x="11" y="39"/>
                    <a:pt x="11" y="39"/>
                  </a:cubicBezTo>
                  <a:cubicBezTo>
                    <a:pt x="9" y="40"/>
                    <a:pt x="8" y="41"/>
                    <a:pt x="9" y="43"/>
                  </a:cubicBezTo>
                  <a:cubicBezTo>
                    <a:pt x="11" y="43"/>
                    <a:pt x="12" y="44"/>
                    <a:pt x="13" y="45"/>
                  </a:cubicBezTo>
                  <a:cubicBezTo>
                    <a:pt x="13" y="46"/>
                    <a:pt x="14" y="45"/>
                    <a:pt x="14" y="45"/>
                  </a:cubicBezTo>
                  <a:cubicBezTo>
                    <a:pt x="15" y="44"/>
                    <a:pt x="17" y="43"/>
                    <a:pt x="18" y="44"/>
                  </a:cubicBezTo>
                  <a:cubicBezTo>
                    <a:pt x="19" y="42"/>
                    <a:pt x="17" y="41"/>
                    <a:pt x="16" y="40"/>
                  </a:cubicBezTo>
                  <a:cubicBezTo>
                    <a:pt x="16" y="39"/>
                    <a:pt x="16" y="38"/>
                    <a:pt x="16" y="37"/>
                  </a:cubicBezTo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5" name="Freeform 259"/>
            <p:cNvSpPr>
              <a:spLocks/>
            </p:cNvSpPr>
            <p:nvPr/>
          </p:nvSpPr>
          <p:spPr bwMode="auto">
            <a:xfrm>
              <a:off x="7210937" y="3323745"/>
              <a:ext cx="208690" cy="163850"/>
            </a:xfrm>
            <a:custGeom>
              <a:avLst/>
              <a:gdLst>
                <a:gd name="T0" fmla="*/ 804971826 w 448"/>
                <a:gd name="T1" fmla="*/ 352678359 h 338"/>
                <a:gd name="T2" fmla="*/ 815423049 w 448"/>
                <a:gd name="T3" fmla="*/ 323450363 h 338"/>
                <a:gd name="T4" fmla="*/ 771419330 w 448"/>
                <a:gd name="T5" fmla="*/ 334687268 h 338"/>
                <a:gd name="T6" fmla="*/ 747255826 w 448"/>
                <a:gd name="T7" fmla="*/ 359533304 h 338"/>
                <a:gd name="T8" fmla="*/ 815423049 w 448"/>
                <a:gd name="T9" fmla="*/ 377213948 h 338"/>
                <a:gd name="T10" fmla="*/ 808642178 w 448"/>
                <a:gd name="T11" fmla="*/ 402218838 h 338"/>
                <a:gd name="T12" fmla="*/ 811868775 w 448"/>
                <a:gd name="T13" fmla="*/ 458069920 h 338"/>
                <a:gd name="T14" fmla="*/ 846263439 w 448"/>
                <a:gd name="T15" fmla="*/ 512474368 h 338"/>
                <a:gd name="T16" fmla="*/ 846263439 w 448"/>
                <a:gd name="T17" fmla="*/ 530532026 h 338"/>
                <a:gd name="T18" fmla="*/ 837877431 w 448"/>
                <a:gd name="T19" fmla="*/ 543773825 h 338"/>
                <a:gd name="T20" fmla="*/ 846263439 w 448"/>
                <a:gd name="T21" fmla="*/ 577970180 h 338"/>
                <a:gd name="T22" fmla="*/ 822940288 w 448"/>
                <a:gd name="T23" fmla="*/ 616263769 h 338"/>
                <a:gd name="T24" fmla="*/ 798298568 w 448"/>
                <a:gd name="T25" fmla="*/ 667295814 h 338"/>
                <a:gd name="T26" fmla="*/ 751589997 w 448"/>
                <a:gd name="T27" fmla="*/ 708319579 h 338"/>
                <a:gd name="T28" fmla="*/ 722573599 w 448"/>
                <a:gd name="T29" fmla="*/ 705448097 h 338"/>
                <a:gd name="T30" fmla="*/ 678607968 w 448"/>
                <a:gd name="T31" fmla="*/ 734866718 h 338"/>
                <a:gd name="T32" fmla="*/ 655911758 w 448"/>
                <a:gd name="T33" fmla="*/ 733152301 h 338"/>
                <a:gd name="T34" fmla="*/ 623508098 w 448"/>
                <a:gd name="T35" fmla="*/ 729908041 h 338"/>
                <a:gd name="T36" fmla="*/ 579595972 w 448"/>
                <a:gd name="T37" fmla="*/ 692116433 h 338"/>
                <a:gd name="T38" fmla="*/ 541796362 w 448"/>
                <a:gd name="T39" fmla="*/ 708319579 h 338"/>
                <a:gd name="T40" fmla="*/ 510946300 w 448"/>
                <a:gd name="T41" fmla="*/ 728415112 h 338"/>
                <a:gd name="T42" fmla="*/ 479175173 w 448"/>
                <a:gd name="T43" fmla="*/ 710330525 h 338"/>
                <a:gd name="T44" fmla="*/ 446333351 w 448"/>
                <a:gd name="T45" fmla="*/ 667295814 h 338"/>
                <a:gd name="T46" fmla="*/ 451152388 w 448"/>
                <a:gd name="T47" fmla="*/ 600075448 h 338"/>
                <a:gd name="T48" fmla="*/ 417406429 w 448"/>
                <a:gd name="T49" fmla="*/ 570356668 h 338"/>
                <a:gd name="T50" fmla="*/ 378172173 w 448"/>
                <a:gd name="T51" fmla="*/ 563868450 h 338"/>
                <a:gd name="T52" fmla="*/ 324573605 w 448"/>
                <a:gd name="T53" fmla="*/ 591274915 h 338"/>
                <a:gd name="T54" fmla="*/ 276276598 w 448"/>
                <a:gd name="T55" fmla="*/ 609267216 h 338"/>
                <a:gd name="T56" fmla="*/ 216355424 w 448"/>
                <a:gd name="T57" fmla="*/ 580067361 h 338"/>
                <a:gd name="T58" fmla="*/ 178739000 w 448"/>
                <a:gd name="T59" fmla="*/ 555519971 h 338"/>
                <a:gd name="T60" fmla="*/ 128416189 w 448"/>
                <a:gd name="T61" fmla="*/ 528456934 h 338"/>
                <a:gd name="T62" fmla="*/ 114994858 w 448"/>
                <a:gd name="T63" fmla="*/ 492738602 h 338"/>
                <a:gd name="T64" fmla="*/ 70996938 w 448"/>
                <a:gd name="T65" fmla="*/ 422286231 h 338"/>
                <a:gd name="T66" fmla="*/ 37221384 w 448"/>
                <a:gd name="T67" fmla="*/ 393729962 h 338"/>
                <a:gd name="T68" fmla="*/ 15761045 w 448"/>
                <a:gd name="T69" fmla="*/ 352678359 h 338"/>
                <a:gd name="T70" fmla="*/ 28863054 w 448"/>
                <a:gd name="T71" fmla="*/ 312880874 h 338"/>
                <a:gd name="T72" fmla="*/ 97512773 w 448"/>
                <a:gd name="T73" fmla="*/ 285173795 h 338"/>
                <a:gd name="T74" fmla="*/ 101845282 w 448"/>
                <a:gd name="T75" fmla="*/ 235632560 h 338"/>
                <a:gd name="T76" fmla="*/ 116986693 w 448"/>
                <a:gd name="T77" fmla="*/ 206344957 h 338"/>
                <a:gd name="T78" fmla="*/ 139422862 w 448"/>
                <a:gd name="T79" fmla="*/ 161649688 h 338"/>
                <a:gd name="T80" fmla="*/ 207590652 w 448"/>
                <a:gd name="T81" fmla="*/ 112294880 h 338"/>
                <a:gd name="T82" fmla="*/ 245424420 w 448"/>
                <a:gd name="T83" fmla="*/ 136828880 h 338"/>
                <a:gd name="T84" fmla="*/ 269587320 w 448"/>
                <a:gd name="T85" fmla="*/ 199377452 h 338"/>
                <a:gd name="T86" fmla="*/ 355513144 w 448"/>
                <a:gd name="T87" fmla="*/ 230882361 h 338"/>
                <a:gd name="T88" fmla="*/ 499845767 w 448"/>
                <a:gd name="T89" fmla="*/ 285173795 h 338"/>
                <a:gd name="T90" fmla="*/ 615133880 w 448"/>
                <a:gd name="T91" fmla="*/ 260697361 h 338"/>
                <a:gd name="T92" fmla="*/ 621516943 w 448"/>
                <a:gd name="T93" fmla="*/ 211190318 h 338"/>
                <a:gd name="T94" fmla="*/ 672197094 w 448"/>
                <a:gd name="T95" fmla="*/ 195846649 h 338"/>
                <a:gd name="T96" fmla="*/ 725439871 w 448"/>
                <a:gd name="T97" fmla="*/ 168129131 h 338"/>
                <a:gd name="T98" fmla="*/ 711501481 w 448"/>
                <a:gd name="T99" fmla="*/ 132357659 h 338"/>
                <a:gd name="T100" fmla="*/ 678607968 w 448"/>
                <a:gd name="T101" fmla="*/ 103805097 h 338"/>
                <a:gd name="T102" fmla="*/ 720533776 w 448"/>
                <a:gd name="T103" fmla="*/ 82848800 h 338"/>
                <a:gd name="T104" fmla="*/ 722573599 w 448"/>
                <a:gd name="T105" fmla="*/ 24486013 h 338"/>
                <a:gd name="T106" fmla="*/ 789173170 w 448"/>
                <a:gd name="T107" fmla="*/ 6854640 h 338"/>
                <a:gd name="T108" fmla="*/ 853789142 w 448"/>
                <a:gd name="T109" fmla="*/ 76088506 h 338"/>
                <a:gd name="T110" fmla="*/ 915634364 w 448"/>
                <a:gd name="T111" fmla="*/ 115035194 h 338"/>
                <a:gd name="T112" fmla="*/ 963932353 w 448"/>
                <a:gd name="T113" fmla="*/ 135103041 h 338"/>
                <a:gd name="T114" fmla="*/ 985749516 w 448"/>
                <a:gd name="T115" fmla="*/ 150080286 h 338"/>
                <a:gd name="T116" fmla="*/ 961257730 w 448"/>
                <a:gd name="T117" fmla="*/ 199377452 h 338"/>
                <a:gd name="T118" fmla="*/ 950157197 w 448"/>
                <a:gd name="T119" fmla="*/ 260697361 h 338"/>
                <a:gd name="T120" fmla="*/ 930316981 w 448"/>
                <a:gd name="T121" fmla="*/ 267088905 h 338"/>
                <a:gd name="T122" fmla="*/ 897785002 w 448"/>
                <a:gd name="T123" fmla="*/ 288043008 h 338"/>
                <a:gd name="T124" fmla="*/ 853789142 w 448"/>
                <a:gd name="T125" fmla="*/ 326197788 h 33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48"/>
                <a:gd name="T190" fmla="*/ 0 h 338"/>
                <a:gd name="T191" fmla="*/ 448 w 448"/>
                <a:gd name="T192" fmla="*/ 338 h 33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48" h="338">
                  <a:moveTo>
                    <a:pt x="386" y="145"/>
                  </a:moveTo>
                  <a:cubicBezTo>
                    <a:pt x="385" y="145"/>
                    <a:pt x="383" y="145"/>
                    <a:pt x="382" y="146"/>
                  </a:cubicBezTo>
                  <a:cubicBezTo>
                    <a:pt x="382" y="146"/>
                    <a:pt x="381" y="146"/>
                    <a:pt x="380" y="146"/>
                  </a:cubicBezTo>
                  <a:cubicBezTo>
                    <a:pt x="378" y="147"/>
                    <a:pt x="377" y="148"/>
                    <a:pt x="376" y="149"/>
                  </a:cubicBezTo>
                  <a:cubicBezTo>
                    <a:pt x="375" y="149"/>
                    <a:pt x="374" y="149"/>
                    <a:pt x="373" y="149"/>
                  </a:cubicBezTo>
                  <a:cubicBezTo>
                    <a:pt x="372" y="150"/>
                    <a:pt x="371" y="151"/>
                    <a:pt x="370" y="153"/>
                  </a:cubicBezTo>
                  <a:cubicBezTo>
                    <a:pt x="369" y="155"/>
                    <a:pt x="367" y="155"/>
                    <a:pt x="365" y="157"/>
                  </a:cubicBezTo>
                  <a:cubicBezTo>
                    <a:pt x="365" y="157"/>
                    <a:pt x="364" y="157"/>
                    <a:pt x="364" y="157"/>
                  </a:cubicBezTo>
                  <a:cubicBezTo>
                    <a:pt x="364" y="156"/>
                    <a:pt x="364" y="156"/>
                    <a:pt x="364" y="155"/>
                  </a:cubicBezTo>
                  <a:cubicBezTo>
                    <a:pt x="365" y="155"/>
                    <a:pt x="365" y="154"/>
                    <a:pt x="366" y="153"/>
                  </a:cubicBezTo>
                  <a:cubicBezTo>
                    <a:pt x="366" y="153"/>
                    <a:pt x="366" y="152"/>
                    <a:pt x="366" y="151"/>
                  </a:cubicBezTo>
                  <a:cubicBezTo>
                    <a:pt x="365" y="150"/>
                    <a:pt x="364" y="150"/>
                    <a:pt x="364" y="149"/>
                  </a:cubicBezTo>
                  <a:cubicBezTo>
                    <a:pt x="364" y="148"/>
                    <a:pt x="364" y="148"/>
                    <a:pt x="364" y="147"/>
                  </a:cubicBezTo>
                  <a:cubicBezTo>
                    <a:pt x="364" y="147"/>
                    <a:pt x="364" y="147"/>
                    <a:pt x="365" y="146"/>
                  </a:cubicBezTo>
                  <a:cubicBezTo>
                    <a:pt x="365" y="146"/>
                    <a:pt x="366" y="146"/>
                    <a:pt x="367" y="146"/>
                  </a:cubicBezTo>
                  <a:cubicBezTo>
                    <a:pt x="368" y="145"/>
                    <a:pt x="368" y="144"/>
                    <a:pt x="369" y="144"/>
                  </a:cubicBezTo>
                  <a:cubicBezTo>
                    <a:pt x="371" y="143"/>
                    <a:pt x="370" y="142"/>
                    <a:pt x="370" y="140"/>
                  </a:cubicBezTo>
                  <a:cubicBezTo>
                    <a:pt x="368" y="139"/>
                    <a:pt x="367" y="137"/>
                    <a:pt x="366" y="135"/>
                  </a:cubicBezTo>
                  <a:cubicBezTo>
                    <a:pt x="366" y="134"/>
                    <a:pt x="366" y="134"/>
                    <a:pt x="365" y="134"/>
                  </a:cubicBezTo>
                  <a:cubicBezTo>
                    <a:pt x="363" y="136"/>
                    <a:pt x="361" y="134"/>
                    <a:pt x="359" y="136"/>
                  </a:cubicBezTo>
                  <a:cubicBezTo>
                    <a:pt x="359" y="137"/>
                    <a:pt x="359" y="139"/>
                    <a:pt x="358" y="141"/>
                  </a:cubicBezTo>
                  <a:cubicBezTo>
                    <a:pt x="357" y="142"/>
                    <a:pt x="356" y="144"/>
                    <a:pt x="355" y="145"/>
                  </a:cubicBezTo>
                  <a:cubicBezTo>
                    <a:pt x="354" y="146"/>
                    <a:pt x="352" y="146"/>
                    <a:pt x="351" y="147"/>
                  </a:cubicBezTo>
                  <a:cubicBezTo>
                    <a:pt x="350" y="147"/>
                    <a:pt x="349" y="148"/>
                    <a:pt x="349" y="149"/>
                  </a:cubicBezTo>
                  <a:cubicBezTo>
                    <a:pt x="349" y="150"/>
                    <a:pt x="349" y="152"/>
                    <a:pt x="348" y="153"/>
                  </a:cubicBezTo>
                  <a:cubicBezTo>
                    <a:pt x="348" y="153"/>
                    <a:pt x="348" y="153"/>
                    <a:pt x="348" y="154"/>
                  </a:cubicBezTo>
                  <a:cubicBezTo>
                    <a:pt x="346" y="154"/>
                    <a:pt x="345" y="155"/>
                    <a:pt x="344" y="154"/>
                  </a:cubicBezTo>
                  <a:cubicBezTo>
                    <a:pt x="344" y="154"/>
                    <a:pt x="343" y="154"/>
                    <a:pt x="343" y="153"/>
                  </a:cubicBezTo>
                  <a:cubicBezTo>
                    <a:pt x="343" y="153"/>
                    <a:pt x="342" y="153"/>
                    <a:pt x="341" y="153"/>
                  </a:cubicBezTo>
                  <a:cubicBezTo>
                    <a:pt x="340" y="154"/>
                    <a:pt x="339" y="155"/>
                    <a:pt x="338" y="156"/>
                  </a:cubicBezTo>
                  <a:cubicBezTo>
                    <a:pt x="338" y="156"/>
                    <a:pt x="338" y="157"/>
                    <a:pt x="338" y="157"/>
                  </a:cubicBezTo>
                  <a:cubicBezTo>
                    <a:pt x="338" y="158"/>
                    <a:pt x="338" y="159"/>
                    <a:pt x="338" y="160"/>
                  </a:cubicBezTo>
                  <a:cubicBezTo>
                    <a:pt x="339" y="161"/>
                    <a:pt x="340" y="161"/>
                    <a:pt x="341" y="162"/>
                  </a:cubicBezTo>
                  <a:cubicBezTo>
                    <a:pt x="342" y="164"/>
                    <a:pt x="343" y="165"/>
                    <a:pt x="344" y="166"/>
                  </a:cubicBezTo>
                  <a:cubicBezTo>
                    <a:pt x="345" y="167"/>
                    <a:pt x="347" y="167"/>
                    <a:pt x="348" y="167"/>
                  </a:cubicBezTo>
                  <a:cubicBezTo>
                    <a:pt x="349" y="168"/>
                    <a:pt x="351" y="169"/>
                    <a:pt x="353" y="170"/>
                  </a:cubicBezTo>
                  <a:cubicBezTo>
                    <a:pt x="353" y="170"/>
                    <a:pt x="353" y="171"/>
                    <a:pt x="353" y="171"/>
                  </a:cubicBezTo>
                  <a:cubicBezTo>
                    <a:pt x="355" y="171"/>
                    <a:pt x="357" y="171"/>
                    <a:pt x="358" y="170"/>
                  </a:cubicBezTo>
                  <a:cubicBezTo>
                    <a:pt x="359" y="168"/>
                    <a:pt x="359" y="166"/>
                    <a:pt x="361" y="166"/>
                  </a:cubicBezTo>
                  <a:cubicBezTo>
                    <a:pt x="364" y="165"/>
                    <a:pt x="366" y="167"/>
                    <a:pt x="369" y="168"/>
                  </a:cubicBezTo>
                  <a:cubicBezTo>
                    <a:pt x="369" y="168"/>
                    <a:pt x="371" y="168"/>
                    <a:pt x="371" y="167"/>
                  </a:cubicBezTo>
                  <a:cubicBezTo>
                    <a:pt x="373" y="167"/>
                    <a:pt x="375" y="167"/>
                    <a:pt x="377" y="167"/>
                  </a:cubicBezTo>
                  <a:cubicBezTo>
                    <a:pt x="377" y="168"/>
                    <a:pt x="377" y="169"/>
                    <a:pt x="377" y="169"/>
                  </a:cubicBezTo>
                  <a:cubicBezTo>
                    <a:pt x="376" y="170"/>
                    <a:pt x="376" y="171"/>
                    <a:pt x="376" y="171"/>
                  </a:cubicBezTo>
                  <a:cubicBezTo>
                    <a:pt x="378" y="172"/>
                    <a:pt x="378" y="174"/>
                    <a:pt x="378" y="175"/>
                  </a:cubicBezTo>
                  <a:cubicBezTo>
                    <a:pt x="376" y="176"/>
                    <a:pt x="374" y="175"/>
                    <a:pt x="373" y="176"/>
                  </a:cubicBezTo>
                  <a:cubicBezTo>
                    <a:pt x="371" y="176"/>
                    <a:pt x="370" y="176"/>
                    <a:pt x="369" y="176"/>
                  </a:cubicBezTo>
                  <a:cubicBezTo>
                    <a:pt x="368" y="177"/>
                    <a:pt x="366" y="178"/>
                    <a:pt x="366" y="179"/>
                  </a:cubicBezTo>
                  <a:cubicBezTo>
                    <a:pt x="365" y="181"/>
                    <a:pt x="365" y="181"/>
                    <a:pt x="364" y="183"/>
                  </a:cubicBezTo>
                  <a:cubicBezTo>
                    <a:pt x="364" y="183"/>
                    <a:pt x="363" y="185"/>
                    <a:pt x="363" y="185"/>
                  </a:cubicBezTo>
                  <a:cubicBezTo>
                    <a:pt x="363" y="186"/>
                    <a:pt x="363" y="187"/>
                    <a:pt x="362" y="189"/>
                  </a:cubicBezTo>
                  <a:cubicBezTo>
                    <a:pt x="362" y="189"/>
                    <a:pt x="361" y="189"/>
                    <a:pt x="361" y="189"/>
                  </a:cubicBezTo>
                  <a:cubicBezTo>
                    <a:pt x="360" y="189"/>
                    <a:pt x="360" y="190"/>
                    <a:pt x="359" y="190"/>
                  </a:cubicBezTo>
                  <a:cubicBezTo>
                    <a:pt x="357" y="191"/>
                    <a:pt x="356" y="194"/>
                    <a:pt x="357" y="196"/>
                  </a:cubicBezTo>
                  <a:cubicBezTo>
                    <a:pt x="358" y="199"/>
                    <a:pt x="362" y="199"/>
                    <a:pt x="364" y="200"/>
                  </a:cubicBezTo>
                  <a:cubicBezTo>
                    <a:pt x="366" y="201"/>
                    <a:pt x="366" y="203"/>
                    <a:pt x="367" y="204"/>
                  </a:cubicBezTo>
                  <a:cubicBezTo>
                    <a:pt x="368" y="204"/>
                    <a:pt x="368" y="205"/>
                    <a:pt x="368" y="205"/>
                  </a:cubicBezTo>
                  <a:cubicBezTo>
                    <a:pt x="368" y="207"/>
                    <a:pt x="368" y="209"/>
                    <a:pt x="369" y="210"/>
                  </a:cubicBezTo>
                  <a:cubicBezTo>
                    <a:pt x="369" y="211"/>
                    <a:pt x="370" y="212"/>
                    <a:pt x="371" y="213"/>
                  </a:cubicBezTo>
                  <a:cubicBezTo>
                    <a:pt x="372" y="214"/>
                    <a:pt x="371" y="216"/>
                    <a:pt x="372" y="217"/>
                  </a:cubicBezTo>
                  <a:cubicBezTo>
                    <a:pt x="373" y="219"/>
                    <a:pt x="374" y="219"/>
                    <a:pt x="376" y="220"/>
                  </a:cubicBezTo>
                  <a:cubicBezTo>
                    <a:pt x="377" y="220"/>
                    <a:pt x="377" y="221"/>
                    <a:pt x="378" y="222"/>
                  </a:cubicBezTo>
                  <a:cubicBezTo>
                    <a:pt x="380" y="223"/>
                    <a:pt x="382" y="224"/>
                    <a:pt x="383" y="226"/>
                  </a:cubicBezTo>
                  <a:cubicBezTo>
                    <a:pt x="383" y="226"/>
                    <a:pt x="383" y="227"/>
                    <a:pt x="383" y="228"/>
                  </a:cubicBezTo>
                  <a:cubicBezTo>
                    <a:pt x="381" y="228"/>
                    <a:pt x="379" y="226"/>
                    <a:pt x="377" y="225"/>
                  </a:cubicBezTo>
                  <a:cubicBezTo>
                    <a:pt x="376" y="225"/>
                    <a:pt x="375" y="225"/>
                    <a:pt x="374" y="224"/>
                  </a:cubicBezTo>
                  <a:cubicBezTo>
                    <a:pt x="373" y="223"/>
                    <a:pt x="371" y="223"/>
                    <a:pt x="370" y="223"/>
                  </a:cubicBezTo>
                  <a:cubicBezTo>
                    <a:pt x="371" y="224"/>
                    <a:pt x="373" y="225"/>
                    <a:pt x="375" y="225"/>
                  </a:cubicBezTo>
                  <a:cubicBezTo>
                    <a:pt x="377" y="226"/>
                    <a:pt x="378" y="227"/>
                    <a:pt x="380" y="228"/>
                  </a:cubicBezTo>
                  <a:cubicBezTo>
                    <a:pt x="380" y="229"/>
                    <a:pt x="381" y="230"/>
                    <a:pt x="381" y="231"/>
                  </a:cubicBezTo>
                  <a:cubicBezTo>
                    <a:pt x="383" y="232"/>
                    <a:pt x="384" y="233"/>
                    <a:pt x="384" y="235"/>
                  </a:cubicBezTo>
                  <a:cubicBezTo>
                    <a:pt x="383" y="235"/>
                    <a:pt x="383" y="236"/>
                    <a:pt x="383" y="236"/>
                  </a:cubicBezTo>
                  <a:cubicBezTo>
                    <a:pt x="381" y="236"/>
                    <a:pt x="380" y="235"/>
                    <a:pt x="379" y="236"/>
                  </a:cubicBezTo>
                  <a:cubicBezTo>
                    <a:pt x="378" y="237"/>
                    <a:pt x="377" y="238"/>
                    <a:pt x="376" y="239"/>
                  </a:cubicBezTo>
                  <a:cubicBezTo>
                    <a:pt x="375" y="240"/>
                    <a:pt x="374" y="239"/>
                    <a:pt x="373" y="240"/>
                  </a:cubicBezTo>
                  <a:cubicBezTo>
                    <a:pt x="373" y="240"/>
                    <a:pt x="373" y="240"/>
                    <a:pt x="373" y="240"/>
                  </a:cubicBezTo>
                  <a:cubicBezTo>
                    <a:pt x="373" y="240"/>
                    <a:pt x="374" y="241"/>
                    <a:pt x="374" y="241"/>
                  </a:cubicBezTo>
                  <a:cubicBezTo>
                    <a:pt x="375" y="241"/>
                    <a:pt x="375" y="243"/>
                    <a:pt x="376" y="243"/>
                  </a:cubicBezTo>
                  <a:cubicBezTo>
                    <a:pt x="376" y="243"/>
                    <a:pt x="377" y="243"/>
                    <a:pt x="378" y="243"/>
                  </a:cubicBezTo>
                  <a:cubicBezTo>
                    <a:pt x="378" y="243"/>
                    <a:pt x="379" y="242"/>
                    <a:pt x="379" y="242"/>
                  </a:cubicBezTo>
                  <a:cubicBezTo>
                    <a:pt x="380" y="241"/>
                    <a:pt x="380" y="241"/>
                    <a:pt x="381" y="242"/>
                  </a:cubicBezTo>
                  <a:cubicBezTo>
                    <a:pt x="382" y="243"/>
                    <a:pt x="383" y="244"/>
                    <a:pt x="384" y="246"/>
                  </a:cubicBezTo>
                  <a:cubicBezTo>
                    <a:pt x="384" y="246"/>
                    <a:pt x="384" y="247"/>
                    <a:pt x="384" y="247"/>
                  </a:cubicBezTo>
                  <a:cubicBezTo>
                    <a:pt x="384" y="248"/>
                    <a:pt x="383" y="248"/>
                    <a:pt x="383" y="248"/>
                  </a:cubicBezTo>
                  <a:cubicBezTo>
                    <a:pt x="383" y="249"/>
                    <a:pt x="384" y="249"/>
                    <a:pt x="385" y="249"/>
                  </a:cubicBezTo>
                  <a:cubicBezTo>
                    <a:pt x="385" y="249"/>
                    <a:pt x="385" y="250"/>
                    <a:pt x="385" y="250"/>
                  </a:cubicBezTo>
                  <a:cubicBezTo>
                    <a:pt x="385" y="251"/>
                    <a:pt x="384" y="252"/>
                    <a:pt x="383" y="253"/>
                  </a:cubicBezTo>
                  <a:cubicBezTo>
                    <a:pt x="383" y="254"/>
                    <a:pt x="382" y="256"/>
                    <a:pt x="383" y="257"/>
                  </a:cubicBezTo>
                  <a:cubicBezTo>
                    <a:pt x="383" y="258"/>
                    <a:pt x="384" y="259"/>
                    <a:pt x="384" y="260"/>
                  </a:cubicBezTo>
                  <a:cubicBezTo>
                    <a:pt x="383" y="261"/>
                    <a:pt x="383" y="262"/>
                    <a:pt x="382" y="262"/>
                  </a:cubicBezTo>
                  <a:cubicBezTo>
                    <a:pt x="381" y="262"/>
                    <a:pt x="380" y="262"/>
                    <a:pt x="379" y="263"/>
                  </a:cubicBezTo>
                  <a:cubicBezTo>
                    <a:pt x="379" y="263"/>
                    <a:pt x="379" y="264"/>
                    <a:pt x="379" y="264"/>
                  </a:cubicBezTo>
                  <a:cubicBezTo>
                    <a:pt x="379" y="265"/>
                    <a:pt x="378" y="266"/>
                    <a:pt x="378" y="267"/>
                  </a:cubicBezTo>
                  <a:cubicBezTo>
                    <a:pt x="378" y="268"/>
                    <a:pt x="378" y="270"/>
                    <a:pt x="377" y="271"/>
                  </a:cubicBezTo>
                  <a:cubicBezTo>
                    <a:pt x="377" y="272"/>
                    <a:pt x="376" y="272"/>
                    <a:pt x="376" y="272"/>
                  </a:cubicBezTo>
                  <a:cubicBezTo>
                    <a:pt x="375" y="273"/>
                    <a:pt x="373" y="273"/>
                    <a:pt x="372" y="274"/>
                  </a:cubicBezTo>
                  <a:cubicBezTo>
                    <a:pt x="372" y="275"/>
                    <a:pt x="371" y="276"/>
                    <a:pt x="371" y="277"/>
                  </a:cubicBezTo>
                  <a:cubicBezTo>
                    <a:pt x="370" y="279"/>
                    <a:pt x="372" y="281"/>
                    <a:pt x="371" y="283"/>
                  </a:cubicBezTo>
                  <a:cubicBezTo>
                    <a:pt x="371" y="285"/>
                    <a:pt x="372" y="287"/>
                    <a:pt x="370" y="288"/>
                  </a:cubicBezTo>
                  <a:cubicBezTo>
                    <a:pt x="370" y="289"/>
                    <a:pt x="369" y="289"/>
                    <a:pt x="368" y="289"/>
                  </a:cubicBezTo>
                  <a:cubicBezTo>
                    <a:pt x="367" y="291"/>
                    <a:pt x="366" y="293"/>
                    <a:pt x="365" y="295"/>
                  </a:cubicBezTo>
                  <a:cubicBezTo>
                    <a:pt x="364" y="296"/>
                    <a:pt x="363" y="296"/>
                    <a:pt x="362" y="296"/>
                  </a:cubicBezTo>
                  <a:cubicBezTo>
                    <a:pt x="361" y="296"/>
                    <a:pt x="360" y="297"/>
                    <a:pt x="360" y="298"/>
                  </a:cubicBezTo>
                  <a:cubicBezTo>
                    <a:pt x="361" y="297"/>
                    <a:pt x="361" y="297"/>
                    <a:pt x="361" y="297"/>
                  </a:cubicBezTo>
                  <a:cubicBezTo>
                    <a:pt x="360" y="300"/>
                    <a:pt x="359" y="302"/>
                    <a:pt x="357" y="303"/>
                  </a:cubicBezTo>
                  <a:cubicBezTo>
                    <a:pt x="356" y="304"/>
                    <a:pt x="354" y="305"/>
                    <a:pt x="353" y="305"/>
                  </a:cubicBezTo>
                  <a:cubicBezTo>
                    <a:pt x="352" y="305"/>
                    <a:pt x="351" y="306"/>
                    <a:pt x="351" y="306"/>
                  </a:cubicBezTo>
                  <a:cubicBezTo>
                    <a:pt x="351" y="308"/>
                    <a:pt x="350" y="310"/>
                    <a:pt x="349" y="312"/>
                  </a:cubicBezTo>
                  <a:cubicBezTo>
                    <a:pt x="349" y="312"/>
                    <a:pt x="349" y="313"/>
                    <a:pt x="348" y="313"/>
                  </a:cubicBezTo>
                  <a:cubicBezTo>
                    <a:pt x="346" y="314"/>
                    <a:pt x="345" y="313"/>
                    <a:pt x="344" y="314"/>
                  </a:cubicBezTo>
                  <a:cubicBezTo>
                    <a:pt x="343" y="314"/>
                    <a:pt x="342" y="315"/>
                    <a:pt x="342" y="315"/>
                  </a:cubicBezTo>
                  <a:cubicBezTo>
                    <a:pt x="342" y="315"/>
                    <a:pt x="341" y="315"/>
                    <a:pt x="340" y="315"/>
                  </a:cubicBezTo>
                  <a:cubicBezTo>
                    <a:pt x="339" y="315"/>
                    <a:pt x="339" y="314"/>
                    <a:pt x="339" y="313"/>
                  </a:cubicBezTo>
                  <a:cubicBezTo>
                    <a:pt x="339" y="313"/>
                    <a:pt x="338" y="313"/>
                    <a:pt x="338" y="313"/>
                  </a:cubicBezTo>
                  <a:cubicBezTo>
                    <a:pt x="337" y="314"/>
                    <a:pt x="336" y="314"/>
                    <a:pt x="335" y="315"/>
                  </a:cubicBezTo>
                  <a:cubicBezTo>
                    <a:pt x="334" y="316"/>
                    <a:pt x="333" y="317"/>
                    <a:pt x="332" y="317"/>
                  </a:cubicBezTo>
                  <a:cubicBezTo>
                    <a:pt x="332" y="318"/>
                    <a:pt x="331" y="318"/>
                    <a:pt x="330" y="317"/>
                  </a:cubicBezTo>
                  <a:cubicBezTo>
                    <a:pt x="329" y="315"/>
                    <a:pt x="328" y="314"/>
                    <a:pt x="328" y="312"/>
                  </a:cubicBezTo>
                  <a:cubicBezTo>
                    <a:pt x="327" y="312"/>
                    <a:pt x="327" y="312"/>
                    <a:pt x="327" y="312"/>
                  </a:cubicBezTo>
                  <a:cubicBezTo>
                    <a:pt x="327" y="313"/>
                    <a:pt x="327" y="314"/>
                    <a:pt x="327" y="314"/>
                  </a:cubicBezTo>
                  <a:cubicBezTo>
                    <a:pt x="327" y="316"/>
                    <a:pt x="327" y="317"/>
                    <a:pt x="327" y="319"/>
                  </a:cubicBezTo>
                  <a:cubicBezTo>
                    <a:pt x="327" y="319"/>
                    <a:pt x="327" y="319"/>
                    <a:pt x="326" y="319"/>
                  </a:cubicBezTo>
                  <a:cubicBezTo>
                    <a:pt x="326" y="320"/>
                    <a:pt x="326" y="319"/>
                    <a:pt x="325" y="320"/>
                  </a:cubicBezTo>
                  <a:cubicBezTo>
                    <a:pt x="324" y="321"/>
                    <a:pt x="324" y="321"/>
                    <a:pt x="323" y="322"/>
                  </a:cubicBezTo>
                  <a:cubicBezTo>
                    <a:pt x="321" y="322"/>
                    <a:pt x="320" y="322"/>
                    <a:pt x="319" y="322"/>
                  </a:cubicBezTo>
                  <a:cubicBezTo>
                    <a:pt x="317" y="323"/>
                    <a:pt x="315" y="324"/>
                    <a:pt x="313" y="325"/>
                  </a:cubicBezTo>
                  <a:cubicBezTo>
                    <a:pt x="312" y="325"/>
                    <a:pt x="311" y="325"/>
                    <a:pt x="309" y="325"/>
                  </a:cubicBezTo>
                  <a:cubicBezTo>
                    <a:pt x="308" y="325"/>
                    <a:pt x="308" y="326"/>
                    <a:pt x="307" y="327"/>
                  </a:cubicBezTo>
                  <a:cubicBezTo>
                    <a:pt x="305" y="327"/>
                    <a:pt x="302" y="329"/>
                    <a:pt x="303" y="331"/>
                  </a:cubicBezTo>
                  <a:cubicBezTo>
                    <a:pt x="303" y="332"/>
                    <a:pt x="305" y="332"/>
                    <a:pt x="305" y="333"/>
                  </a:cubicBezTo>
                  <a:cubicBezTo>
                    <a:pt x="306" y="334"/>
                    <a:pt x="306" y="334"/>
                    <a:pt x="305" y="335"/>
                  </a:cubicBezTo>
                  <a:cubicBezTo>
                    <a:pt x="305" y="335"/>
                    <a:pt x="305" y="336"/>
                    <a:pt x="304" y="336"/>
                  </a:cubicBezTo>
                  <a:cubicBezTo>
                    <a:pt x="304" y="336"/>
                    <a:pt x="304" y="337"/>
                    <a:pt x="303" y="337"/>
                  </a:cubicBezTo>
                  <a:cubicBezTo>
                    <a:pt x="301" y="338"/>
                    <a:pt x="300" y="335"/>
                    <a:pt x="299" y="334"/>
                  </a:cubicBezTo>
                  <a:cubicBezTo>
                    <a:pt x="298" y="334"/>
                    <a:pt x="297" y="334"/>
                    <a:pt x="297" y="333"/>
                  </a:cubicBezTo>
                  <a:cubicBezTo>
                    <a:pt x="296" y="331"/>
                    <a:pt x="296" y="328"/>
                    <a:pt x="297" y="326"/>
                  </a:cubicBezTo>
                  <a:cubicBezTo>
                    <a:pt x="297" y="325"/>
                    <a:pt x="297" y="325"/>
                    <a:pt x="297" y="324"/>
                  </a:cubicBezTo>
                  <a:cubicBezTo>
                    <a:pt x="296" y="324"/>
                    <a:pt x="296" y="323"/>
                    <a:pt x="295" y="324"/>
                  </a:cubicBezTo>
                  <a:cubicBezTo>
                    <a:pt x="294" y="324"/>
                    <a:pt x="293" y="324"/>
                    <a:pt x="292" y="324"/>
                  </a:cubicBezTo>
                  <a:cubicBezTo>
                    <a:pt x="292" y="324"/>
                    <a:pt x="291" y="323"/>
                    <a:pt x="291" y="322"/>
                  </a:cubicBezTo>
                  <a:cubicBezTo>
                    <a:pt x="290" y="322"/>
                    <a:pt x="290" y="322"/>
                    <a:pt x="289" y="322"/>
                  </a:cubicBezTo>
                  <a:cubicBezTo>
                    <a:pt x="289" y="323"/>
                    <a:pt x="289" y="324"/>
                    <a:pt x="288" y="324"/>
                  </a:cubicBezTo>
                  <a:cubicBezTo>
                    <a:pt x="286" y="325"/>
                    <a:pt x="285" y="324"/>
                    <a:pt x="284" y="325"/>
                  </a:cubicBezTo>
                  <a:cubicBezTo>
                    <a:pt x="282" y="325"/>
                    <a:pt x="282" y="325"/>
                    <a:pt x="282" y="325"/>
                  </a:cubicBezTo>
                  <a:cubicBezTo>
                    <a:pt x="282" y="325"/>
                    <a:pt x="279" y="324"/>
                    <a:pt x="279" y="324"/>
                  </a:cubicBezTo>
                  <a:cubicBezTo>
                    <a:pt x="278" y="324"/>
                    <a:pt x="278" y="322"/>
                    <a:pt x="278" y="322"/>
                  </a:cubicBezTo>
                  <a:cubicBezTo>
                    <a:pt x="277" y="320"/>
                    <a:pt x="276" y="321"/>
                    <a:pt x="275" y="320"/>
                  </a:cubicBezTo>
                  <a:cubicBezTo>
                    <a:pt x="274" y="319"/>
                    <a:pt x="274" y="318"/>
                    <a:pt x="274" y="317"/>
                  </a:cubicBezTo>
                  <a:cubicBezTo>
                    <a:pt x="275" y="315"/>
                    <a:pt x="275" y="314"/>
                    <a:pt x="275" y="313"/>
                  </a:cubicBezTo>
                  <a:cubicBezTo>
                    <a:pt x="274" y="311"/>
                    <a:pt x="272" y="312"/>
                    <a:pt x="270" y="312"/>
                  </a:cubicBezTo>
                  <a:cubicBezTo>
                    <a:pt x="269" y="312"/>
                    <a:pt x="267" y="312"/>
                    <a:pt x="266" y="312"/>
                  </a:cubicBezTo>
                  <a:cubicBezTo>
                    <a:pt x="265" y="311"/>
                    <a:pt x="264" y="309"/>
                    <a:pt x="262" y="308"/>
                  </a:cubicBezTo>
                  <a:cubicBezTo>
                    <a:pt x="261" y="308"/>
                    <a:pt x="259" y="308"/>
                    <a:pt x="259" y="309"/>
                  </a:cubicBezTo>
                  <a:cubicBezTo>
                    <a:pt x="259" y="310"/>
                    <a:pt x="259" y="312"/>
                    <a:pt x="258" y="312"/>
                  </a:cubicBezTo>
                  <a:cubicBezTo>
                    <a:pt x="257" y="313"/>
                    <a:pt x="256" y="314"/>
                    <a:pt x="254" y="314"/>
                  </a:cubicBezTo>
                  <a:cubicBezTo>
                    <a:pt x="254" y="314"/>
                    <a:pt x="253" y="314"/>
                    <a:pt x="253" y="314"/>
                  </a:cubicBezTo>
                  <a:cubicBezTo>
                    <a:pt x="253" y="315"/>
                    <a:pt x="252" y="315"/>
                    <a:pt x="251" y="315"/>
                  </a:cubicBezTo>
                  <a:cubicBezTo>
                    <a:pt x="251" y="314"/>
                    <a:pt x="250" y="314"/>
                    <a:pt x="250" y="314"/>
                  </a:cubicBezTo>
                  <a:cubicBezTo>
                    <a:pt x="249" y="313"/>
                    <a:pt x="248" y="314"/>
                    <a:pt x="246" y="314"/>
                  </a:cubicBezTo>
                  <a:cubicBezTo>
                    <a:pt x="246" y="315"/>
                    <a:pt x="245" y="315"/>
                    <a:pt x="245" y="315"/>
                  </a:cubicBezTo>
                  <a:cubicBezTo>
                    <a:pt x="244" y="316"/>
                    <a:pt x="243" y="315"/>
                    <a:pt x="242" y="315"/>
                  </a:cubicBezTo>
                  <a:cubicBezTo>
                    <a:pt x="240" y="314"/>
                    <a:pt x="239" y="316"/>
                    <a:pt x="238" y="316"/>
                  </a:cubicBezTo>
                  <a:cubicBezTo>
                    <a:pt x="237" y="317"/>
                    <a:pt x="235" y="316"/>
                    <a:pt x="233" y="316"/>
                  </a:cubicBezTo>
                  <a:cubicBezTo>
                    <a:pt x="234" y="318"/>
                    <a:pt x="233" y="319"/>
                    <a:pt x="234" y="320"/>
                  </a:cubicBezTo>
                  <a:cubicBezTo>
                    <a:pt x="235" y="321"/>
                    <a:pt x="235" y="323"/>
                    <a:pt x="236" y="324"/>
                  </a:cubicBezTo>
                  <a:cubicBezTo>
                    <a:pt x="236" y="325"/>
                    <a:pt x="236" y="326"/>
                    <a:pt x="235" y="326"/>
                  </a:cubicBezTo>
                  <a:cubicBezTo>
                    <a:pt x="235" y="327"/>
                    <a:pt x="233" y="327"/>
                    <a:pt x="232" y="326"/>
                  </a:cubicBezTo>
                  <a:cubicBezTo>
                    <a:pt x="232" y="325"/>
                    <a:pt x="232" y="324"/>
                    <a:pt x="231" y="324"/>
                  </a:cubicBezTo>
                  <a:cubicBezTo>
                    <a:pt x="231" y="323"/>
                    <a:pt x="230" y="323"/>
                    <a:pt x="229" y="323"/>
                  </a:cubicBezTo>
                  <a:cubicBezTo>
                    <a:pt x="228" y="322"/>
                    <a:pt x="227" y="323"/>
                    <a:pt x="226" y="324"/>
                  </a:cubicBezTo>
                  <a:cubicBezTo>
                    <a:pt x="226" y="324"/>
                    <a:pt x="226" y="324"/>
                    <a:pt x="226" y="325"/>
                  </a:cubicBezTo>
                  <a:cubicBezTo>
                    <a:pt x="225" y="325"/>
                    <a:pt x="225" y="325"/>
                    <a:pt x="225" y="325"/>
                  </a:cubicBezTo>
                  <a:cubicBezTo>
                    <a:pt x="224" y="324"/>
                    <a:pt x="222" y="323"/>
                    <a:pt x="221" y="323"/>
                  </a:cubicBezTo>
                  <a:cubicBezTo>
                    <a:pt x="221" y="322"/>
                    <a:pt x="221" y="321"/>
                    <a:pt x="221" y="320"/>
                  </a:cubicBezTo>
                  <a:cubicBezTo>
                    <a:pt x="221" y="319"/>
                    <a:pt x="218" y="319"/>
                    <a:pt x="217" y="318"/>
                  </a:cubicBezTo>
                  <a:cubicBezTo>
                    <a:pt x="216" y="318"/>
                    <a:pt x="217" y="317"/>
                    <a:pt x="217" y="316"/>
                  </a:cubicBezTo>
                  <a:cubicBezTo>
                    <a:pt x="218" y="315"/>
                    <a:pt x="218" y="313"/>
                    <a:pt x="219" y="312"/>
                  </a:cubicBezTo>
                  <a:cubicBezTo>
                    <a:pt x="219" y="311"/>
                    <a:pt x="219" y="309"/>
                    <a:pt x="217" y="309"/>
                  </a:cubicBezTo>
                  <a:cubicBezTo>
                    <a:pt x="216" y="308"/>
                    <a:pt x="214" y="308"/>
                    <a:pt x="213" y="308"/>
                  </a:cubicBezTo>
                  <a:cubicBezTo>
                    <a:pt x="212" y="306"/>
                    <a:pt x="212" y="304"/>
                    <a:pt x="211" y="302"/>
                  </a:cubicBezTo>
                  <a:cubicBezTo>
                    <a:pt x="210" y="299"/>
                    <a:pt x="206" y="301"/>
                    <a:pt x="204" y="302"/>
                  </a:cubicBezTo>
                  <a:cubicBezTo>
                    <a:pt x="204" y="302"/>
                    <a:pt x="203" y="302"/>
                    <a:pt x="203" y="302"/>
                  </a:cubicBezTo>
                  <a:cubicBezTo>
                    <a:pt x="202" y="301"/>
                    <a:pt x="203" y="300"/>
                    <a:pt x="203" y="299"/>
                  </a:cubicBezTo>
                  <a:cubicBezTo>
                    <a:pt x="202" y="298"/>
                    <a:pt x="202" y="297"/>
                    <a:pt x="202" y="297"/>
                  </a:cubicBezTo>
                  <a:cubicBezTo>
                    <a:pt x="202" y="296"/>
                    <a:pt x="201" y="295"/>
                    <a:pt x="202" y="294"/>
                  </a:cubicBezTo>
                  <a:cubicBezTo>
                    <a:pt x="203" y="293"/>
                    <a:pt x="204" y="291"/>
                    <a:pt x="206" y="290"/>
                  </a:cubicBezTo>
                  <a:cubicBezTo>
                    <a:pt x="207" y="290"/>
                    <a:pt x="207" y="289"/>
                    <a:pt x="208" y="288"/>
                  </a:cubicBezTo>
                  <a:cubicBezTo>
                    <a:pt x="208" y="287"/>
                    <a:pt x="208" y="285"/>
                    <a:pt x="208" y="284"/>
                  </a:cubicBezTo>
                  <a:cubicBezTo>
                    <a:pt x="209" y="280"/>
                    <a:pt x="208" y="277"/>
                    <a:pt x="208" y="274"/>
                  </a:cubicBezTo>
                  <a:cubicBezTo>
                    <a:pt x="208" y="272"/>
                    <a:pt x="208" y="271"/>
                    <a:pt x="207" y="270"/>
                  </a:cubicBezTo>
                  <a:cubicBezTo>
                    <a:pt x="206" y="269"/>
                    <a:pt x="206" y="268"/>
                    <a:pt x="204" y="268"/>
                  </a:cubicBezTo>
                  <a:cubicBezTo>
                    <a:pt x="204" y="268"/>
                    <a:pt x="204" y="267"/>
                    <a:pt x="204" y="267"/>
                  </a:cubicBezTo>
                  <a:cubicBezTo>
                    <a:pt x="203" y="266"/>
                    <a:pt x="203" y="264"/>
                    <a:pt x="202" y="262"/>
                  </a:cubicBezTo>
                  <a:cubicBezTo>
                    <a:pt x="202" y="261"/>
                    <a:pt x="201" y="260"/>
                    <a:pt x="200" y="260"/>
                  </a:cubicBezTo>
                  <a:cubicBezTo>
                    <a:pt x="197" y="259"/>
                    <a:pt x="195" y="260"/>
                    <a:pt x="193" y="260"/>
                  </a:cubicBezTo>
                  <a:cubicBezTo>
                    <a:pt x="192" y="260"/>
                    <a:pt x="192" y="260"/>
                    <a:pt x="191" y="260"/>
                  </a:cubicBezTo>
                  <a:cubicBezTo>
                    <a:pt x="190" y="259"/>
                    <a:pt x="189" y="260"/>
                    <a:pt x="187" y="260"/>
                  </a:cubicBezTo>
                  <a:cubicBezTo>
                    <a:pt x="187" y="259"/>
                    <a:pt x="188" y="259"/>
                    <a:pt x="188" y="258"/>
                  </a:cubicBezTo>
                  <a:cubicBezTo>
                    <a:pt x="189" y="258"/>
                    <a:pt x="189" y="257"/>
                    <a:pt x="189" y="257"/>
                  </a:cubicBezTo>
                  <a:cubicBezTo>
                    <a:pt x="190" y="256"/>
                    <a:pt x="190" y="255"/>
                    <a:pt x="189" y="254"/>
                  </a:cubicBezTo>
                  <a:cubicBezTo>
                    <a:pt x="189" y="254"/>
                    <a:pt x="188" y="254"/>
                    <a:pt x="187" y="255"/>
                  </a:cubicBezTo>
                  <a:cubicBezTo>
                    <a:pt x="187" y="255"/>
                    <a:pt x="186" y="255"/>
                    <a:pt x="186" y="255"/>
                  </a:cubicBezTo>
                  <a:cubicBezTo>
                    <a:pt x="186" y="254"/>
                    <a:pt x="186" y="253"/>
                    <a:pt x="187" y="252"/>
                  </a:cubicBezTo>
                  <a:cubicBezTo>
                    <a:pt x="187" y="251"/>
                    <a:pt x="187" y="250"/>
                    <a:pt x="187" y="248"/>
                  </a:cubicBezTo>
                  <a:cubicBezTo>
                    <a:pt x="184" y="248"/>
                    <a:pt x="181" y="250"/>
                    <a:pt x="180" y="253"/>
                  </a:cubicBezTo>
                  <a:cubicBezTo>
                    <a:pt x="179" y="253"/>
                    <a:pt x="179" y="253"/>
                    <a:pt x="178" y="253"/>
                  </a:cubicBezTo>
                  <a:cubicBezTo>
                    <a:pt x="178" y="253"/>
                    <a:pt x="177" y="253"/>
                    <a:pt x="176" y="252"/>
                  </a:cubicBezTo>
                  <a:cubicBezTo>
                    <a:pt x="174" y="251"/>
                    <a:pt x="172" y="249"/>
                    <a:pt x="171" y="251"/>
                  </a:cubicBezTo>
                  <a:cubicBezTo>
                    <a:pt x="170" y="253"/>
                    <a:pt x="170" y="256"/>
                    <a:pt x="168" y="256"/>
                  </a:cubicBezTo>
                  <a:cubicBezTo>
                    <a:pt x="167" y="257"/>
                    <a:pt x="165" y="256"/>
                    <a:pt x="164" y="257"/>
                  </a:cubicBezTo>
                  <a:cubicBezTo>
                    <a:pt x="163" y="257"/>
                    <a:pt x="164" y="260"/>
                    <a:pt x="163" y="261"/>
                  </a:cubicBezTo>
                  <a:cubicBezTo>
                    <a:pt x="162" y="261"/>
                    <a:pt x="161" y="261"/>
                    <a:pt x="160" y="261"/>
                  </a:cubicBezTo>
                  <a:cubicBezTo>
                    <a:pt x="159" y="263"/>
                    <a:pt x="158" y="264"/>
                    <a:pt x="156" y="265"/>
                  </a:cubicBezTo>
                  <a:cubicBezTo>
                    <a:pt x="156" y="266"/>
                    <a:pt x="155" y="266"/>
                    <a:pt x="155" y="267"/>
                  </a:cubicBezTo>
                  <a:cubicBezTo>
                    <a:pt x="154" y="268"/>
                    <a:pt x="154" y="268"/>
                    <a:pt x="154" y="267"/>
                  </a:cubicBezTo>
                  <a:cubicBezTo>
                    <a:pt x="152" y="266"/>
                    <a:pt x="150" y="264"/>
                    <a:pt x="147" y="263"/>
                  </a:cubicBezTo>
                  <a:cubicBezTo>
                    <a:pt x="145" y="263"/>
                    <a:pt x="143" y="262"/>
                    <a:pt x="141" y="261"/>
                  </a:cubicBezTo>
                  <a:cubicBezTo>
                    <a:pt x="140" y="260"/>
                    <a:pt x="138" y="260"/>
                    <a:pt x="137" y="261"/>
                  </a:cubicBezTo>
                  <a:cubicBezTo>
                    <a:pt x="136" y="261"/>
                    <a:pt x="135" y="263"/>
                    <a:pt x="134" y="264"/>
                  </a:cubicBezTo>
                  <a:cubicBezTo>
                    <a:pt x="134" y="265"/>
                    <a:pt x="133" y="265"/>
                    <a:pt x="132" y="267"/>
                  </a:cubicBezTo>
                  <a:cubicBezTo>
                    <a:pt x="132" y="267"/>
                    <a:pt x="132" y="268"/>
                    <a:pt x="132" y="268"/>
                  </a:cubicBezTo>
                  <a:cubicBezTo>
                    <a:pt x="132" y="269"/>
                    <a:pt x="131" y="269"/>
                    <a:pt x="131" y="269"/>
                  </a:cubicBezTo>
                  <a:cubicBezTo>
                    <a:pt x="131" y="270"/>
                    <a:pt x="131" y="271"/>
                    <a:pt x="130" y="271"/>
                  </a:cubicBezTo>
                  <a:cubicBezTo>
                    <a:pt x="129" y="272"/>
                    <a:pt x="127" y="271"/>
                    <a:pt x="125" y="271"/>
                  </a:cubicBezTo>
                  <a:cubicBezTo>
                    <a:pt x="125" y="269"/>
                    <a:pt x="126" y="266"/>
                    <a:pt x="125" y="264"/>
                  </a:cubicBezTo>
                  <a:cubicBezTo>
                    <a:pt x="124" y="264"/>
                    <a:pt x="123" y="264"/>
                    <a:pt x="122" y="265"/>
                  </a:cubicBezTo>
                  <a:cubicBezTo>
                    <a:pt x="119" y="265"/>
                    <a:pt x="115" y="265"/>
                    <a:pt x="112" y="262"/>
                  </a:cubicBezTo>
                  <a:cubicBezTo>
                    <a:pt x="112" y="262"/>
                    <a:pt x="111" y="262"/>
                    <a:pt x="111" y="262"/>
                  </a:cubicBezTo>
                  <a:cubicBezTo>
                    <a:pt x="110" y="263"/>
                    <a:pt x="108" y="264"/>
                    <a:pt x="106" y="263"/>
                  </a:cubicBezTo>
                  <a:cubicBezTo>
                    <a:pt x="106" y="263"/>
                    <a:pt x="105" y="262"/>
                    <a:pt x="105" y="262"/>
                  </a:cubicBezTo>
                  <a:cubicBezTo>
                    <a:pt x="104" y="261"/>
                    <a:pt x="103" y="261"/>
                    <a:pt x="103" y="261"/>
                  </a:cubicBezTo>
                  <a:cubicBezTo>
                    <a:pt x="101" y="259"/>
                    <a:pt x="100" y="259"/>
                    <a:pt x="98" y="258"/>
                  </a:cubicBezTo>
                  <a:cubicBezTo>
                    <a:pt x="97" y="257"/>
                    <a:pt x="95" y="257"/>
                    <a:pt x="94" y="257"/>
                  </a:cubicBezTo>
                  <a:cubicBezTo>
                    <a:pt x="93" y="256"/>
                    <a:pt x="93" y="255"/>
                    <a:pt x="93" y="255"/>
                  </a:cubicBezTo>
                  <a:cubicBezTo>
                    <a:pt x="92" y="254"/>
                    <a:pt x="93" y="253"/>
                    <a:pt x="92" y="251"/>
                  </a:cubicBezTo>
                  <a:cubicBezTo>
                    <a:pt x="92" y="250"/>
                    <a:pt x="92" y="249"/>
                    <a:pt x="91" y="248"/>
                  </a:cubicBezTo>
                  <a:cubicBezTo>
                    <a:pt x="90" y="248"/>
                    <a:pt x="90" y="248"/>
                    <a:pt x="89" y="248"/>
                  </a:cubicBezTo>
                  <a:cubicBezTo>
                    <a:pt x="89" y="249"/>
                    <a:pt x="89" y="250"/>
                    <a:pt x="88" y="251"/>
                  </a:cubicBezTo>
                  <a:cubicBezTo>
                    <a:pt x="88" y="251"/>
                    <a:pt x="87" y="251"/>
                    <a:pt x="86" y="250"/>
                  </a:cubicBezTo>
                  <a:cubicBezTo>
                    <a:pt x="85" y="249"/>
                    <a:pt x="84" y="247"/>
                    <a:pt x="81" y="247"/>
                  </a:cubicBezTo>
                  <a:cubicBezTo>
                    <a:pt x="80" y="246"/>
                    <a:pt x="79" y="245"/>
                    <a:pt x="78" y="244"/>
                  </a:cubicBezTo>
                  <a:cubicBezTo>
                    <a:pt x="77" y="243"/>
                    <a:pt x="75" y="242"/>
                    <a:pt x="73" y="242"/>
                  </a:cubicBezTo>
                  <a:cubicBezTo>
                    <a:pt x="73" y="242"/>
                    <a:pt x="72" y="241"/>
                    <a:pt x="72" y="241"/>
                  </a:cubicBezTo>
                  <a:cubicBezTo>
                    <a:pt x="71" y="240"/>
                    <a:pt x="69" y="240"/>
                    <a:pt x="67" y="241"/>
                  </a:cubicBezTo>
                  <a:cubicBezTo>
                    <a:pt x="65" y="242"/>
                    <a:pt x="63" y="241"/>
                    <a:pt x="62" y="240"/>
                  </a:cubicBezTo>
                  <a:cubicBezTo>
                    <a:pt x="62" y="240"/>
                    <a:pt x="62" y="239"/>
                    <a:pt x="62" y="239"/>
                  </a:cubicBezTo>
                  <a:cubicBezTo>
                    <a:pt x="62" y="238"/>
                    <a:pt x="61" y="238"/>
                    <a:pt x="61" y="237"/>
                  </a:cubicBezTo>
                  <a:cubicBezTo>
                    <a:pt x="60" y="237"/>
                    <a:pt x="59" y="236"/>
                    <a:pt x="58" y="235"/>
                  </a:cubicBezTo>
                  <a:cubicBezTo>
                    <a:pt x="57" y="235"/>
                    <a:pt x="55" y="236"/>
                    <a:pt x="53" y="235"/>
                  </a:cubicBezTo>
                  <a:cubicBezTo>
                    <a:pt x="53" y="234"/>
                    <a:pt x="52" y="232"/>
                    <a:pt x="51" y="232"/>
                  </a:cubicBezTo>
                  <a:cubicBezTo>
                    <a:pt x="50" y="232"/>
                    <a:pt x="49" y="232"/>
                    <a:pt x="48" y="231"/>
                  </a:cubicBezTo>
                  <a:cubicBezTo>
                    <a:pt x="46" y="230"/>
                    <a:pt x="48" y="228"/>
                    <a:pt x="46" y="226"/>
                  </a:cubicBezTo>
                  <a:cubicBezTo>
                    <a:pt x="47" y="224"/>
                    <a:pt x="45" y="223"/>
                    <a:pt x="44" y="222"/>
                  </a:cubicBezTo>
                  <a:cubicBezTo>
                    <a:pt x="43" y="221"/>
                    <a:pt x="45" y="220"/>
                    <a:pt x="45" y="219"/>
                  </a:cubicBezTo>
                  <a:cubicBezTo>
                    <a:pt x="47" y="219"/>
                    <a:pt x="47" y="221"/>
                    <a:pt x="48" y="222"/>
                  </a:cubicBezTo>
                  <a:cubicBezTo>
                    <a:pt x="50" y="222"/>
                    <a:pt x="50" y="220"/>
                    <a:pt x="52" y="219"/>
                  </a:cubicBezTo>
                  <a:cubicBezTo>
                    <a:pt x="52" y="219"/>
                    <a:pt x="53" y="219"/>
                    <a:pt x="53" y="218"/>
                  </a:cubicBezTo>
                  <a:cubicBezTo>
                    <a:pt x="54" y="218"/>
                    <a:pt x="54" y="217"/>
                    <a:pt x="53" y="216"/>
                  </a:cubicBezTo>
                  <a:cubicBezTo>
                    <a:pt x="51" y="214"/>
                    <a:pt x="49" y="212"/>
                    <a:pt x="47" y="209"/>
                  </a:cubicBezTo>
                  <a:cubicBezTo>
                    <a:pt x="46" y="208"/>
                    <a:pt x="46" y="207"/>
                    <a:pt x="46" y="206"/>
                  </a:cubicBezTo>
                  <a:cubicBezTo>
                    <a:pt x="45" y="204"/>
                    <a:pt x="46" y="202"/>
                    <a:pt x="45" y="201"/>
                  </a:cubicBezTo>
                  <a:cubicBezTo>
                    <a:pt x="44" y="198"/>
                    <a:pt x="42" y="196"/>
                    <a:pt x="40" y="194"/>
                  </a:cubicBezTo>
                  <a:cubicBezTo>
                    <a:pt x="39" y="193"/>
                    <a:pt x="38" y="193"/>
                    <a:pt x="37" y="193"/>
                  </a:cubicBezTo>
                  <a:cubicBezTo>
                    <a:pt x="35" y="191"/>
                    <a:pt x="34" y="190"/>
                    <a:pt x="32" y="188"/>
                  </a:cubicBezTo>
                  <a:cubicBezTo>
                    <a:pt x="30" y="187"/>
                    <a:pt x="28" y="189"/>
                    <a:pt x="27" y="187"/>
                  </a:cubicBezTo>
                  <a:cubicBezTo>
                    <a:pt x="27" y="186"/>
                    <a:pt x="28" y="184"/>
                    <a:pt x="27" y="183"/>
                  </a:cubicBezTo>
                  <a:cubicBezTo>
                    <a:pt x="26" y="182"/>
                    <a:pt x="24" y="181"/>
                    <a:pt x="23" y="181"/>
                  </a:cubicBezTo>
                  <a:cubicBezTo>
                    <a:pt x="22" y="180"/>
                    <a:pt x="21" y="179"/>
                    <a:pt x="20" y="178"/>
                  </a:cubicBezTo>
                  <a:cubicBezTo>
                    <a:pt x="20" y="178"/>
                    <a:pt x="20" y="178"/>
                    <a:pt x="19" y="178"/>
                  </a:cubicBezTo>
                  <a:cubicBezTo>
                    <a:pt x="19" y="178"/>
                    <a:pt x="19" y="178"/>
                    <a:pt x="19" y="177"/>
                  </a:cubicBezTo>
                  <a:cubicBezTo>
                    <a:pt x="18" y="177"/>
                    <a:pt x="18" y="177"/>
                    <a:pt x="17" y="177"/>
                  </a:cubicBezTo>
                  <a:cubicBezTo>
                    <a:pt x="17" y="176"/>
                    <a:pt x="17" y="175"/>
                    <a:pt x="17" y="175"/>
                  </a:cubicBezTo>
                  <a:cubicBezTo>
                    <a:pt x="15" y="175"/>
                    <a:pt x="14" y="175"/>
                    <a:pt x="13" y="177"/>
                  </a:cubicBezTo>
                  <a:cubicBezTo>
                    <a:pt x="13" y="177"/>
                    <a:pt x="12" y="177"/>
                    <a:pt x="12" y="177"/>
                  </a:cubicBezTo>
                  <a:cubicBezTo>
                    <a:pt x="12" y="176"/>
                    <a:pt x="11" y="176"/>
                    <a:pt x="10" y="175"/>
                  </a:cubicBezTo>
                  <a:cubicBezTo>
                    <a:pt x="9" y="174"/>
                    <a:pt x="9" y="173"/>
                    <a:pt x="10" y="172"/>
                  </a:cubicBezTo>
                  <a:cubicBezTo>
                    <a:pt x="10" y="171"/>
                    <a:pt x="12" y="171"/>
                    <a:pt x="13" y="170"/>
                  </a:cubicBezTo>
                  <a:cubicBezTo>
                    <a:pt x="13" y="169"/>
                    <a:pt x="13" y="167"/>
                    <a:pt x="12" y="167"/>
                  </a:cubicBezTo>
                  <a:cubicBezTo>
                    <a:pt x="9" y="165"/>
                    <a:pt x="11" y="161"/>
                    <a:pt x="9" y="158"/>
                  </a:cubicBezTo>
                  <a:cubicBezTo>
                    <a:pt x="9" y="158"/>
                    <a:pt x="8" y="157"/>
                    <a:pt x="7" y="157"/>
                  </a:cubicBezTo>
                  <a:cubicBezTo>
                    <a:pt x="7" y="157"/>
                    <a:pt x="6" y="157"/>
                    <a:pt x="5" y="157"/>
                  </a:cubicBezTo>
                  <a:cubicBezTo>
                    <a:pt x="4" y="157"/>
                    <a:pt x="4" y="158"/>
                    <a:pt x="3" y="158"/>
                  </a:cubicBezTo>
                  <a:cubicBezTo>
                    <a:pt x="3" y="158"/>
                    <a:pt x="2" y="157"/>
                    <a:pt x="2" y="157"/>
                  </a:cubicBezTo>
                  <a:cubicBezTo>
                    <a:pt x="2" y="155"/>
                    <a:pt x="2" y="154"/>
                    <a:pt x="1" y="152"/>
                  </a:cubicBezTo>
                  <a:cubicBezTo>
                    <a:pt x="0" y="149"/>
                    <a:pt x="1" y="147"/>
                    <a:pt x="2" y="144"/>
                  </a:cubicBezTo>
                  <a:cubicBezTo>
                    <a:pt x="2" y="144"/>
                    <a:pt x="2" y="143"/>
                    <a:pt x="3" y="143"/>
                  </a:cubicBezTo>
                  <a:cubicBezTo>
                    <a:pt x="5" y="142"/>
                    <a:pt x="6" y="141"/>
                    <a:pt x="8" y="140"/>
                  </a:cubicBezTo>
                  <a:cubicBezTo>
                    <a:pt x="10" y="140"/>
                    <a:pt x="10" y="140"/>
                    <a:pt x="13" y="139"/>
                  </a:cubicBezTo>
                  <a:cubicBezTo>
                    <a:pt x="13" y="138"/>
                    <a:pt x="15" y="142"/>
                    <a:pt x="16" y="142"/>
                  </a:cubicBezTo>
                  <a:cubicBezTo>
                    <a:pt x="17" y="142"/>
                    <a:pt x="17" y="142"/>
                    <a:pt x="18" y="141"/>
                  </a:cubicBezTo>
                  <a:cubicBezTo>
                    <a:pt x="19" y="141"/>
                    <a:pt x="20" y="142"/>
                    <a:pt x="21" y="141"/>
                  </a:cubicBezTo>
                  <a:cubicBezTo>
                    <a:pt x="21" y="139"/>
                    <a:pt x="21" y="138"/>
                    <a:pt x="21" y="136"/>
                  </a:cubicBezTo>
                  <a:cubicBezTo>
                    <a:pt x="21" y="135"/>
                    <a:pt x="22" y="135"/>
                    <a:pt x="23" y="135"/>
                  </a:cubicBezTo>
                  <a:cubicBezTo>
                    <a:pt x="27" y="134"/>
                    <a:pt x="31" y="135"/>
                    <a:pt x="34" y="132"/>
                  </a:cubicBezTo>
                  <a:cubicBezTo>
                    <a:pt x="36" y="131"/>
                    <a:pt x="39" y="130"/>
                    <a:pt x="42" y="128"/>
                  </a:cubicBezTo>
                  <a:cubicBezTo>
                    <a:pt x="43" y="128"/>
                    <a:pt x="43" y="127"/>
                    <a:pt x="44" y="127"/>
                  </a:cubicBezTo>
                  <a:cubicBezTo>
                    <a:pt x="45" y="126"/>
                    <a:pt x="47" y="124"/>
                    <a:pt x="48" y="123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1"/>
                    <a:pt x="48" y="120"/>
                    <a:pt x="48" y="119"/>
                  </a:cubicBezTo>
                  <a:cubicBezTo>
                    <a:pt x="49" y="119"/>
                    <a:pt x="49" y="118"/>
                    <a:pt x="49" y="118"/>
                  </a:cubicBezTo>
                  <a:cubicBezTo>
                    <a:pt x="49" y="117"/>
                    <a:pt x="49" y="115"/>
                    <a:pt x="48" y="114"/>
                  </a:cubicBezTo>
                  <a:cubicBezTo>
                    <a:pt x="47" y="114"/>
                    <a:pt x="47" y="112"/>
                    <a:pt x="48" y="112"/>
                  </a:cubicBezTo>
                  <a:cubicBezTo>
                    <a:pt x="49" y="110"/>
                    <a:pt x="48" y="109"/>
                    <a:pt x="48" y="108"/>
                  </a:cubicBezTo>
                  <a:cubicBezTo>
                    <a:pt x="47" y="107"/>
                    <a:pt x="46" y="106"/>
                    <a:pt x="46" y="105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5" y="102"/>
                    <a:pt x="46" y="100"/>
                    <a:pt x="45" y="99"/>
                  </a:cubicBezTo>
                  <a:cubicBezTo>
                    <a:pt x="45" y="98"/>
                    <a:pt x="44" y="97"/>
                    <a:pt x="43" y="97"/>
                  </a:cubicBezTo>
                  <a:cubicBezTo>
                    <a:pt x="42" y="97"/>
                    <a:pt x="43" y="95"/>
                    <a:pt x="43" y="95"/>
                  </a:cubicBezTo>
                  <a:cubicBezTo>
                    <a:pt x="44" y="95"/>
                    <a:pt x="46" y="95"/>
                    <a:pt x="47" y="95"/>
                  </a:cubicBezTo>
                  <a:cubicBezTo>
                    <a:pt x="48" y="95"/>
                    <a:pt x="47" y="95"/>
                    <a:pt x="48" y="94"/>
                  </a:cubicBezTo>
                  <a:cubicBezTo>
                    <a:pt x="49" y="94"/>
                    <a:pt x="50" y="93"/>
                    <a:pt x="51" y="92"/>
                  </a:cubicBezTo>
                  <a:cubicBezTo>
                    <a:pt x="52" y="91"/>
                    <a:pt x="53" y="91"/>
                    <a:pt x="53" y="92"/>
                  </a:cubicBezTo>
                  <a:cubicBezTo>
                    <a:pt x="54" y="92"/>
                    <a:pt x="55" y="92"/>
                    <a:pt x="55" y="92"/>
                  </a:cubicBezTo>
                  <a:cubicBezTo>
                    <a:pt x="56" y="92"/>
                    <a:pt x="56" y="93"/>
                    <a:pt x="56" y="93"/>
                  </a:cubicBezTo>
                  <a:cubicBezTo>
                    <a:pt x="57" y="94"/>
                    <a:pt x="59" y="94"/>
                    <a:pt x="59" y="93"/>
                  </a:cubicBezTo>
                  <a:cubicBezTo>
                    <a:pt x="60" y="92"/>
                    <a:pt x="61" y="89"/>
                    <a:pt x="59" y="89"/>
                  </a:cubicBezTo>
                  <a:cubicBezTo>
                    <a:pt x="59" y="87"/>
                    <a:pt x="58" y="85"/>
                    <a:pt x="59" y="83"/>
                  </a:cubicBezTo>
                  <a:cubicBezTo>
                    <a:pt x="60" y="81"/>
                    <a:pt x="61" y="79"/>
                    <a:pt x="62" y="77"/>
                  </a:cubicBezTo>
                  <a:cubicBezTo>
                    <a:pt x="62" y="76"/>
                    <a:pt x="62" y="74"/>
                    <a:pt x="62" y="73"/>
                  </a:cubicBezTo>
                  <a:cubicBezTo>
                    <a:pt x="62" y="73"/>
                    <a:pt x="62" y="72"/>
                    <a:pt x="63" y="72"/>
                  </a:cubicBezTo>
                  <a:cubicBezTo>
                    <a:pt x="66" y="71"/>
                    <a:pt x="69" y="73"/>
                    <a:pt x="71" y="74"/>
                  </a:cubicBezTo>
                  <a:cubicBezTo>
                    <a:pt x="74" y="74"/>
                    <a:pt x="77" y="75"/>
                    <a:pt x="80" y="73"/>
                  </a:cubicBezTo>
                  <a:cubicBezTo>
                    <a:pt x="80" y="71"/>
                    <a:pt x="80" y="69"/>
                    <a:pt x="79" y="68"/>
                  </a:cubicBezTo>
                  <a:cubicBezTo>
                    <a:pt x="79" y="65"/>
                    <a:pt x="78" y="63"/>
                    <a:pt x="79" y="60"/>
                  </a:cubicBezTo>
                  <a:cubicBezTo>
                    <a:pt x="79" y="59"/>
                    <a:pt x="80" y="58"/>
                    <a:pt x="81" y="57"/>
                  </a:cubicBezTo>
                  <a:cubicBezTo>
                    <a:pt x="83" y="57"/>
                    <a:pt x="84" y="56"/>
                    <a:pt x="86" y="55"/>
                  </a:cubicBezTo>
                  <a:cubicBezTo>
                    <a:pt x="88" y="54"/>
                    <a:pt x="88" y="52"/>
                    <a:pt x="88" y="50"/>
                  </a:cubicBezTo>
                  <a:cubicBezTo>
                    <a:pt x="90" y="49"/>
                    <a:pt x="92" y="50"/>
                    <a:pt x="94" y="50"/>
                  </a:cubicBezTo>
                  <a:cubicBezTo>
                    <a:pt x="94" y="51"/>
                    <a:pt x="96" y="51"/>
                    <a:pt x="96" y="52"/>
                  </a:cubicBezTo>
                  <a:cubicBezTo>
                    <a:pt x="97" y="53"/>
                    <a:pt x="98" y="53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101" y="54"/>
                    <a:pt x="101" y="56"/>
                    <a:pt x="102" y="58"/>
                  </a:cubicBezTo>
                  <a:cubicBezTo>
                    <a:pt x="102" y="58"/>
                    <a:pt x="103" y="59"/>
                    <a:pt x="103" y="59"/>
                  </a:cubicBezTo>
                  <a:cubicBezTo>
                    <a:pt x="103" y="60"/>
                    <a:pt x="104" y="60"/>
                    <a:pt x="104" y="61"/>
                  </a:cubicBezTo>
                  <a:cubicBezTo>
                    <a:pt x="105" y="61"/>
                    <a:pt x="106" y="60"/>
                    <a:pt x="107" y="59"/>
                  </a:cubicBezTo>
                  <a:cubicBezTo>
                    <a:pt x="108" y="58"/>
                    <a:pt x="110" y="60"/>
                    <a:pt x="111" y="61"/>
                  </a:cubicBezTo>
                  <a:cubicBezTo>
                    <a:pt x="113" y="61"/>
                    <a:pt x="115" y="63"/>
                    <a:pt x="117" y="65"/>
                  </a:cubicBezTo>
                  <a:cubicBezTo>
                    <a:pt x="117" y="66"/>
                    <a:pt x="117" y="67"/>
                    <a:pt x="117" y="68"/>
                  </a:cubicBezTo>
                  <a:cubicBezTo>
                    <a:pt x="118" y="69"/>
                    <a:pt x="118" y="69"/>
                    <a:pt x="119" y="69"/>
                  </a:cubicBezTo>
                  <a:cubicBezTo>
                    <a:pt x="120" y="70"/>
                    <a:pt x="121" y="71"/>
                    <a:pt x="122" y="73"/>
                  </a:cubicBezTo>
                  <a:cubicBezTo>
                    <a:pt x="123" y="74"/>
                    <a:pt x="122" y="76"/>
                    <a:pt x="123" y="78"/>
                  </a:cubicBezTo>
                  <a:cubicBezTo>
                    <a:pt x="124" y="79"/>
                    <a:pt x="124" y="80"/>
                    <a:pt x="124" y="81"/>
                  </a:cubicBezTo>
                  <a:cubicBezTo>
                    <a:pt x="125" y="82"/>
                    <a:pt x="124" y="84"/>
                    <a:pt x="124" y="85"/>
                  </a:cubicBezTo>
                  <a:cubicBezTo>
                    <a:pt x="122" y="86"/>
                    <a:pt x="121" y="87"/>
                    <a:pt x="122" y="89"/>
                  </a:cubicBezTo>
                  <a:cubicBezTo>
                    <a:pt x="123" y="90"/>
                    <a:pt x="125" y="90"/>
                    <a:pt x="126" y="91"/>
                  </a:cubicBezTo>
                  <a:cubicBezTo>
                    <a:pt x="128" y="92"/>
                    <a:pt x="130" y="92"/>
                    <a:pt x="133" y="93"/>
                  </a:cubicBezTo>
                  <a:cubicBezTo>
                    <a:pt x="136" y="94"/>
                    <a:pt x="139" y="94"/>
                    <a:pt x="142" y="94"/>
                  </a:cubicBezTo>
                  <a:cubicBezTo>
                    <a:pt x="144" y="95"/>
                    <a:pt x="145" y="95"/>
                    <a:pt x="146" y="95"/>
                  </a:cubicBezTo>
                  <a:cubicBezTo>
                    <a:pt x="148" y="96"/>
                    <a:pt x="150" y="98"/>
                    <a:pt x="152" y="99"/>
                  </a:cubicBezTo>
                  <a:cubicBezTo>
                    <a:pt x="153" y="99"/>
                    <a:pt x="153" y="99"/>
                    <a:pt x="153" y="99"/>
                  </a:cubicBezTo>
                  <a:cubicBezTo>
                    <a:pt x="155" y="100"/>
                    <a:pt x="156" y="99"/>
                    <a:pt x="158" y="100"/>
                  </a:cubicBezTo>
                  <a:cubicBezTo>
                    <a:pt x="159" y="101"/>
                    <a:pt x="160" y="102"/>
                    <a:pt x="161" y="103"/>
                  </a:cubicBezTo>
                  <a:cubicBezTo>
                    <a:pt x="161" y="103"/>
                    <a:pt x="161" y="104"/>
                    <a:pt x="161" y="104"/>
                  </a:cubicBezTo>
                  <a:cubicBezTo>
                    <a:pt x="162" y="105"/>
                    <a:pt x="162" y="107"/>
                    <a:pt x="163" y="108"/>
                  </a:cubicBezTo>
                  <a:cubicBezTo>
                    <a:pt x="166" y="111"/>
                    <a:pt x="169" y="114"/>
                    <a:pt x="172" y="117"/>
                  </a:cubicBezTo>
                  <a:cubicBezTo>
                    <a:pt x="174" y="119"/>
                    <a:pt x="177" y="118"/>
                    <a:pt x="178" y="119"/>
                  </a:cubicBezTo>
                  <a:cubicBezTo>
                    <a:pt x="184" y="119"/>
                    <a:pt x="190" y="119"/>
                    <a:pt x="196" y="119"/>
                  </a:cubicBezTo>
                  <a:cubicBezTo>
                    <a:pt x="200" y="118"/>
                    <a:pt x="204" y="118"/>
                    <a:pt x="208" y="118"/>
                  </a:cubicBezTo>
                  <a:cubicBezTo>
                    <a:pt x="210" y="118"/>
                    <a:pt x="210" y="120"/>
                    <a:pt x="211" y="121"/>
                  </a:cubicBezTo>
                  <a:cubicBezTo>
                    <a:pt x="215" y="122"/>
                    <a:pt x="221" y="123"/>
                    <a:pt x="226" y="127"/>
                  </a:cubicBezTo>
                  <a:cubicBezTo>
                    <a:pt x="229" y="127"/>
                    <a:pt x="230" y="126"/>
                    <a:pt x="233" y="126"/>
                  </a:cubicBezTo>
                  <a:cubicBezTo>
                    <a:pt x="234" y="127"/>
                    <a:pt x="234" y="128"/>
                    <a:pt x="235" y="129"/>
                  </a:cubicBezTo>
                  <a:cubicBezTo>
                    <a:pt x="236" y="129"/>
                    <a:pt x="238" y="128"/>
                    <a:pt x="239" y="127"/>
                  </a:cubicBezTo>
                  <a:cubicBezTo>
                    <a:pt x="242" y="126"/>
                    <a:pt x="244" y="123"/>
                    <a:pt x="247" y="122"/>
                  </a:cubicBezTo>
                  <a:cubicBezTo>
                    <a:pt x="253" y="119"/>
                    <a:pt x="259" y="120"/>
                    <a:pt x="265" y="120"/>
                  </a:cubicBezTo>
                  <a:cubicBezTo>
                    <a:pt x="266" y="120"/>
                    <a:pt x="268" y="119"/>
                    <a:pt x="269" y="119"/>
                  </a:cubicBezTo>
                  <a:cubicBezTo>
                    <a:pt x="272" y="118"/>
                    <a:pt x="274" y="118"/>
                    <a:pt x="277" y="117"/>
                  </a:cubicBezTo>
                  <a:cubicBezTo>
                    <a:pt x="277" y="117"/>
                    <a:pt x="278" y="117"/>
                    <a:pt x="278" y="116"/>
                  </a:cubicBezTo>
                  <a:cubicBezTo>
                    <a:pt x="279" y="115"/>
                    <a:pt x="279" y="113"/>
                    <a:pt x="280" y="112"/>
                  </a:cubicBezTo>
                  <a:cubicBezTo>
                    <a:pt x="280" y="112"/>
                    <a:pt x="281" y="112"/>
                    <a:pt x="281" y="111"/>
                  </a:cubicBezTo>
                  <a:cubicBezTo>
                    <a:pt x="283" y="109"/>
                    <a:pt x="285" y="107"/>
                    <a:pt x="286" y="105"/>
                  </a:cubicBezTo>
                  <a:cubicBezTo>
                    <a:pt x="287" y="104"/>
                    <a:pt x="287" y="102"/>
                    <a:pt x="285" y="102"/>
                  </a:cubicBezTo>
                  <a:cubicBezTo>
                    <a:pt x="284" y="101"/>
                    <a:pt x="283" y="100"/>
                    <a:pt x="282" y="99"/>
                  </a:cubicBezTo>
                  <a:cubicBezTo>
                    <a:pt x="282" y="99"/>
                    <a:pt x="282" y="98"/>
                    <a:pt x="282" y="98"/>
                  </a:cubicBezTo>
                  <a:cubicBezTo>
                    <a:pt x="282" y="98"/>
                    <a:pt x="281" y="97"/>
                    <a:pt x="281" y="97"/>
                  </a:cubicBezTo>
                  <a:cubicBezTo>
                    <a:pt x="281" y="96"/>
                    <a:pt x="281" y="95"/>
                    <a:pt x="281" y="94"/>
                  </a:cubicBezTo>
                  <a:cubicBezTo>
                    <a:pt x="282" y="94"/>
                    <a:pt x="282" y="93"/>
                    <a:pt x="283" y="92"/>
                  </a:cubicBezTo>
                  <a:cubicBezTo>
                    <a:pt x="283" y="92"/>
                    <a:pt x="283" y="91"/>
                    <a:pt x="284" y="91"/>
                  </a:cubicBezTo>
                  <a:cubicBezTo>
                    <a:pt x="285" y="91"/>
                    <a:pt x="287" y="91"/>
                    <a:pt x="288" y="92"/>
                  </a:cubicBezTo>
                  <a:cubicBezTo>
                    <a:pt x="289" y="92"/>
                    <a:pt x="289" y="93"/>
                    <a:pt x="290" y="94"/>
                  </a:cubicBezTo>
                  <a:cubicBezTo>
                    <a:pt x="290" y="94"/>
                    <a:pt x="291" y="95"/>
                    <a:pt x="292" y="95"/>
                  </a:cubicBezTo>
                  <a:cubicBezTo>
                    <a:pt x="294" y="96"/>
                    <a:pt x="296" y="96"/>
                    <a:pt x="299" y="95"/>
                  </a:cubicBezTo>
                  <a:cubicBezTo>
                    <a:pt x="300" y="94"/>
                    <a:pt x="301" y="92"/>
                    <a:pt x="302" y="90"/>
                  </a:cubicBezTo>
                  <a:cubicBezTo>
                    <a:pt x="302" y="89"/>
                    <a:pt x="303" y="87"/>
                    <a:pt x="304" y="87"/>
                  </a:cubicBezTo>
                  <a:cubicBezTo>
                    <a:pt x="307" y="87"/>
                    <a:pt x="310" y="87"/>
                    <a:pt x="312" y="86"/>
                  </a:cubicBezTo>
                  <a:cubicBezTo>
                    <a:pt x="312" y="85"/>
                    <a:pt x="313" y="85"/>
                    <a:pt x="313" y="84"/>
                  </a:cubicBezTo>
                  <a:cubicBezTo>
                    <a:pt x="314" y="83"/>
                    <a:pt x="313" y="81"/>
                    <a:pt x="314" y="80"/>
                  </a:cubicBezTo>
                  <a:cubicBezTo>
                    <a:pt x="314" y="80"/>
                    <a:pt x="315" y="79"/>
                    <a:pt x="316" y="79"/>
                  </a:cubicBezTo>
                  <a:cubicBezTo>
                    <a:pt x="318" y="78"/>
                    <a:pt x="321" y="79"/>
                    <a:pt x="323" y="77"/>
                  </a:cubicBezTo>
                  <a:cubicBezTo>
                    <a:pt x="324" y="77"/>
                    <a:pt x="324" y="77"/>
                    <a:pt x="325" y="76"/>
                  </a:cubicBezTo>
                  <a:cubicBezTo>
                    <a:pt x="325" y="76"/>
                    <a:pt x="325" y="76"/>
                    <a:pt x="326" y="76"/>
                  </a:cubicBezTo>
                  <a:cubicBezTo>
                    <a:pt x="326" y="76"/>
                    <a:pt x="327" y="75"/>
                    <a:pt x="328" y="75"/>
                  </a:cubicBezTo>
                  <a:cubicBezTo>
                    <a:pt x="330" y="74"/>
                    <a:pt x="333" y="75"/>
                    <a:pt x="335" y="76"/>
                  </a:cubicBezTo>
                  <a:cubicBezTo>
                    <a:pt x="336" y="76"/>
                    <a:pt x="337" y="76"/>
                    <a:pt x="338" y="76"/>
                  </a:cubicBezTo>
                  <a:cubicBezTo>
                    <a:pt x="338" y="75"/>
                    <a:pt x="339" y="75"/>
                    <a:pt x="339" y="75"/>
                  </a:cubicBezTo>
                  <a:cubicBezTo>
                    <a:pt x="340" y="73"/>
                    <a:pt x="339" y="72"/>
                    <a:pt x="338" y="70"/>
                  </a:cubicBezTo>
                  <a:cubicBezTo>
                    <a:pt x="337" y="69"/>
                    <a:pt x="338" y="67"/>
                    <a:pt x="336" y="66"/>
                  </a:cubicBezTo>
                  <a:cubicBezTo>
                    <a:pt x="334" y="65"/>
                    <a:pt x="332" y="64"/>
                    <a:pt x="329" y="62"/>
                  </a:cubicBezTo>
                  <a:cubicBezTo>
                    <a:pt x="327" y="61"/>
                    <a:pt x="326" y="60"/>
                    <a:pt x="324" y="59"/>
                  </a:cubicBezTo>
                  <a:cubicBezTo>
                    <a:pt x="324" y="59"/>
                    <a:pt x="322" y="59"/>
                    <a:pt x="322" y="59"/>
                  </a:cubicBezTo>
                  <a:cubicBezTo>
                    <a:pt x="320" y="60"/>
                    <a:pt x="320" y="62"/>
                    <a:pt x="319" y="63"/>
                  </a:cubicBezTo>
                  <a:cubicBezTo>
                    <a:pt x="319" y="63"/>
                    <a:pt x="318" y="63"/>
                    <a:pt x="318" y="63"/>
                  </a:cubicBezTo>
                  <a:cubicBezTo>
                    <a:pt x="316" y="64"/>
                    <a:pt x="314" y="63"/>
                    <a:pt x="313" y="64"/>
                  </a:cubicBezTo>
                  <a:cubicBezTo>
                    <a:pt x="311" y="65"/>
                    <a:pt x="310" y="65"/>
                    <a:pt x="309" y="64"/>
                  </a:cubicBezTo>
                  <a:cubicBezTo>
                    <a:pt x="308" y="64"/>
                    <a:pt x="306" y="63"/>
                    <a:pt x="306" y="62"/>
                  </a:cubicBezTo>
                  <a:cubicBezTo>
                    <a:pt x="305" y="60"/>
                    <a:pt x="305" y="59"/>
                    <a:pt x="305" y="57"/>
                  </a:cubicBezTo>
                  <a:cubicBezTo>
                    <a:pt x="306" y="55"/>
                    <a:pt x="306" y="52"/>
                    <a:pt x="306" y="50"/>
                  </a:cubicBezTo>
                  <a:cubicBezTo>
                    <a:pt x="306" y="49"/>
                    <a:pt x="307" y="47"/>
                    <a:pt x="307" y="46"/>
                  </a:cubicBezTo>
                  <a:cubicBezTo>
                    <a:pt x="308" y="44"/>
                    <a:pt x="307" y="41"/>
                    <a:pt x="307" y="39"/>
                  </a:cubicBezTo>
                  <a:cubicBezTo>
                    <a:pt x="307" y="39"/>
                    <a:pt x="308" y="39"/>
                    <a:pt x="308" y="39"/>
                  </a:cubicBezTo>
                  <a:cubicBezTo>
                    <a:pt x="309" y="39"/>
                    <a:pt x="309" y="40"/>
                    <a:pt x="309" y="40"/>
                  </a:cubicBezTo>
                  <a:cubicBezTo>
                    <a:pt x="310" y="40"/>
                    <a:pt x="311" y="40"/>
                    <a:pt x="311" y="41"/>
                  </a:cubicBezTo>
                  <a:cubicBezTo>
                    <a:pt x="313" y="41"/>
                    <a:pt x="314" y="42"/>
                    <a:pt x="315" y="43"/>
                  </a:cubicBezTo>
                  <a:cubicBezTo>
                    <a:pt x="316" y="43"/>
                    <a:pt x="317" y="43"/>
                    <a:pt x="318" y="43"/>
                  </a:cubicBezTo>
                  <a:cubicBezTo>
                    <a:pt x="319" y="42"/>
                    <a:pt x="320" y="42"/>
                    <a:pt x="321" y="41"/>
                  </a:cubicBezTo>
                  <a:cubicBezTo>
                    <a:pt x="323" y="41"/>
                    <a:pt x="325" y="39"/>
                    <a:pt x="326" y="37"/>
                  </a:cubicBezTo>
                  <a:cubicBezTo>
                    <a:pt x="327" y="37"/>
                    <a:pt x="327" y="35"/>
                    <a:pt x="326" y="34"/>
                  </a:cubicBezTo>
                  <a:cubicBezTo>
                    <a:pt x="325" y="33"/>
                    <a:pt x="326" y="33"/>
                    <a:pt x="326" y="32"/>
                  </a:cubicBezTo>
                  <a:cubicBezTo>
                    <a:pt x="326" y="31"/>
                    <a:pt x="326" y="31"/>
                    <a:pt x="326" y="31"/>
                  </a:cubicBezTo>
                  <a:cubicBezTo>
                    <a:pt x="327" y="29"/>
                    <a:pt x="327" y="27"/>
                    <a:pt x="327" y="25"/>
                  </a:cubicBezTo>
                  <a:cubicBezTo>
                    <a:pt x="328" y="23"/>
                    <a:pt x="330" y="21"/>
                    <a:pt x="331" y="19"/>
                  </a:cubicBezTo>
                  <a:cubicBezTo>
                    <a:pt x="332" y="19"/>
                    <a:pt x="332" y="18"/>
                    <a:pt x="333" y="17"/>
                  </a:cubicBezTo>
                  <a:cubicBezTo>
                    <a:pt x="333" y="15"/>
                    <a:pt x="333" y="13"/>
                    <a:pt x="332" y="11"/>
                  </a:cubicBezTo>
                  <a:cubicBezTo>
                    <a:pt x="331" y="10"/>
                    <a:pt x="329" y="11"/>
                    <a:pt x="327" y="11"/>
                  </a:cubicBezTo>
                  <a:cubicBezTo>
                    <a:pt x="326" y="10"/>
                    <a:pt x="327" y="9"/>
                    <a:pt x="328" y="8"/>
                  </a:cubicBezTo>
                  <a:cubicBezTo>
                    <a:pt x="329" y="8"/>
                    <a:pt x="329" y="7"/>
                    <a:pt x="330" y="7"/>
                  </a:cubicBezTo>
                  <a:cubicBezTo>
                    <a:pt x="330" y="5"/>
                    <a:pt x="330" y="4"/>
                    <a:pt x="332" y="3"/>
                  </a:cubicBezTo>
                  <a:cubicBezTo>
                    <a:pt x="334" y="3"/>
                    <a:pt x="337" y="3"/>
                    <a:pt x="339" y="3"/>
                  </a:cubicBezTo>
                  <a:cubicBezTo>
                    <a:pt x="340" y="3"/>
                    <a:pt x="341" y="2"/>
                    <a:pt x="342" y="1"/>
                  </a:cubicBezTo>
                  <a:cubicBezTo>
                    <a:pt x="345" y="0"/>
                    <a:pt x="347" y="0"/>
                    <a:pt x="349" y="0"/>
                  </a:cubicBezTo>
                  <a:cubicBezTo>
                    <a:pt x="351" y="1"/>
                    <a:pt x="353" y="2"/>
                    <a:pt x="355" y="2"/>
                  </a:cubicBezTo>
                  <a:cubicBezTo>
                    <a:pt x="356" y="2"/>
                    <a:pt x="357" y="3"/>
                    <a:pt x="357" y="3"/>
                  </a:cubicBezTo>
                  <a:cubicBezTo>
                    <a:pt x="359" y="3"/>
                    <a:pt x="362" y="3"/>
                    <a:pt x="364" y="3"/>
                  </a:cubicBezTo>
                  <a:cubicBezTo>
                    <a:pt x="367" y="4"/>
                    <a:pt x="368" y="6"/>
                    <a:pt x="370" y="8"/>
                  </a:cubicBezTo>
                  <a:cubicBezTo>
                    <a:pt x="370" y="8"/>
                    <a:pt x="370" y="9"/>
                    <a:pt x="371" y="10"/>
                  </a:cubicBezTo>
                  <a:cubicBezTo>
                    <a:pt x="372" y="12"/>
                    <a:pt x="374" y="15"/>
                    <a:pt x="374" y="18"/>
                  </a:cubicBezTo>
                  <a:cubicBezTo>
                    <a:pt x="376" y="21"/>
                    <a:pt x="379" y="23"/>
                    <a:pt x="381" y="26"/>
                  </a:cubicBezTo>
                  <a:cubicBezTo>
                    <a:pt x="382" y="27"/>
                    <a:pt x="384" y="27"/>
                    <a:pt x="384" y="29"/>
                  </a:cubicBezTo>
                  <a:cubicBezTo>
                    <a:pt x="384" y="30"/>
                    <a:pt x="384" y="31"/>
                    <a:pt x="385" y="32"/>
                  </a:cubicBezTo>
                  <a:cubicBezTo>
                    <a:pt x="385" y="32"/>
                    <a:pt x="386" y="33"/>
                    <a:pt x="386" y="34"/>
                  </a:cubicBezTo>
                  <a:cubicBezTo>
                    <a:pt x="387" y="36"/>
                    <a:pt x="389" y="39"/>
                    <a:pt x="391" y="41"/>
                  </a:cubicBezTo>
                  <a:cubicBezTo>
                    <a:pt x="392" y="42"/>
                    <a:pt x="392" y="42"/>
                    <a:pt x="393" y="42"/>
                  </a:cubicBezTo>
                  <a:cubicBezTo>
                    <a:pt x="393" y="42"/>
                    <a:pt x="394" y="42"/>
                    <a:pt x="395" y="42"/>
                  </a:cubicBezTo>
                  <a:cubicBezTo>
                    <a:pt x="396" y="43"/>
                    <a:pt x="397" y="44"/>
                    <a:pt x="398" y="44"/>
                  </a:cubicBezTo>
                  <a:cubicBezTo>
                    <a:pt x="399" y="44"/>
                    <a:pt x="401" y="44"/>
                    <a:pt x="402" y="44"/>
                  </a:cubicBezTo>
                  <a:cubicBezTo>
                    <a:pt x="403" y="43"/>
                    <a:pt x="405" y="44"/>
                    <a:pt x="406" y="45"/>
                  </a:cubicBezTo>
                  <a:cubicBezTo>
                    <a:pt x="407" y="47"/>
                    <a:pt x="408" y="48"/>
                    <a:pt x="409" y="50"/>
                  </a:cubicBezTo>
                  <a:cubicBezTo>
                    <a:pt x="411" y="51"/>
                    <a:pt x="413" y="49"/>
                    <a:pt x="414" y="51"/>
                  </a:cubicBezTo>
                  <a:cubicBezTo>
                    <a:pt x="415" y="52"/>
                    <a:pt x="414" y="53"/>
                    <a:pt x="415" y="54"/>
                  </a:cubicBezTo>
                  <a:cubicBezTo>
                    <a:pt x="415" y="54"/>
                    <a:pt x="417" y="55"/>
                    <a:pt x="417" y="56"/>
                  </a:cubicBezTo>
                  <a:cubicBezTo>
                    <a:pt x="417" y="57"/>
                    <a:pt x="417" y="58"/>
                    <a:pt x="417" y="59"/>
                  </a:cubicBezTo>
                  <a:cubicBezTo>
                    <a:pt x="417" y="59"/>
                    <a:pt x="418" y="60"/>
                    <a:pt x="418" y="60"/>
                  </a:cubicBezTo>
                  <a:cubicBezTo>
                    <a:pt x="418" y="61"/>
                    <a:pt x="419" y="61"/>
                    <a:pt x="420" y="62"/>
                  </a:cubicBezTo>
                  <a:cubicBezTo>
                    <a:pt x="421" y="62"/>
                    <a:pt x="422" y="63"/>
                    <a:pt x="422" y="63"/>
                  </a:cubicBezTo>
                  <a:cubicBezTo>
                    <a:pt x="425" y="64"/>
                    <a:pt x="427" y="64"/>
                    <a:pt x="429" y="63"/>
                  </a:cubicBezTo>
                  <a:cubicBezTo>
                    <a:pt x="431" y="62"/>
                    <a:pt x="433" y="61"/>
                    <a:pt x="436" y="60"/>
                  </a:cubicBezTo>
                  <a:cubicBezTo>
                    <a:pt x="438" y="60"/>
                    <a:pt x="439" y="58"/>
                    <a:pt x="440" y="56"/>
                  </a:cubicBezTo>
                  <a:cubicBezTo>
                    <a:pt x="441" y="56"/>
                    <a:pt x="442" y="55"/>
                    <a:pt x="443" y="55"/>
                  </a:cubicBezTo>
                  <a:cubicBezTo>
                    <a:pt x="444" y="56"/>
                    <a:pt x="444" y="56"/>
                    <a:pt x="445" y="57"/>
                  </a:cubicBezTo>
                  <a:cubicBezTo>
                    <a:pt x="445" y="57"/>
                    <a:pt x="446" y="57"/>
                    <a:pt x="446" y="57"/>
                  </a:cubicBezTo>
                  <a:cubicBezTo>
                    <a:pt x="446" y="57"/>
                    <a:pt x="447" y="57"/>
                    <a:pt x="447" y="58"/>
                  </a:cubicBezTo>
                  <a:cubicBezTo>
                    <a:pt x="447" y="59"/>
                    <a:pt x="446" y="60"/>
                    <a:pt x="447" y="61"/>
                  </a:cubicBezTo>
                  <a:cubicBezTo>
                    <a:pt x="447" y="62"/>
                    <a:pt x="447" y="62"/>
                    <a:pt x="448" y="62"/>
                  </a:cubicBezTo>
                  <a:cubicBezTo>
                    <a:pt x="448" y="64"/>
                    <a:pt x="447" y="65"/>
                    <a:pt x="446" y="67"/>
                  </a:cubicBezTo>
                  <a:cubicBezTo>
                    <a:pt x="446" y="71"/>
                    <a:pt x="446" y="75"/>
                    <a:pt x="445" y="80"/>
                  </a:cubicBezTo>
                  <a:cubicBezTo>
                    <a:pt x="445" y="80"/>
                    <a:pt x="445" y="81"/>
                    <a:pt x="445" y="81"/>
                  </a:cubicBezTo>
                  <a:cubicBezTo>
                    <a:pt x="444" y="82"/>
                    <a:pt x="445" y="83"/>
                    <a:pt x="445" y="85"/>
                  </a:cubicBezTo>
                  <a:cubicBezTo>
                    <a:pt x="444" y="85"/>
                    <a:pt x="444" y="85"/>
                    <a:pt x="443" y="86"/>
                  </a:cubicBezTo>
                  <a:cubicBezTo>
                    <a:pt x="441" y="87"/>
                    <a:pt x="442" y="90"/>
                    <a:pt x="442" y="92"/>
                  </a:cubicBezTo>
                  <a:cubicBezTo>
                    <a:pt x="441" y="92"/>
                    <a:pt x="440" y="92"/>
                    <a:pt x="440" y="92"/>
                  </a:cubicBezTo>
                  <a:cubicBezTo>
                    <a:pt x="438" y="91"/>
                    <a:pt x="437" y="91"/>
                    <a:pt x="436" y="90"/>
                  </a:cubicBezTo>
                  <a:cubicBezTo>
                    <a:pt x="435" y="90"/>
                    <a:pt x="435" y="89"/>
                    <a:pt x="435" y="89"/>
                  </a:cubicBezTo>
                  <a:cubicBezTo>
                    <a:pt x="434" y="89"/>
                    <a:pt x="432" y="89"/>
                    <a:pt x="432" y="90"/>
                  </a:cubicBezTo>
                  <a:cubicBezTo>
                    <a:pt x="432" y="91"/>
                    <a:pt x="432" y="93"/>
                    <a:pt x="431" y="94"/>
                  </a:cubicBezTo>
                  <a:cubicBezTo>
                    <a:pt x="430" y="97"/>
                    <a:pt x="431" y="99"/>
                    <a:pt x="431" y="102"/>
                  </a:cubicBezTo>
                  <a:cubicBezTo>
                    <a:pt x="431" y="103"/>
                    <a:pt x="431" y="104"/>
                    <a:pt x="431" y="105"/>
                  </a:cubicBezTo>
                  <a:cubicBezTo>
                    <a:pt x="432" y="107"/>
                    <a:pt x="433" y="108"/>
                    <a:pt x="433" y="109"/>
                  </a:cubicBezTo>
                  <a:cubicBezTo>
                    <a:pt x="433" y="110"/>
                    <a:pt x="433" y="112"/>
                    <a:pt x="432" y="113"/>
                  </a:cubicBezTo>
                  <a:cubicBezTo>
                    <a:pt x="431" y="113"/>
                    <a:pt x="430" y="114"/>
                    <a:pt x="430" y="115"/>
                  </a:cubicBezTo>
                  <a:cubicBezTo>
                    <a:pt x="429" y="115"/>
                    <a:pt x="430" y="116"/>
                    <a:pt x="430" y="116"/>
                  </a:cubicBezTo>
                  <a:cubicBezTo>
                    <a:pt x="430" y="117"/>
                    <a:pt x="430" y="117"/>
                    <a:pt x="430" y="117"/>
                  </a:cubicBezTo>
                  <a:cubicBezTo>
                    <a:pt x="430" y="118"/>
                    <a:pt x="429" y="118"/>
                    <a:pt x="429" y="118"/>
                  </a:cubicBezTo>
                  <a:cubicBezTo>
                    <a:pt x="429" y="118"/>
                    <a:pt x="429" y="119"/>
                    <a:pt x="429" y="119"/>
                  </a:cubicBezTo>
                  <a:cubicBezTo>
                    <a:pt x="428" y="118"/>
                    <a:pt x="428" y="118"/>
                    <a:pt x="428" y="118"/>
                  </a:cubicBezTo>
                  <a:cubicBezTo>
                    <a:pt x="428" y="118"/>
                    <a:pt x="428" y="117"/>
                    <a:pt x="428" y="117"/>
                  </a:cubicBezTo>
                  <a:cubicBezTo>
                    <a:pt x="426" y="116"/>
                    <a:pt x="425" y="115"/>
                    <a:pt x="424" y="114"/>
                  </a:cubicBezTo>
                  <a:cubicBezTo>
                    <a:pt x="424" y="113"/>
                    <a:pt x="423" y="113"/>
                    <a:pt x="423" y="114"/>
                  </a:cubicBezTo>
                  <a:cubicBezTo>
                    <a:pt x="422" y="116"/>
                    <a:pt x="422" y="118"/>
                    <a:pt x="421" y="119"/>
                  </a:cubicBezTo>
                  <a:cubicBezTo>
                    <a:pt x="421" y="120"/>
                    <a:pt x="420" y="121"/>
                    <a:pt x="419" y="122"/>
                  </a:cubicBezTo>
                  <a:cubicBezTo>
                    <a:pt x="419" y="123"/>
                    <a:pt x="418" y="123"/>
                    <a:pt x="418" y="123"/>
                  </a:cubicBezTo>
                  <a:cubicBezTo>
                    <a:pt x="418" y="123"/>
                    <a:pt x="417" y="123"/>
                    <a:pt x="417" y="123"/>
                  </a:cubicBezTo>
                  <a:cubicBezTo>
                    <a:pt x="417" y="123"/>
                    <a:pt x="416" y="124"/>
                    <a:pt x="416" y="124"/>
                  </a:cubicBezTo>
                  <a:cubicBezTo>
                    <a:pt x="415" y="124"/>
                    <a:pt x="414" y="124"/>
                    <a:pt x="413" y="124"/>
                  </a:cubicBezTo>
                  <a:cubicBezTo>
                    <a:pt x="412" y="125"/>
                    <a:pt x="413" y="128"/>
                    <a:pt x="411" y="129"/>
                  </a:cubicBezTo>
                  <a:cubicBezTo>
                    <a:pt x="411" y="129"/>
                    <a:pt x="410" y="129"/>
                    <a:pt x="409" y="128"/>
                  </a:cubicBezTo>
                  <a:cubicBezTo>
                    <a:pt x="408" y="128"/>
                    <a:pt x="407" y="128"/>
                    <a:pt x="406" y="128"/>
                  </a:cubicBezTo>
                  <a:cubicBezTo>
                    <a:pt x="405" y="127"/>
                    <a:pt x="404" y="126"/>
                    <a:pt x="403" y="126"/>
                  </a:cubicBezTo>
                  <a:cubicBezTo>
                    <a:pt x="402" y="125"/>
                    <a:pt x="401" y="126"/>
                    <a:pt x="400" y="127"/>
                  </a:cubicBezTo>
                  <a:cubicBezTo>
                    <a:pt x="400" y="129"/>
                    <a:pt x="400" y="130"/>
                    <a:pt x="400" y="132"/>
                  </a:cubicBezTo>
                  <a:cubicBezTo>
                    <a:pt x="399" y="134"/>
                    <a:pt x="397" y="134"/>
                    <a:pt x="395" y="135"/>
                  </a:cubicBezTo>
                  <a:cubicBezTo>
                    <a:pt x="394" y="136"/>
                    <a:pt x="394" y="136"/>
                    <a:pt x="394" y="136"/>
                  </a:cubicBezTo>
                  <a:cubicBezTo>
                    <a:pt x="393" y="138"/>
                    <a:pt x="392" y="139"/>
                    <a:pt x="392" y="140"/>
                  </a:cubicBezTo>
                  <a:cubicBezTo>
                    <a:pt x="391" y="141"/>
                    <a:pt x="390" y="141"/>
                    <a:pt x="389" y="142"/>
                  </a:cubicBezTo>
                  <a:cubicBezTo>
                    <a:pt x="388" y="142"/>
                    <a:pt x="387" y="143"/>
                    <a:pt x="386" y="14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6" name="Freeform 260"/>
            <p:cNvSpPr>
              <a:spLocks/>
            </p:cNvSpPr>
            <p:nvPr/>
          </p:nvSpPr>
          <p:spPr bwMode="auto">
            <a:xfrm>
              <a:off x="7345884" y="3487595"/>
              <a:ext cx="9281" cy="8111"/>
            </a:xfrm>
            <a:custGeom>
              <a:avLst/>
              <a:gdLst>
                <a:gd name="T0" fmla="*/ 10318870 w 20"/>
                <a:gd name="T1" fmla="*/ 806887 h 17"/>
                <a:gd name="T2" fmla="*/ 5927927 w 20"/>
                <a:gd name="T3" fmla="*/ 1898557 h 17"/>
                <a:gd name="T4" fmla="*/ 5187343 w 20"/>
                <a:gd name="T5" fmla="*/ 2560181 h 17"/>
                <a:gd name="T6" fmla="*/ 795113 w 20"/>
                <a:gd name="T7" fmla="*/ 7173119 h 17"/>
                <a:gd name="T8" fmla="*/ 795113 w 20"/>
                <a:gd name="T9" fmla="*/ 12471472 h 17"/>
                <a:gd name="T10" fmla="*/ 2522523 w 20"/>
                <a:gd name="T11" fmla="*/ 14174003 h 17"/>
                <a:gd name="T12" fmla="*/ 4391010 w 20"/>
                <a:gd name="T13" fmla="*/ 14174003 h 17"/>
                <a:gd name="T14" fmla="*/ 8799889 w 20"/>
                <a:gd name="T15" fmla="*/ 14978991 h 17"/>
                <a:gd name="T16" fmla="*/ 10318870 w 20"/>
                <a:gd name="T17" fmla="*/ 13070851 h 17"/>
                <a:gd name="T18" fmla="*/ 13930621 w 20"/>
                <a:gd name="T19" fmla="*/ 10511040 h 17"/>
                <a:gd name="T20" fmla="*/ 14725738 w 20"/>
                <a:gd name="T21" fmla="*/ 6023953 h 17"/>
                <a:gd name="T22" fmla="*/ 16597127 w 20"/>
                <a:gd name="T23" fmla="*/ 2560181 h 17"/>
                <a:gd name="T24" fmla="*/ 15548153 w 20"/>
                <a:gd name="T25" fmla="*/ 806887 h 17"/>
                <a:gd name="T26" fmla="*/ 13930621 w 20"/>
                <a:gd name="T27" fmla="*/ 806887 h 17"/>
                <a:gd name="T28" fmla="*/ 12876646 w 20"/>
                <a:gd name="T29" fmla="*/ 806887 h 17"/>
                <a:gd name="T30" fmla="*/ 10318870 w 20"/>
                <a:gd name="T31" fmla="*/ 806887 h 1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"/>
                <a:gd name="T49" fmla="*/ 0 h 17"/>
                <a:gd name="T50" fmla="*/ 20 w 20"/>
                <a:gd name="T51" fmla="*/ 17 h 1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" h="17">
                  <a:moveTo>
                    <a:pt x="12" y="1"/>
                  </a:moveTo>
                  <a:cubicBezTo>
                    <a:pt x="10" y="2"/>
                    <a:pt x="9" y="2"/>
                    <a:pt x="7" y="2"/>
                  </a:cubicBezTo>
                  <a:cubicBezTo>
                    <a:pt x="7" y="2"/>
                    <a:pt x="6" y="2"/>
                    <a:pt x="6" y="3"/>
                  </a:cubicBezTo>
                  <a:cubicBezTo>
                    <a:pt x="4" y="5"/>
                    <a:pt x="2" y="6"/>
                    <a:pt x="1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5"/>
                    <a:pt x="2" y="15"/>
                    <a:pt x="3" y="16"/>
                  </a:cubicBezTo>
                  <a:cubicBezTo>
                    <a:pt x="4" y="16"/>
                    <a:pt x="5" y="16"/>
                    <a:pt x="5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2" y="16"/>
                    <a:pt x="12" y="15"/>
                  </a:cubicBezTo>
                  <a:cubicBezTo>
                    <a:pt x="14" y="14"/>
                    <a:pt x="16" y="14"/>
                    <a:pt x="16" y="12"/>
                  </a:cubicBezTo>
                  <a:cubicBezTo>
                    <a:pt x="17" y="10"/>
                    <a:pt x="16" y="9"/>
                    <a:pt x="17" y="7"/>
                  </a:cubicBezTo>
                  <a:cubicBezTo>
                    <a:pt x="17" y="5"/>
                    <a:pt x="18" y="4"/>
                    <a:pt x="19" y="3"/>
                  </a:cubicBezTo>
                  <a:cubicBezTo>
                    <a:pt x="20" y="2"/>
                    <a:pt x="19" y="1"/>
                    <a:pt x="18" y="1"/>
                  </a:cubicBezTo>
                  <a:cubicBezTo>
                    <a:pt x="18" y="0"/>
                    <a:pt x="17" y="0"/>
                    <a:pt x="16" y="1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4" y="2"/>
                    <a:pt x="13" y="1"/>
                    <a:pt x="12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7" name="Freeform 261"/>
            <p:cNvSpPr>
              <a:spLocks/>
            </p:cNvSpPr>
            <p:nvPr/>
          </p:nvSpPr>
          <p:spPr bwMode="auto">
            <a:xfrm>
              <a:off x="7386769" y="3462990"/>
              <a:ext cx="6271" cy="15682"/>
            </a:xfrm>
            <a:custGeom>
              <a:avLst/>
              <a:gdLst>
                <a:gd name="T0" fmla="*/ 4595099 w 13"/>
                <a:gd name="T1" fmla="*/ 7279645 h 32"/>
                <a:gd name="T2" fmla="*/ 979497 w 13"/>
                <a:gd name="T3" fmla="*/ 14143703 h 32"/>
                <a:gd name="T4" fmla="*/ 979497 w 13"/>
                <a:gd name="T5" fmla="*/ 21639802 h 32"/>
                <a:gd name="T6" fmla="*/ 979497 w 13"/>
                <a:gd name="T7" fmla="*/ 22319926 h 32"/>
                <a:gd name="T8" fmla="*/ 979497 w 13"/>
                <a:gd name="T9" fmla="*/ 25374231 h 32"/>
                <a:gd name="T10" fmla="*/ 5569804 w 13"/>
                <a:gd name="T11" fmla="*/ 28532695 h 32"/>
                <a:gd name="T12" fmla="*/ 6350665 w 13"/>
                <a:gd name="T13" fmla="*/ 32656453 h 32"/>
                <a:gd name="T14" fmla="*/ 7913775 w 13"/>
                <a:gd name="T15" fmla="*/ 32656453 h 32"/>
                <a:gd name="T16" fmla="*/ 7913775 w 13"/>
                <a:gd name="T17" fmla="*/ 28532695 h 32"/>
                <a:gd name="T18" fmla="*/ 7913775 w 13"/>
                <a:gd name="T19" fmla="*/ 25374231 h 32"/>
                <a:gd name="T20" fmla="*/ 10957538 w 13"/>
                <a:gd name="T21" fmla="*/ 22319926 h 32"/>
                <a:gd name="T22" fmla="*/ 11938254 w 13"/>
                <a:gd name="T23" fmla="*/ 20356391 h 32"/>
                <a:gd name="T24" fmla="*/ 11938254 w 13"/>
                <a:gd name="T25" fmla="*/ 14143703 h 32"/>
                <a:gd name="T26" fmla="*/ 13281841 w 13"/>
                <a:gd name="T27" fmla="*/ 10335629 h 32"/>
                <a:gd name="T28" fmla="*/ 13281841 w 13"/>
                <a:gd name="T29" fmla="*/ 2129866 h 32"/>
                <a:gd name="T30" fmla="*/ 11938254 w 13"/>
                <a:gd name="T31" fmla="*/ 0 h 32"/>
                <a:gd name="T32" fmla="*/ 9596174 w 13"/>
                <a:gd name="T33" fmla="*/ 0 h 32"/>
                <a:gd name="T34" fmla="*/ 6350665 w 13"/>
                <a:gd name="T35" fmla="*/ 3065115 h 32"/>
                <a:gd name="T36" fmla="*/ 5569804 w 13"/>
                <a:gd name="T37" fmla="*/ 5955246 h 32"/>
                <a:gd name="T38" fmla="*/ 4595099 w 13"/>
                <a:gd name="T39" fmla="*/ 7279645 h 3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3"/>
                <a:gd name="T61" fmla="*/ 0 h 32"/>
                <a:gd name="T62" fmla="*/ 13 w 13"/>
                <a:gd name="T63" fmla="*/ 32 h 3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3" h="32">
                  <a:moveTo>
                    <a:pt x="4" y="7"/>
                  </a:moveTo>
                  <a:cubicBezTo>
                    <a:pt x="2" y="8"/>
                    <a:pt x="2" y="12"/>
                    <a:pt x="1" y="14"/>
                  </a:cubicBezTo>
                  <a:cubicBezTo>
                    <a:pt x="0" y="16"/>
                    <a:pt x="0" y="19"/>
                    <a:pt x="1" y="21"/>
                  </a:cubicBezTo>
                  <a:cubicBezTo>
                    <a:pt x="1" y="21"/>
                    <a:pt x="1" y="22"/>
                    <a:pt x="1" y="22"/>
                  </a:cubicBezTo>
                  <a:cubicBezTo>
                    <a:pt x="1" y="23"/>
                    <a:pt x="1" y="24"/>
                    <a:pt x="1" y="25"/>
                  </a:cubicBezTo>
                  <a:cubicBezTo>
                    <a:pt x="2" y="27"/>
                    <a:pt x="3" y="28"/>
                    <a:pt x="5" y="28"/>
                  </a:cubicBezTo>
                  <a:cubicBezTo>
                    <a:pt x="6" y="29"/>
                    <a:pt x="5" y="31"/>
                    <a:pt x="6" y="32"/>
                  </a:cubicBezTo>
                  <a:cubicBezTo>
                    <a:pt x="6" y="32"/>
                    <a:pt x="7" y="32"/>
                    <a:pt x="7" y="32"/>
                  </a:cubicBezTo>
                  <a:cubicBezTo>
                    <a:pt x="8" y="31"/>
                    <a:pt x="8" y="29"/>
                    <a:pt x="7" y="28"/>
                  </a:cubicBezTo>
                  <a:cubicBezTo>
                    <a:pt x="7" y="27"/>
                    <a:pt x="7" y="26"/>
                    <a:pt x="7" y="25"/>
                  </a:cubicBezTo>
                  <a:cubicBezTo>
                    <a:pt x="8" y="24"/>
                    <a:pt x="9" y="23"/>
                    <a:pt x="10" y="22"/>
                  </a:cubicBezTo>
                  <a:cubicBezTo>
                    <a:pt x="10" y="21"/>
                    <a:pt x="10" y="21"/>
                    <a:pt x="11" y="20"/>
                  </a:cubicBezTo>
                  <a:cubicBezTo>
                    <a:pt x="11" y="18"/>
                    <a:pt x="10" y="16"/>
                    <a:pt x="11" y="14"/>
                  </a:cubicBezTo>
                  <a:cubicBezTo>
                    <a:pt x="11" y="12"/>
                    <a:pt x="12" y="11"/>
                    <a:pt x="12" y="10"/>
                  </a:cubicBezTo>
                  <a:cubicBezTo>
                    <a:pt x="13" y="7"/>
                    <a:pt x="13" y="4"/>
                    <a:pt x="12" y="2"/>
                  </a:cubicBezTo>
                  <a:cubicBezTo>
                    <a:pt x="12" y="1"/>
                    <a:pt x="11" y="1"/>
                    <a:pt x="11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8" y="1"/>
                    <a:pt x="7" y="2"/>
                    <a:pt x="6" y="3"/>
                  </a:cubicBezTo>
                  <a:cubicBezTo>
                    <a:pt x="6" y="4"/>
                    <a:pt x="6" y="5"/>
                    <a:pt x="5" y="6"/>
                  </a:cubicBezTo>
                  <a:cubicBezTo>
                    <a:pt x="5" y="6"/>
                    <a:pt x="5" y="7"/>
                    <a:pt x="4" y="7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8" name="Freeform 262"/>
            <p:cNvSpPr>
              <a:spLocks/>
            </p:cNvSpPr>
            <p:nvPr/>
          </p:nvSpPr>
          <p:spPr bwMode="auto">
            <a:xfrm>
              <a:off x="7398809" y="3401344"/>
              <a:ext cx="14297" cy="20008"/>
            </a:xfrm>
            <a:custGeom>
              <a:avLst/>
              <a:gdLst>
                <a:gd name="T0" fmla="*/ 0 w 30"/>
                <a:gd name="T1" fmla="*/ 5415918 h 42"/>
                <a:gd name="T2" fmla="*/ 2936809 w 30"/>
                <a:gd name="T3" fmla="*/ 6241960 h 42"/>
                <a:gd name="T4" fmla="*/ 3638831 w 30"/>
                <a:gd name="T5" fmla="*/ 8174844 h 42"/>
                <a:gd name="T6" fmla="*/ 3638831 w 30"/>
                <a:gd name="T7" fmla="*/ 19269273 h 42"/>
                <a:gd name="T8" fmla="*/ 6950446 w 30"/>
                <a:gd name="T9" fmla="*/ 24685188 h 42"/>
                <a:gd name="T10" fmla="*/ 6950446 w 30"/>
                <a:gd name="T11" fmla="*/ 26147031 h 42"/>
                <a:gd name="T12" fmla="*/ 6950446 w 30"/>
                <a:gd name="T13" fmla="*/ 28921406 h 42"/>
                <a:gd name="T14" fmla="*/ 6950446 w 30"/>
                <a:gd name="T15" fmla="*/ 33474537 h 42"/>
                <a:gd name="T16" fmla="*/ 6950446 w 30"/>
                <a:gd name="T17" fmla="*/ 37455335 h 42"/>
                <a:gd name="T18" fmla="*/ 6950446 w 30"/>
                <a:gd name="T19" fmla="*/ 38064251 h 42"/>
                <a:gd name="T20" fmla="*/ 8611898 w 30"/>
                <a:gd name="T21" fmla="*/ 38064251 h 42"/>
                <a:gd name="T22" fmla="*/ 11390399 w 30"/>
                <a:gd name="T23" fmla="*/ 36268825 h 42"/>
                <a:gd name="T24" fmla="*/ 13529051 w 30"/>
                <a:gd name="T25" fmla="*/ 35422498 h 42"/>
                <a:gd name="T26" fmla="*/ 15562709 w 30"/>
                <a:gd name="T27" fmla="*/ 35422498 h 42"/>
                <a:gd name="T28" fmla="*/ 18501814 w 30"/>
                <a:gd name="T29" fmla="*/ 32648180 h 42"/>
                <a:gd name="T30" fmla="*/ 22140284 w 30"/>
                <a:gd name="T31" fmla="*/ 32648180 h 42"/>
                <a:gd name="T32" fmla="*/ 23379470 w 30"/>
                <a:gd name="T33" fmla="*/ 30864540 h 42"/>
                <a:gd name="T34" fmla="*/ 26957264 w 30"/>
                <a:gd name="T35" fmla="*/ 30864540 h 42"/>
                <a:gd name="T36" fmla="*/ 28219852 w 30"/>
                <a:gd name="T37" fmla="*/ 28094992 h 42"/>
                <a:gd name="T38" fmla="*/ 29078989 w 30"/>
                <a:gd name="T39" fmla="*/ 27333805 h 42"/>
                <a:gd name="T40" fmla="*/ 26957264 w 30"/>
                <a:gd name="T41" fmla="*/ 21914981 h 42"/>
                <a:gd name="T42" fmla="*/ 26091007 w 30"/>
                <a:gd name="T43" fmla="*/ 18182008 h 42"/>
                <a:gd name="T44" fmla="*/ 26091007 w 30"/>
                <a:gd name="T45" fmla="*/ 12766088 h 42"/>
                <a:gd name="T46" fmla="*/ 23379470 w 30"/>
                <a:gd name="T47" fmla="*/ 9297268 h 42"/>
                <a:gd name="T48" fmla="*/ 23379470 w 30"/>
                <a:gd name="T49" fmla="*/ 7350476 h 42"/>
                <a:gd name="T50" fmla="*/ 21278912 w 30"/>
                <a:gd name="T51" fmla="*/ 5415918 h 42"/>
                <a:gd name="T52" fmla="*/ 20381491 w 30"/>
                <a:gd name="T53" fmla="*/ 5415918 h 42"/>
                <a:gd name="T54" fmla="*/ 15562709 w 30"/>
                <a:gd name="T55" fmla="*/ 0 h 42"/>
                <a:gd name="T56" fmla="*/ 14702388 w 30"/>
                <a:gd name="T57" fmla="*/ 0 h 42"/>
                <a:gd name="T58" fmla="*/ 9878651 w 30"/>
                <a:gd name="T59" fmla="*/ 1947959 h 42"/>
                <a:gd name="T60" fmla="*/ 3638831 w 30"/>
                <a:gd name="T61" fmla="*/ 0 h 42"/>
                <a:gd name="T62" fmla="*/ 859266 w 30"/>
                <a:gd name="T63" fmla="*/ 4591617 h 42"/>
                <a:gd name="T64" fmla="*/ 0 w 30"/>
                <a:gd name="T65" fmla="*/ 5415918 h 4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0"/>
                <a:gd name="T100" fmla="*/ 0 h 42"/>
                <a:gd name="T101" fmla="*/ 30 w 30"/>
                <a:gd name="T102" fmla="*/ 42 h 4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0" h="42">
                  <a:moveTo>
                    <a:pt x="0" y="6"/>
                  </a:moveTo>
                  <a:cubicBezTo>
                    <a:pt x="1" y="7"/>
                    <a:pt x="2" y="6"/>
                    <a:pt x="3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4" y="13"/>
                    <a:pt x="4" y="17"/>
                    <a:pt x="4" y="21"/>
                  </a:cubicBezTo>
                  <a:cubicBezTo>
                    <a:pt x="6" y="22"/>
                    <a:pt x="6" y="25"/>
                    <a:pt x="7" y="27"/>
                  </a:cubicBezTo>
                  <a:cubicBezTo>
                    <a:pt x="7" y="27"/>
                    <a:pt x="7" y="28"/>
                    <a:pt x="7" y="29"/>
                  </a:cubicBezTo>
                  <a:cubicBezTo>
                    <a:pt x="6" y="30"/>
                    <a:pt x="6" y="31"/>
                    <a:pt x="7" y="32"/>
                  </a:cubicBezTo>
                  <a:cubicBezTo>
                    <a:pt x="8" y="33"/>
                    <a:pt x="7" y="35"/>
                    <a:pt x="7" y="37"/>
                  </a:cubicBezTo>
                  <a:cubicBezTo>
                    <a:pt x="7" y="38"/>
                    <a:pt x="7" y="40"/>
                    <a:pt x="7" y="41"/>
                  </a:cubicBezTo>
                  <a:cubicBezTo>
                    <a:pt x="7" y="41"/>
                    <a:pt x="6" y="41"/>
                    <a:pt x="7" y="42"/>
                  </a:cubicBezTo>
                  <a:cubicBezTo>
                    <a:pt x="7" y="42"/>
                    <a:pt x="8" y="42"/>
                    <a:pt x="9" y="42"/>
                  </a:cubicBezTo>
                  <a:cubicBezTo>
                    <a:pt x="10" y="41"/>
                    <a:pt x="11" y="41"/>
                    <a:pt x="12" y="40"/>
                  </a:cubicBezTo>
                  <a:cubicBezTo>
                    <a:pt x="12" y="39"/>
                    <a:pt x="13" y="39"/>
                    <a:pt x="14" y="39"/>
                  </a:cubicBezTo>
                  <a:cubicBezTo>
                    <a:pt x="14" y="40"/>
                    <a:pt x="15" y="40"/>
                    <a:pt x="16" y="39"/>
                  </a:cubicBezTo>
                  <a:cubicBezTo>
                    <a:pt x="17" y="39"/>
                    <a:pt x="18" y="37"/>
                    <a:pt x="19" y="36"/>
                  </a:cubicBezTo>
                  <a:cubicBezTo>
                    <a:pt x="20" y="36"/>
                    <a:pt x="22" y="37"/>
                    <a:pt x="23" y="36"/>
                  </a:cubicBezTo>
                  <a:cubicBezTo>
                    <a:pt x="24" y="36"/>
                    <a:pt x="23" y="35"/>
                    <a:pt x="24" y="34"/>
                  </a:cubicBezTo>
                  <a:cubicBezTo>
                    <a:pt x="25" y="33"/>
                    <a:pt x="27" y="34"/>
                    <a:pt x="28" y="34"/>
                  </a:cubicBezTo>
                  <a:cubicBezTo>
                    <a:pt x="29" y="33"/>
                    <a:pt x="29" y="32"/>
                    <a:pt x="29" y="31"/>
                  </a:cubicBezTo>
                  <a:cubicBezTo>
                    <a:pt x="29" y="30"/>
                    <a:pt x="30" y="30"/>
                    <a:pt x="30" y="30"/>
                  </a:cubicBezTo>
                  <a:cubicBezTo>
                    <a:pt x="30" y="28"/>
                    <a:pt x="30" y="25"/>
                    <a:pt x="28" y="24"/>
                  </a:cubicBezTo>
                  <a:cubicBezTo>
                    <a:pt x="27" y="23"/>
                    <a:pt x="28" y="21"/>
                    <a:pt x="27" y="20"/>
                  </a:cubicBezTo>
                  <a:cubicBezTo>
                    <a:pt x="27" y="18"/>
                    <a:pt x="27" y="16"/>
                    <a:pt x="27" y="14"/>
                  </a:cubicBezTo>
                  <a:cubicBezTo>
                    <a:pt x="26" y="13"/>
                    <a:pt x="25" y="11"/>
                    <a:pt x="24" y="10"/>
                  </a:cubicBezTo>
                  <a:cubicBezTo>
                    <a:pt x="24" y="10"/>
                    <a:pt x="24" y="9"/>
                    <a:pt x="24" y="8"/>
                  </a:cubicBezTo>
                  <a:cubicBezTo>
                    <a:pt x="24" y="7"/>
                    <a:pt x="23" y="7"/>
                    <a:pt x="22" y="6"/>
                  </a:cubicBezTo>
                  <a:cubicBezTo>
                    <a:pt x="22" y="6"/>
                    <a:pt x="22" y="6"/>
                    <a:pt x="21" y="6"/>
                  </a:cubicBezTo>
                  <a:cubicBezTo>
                    <a:pt x="20" y="4"/>
                    <a:pt x="17" y="2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2"/>
                    <a:pt x="11" y="2"/>
                    <a:pt x="10" y="2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3" y="2"/>
                    <a:pt x="2" y="4"/>
                    <a:pt x="1" y="5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9" name="Freeform 263"/>
            <p:cNvSpPr>
              <a:spLocks/>
            </p:cNvSpPr>
            <p:nvPr/>
          </p:nvSpPr>
          <p:spPr bwMode="auto">
            <a:xfrm>
              <a:off x="7417370" y="3422434"/>
              <a:ext cx="7023" cy="14600"/>
            </a:xfrm>
            <a:custGeom>
              <a:avLst/>
              <a:gdLst>
                <a:gd name="T0" fmla="*/ 6931751 w 15"/>
                <a:gd name="T1" fmla="*/ 4812844 h 30"/>
                <a:gd name="T2" fmla="*/ 4688532 w 15"/>
                <a:gd name="T3" fmla="*/ 2936809 h 30"/>
                <a:gd name="T4" fmla="*/ 2243220 w 15"/>
                <a:gd name="T5" fmla="*/ 859266 h 30"/>
                <a:gd name="T6" fmla="*/ 727531 w 15"/>
                <a:gd name="T7" fmla="*/ 4812844 h 30"/>
                <a:gd name="T8" fmla="*/ 0 w 15"/>
                <a:gd name="T9" fmla="*/ 6950446 h 30"/>
                <a:gd name="T10" fmla="*/ 727531 w 15"/>
                <a:gd name="T11" fmla="*/ 8611898 h 30"/>
                <a:gd name="T12" fmla="*/ 2970751 w 15"/>
                <a:gd name="T13" fmla="*/ 10749866 h 30"/>
                <a:gd name="T14" fmla="*/ 2970751 w 15"/>
                <a:gd name="T15" fmla="*/ 14702388 h 30"/>
                <a:gd name="T16" fmla="*/ 1697572 w 15"/>
                <a:gd name="T17" fmla="*/ 14702388 h 30"/>
                <a:gd name="T18" fmla="*/ 727531 w 15"/>
                <a:gd name="T19" fmla="*/ 16449385 h 30"/>
                <a:gd name="T20" fmla="*/ 2970751 w 15"/>
                <a:gd name="T21" fmla="*/ 22140284 h 30"/>
                <a:gd name="T22" fmla="*/ 5234181 w 15"/>
                <a:gd name="T23" fmla="*/ 24173837 h 30"/>
                <a:gd name="T24" fmla="*/ 6253185 w 15"/>
                <a:gd name="T25" fmla="*/ 28219852 h 30"/>
                <a:gd name="T26" fmla="*/ 6931751 w 15"/>
                <a:gd name="T27" fmla="*/ 28219852 h 30"/>
                <a:gd name="T28" fmla="*/ 7659284 w 15"/>
                <a:gd name="T29" fmla="*/ 25441348 h 30"/>
                <a:gd name="T30" fmla="*/ 9242333 w 15"/>
                <a:gd name="T31" fmla="*/ 24173837 h 30"/>
                <a:gd name="T32" fmla="*/ 9902491 w 15"/>
                <a:gd name="T33" fmla="*/ 17602945 h 30"/>
                <a:gd name="T34" fmla="*/ 9902491 w 15"/>
                <a:gd name="T35" fmla="*/ 13529051 h 30"/>
                <a:gd name="T36" fmla="*/ 10939910 w 15"/>
                <a:gd name="T37" fmla="*/ 12629529 h 30"/>
                <a:gd name="T38" fmla="*/ 10939910 w 15"/>
                <a:gd name="T39" fmla="*/ 9878651 h 30"/>
                <a:gd name="T40" fmla="*/ 9902491 w 15"/>
                <a:gd name="T41" fmla="*/ 4812844 h 30"/>
                <a:gd name="T42" fmla="*/ 6931751 w 15"/>
                <a:gd name="T43" fmla="*/ 4812844 h 3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5"/>
                <a:gd name="T67" fmla="*/ 0 h 30"/>
                <a:gd name="T68" fmla="*/ 15 w 15"/>
                <a:gd name="T69" fmla="*/ 30 h 3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5" h="30">
                  <a:moveTo>
                    <a:pt x="9" y="5"/>
                  </a:moveTo>
                  <a:cubicBezTo>
                    <a:pt x="8" y="5"/>
                    <a:pt x="7" y="4"/>
                    <a:pt x="6" y="3"/>
                  </a:cubicBezTo>
                  <a:cubicBezTo>
                    <a:pt x="6" y="2"/>
                    <a:pt x="5" y="0"/>
                    <a:pt x="3" y="1"/>
                  </a:cubicBezTo>
                  <a:cubicBezTo>
                    <a:pt x="2" y="2"/>
                    <a:pt x="1" y="3"/>
                    <a:pt x="1" y="5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1" y="8"/>
                    <a:pt x="1" y="8"/>
                    <a:pt x="1" y="9"/>
                  </a:cubicBezTo>
                  <a:cubicBezTo>
                    <a:pt x="1" y="10"/>
                    <a:pt x="3" y="10"/>
                    <a:pt x="4" y="11"/>
                  </a:cubicBezTo>
                  <a:cubicBezTo>
                    <a:pt x="4" y="12"/>
                    <a:pt x="5" y="14"/>
                    <a:pt x="4" y="15"/>
                  </a:cubicBezTo>
                  <a:cubicBezTo>
                    <a:pt x="4" y="15"/>
                    <a:pt x="2" y="15"/>
                    <a:pt x="2" y="15"/>
                  </a:cubicBezTo>
                  <a:cubicBezTo>
                    <a:pt x="1" y="16"/>
                    <a:pt x="1" y="17"/>
                    <a:pt x="1" y="17"/>
                  </a:cubicBezTo>
                  <a:cubicBezTo>
                    <a:pt x="2" y="19"/>
                    <a:pt x="3" y="21"/>
                    <a:pt x="4" y="23"/>
                  </a:cubicBezTo>
                  <a:cubicBezTo>
                    <a:pt x="4" y="24"/>
                    <a:pt x="6" y="25"/>
                    <a:pt x="7" y="25"/>
                  </a:cubicBezTo>
                  <a:cubicBezTo>
                    <a:pt x="8" y="26"/>
                    <a:pt x="7" y="27"/>
                    <a:pt x="8" y="29"/>
                  </a:cubicBezTo>
                  <a:cubicBezTo>
                    <a:pt x="8" y="29"/>
                    <a:pt x="9" y="30"/>
                    <a:pt x="9" y="29"/>
                  </a:cubicBezTo>
                  <a:cubicBezTo>
                    <a:pt x="10" y="28"/>
                    <a:pt x="10" y="27"/>
                    <a:pt x="10" y="26"/>
                  </a:cubicBezTo>
                  <a:cubicBezTo>
                    <a:pt x="10" y="25"/>
                    <a:pt x="11" y="26"/>
                    <a:pt x="12" y="25"/>
                  </a:cubicBezTo>
                  <a:cubicBezTo>
                    <a:pt x="14" y="23"/>
                    <a:pt x="12" y="20"/>
                    <a:pt x="13" y="18"/>
                  </a:cubicBezTo>
                  <a:cubicBezTo>
                    <a:pt x="13" y="16"/>
                    <a:pt x="13" y="15"/>
                    <a:pt x="13" y="14"/>
                  </a:cubicBezTo>
                  <a:cubicBezTo>
                    <a:pt x="13" y="14"/>
                    <a:pt x="14" y="13"/>
                    <a:pt x="14" y="13"/>
                  </a:cubicBezTo>
                  <a:cubicBezTo>
                    <a:pt x="14" y="12"/>
                    <a:pt x="15" y="11"/>
                    <a:pt x="14" y="10"/>
                  </a:cubicBezTo>
                  <a:cubicBezTo>
                    <a:pt x="12" y="9"/>
                    <a:pt x="13" y="7"/>
                    <a:pt x="13" y="5"/>
                  </a:cubicBezTo>
                  <a:cubicBezTo>
                    <a:pt x="13" y="5"/>
                    <a:pt x="9" y="5"/>
                    <a:pt x="9" y="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0" name="Freeform 264"/>
            <p:cNvSpPr>
              <a:spLocks/>
            </p:cNvSpPr>
            <p:nvPr/>
          </p:nvSpPr>
          <p:spPr bwMode="auto">
            <a:xfrm>
              <a:off x="7414862" y="3424867"/>
              <a:ext cx="2759" cy="4326"/>
            </a:xfrm>
            <a:custGeom>
              <a:avLst/>
              <a:gdLst>
                <a:gd name="T0" fmla="*/ 4688532 w 6"/>
                <a:gd name="T1" fmla="*/ 5234180 h 9"/>
                <a:gd name="T2" fmla="*/ 3961001 w 6"/>
                <a:gd name="T3" fmla="*/ 1697572 h 9"/>
                <a:gd name="T4" fmla="*/ 2243220 w 6"/>
                <a:gd name="T5" fmla="*/ 727531 h 9"/>
                <a:gd name="T6" fmla="*/ 2970751 w 6"/>
                <a:gd name="T7" fmla="*/ 6931749 h 9"/>
                <a:gd name="T8" fmla="*/ 4688532 w 6"/>
                <a:gd name="T9" fmla="*/ 6931749 h 9"/>
                <a:gd name="T10" fmla="*/ 4688532 w 6"/>
                <a:gd name="T11" fmla="*/ 523418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9"/>
                <a:gd name="T20" fmla="*/ 6 w 6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9">
                  <a:moveTo>
                    <a:pt x="6" y="7"/>
                  </a:moveTo>
                  <a:cubicBezTo>
                    <a:pt x="5" y="6"/>
                    <a:pt x="5" y="4"/>
                    <a:pt x="5" y="2"/>
                  </a:cubicBezTo>
                  <a:cubicBezTo>
                    <a:pt x="4" y="1"/>
                    <a:pt x="4" y="0"/>
                    <a:pt x="3" y="1"/>
                  </a:cubicBezTo>
                  <a:cubicBezTo>
                    <a:pt x="0" y="2"/>
                    <a:pt x="1" y="7"/>
                    <a:pt x="4" y="9"/>
                  </a:cubicBezTo>
                  <a:cubicBezTo>
                    <a:pt x="4" y="9"/>
                    <a:pt x="5" y="9"/>
                    <a:pt x="6" y="9"/>
                  </a:cubicBezTo>
                  <a:cubicBezTo>
                    <a:pt x="6" y="9"/>
                    <a:pt x="6" y="8"/>
                    <a:pt x="6" y="7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1" name="Freeform 265"/>
            <p:cNvSpPr>
              <a:spLocks/>
            </p:cNvSpPr>
            <p:nvPr/>
          </p:nvSpPr>
          <p:spPr bwMode="auto">
            <a:xfrm>
              <a:off x="7424644" y="3421082"/>
              <a:ext cx="8528" cy="7030"/>
            </a:xfrm>
            <a:custGeom>
              <a:avLst/>
              <a:gdLst>
                <a:gd name="T0" fmla="*/ 14605101 w 18"/>
                <a:gd name="T1" fmla="*/ 0 h 15"/>
                <a:gd name="T2" fmla="*/ 10471513 w 18"/>
                <a:gd name="T3" fmla="*/ 0 h 15"/>
                <a:gd name="T4" fmla="*/ 8850068 w 18"/>
                <a:gd name="T5" fmla="*/ 2970751 h 15"/>
                <a:gd name="T6" fmla="*/ 8080076 w 18"/>
                <a:gd name="T7" fmla="*/ 2970751 h 15"/>
                <a:gd name="T8" fmla="*/ 4697331 w 18"/>
                <a:gd name="T9" fmla="*/ 1697572 h 15"/>
                <a:gd name="T10" fmla="*/ 3382358 w 18"/>
                <a:gd name="T11" fmla="*/ 3961001 h 15"/>
                <a:gd name="T12" fmla="*/ 2384158 w 18"/>
                <a:gd name="T13" fmla="*/ 5234181 h 15"/>
                <a:gd name="T14" fmla="*/ 998020 w 18"/>
                <a:gd name="T15" fmla="*/ 7659284 h 15"/>
                <a:gd name="T16" fmla="*/ 2384158 w 18"/>
                <a:gd name="T17" fmla="*/ 8614993 h 15"/>
                <a:gd name="T18" fmla="*/ 3382358 w 18"/>
                <a:gd name="T19" fmla="*/ 9902491 h 15"/>
                <a:gd name="T20" fmla="*/ 3382358 w 18"/>
                <a:gd name="T21" fmla="*/ 10939910 h 15"/>
                <a:gd name="T22" fmla="*/ 8080076 w 18"/>
                <a:gd name="T23" fmla="*/ 10939910 h 15"/>
                <a:gd name="T24" fmla="*/ 8850068 w 18"/>
                <a:gd name="T25" fmla="*/ 7659284 h 15"/>
                <a:gd name="T26" fmla="*/ 13605887 w 18"/>
                <a:gd name="T27" fmla="*/ 6931751 h 15"/>
                <a:gd name="T28" fmla="*/ 15574178 w 18"/>
                <a:gd name="T29" fmla="*/ 7659284 h 15"/>
                <a:gd name="T30" fmla="*/ 16931056 w 18"/>
                <a:gd name="T31" fmla="*/ 5234181 h 15"/>
                <a:gd name="T32" fmla="*/ 20313258 w 18"/>
                <a:gd name="T33" fmla="*/ 3961001 h 15"/>
                <a:gd name="T34" fmla="*/ 20313258 w 18"/>
                <a:gd name="T35" fmla="*/ 2970751 h 15"/>
                <a:gd name="T36" fmla="*/ 19302400 w 18"/>
                <a:gd name="T37" fmla="*/ 2243220 h 15"/>
                <a:gd name="T38" fmla="*/ 19302400 w 18"/>
                <a:gd name="T39" fmla="*/ 727531 h 15"/>
                <a:gd name="T40" fmla="*/ 14605101 w 18"/>
                <a:gd name="T41" fmla="*/ 0 h 15"/>
                <a:gd name="T42" fmla="*/ 14605101 w 18"/>
                <a:gd name="T43" fmla="*/ 0 h 1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8"/>
                <a:gd name="T67" fmla="*/ 0 h 15"/>
                <a:gd name="T68" fmla="*/ 18 w 18"/>
                <a:gd name="T69" fmla="*/ 15 h 1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8" h="15">
                  <a:moveTo>
                    <a:pt x="13" y="0"/>
                  </a:moveTo>
                  <a:cubicBezTo>
                    <a:pt x="12" y="0"/>
                    <a:pt x="11" y="0"/>
                    <a:pt x="9" y="0"/>
                  </a:cubicBezTo>
                  <a:cubicBezTo>
                    <a:pt x="8" y="1"/>
                    <a:pt x="8" y="2"/>
                    <a:pt x="8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5" y="1"/>
                    <a:pt x="4" y="2"/>
                  </a:cubicBezTo>
                  <a:cubicBezTo>
                    <a:pt x="4" y="3"/>
                    <a:pt x="4" y="4"/>
                    <a:pt x="3" y="5"/>
                  </a:cubicBezTo>
                  <a:cubicBezTo>
                    <a:pt x="3" y="6"/>
                    <a:pt x="2" y="6"/>
                    <a:pt x="2" y="7"/>
                  </a:cubicBezTo>
                  <a:cubicBezTo>
                    <a:pt x="1" y="7"/>
                    <a:pt x="0" y="9"/>
                    <a:pt x="1" y="10"/>
                  </a:cubicBezTo>
                  <a:cubicBezTo>
                    <a:pt x="1" y="10"/>
                    <a:pt x="2" y="11"/>
                    <a:pt x="2" y="11"/>
                  </a:cubicBezTo>
                  <a:cubicBezTo>
                    <a:pt x="3" y="12"/>
                    <a:pt x="2" y="13"/>
                    <a:pt x="3" y="13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5" y="14"/>
                    <a:pt x="6" y="15"/>
                    <a:pt x="7" y="14"/>
                  </a:cubicBezTo>
                  <a:cubicBezTo>
                    <a:pt x="8" y="14"/>
                    <a:pt x="7" y="12"/>
                    <a:pt x="8" y="10"/>
                  </a:cubicBezTo>
                  <a:cubicBezTo>
                    <a:pt x="9" y="9"/>
                    <a:pt x="11" y="9"/>
                    <a:pt x="12" y="9"/>
                  </a:cubicBezTo>
                  <a:cubicBezTo>
                    <a:pt x="12" y="10"/>
                    <a:pt x="13" y="11"/>
                    <a:pt x="14" y="10"/>
                  </a:cubicBezTo>
                  <a:cubicBezTo>
                    <a:pt x="15" y="10"/>
                    <a:pt x="14" y="8"/>
                    <a:pt x="15" y="7"/>
                  </a:cubicBezTo>
                  <a:cubicBezTo>
                    <a:pt x="17" y="7"/>
                    <a:pt x="17" y="6"/>
                    <a:pt x="18" y="5"/>
                  </a:cubicBezTo>
                  <a:cubicBezTo>
                    <a:pt x="18" y="5"/>
                    <a:pt x="18" y="4"/>
                    <a:pt x="18" y="4"/>
                  </a:cubicBezTo>
                  <a:cubicBezTo>
                    <a:pt x="18" y="3"/>
                    <a:pt x="17" y="3"/>
                    <a:pt x="17" y="3"/>
                  </a:cubicBezTo>
                  <a:cubicBezTo>
                    <a:pt x="17" y="2"/>
                    <a:pt x="17" y="1"/>
                    <a:pt x="17" y="1"/>
                  </a:cubicBezTo>
                  <a:cubicBezTo>
                    <a:pt x="16" y="0"/>
                    <a:pt x="14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2" name="Freeform 266"/>
            <p:cNvSpPr>
              <a:spLocks/>
            </p:cNvSpPr>
            <p:nvPr/>
          </p:nvSpPr>
          <p:spPr bwMode="auto">
            <a:xfrm>
              <a:off x="7419628" y="3387284"/>
              <a:ext cx="35367" cy="37583"/>
            </a:xfrm>
            <a:custGeom>
              <a:avLst/>
              <a:gdLst>
                <a:gd name="T0" fmla="*/ 58008842 w 76"/>
                <a:gd name="T1" fmla="*/ 29280663 h 78"/>
                <a:gd name="T2" fmla="*/ 50840525 w 76"/>
                <a:gd name="T3" fmla="*/ 35874560 h 78"/>
                <a:gd name="T4" fmla="*/ 44209138 w 76"/>
                <a:gd name="T5" fmla="*/ 42459465 h 78"/>
                <a:gd name="T6" fmla="*/ 42274537 w 76"/>
                <a:gd name="T7" fmla="*/ 35874560 h 78"/>
                <a:gd name="T8" fmla="*/ 38065788 w 76"/>
                <a:gd name="T9" fmla="*/ 44119239 h 78"/>
                <a:gd name="T10" fmla="*/ 35106153 w 76"/>
                <a:gd name="T11" fmla="*/ 50715532 h 78"/>
                <a:gd name="T12" fmla="*/ 30251953 w 76"/>
                <a:gd name="T13" fmla="*/ 52176775 h 78"/>
                <a:gd name="T14" fmla="*/ 18666092 w 76"/>
                <a:gd name="T15" fmla="*/ 54215909 h 78"/>
                <a:gd name="T16" fmla="*/ 9968069 w 76"/>
                <a:gd name="T17" fmla="*/ 54215909 h 78"/>
                <a:gd name="T18" fmla="*/ 5759327 w 76"/>
                <a:gd name="T19" fmla="*/ 59689445 h 78"/>
                <a:gd name="T20" fmla="*/ 0 w 76"/>
                <a:gd name="T21" fmla="*/ 66274453 h 78"/>
                <a:gd name="T22" fmla="*/ 5759327 w 76"/>
                <a:gd name="T23" fmla="*/ 66274453 h 78"/>
                <a:gd name="T24" fmla="*/ 7881242 w 76"/>
                <a:gd name="T25" fmla="*/ 68240251 h 78"/>
                <a:gd name="T26" fmla="*/ 10840510 w 76"/>
                <a:gd name="T27" fmla="*/ 65069036 h 78"/>
                <a:gd name="T28" fmla="*/ 16599778 w 76"/>
                <a:gd name="T29" fmla="*/ 63607416 h 78"/>
                <a:gd name="T30" fmla="*/ 24492638 w 76"/>
                <a:gd name="T31" fmla="*/ 60811259 h 78"/>
                <a:gd name="T32" fmla="*/ 28478632 w 76"/>
                <a:gd name="T33" fmla="*/ 63607416 h 78"/>
                <a:gd name="T34" fmla="*/ 33584529 w 76"/>
                <a:gd name="T35" fmla="*/ 61643505 h 78"/>
                <a:gd name="T36" fmla="*/ 31441222 w 76"/>
                <a:gd name="T37" fmla="*/ 63607416 h 78"/>
                <a:gd name="T38" fmla="*/ 31441222 w 76"/>
                <a:gd name="T39" fmla="*/ 66274453 h 78"/>
                <a:gd name="T40" fmla="*/ 34448850 w 76"/>
                <a:gd name="T41" fmla="*/ 70879999 h 78"/>
                <a:gd name="T42" fmla="*/ 36383698 w 76"/>
                <a:gd name="T43" fmla="*/ 71740062 h 78"/>
                <a:gd name="T44" fmla="*/ 38065788 w 76"/>
                <a:gd name="T45" fmla="*/ 69072309 h 78"/>
                <a:gd name="T46" fmla="*/ 44209138 w 76"/>
                <a:gd name="T47" fmla="*/ 64322053 h 78"/>
                <a:gd name="T48" fmla="*/ 42274537 w 76"/>
                <a:gd name="T49" fmla="*/ 60811259 h 78"/>
                <a:gd name="T50" fmla="*/ 44209138 w 76"/>
                <a:gd name="T51" fmla="*/ 60811259 h 78"/>
                <a:gd name="T52" fmla="*/ 55915007 w 76"/>
                <a:gd name="T53" fmla="*/ 56809874 h 78"/>
                <a:gd name="T54" fmla="*/ 58008842 w 76"/>
                <a:gd name="T55" fmla="*/ 60811259 h 78"/>
                <a:gd name="T56" fmla="*/ 59624597 w 76"/>
                <a:gd name="T57" fmla="*/ 61643505 h 78"/>
                <a:gd name="T58" fmla="*/ 62930495 w 76"/>
                <a:gd name="T59" fmla="*/ 51399257 h 78"/>
                <a:gd name="T60" fmla="*/ 65885904 w 76"/>
                <a:gd name="T61" fmla="*/ 52176775 h 78"/>
                <a:gd name="T62" fmla="*/ 66544401 w 76"/>
                <a:gd name="T63" fmla="*/ 58848367 h 78"/>
                <a:gd name="T64" fmla="*/ 69572151 w 76"/>
                <a:gd name="T65" fmla="*/ 53382531 h 78"/>
                <a:gd name="T66" fmla="*/ 69572151 w 76"/>
                <a:gd name="T67" fmla="*/ 46805449 h 78"/>
                <a:gd name="T68" fmla="*/ 70756058 w 76"/>
                <a:gd name="T69" fmla="*/ 35005515 h 78"/>
                <a:gd name="T70" fmla="*/ 68689583 w 76"/>
                <a:gd name="T71" fmla="*/ 31243763 h 78"/>
                <a:gd name="T72" fmla="*/ 69572151 w 76"/>
                <a:gd name="T73" fmla="*/ 25778701 h 78"/>
                <a:gd name="T74" fmla="*/ 72371813 w 76"/>
                <a:gd name="T75" fmla="*/ 23814790 h 78"/>
                <a:gd name="T76" fmla="*/ 73715333 w 76"/>
                <a:gd name="T77" fmla="*/ 18351884 h 78"/>
                <a:gd name="T78" fmla="*/ 74466027 w 76"/>
                <a:gd name="T79" fmla="*/ 15560445 h 78"/>
                <a:gd name="T80" fmla="*/ 71649350 w 76"/>
                <a:gd name="T81" fmla="*/ 10927930 h 78"/>
                <a:gd name="T82" fmla="*/ 66544401 w 76"/>
                <a:gd name="T83" fmla="*/ 3499125 h 78"/>
                <a:gd name="T84" fmla="*/ 60808883 w 76"/>
                <a:gd name="T85" fmla="*/ 1963775 h 78"/>
                <a:gd name="T86" fmla="*/ 58008842 w 76"/>
                <a:gd name="T87" fmla="*/ 0 h 78"/>
                <a:gd name="T88" fmla="*/ 55915007 w 76"/>
                <a:gd name="T89" fmla="*/ 3499125 h 78"/>
                <a:gd name="T90" fmla="*/ 56600181 w 76"/>
                <a:gd name="T91" fmla="*/ 9376294 h 78"/>
                <a:gd name="T92" fmla="*/ 58719633 w 76"/>
                <a:gd name="T93" fmla="*/ 12891861 h 78"/>
                <a:gd name="T94" fmla="*/ 58719633 w 76"/>
                <a:gd name="T95" fmla="*/ 21019765 h 78"/>
                <a:gd name="T96" fmla="*/ 58008842 w 76"/>
                <a:gd name="T97" fmla="*/ 24946606 h 7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6"/>
                <a:gd name="T148" fmla="*/ 0 h 78"/>
                <a:gd name="T149" fmla="*/ 76 w 76"/>
                <a:gd name="T150" fmla="*/ 78 h 7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6" h="78">
                  <a:moveTo>
                    <a:pt x="59" y="30"/>
                  </a:moveTo>
                  <a:cubicBezTo>
                    <a:pt x="59" y="31"/>
                    <a:pt x="59" y="32"/>
                    <a:pt x="59" y="32"/>
                  </a:cubicBezTo>
                  <a:cubicBezTo>
                    <a:pt x="58" y="34"/>
                    <a:pt x="56" y="34"/>
                    <a:pt x="55" y="35"/>
                  </a:cubicBezTo>
                  <a:cubicBezTo>
                    <a:pt x="53" y="35"/>
                    <a:pt x="53" y="37"/>
                    <a:pt x="52" y="39"/>
                  </a:cubicBezTo>
                  <a:cubicBezTo>
                    <a:pt x="51" y="41"/>
                    <a:pt x="48" y="42"/>
                    <a:pt x="46" y="44"/>
                  </a:cubicBezTo>
                  <a:cubicBezTo>
                    <a:pt x="45" y="45"/>
                    <a:pt x="45" y="46"/>
                    <a:pt x="45" y="46"/>
                  </a:cubicBezTo>
                  <a:cubicBezTo>
                    <a:pt x="42" y="47"/>
                    <a:pt x="42" y="43"/>
                    <a:pt x="42" y="41"/>
                  </a:cubicBezTo>
                  <a:cubicBezTo>
                    <a:pt x="43" y="40"/>
                    <a:pt x="43" y="39"/>
                    <a:pt x="43" y="39"/>
                  </a:cubicBezTo>
                  <a:cubicBezTo>
                    <a:pt x="41" y="38"/>
                    <a:pt x="40" y="40"/>
                    <a:pt x="39" y="41"/>
                  </a:cubicBezTo>
                  <a:cubicBezTo>
                    <a:pt x="38" y="43"/>
                    <a:pt x="39" y="46"/>
                    <a:pt x="39" y="48"/>
                  </a:cubicBezTo>
                  <a:cubicBezTo>
                    <a:pt x="38" y="49"/>
                    <a:pt x="38" y="50"/>
                    <a:pt x="37" y="51"/>
                  </a:cubicBezTo>
                  <a:cubicBezTo>
                    <a:pt x="36" y="53"/>
                    <a:pt x="37" y="54"/>
                    <a:pt x="36" y="55"/>
                  </a:cubicBezTo>
                  <a:cubicBezTo>
                    <a:pt x="36" y="56"/>
                    <a:pt x="36" y="56"/>
                    <a:pt x="35" y="57"/>
                  </a:cubicBezTo>
                  <a:cubicBezTo>
                    <a:pt x="34" y="57"/>
                    <a:pt x="32" y="57"/>
                    <a:pt x="31" y="57"/>
                  </a:cubicBezTo>
                  <a:cubicBezTo>
                    <a:pt x="27" y="57"/>
                    <a:pt x="24" y="58"/>
                    <a:pt x="20" y="58"/>
                  </a:cubicBezTo>
                  <a:cubicBezTo>
                    <a:pt x="20" y="58"/>
                    <a:pt x="19" y="59"/>
                    <a:pt x="19" y="59"/>
                  </a:cubicBezTo>
                  <a:cubicBezTo>
                    <a:pt x="17" y="59"/>
                    <a:pt x="16" y="59"/>
                    <a:pt x="14" y="58"/>
                  </a:cubicBezTo>
                  <a:cubicBezTo>
                    <a:pt x="13" y="57"/>
                    <a:pt x="11" y="58"/>
                    <a:pt x="10" y="59"/>
                  </a:cubicBezTo>
                  <a:cubicBezTo>
                    <a:pt x="9" y="60"/>
                    <a:pt x="10" y="62"/>
                    <a:pt x="9" y="62"/>
                  </a:cubicBezTo>
                  <a:cubicBezTo>
                    <a:pt x="8" y="63"/>
                    <a:pt x="7" y="64"/>
                    <a:pt x="6" y="65"/>
                  </a:cubicBezTo>
                  <a:cubicBezTo>
                    <a:pt x="5" y="65"/>
                    <a:pt x="5" y="66"/>
                    <a:pt x="5" y="66"/>
                  </a:cubicBezTo>
                  <a:cubicBezTo>
                    <a:pt x="4" y="68"/>
                    <a:pt x="1" y="70"/>
                    <a:pt x="0" y="72"/>
                  </a:cubicBezTo>
                  <a:cubicBezTo>
                    <a:pt x="0" y="72"/>
                    <a:pt x="0" y="74"/>
                    <a:pt x="0" y="74"/>
                  </a:cubicBezTo>
                  <a:cubicBezTo>
                    <a:pt x="2" y="74"/>
                    <a:pt x="4" y="74"/>
                    <a:pt x="6" y="72"/>
                  </a:cubicBezTo>
                  <a:cubicBezTo>
                    <a:pt x="6" y="72"/>
                    <a:pt x="7" y="72"/>
                    <a:pt x="8" y="72"/>
                  </a:cubicBezTo>
                  <a:cubicBezTo>
                    <a:pt x="8" y="73"/>
                    <a:pt x="8" y="74"/>
                    <a:pt x="8" y="74"/>
                  </a:cubicBezTo>
                  <a:cubicBezTo>
                    <a:pt x="9" y="74"/>
                    <a:pt x="9" y="74"/>
                    <a:pt x="10" y="74"/>
                  </a:cubicBezTo>
                  <a:cubicBezTo>
                    <a:pt x="11" y="73"/>
                    <a:pt x="9" y="71"/>
                    <a:pt x="11" y="71"/>
                  </a:cubicBezTo>
                  <a:cubicBezTo>
                    <a:pt x="12" y="70"/>
                    <a:pt x="14" y="72"/>
                    <a:pt x="16" y="70"/>
                  </a:cubicBezTo>
                  <a:cubicBezTo>
                    <a:pt x="16" y="70"/>
                    <a:pt x="17" y="69"/>
                    <a:pt x="17" y="69"/>
                  </a:cubicBezTo>
                  <a:cubicBezTo>
                    <a:pt x="19" y="69"/>
                    <a:pt x="20" y="69"/>
                    <a:pt x="22" y="68"/>
                  </a:cubicBezTo>
                  <a:cubicBezTo>
                    <a:pt x="23" y="68"/>
                    <a:pt x="24" y="66"/>
                    <a:pt x="25" y="66"/>
                  </a:cubicBezTo>
                  <a:cubicBezTo>
                    <a:pt x="26" y="65"/>
                    <a:pt x="28" y="65"/>
                    <a:pt x="29" y="66"/>
                  </a:cubicBezTo>
                  <a:cubicBezTo>
                    <a:pt x="30" y="67"/>
                    <a:pt x="30" y="68"/>
                    <a:pt x="29" y="69"/>
                  </a:cubicBezTo>
                  <a:cubicBezTo>
                    <a:pt x="30" y="69"/>
                    <a:pt x="31" y="67"/>
                    <a:pt x="31" y="67"/>
                  </a:cubicBezTo>
                  <a:cubicBezTo>
                    <a:pt x="32" y="66"/>
                    <a:pt x="33" y="66"/>
                    <a:pt x="34" y="67"/>
                  </a:cubicBezTo>
                  <a:cubicBezTo>
                    <a:pt x="34" y="67"/>
                    <a:pt x="33" y="68"/>
                    <a:pt x="33" y="68"/>
                  </a:cubicBezTo>
                  <a:cubicBezTo>
                    <a:pt x="33" y="68"/>
                    <a:pt x="32" y="69"/>
                    <a:pt x="32" y="69"/>
                  </a:cubicBezTo>
                  <a:cubicBezTo>
                    <a:pt x="31" y="70"/>
                    <a:pt x="31" y="70"/>
                    <a:pt x="32" y="71"/>
                  </a:cubicBezTo>
                  <a:cubicBezTo>
                    <a:pt x="32" y="71"/>
                    <a:pt x="32" y="72"/>
                    <a:pt x="32" y="72"/>
                  </a:cubicBezTo>
                  <a:cubicBezTo>
                    <a:pt x="32" y="74"/>
                    <a:pt x="33" y="75"/>
                    <a:pt x="34" y="76"/>
                  </a:cubicBezTo>
                  <a:cubicBezTo>
                    <a:pt x="35" y="76"/>
                    <a:pt x="35" y="77"/>
                    <a:pt x="35" y="77"/>
                  </a:cubicBezTo>
                  <a:cubicBezTo>
                    <a:pt x="35" y="77"/>
                    <a:pt x="35" y="77"/>
                    <a:pt x="35" y="78"/>
                  </a:cubicBezTo>
                  <a:cubicBezTo>
                    <a:pt x="36" y="78"/>
                    <a:pt x="36" y="78"/>
                    <a:pt x="37" y="78"/>
                  </a:cubicBezTo>
                  <a:cubicBezTo>
                    <a:pt x="37" y="77"/>
                    <a:pt x="38" y="77"/>
                    <a:pt x="38" y="76"/>
                  </a:cubicBezTo>
                  <a:cubicBezTo>
                    <a:pt x="38" y="76"/>
                    <a:pt x="38" y="76"/>
                    <a:pt x="39" y="75"/>
                  </a:cubicBezTo>
                  <a:cubicBezTo>
                    <a:pt x="40" y="74"/>
                    <a:pt x="41" y="72"/>
                    <a:pt x="42" y="70"/>
                  </a:cubicBezTo>
                  <a:cubicBezTo>
                    <a:pt x="43" y="70"/>
                    <a:pt x="44" y="70"/>
                    <a:pt x="45" y="70"/>
                  </a:cubicBezTo>
                  <a:cubicBezTo>
                    <a:pt x="45" y="70"/>
                    <a:pt x="45" y="69"/>
                    <a:pt x="45" y="69"/>
                  </a:cubicBezTo>
                  <a:cubicBezTo>
                    <a:pt x="44" y="68"/>
                    <a:pt x="43" y="67"/>
                    <a:pt x="43" y="66"/>
                  </a:cubicBezTo>
                  <a:cubicBezTo>
                    <a:pt x="42" y="65"/>
                    <a:pt x="42" y="64"/>
                    <a:pt x="42" y="63"/>
                  </a:cubicBezTo>
                  <a:cubicBezTo>
                    <a:pt x="44" y="63"/>
                    <a:pt x="44" y="66"/>
                    <a:pt x="45" y="66"/>
                  </a:cubicBezTo>
                  <a:cubicBezTo>
                    <a:pt x="48" y="67"/>
                    <a:pt x="50" y="67"/>
                    <a:pt x="53" y="67"/>
                  </a:cubicBezTo>
                  <a:cubicBezTo>
                    <a:pt x="55" y="67"/>
                    <a:pt x="56" y="64"/>
                    <a:pt x="57" y="62"/>
                  </a:cubicBezTo>
                  <a:cubicBezTo>
                    <a:pt x="57" y="62"/>
                    <a:pt x="58" y="62"/>
                    <a:pt x="58" y="62"/>
                  </a:cubicBezTo>
                  <a:cubicBezTo>
                    <a:pt x="59" y="63"/>
                    <a:pt x="58" y="65"/>
                    <a:pt x="59" y="66"/>
                  </a:cubicBezTo>
                  <a:cubicBezTo>
                    <a:pt x="59" y="66"/>
                    <a:pt x="60" y="66"/>
                    <a:pt x="60" y="67"/>
                  </a:cubicBezTo>
                  <a:cubicBezTo>
                    <a:pt x="60" y="67"/>
                    <a:pt x="61" y="67"/>
                    <a:pt x="61" y="67"/>
                  </a:cubicBezTo>
                  <a:cubicBezTo>
                    <a:pt x="62" y="65"/>
                    <a:pt x="63" y="63"/>
                    <a:pt x="64" y="61"/>
                  </a:cubicBezTo>
                  <a:cubicBezTo>
                    <a:pt x="65" y="59"/>
                    <a:pt x="64" y="58"/>
                    <a:pt x="64" y="56"/>
                  </a:cubicBezTo>
                  <a:cubicBezTo>
                    <a:pt x="65" y="56"/>
                    <a:pt x="65" y="56"/>
                    <a:pt x="66" y="56"/>
                  </a:cubicBezTo>
                  <a:cubicBezTo>
                    <a:pt x="67" y="56"/>
                    <a:pt x="67" y="56"/>
                    <a:pt x="67" y="57"/>
                  </a:cubicBezTo>
                  <a:cubicBezTo>
                    <a:pt x="67" y="59"/>
                    <a:pt x="67" y="62"/>
                    <a:pt x="67" y="64"/>
                  </a:cubicBezTo>
                  <a:cubicBezTo>
                    <a:pt x="67" y="64"/>
                    <a:pt x="68" y="64"/>
                    <a:pt x="68" y="64"/>
                  </a:cubicBezTo>
                  <a:cubicBezTo>
                    <a:pt x="69" y="62"/>
                    <a:pt x="70" y="61"/>
                    <a:pt x="71" y="59"/>
                  </a:cubicBezTo>
                  <a:cubicBezTo>
                    <a:pt x="71" y="59"/>
                    <a:pt x="71" y="58"/>
                    <a:pt x="71" y="58"/>
                  </a:cubicBezTo>
                  <a:cubicBezTo>
                    <a:pt x="72" y="57"/>
                    <a:pt x="71" y="56"/>
                    <a:pt x="71" y="55"/>
                  </a:cubicBezTo>
                  <a:cubicBezTo>
                    <a:pt x="71" y="53"/>
                    <a:pt x="71" y="52"/>
                    <a:pt x="71" y="51"/>
                  </a:cubicBezTo>
                  <a:cubicBezTo>
                    <a:pt x="71" y="49"/>
                    <a:pt x="70" y="46"/>
                    <a:pt x="71" y="44"/>
                  </a:cubicBezTo>
                  <a:cubicBezTo>
                    <a:pt x="72" y="42"/>
                    <a:pt x="73" y="40"/>
                    <a:pt x="72" y="38"/>
                  </a:cubicBezTo>
                  <a:cubicBezTo>
                    <a:pt x="72" y="37"/>
                    <a:pt x="71" y="37"/>
                    <a:pt x="70" y="36"/>
                  </a:cubicBezTo>
                  <a:cubicBezTo>
                    <a:pt x="70" y="35"/>
                    <a:pt x="71" y="34"/>
                    <a:pt x="70" y="34"/>
                  </a:cubicBezTo>
                  <a:cubicBezTo>
                    <a:pt x="70" y="33"/>
                    <a:pt x="69" y="31"/>
                    <a:pt x="70" y="30"/>
                  </a:cubicBezTo>
                  <a:cubicBezTo>
                    <a:pt x="70" y="30"/>
                    <a:pt x="70" y="29"/>
                    <a:pt x="71" y="28"/>
                  </a:cubicBezTo>
                  <a:cubicBezTo>
                    <a:pt x="72" y="28"/>
                    <a:pt x="73" y="28"/>
                    <a:pt x="73" y="28"/>
                  </a:cubicBezTo>
                  <a:cubicBezTo>
                    <a:pt x="74" y="27"/>
                    <a:pt x="74" y="26"/>
                    <a:pt x="74" y="26"/>
                  </a:cubicBezTo>
                  <a:cubicBezTo>
                    <a:pt x="74" y="25"/>
                    <a:pt x="75" y="24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6" y="20"/>
                    <a:pt x="76" y="19"/>
                    <a:pt x="76" y="19"/>
                  </a:cubicBezTo>
                  <a:cubicBezTo>
                    <a:pt x="76" y="19"/>
                    <a:pt x="76" y="18"/>
                    <a:pt x="76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5" y="15"/>
                    <a:pt x="74" y="13"/>
                    <a:pt x="73" y="12"/>
                  </a:cubicBezTo>
                  <a:cubicBezTo>
                    <a:pt x="71" y="11"/>
                    <a:pt x="72" y="9"/>
                    <a:pt x="71" y="8"/>
                  </a:cubicBezTo>
                  <a:cubicBezTo>
                    <a:pt x="70" y="7"/>
                    <a:pt x="68" y="6"/>
                    <a:pt x="68" y="4"/>
                  </a:cubicBezTo>
                  <a:cubicBezTo>
                    <a:pt x="68" y="3"/>
                    <a:pt x="67" y="3"/>
                    <a:pt x="67" y="3"/>
                  </a:cubicBezTo>
                  <a:cubicBezTo>
                    <a:pt x="65" y="2"/>
                    <a:pt x="63" y="3"/>
                    <a:pt x="62" y="2"/>
                  </a:cubicBezTo>
                  <a:cubicBezTo>
                    <a:pt x="61" y="2"/>
                    <a:pt x="62" y="1"/>
                    <a:pt x="61" y="0"/>
                  </a:cubicBezTo>
                  <a:cubicBezTo>
                    <a:pt x="61" y="0"/>
                    <a:pt x="60" y="0"/>
                    <a:pt x="59" y="0"/>
                  </a:cubicBezTo>
                  <a:cubicBezTo>
                    <a:pt x="59" y="0"/>
                    <a:pt x="59" y="1"/>
                    <a:pt x="59" y="2"/>
                  </a:cubicBezTo>
                  <a:cubicBezTo>
                    <a:pt x="58" y="3"/>
                    <a:pt x="57" y="3"/>
                    <a:pt x="57" y="4"/>
                  </a:cubicBezTo>
                  <a:cubicBezTo>
                    <a:pt x="57" y="5"/>
                    <a:pt x="57" y="6"/>
                    <a:pt x="58" y="6"/>
                  </a:cubicBezTo>
                  <a:cubicBezTo>
                    <a:pt x="59" y="7"/>
                    <a:pt x="58" y="9"/>
                    <a:pt x="58" y="10"/>
                  </a:cubicBezTo>
                  <a:cubicBezTo>
                    <a:pt x="57" y="11"/>
                    <a:pt x="57" y="12"/>
                    <a:pt x="57" y="13"/>
                  </a:cubicBezTo>
                  <a:cubicBezTo>
                    <a:pt x="58" y="13"/>
                    <a:pt x="59" y="13"/>
                    <a:pt x="60" y="14"/>
                  </a:cubicBezTo>
                  <a:cubicBezTo>
                    <a:pt x="60" y="16"/>
                    <a:pt x="59" y="17"/>
                    <a:pt x="60" y="19"/>
                  </a:cubicBezTo>
                  <a:cubicBezTo>
                    <a:pt x="60" y="20"/>
                    <a:pt x="60" y="21"/>
                    <a:pt x="60" y="23"/>
                  </a:cubicBezTo>
                  <a:cubicBezTo>
                    <a:pt x="60" y="24"/>
                    <a:pt x="60" y="24"/>
                    <a:pt x="59" y="25"/>
                  </a:cubicBezTo>
                  <a:cubicBezTo>
                    <a:pt x="59" y="26"/>
                    <a:pt x="59" y="26"/>
                    <a:pt x="59" y="27"/>
                  </a:cubicBezTo>
                  <a:lnTo>
                    <a:pt x="59" y="3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3" name="Freeform 267"/>
            <p:cNvSpPr>
              <a:spLocks/>
            </p:cNvSpPr>
            <p:nvPr/>
          </p:nvSpPr>
          <p:spPr bwMode="auto">
            <a:xfrm>
              <a:off x="7448724" y="3385662"/>
              <a:ext cx="2007" cy="1893"/>
            </a:xfrm>
            <a:custGeom>
              <a:avLst/>
              <a:gdLst>
                <a:gd name="T0" fmla="*/ 5085394 w 5"/>
                <a:gd name="T1" fmla="*/ 4450654 h 4"/>
                <a:gd name="T2" fmla="*/ 1064436 w 5"/>
                <a:gd name="T3" fmla="*/ 2497529 h 4"/>
                <a:gd name="T4" fmla="*/ 1064436 w 5"/>
                <a:gd name="T5" fmla="*/ 6243820 h 4"/>
                <a:gd name="T6" fmla="*/ 6131150 w 5"/>
                <a:gd name="T7" fmla="*/ 9219213 h 4"/>
                <a:gd name="T8" fmla="*/ 6131150 w 5"/>
                <a:gd name="T9" fmla="*/ 2497529 h 4"/>
                <a:gd name="T10" fmla="*/ 5085394 w 5"/>
                <a:gd name="T11" fmla="*/ 4450654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4" y="2"/>
                  </a:moveTo>
                  <a:cubicBezTo>
                    <a:pt x="4" y="0"/>
                    <a:pt x="2" y="0"/>
                    <a:pt x="1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2" y="4"/>
                    <a:pt x="4" y="4"/>
                    <a:pt x="5" y="4"/>
                  </a:cubicBezTo>
                  <a:cubicBezTo>
                    <a:pt x="5" y="3"/>
                    <a:pt x="5" y="2"/>
                    <a:pt x="5" y="1"/>
                  </a:cubicBezTo>
                  <a:cubicBezTo>
                    <a:pt x="5" y="1"/>
                    <a:pt x="4" y="1"/>
                    <a:pt x="4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4" name="Freeform 268"/>
            <p:cNvSpPr>
              <a:spLocks/>
            </p:cNvSpPr>
            <p:nvPr/>
          </p:nvSpPr>
          <p:spPr bwMode="auto">
            <a:xfrm>
              <a:off x="7443707" y="3365924"/>
              <a:ext cx="19565" cy="20278"/>
            </a:xfrm>
            <a:custGeom>
              <a:avLst/>
              <a:gdLst>
                <a:gd name="T0" fmla="*/ 6241960 w 42"/>
                <a:gd name="T1" fmla="*/ 5415918 h 42"/>
                <a:gd name="T2" fmla="*/ 7350476 w 42"/>
                <a:gd name="T3" fmla="*/ 7350476 h 42"/>
                <a:gd name="T4" fmla="*/ 8174844 w 42"/>
                <a:gd name="T5" fmla="*/ 9969094 h 42"/>
                <a:gd name="T6" fmla="*/ 8174844 w 42"/>
                <a:gd name="T7" fmla="*/ 12766088 h 42"/>
                <a:gd name="T8" fmla="*/ 7350476 w 42"/>
                <a:gd name="T9" fmla="*/ 15386777 h 42"/>
                <a:gd name="T10" fmla="*/ 8174844 w 42"/>
                <a:gd name="T11" fmla="*/ 18182008 h 42"/>
                <a:gd name="T12" fmla="*/ 6241960 w 42"/>
                <a:gd name="T13" fmla="*/ 21914981 h 42"/>
                <a:gd name="T14" fmla="*/ 2648104 w 42"/>
                <a:gd name="T15" fmla="*/ 20120347 h 42"/>
                <a:gd name="T16" fmla="*/ 826407 w 42"/>
                <a:gd name="T17" fmla="*/ 20120347 h 42"/>
                <a:gd name="T18" fmla="*/ 2648104 w 42"/>
                <a:gd name="T19" fmla="*/ 24685188 h 42"/>
                <a:gd name="T20" fmla="*/ 826407 w 42"/>
                <a:gd name="T21" fmla="*/ 27333805 h 42"/>
                <a:gd name="T22" fmla="*/ 826407 w 42"/>
                <a:gd name="T23" fmla="*/ 28921406 h 42"/>
                <a:gd name="T24" fmla="*/ 2648104 w 42"/>
                <a:gd name="T25" fmla="*/ 32039415 h 42"/>
                <a:gd name="T26" fmla="*/ 2648104 w 42"/>
                <a:gd name="T27" fmla="*/ 38064251 h 42"/>
                <a:gd name="T28" fmla="*/ 5415918 w 42"/>
                <a:gd name="T29" fmla="*/ 34681073 h 42"/>
                <a:gd name="T30" fmla="*/ 7350476 w 42"/>
                <a:gd name="T31" fmla="*/ 34681073 h 42"/>
                <a:gd name="T32" fmla="*/ 10823096 w 42"/>
                <a:gd name="T33" fmla="*/ 34681073 h 42"/>
                <a:gd name="T34" fmla="*/ 10823096 w 42"/>
                <a:gd name="T35" fmla="*/ 33474537 h 42"/>
                <a:gd name="T36" fmla="*/ 7350476 w 42"/>
                <a:gd name="T37" fmla="*/ 30864540 h 42"/>
                <a:gd name="T38" fmla="*/ 3468116 w 42"/>
                <a:gd name="T39" fmla="*/ 28921406 h 42"/>
                <a:gd name="T40" fmla="*/ 7350476 w 42"/>
                <a:gd name="T41" fmla="*/ 28921406 h 42"/>
                <a:gd name="T42" fmla="*/ 9297268 w 42"/>
                <a:gd name="T43" fmla="*/ 28921406 h 42"/>
                <a:gd name="T44" fmla="*/ 9969094 w 42"/>
                <a:gd name="T45" fmla="*/ 27333805 h 42"/>
                <a:gd name="T46" fmla="*/ 12766088 w 42"/>
                <a:gd name="T47" fmla="*/ 27333805 h 42"/>
                <a:gd name="T48" fmla="*/ 18182008 w 42"/>
                <a:gd name="T49" fmla="*/ 30091492 h 42"/>
                <a:gd name="T50" fmla="*/ 20120347 w 42"/>
                <a:gd name="T51" fmla="*/ 30864540 h 42"/>
                <a:gd name="T52" fmla="*/ 23498565 w 42"/>
                <a:gd name="T53" fmla="*/ 33474537 h 42"/>
                <a:gd name="T54" fmla="*/ 23498565 w 42"/>
                <a:gd name="T55" fmla="*/ 33474537 h 42"/>
                <a:gd name="T56" fmla="*/ 23498565 w 42"/>
                <a:gd name="T57" fmla="*/ 32648180 h 42"/>
                <a:gd name="T58" fmla="*/ 24685188 w 42"/>
                <a:gd name="T59" fmla="*/ 32039415 h 42"/>
                <a:gd name="T60" fmla="*/ 25511584 w 42"/>
                <a:gd name="T61" fmla="*/ 28921406 h 42"/>
                <a:gd name="T62" fmla="*/ 27333805 w 42"/>
                <a:gd name="T63" fmla="*/ 25511584 h 42"/>
                <a:gd name="T64" fmla="*/ 28094992 w 42"/>
                <a:gd name="T65" fmla="*/ 24685188 h 42"/>
                <a:gd name="T66" fmla="*/ 37455335 w 42"/>
                <a:gd name="T67" fmla="*/ 21914981 h 42"/>
                <a:gd name="T68" fmla="*/ 38064251 w 42"/>
                <a:gd name="T69" fmla="*/ 20120347 h 42"/>
                <a:gd name="T70" fmla="*/ 36268825 w 42"/>
                <a:gd name="T71" fmla="*/ 20120347 h 42"/>
                <a:gd name="T72" fmla="*/ 33474537 w 42"/>
                <a:gd name="T73" fmla="*/ 18182008 h 42"/>
                <a:gd name="T74" fmla="*/ 33474537 w 42"/>
                <a:gd name="T75" fmla="*/ 10823096 h 42"/>
                <a:gd name="T76" fmla="*/ 30864540 w 42"/>
                <a:gd name="T77" fmla="*/ 13592483 h 42"/>
                <a:gd name="T78" fmla="*/ 28921406 w 42"/>
                <a:gd name="T79" fmla="*/ 13592483 h 42"/>
                <a:gd name="T80" fmla="*/ 28094992 w 42"/>
                <a:gd name="T81" fmla="*/ 13592483 h 42"/>
                <a:gd name="T82" fmla="*/ 23498565 w 42"/>
                <a:gd name="T83" fmla="*/ 11919091 h 42"/>
                <a:gd name="T84" fmla="*/ 15386777 w 42"/>
                <a:gd name="T85" fmla="*/ 7350476 h 42"/>
                <a:gd name="T86" fmla="*/ 13592483 w 42"/>
                <a:gd name="T87" fmla="*/ 7350476 h 42"/>
                <a:gd name="T88" fmla="*/ 12766088 w 42"/>
                <a:gd name="T89" fmla="*/ 4591617 h 42"/>
                <a:gd name="T90" fmla="*/ 11919091 w 42"/>
                <a:gd name="T91" fmla="*/ 3468116 h 42"/>
                <a:gd name="T92" fmla="*/ 9969094 w 42"/>
                <a:gd name="T93" fmla="*/ 1947959 h 42"/>
                <a:gd name="T94" fmla="*/ 8174844 w 42"/>
                <a:gd name="T95" fmla="*/ 0 h 42"/>
                <a:gd name="T96" fmla="*/ 6241960 w 42"/>
                <a:gd name="T97" fmla="*/ 0 h 42"/>
                <a:gd name="T98" fmla="*/ 5415918 w 42"/>
                <a:gd name="T99" fmla="*/ 826407 h 42"/>
                <a:gd name="T100" fmla="*/ 5415918 w 42"/>
                <a:gd name="T101" fmla="*/ 4591617 h 42"/>
                <a:gd name="T102" fmla="*/ 6241960 w 42"/>
                <a:gd name="T103" fmla="*/ 5415918 h 4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2"/>
                <a:gd name="T157" fmla="*/ 0 h 42"/>
                <a:gd name="T158" fmla="*/ 42 w 42"/>
                <a:gd name="T159" fmla="*/ 42 h 4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2" h="42">
                  <a:moveTo>
                    <a:pt x="7" y="6"/>
                  </a:moveTo>
                  <a:cubicBezTo>
                    <a:pt x="7" y="7"/>
                    <a:pt x="8" y="7"/>
                    <a:pt x="8" y="8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10" y="12"/>
                    <a:pt x="10" y="13"/>
                    <a:pt x="9" y="14"/>
                  </a:cubicBezTo>
                  <a:cubicBezTo>
                    <a:pt x="9" y="15"/>
                    <a:pt x="8" y="16"/>
                    <a:pt x="8" y="17"/>
                  </a:cubicBezTo>
                  <a:cubicBezTo>
                    <a:pt x="7" y="18"/>
                    <a:pt x="8" y="19"/>
                    <a:pt x="9" y="20"/>
                  </a:cubicBezTo>
                  <a:cubicBezTo>
                    <a:pt x="9" y="22"/>
                    <a:pt x="8" y="23"/>
                    <a:pt x="7" y="24"/>
                  </a:cubicBezTo>
                  <a:cubicBezTo>
                    <a:pt x="5" y="25"/>
                    <a:pt x="4" y="23"/>
                    <a:pt x="3" y="22"/>
                  </a:cubicBezTo>
                  <a:cubicBezTo>
                    <a:pt x="2" y="22"/>
                    <a:pt x="1" y="22"/>
                    <a:pt x="1" y="22"/>
                  </a:cubicBezTo>
                  <a:cubicBezTo>
                    <a:pt x="0" y="24"/>
                    <a:pt x="3" y="25"/>
                    <a:pt x="3" y="27"/>
                  </a:cubicBezTo>
                  <a:cubicBezTo>
                    <a:pt x="4" y="28"/>
                    <a:pt x="1" y="29"/>
                    <a:pt x="1" y="30"/>
                  </a:cubicBezTo>
                  <a:cubicBezTo>
                    <a:pt x="0" y="30"/>
                    <a:pt x="0" y="31"/>
                    <a:pt x="1" y="32"/>
                  </a:cubicBezTo>
                  <a:cubicBezTo>
                    <a:pt x="1" y="33"/>
                    <a:pt x="3" y="34"/>
                    <a:pt x="3" y="35"/>
                  </a:cubicBezTo>
                  <a:cubicBezTo>
                    <a:pt x="4" y="37"/>
                    <a:pt x="3" y="39"/>
                    <a:pt x="3" y="42"/>
                  </a:cubicBezTo>
                  <a:cubicBezTo>
                    <a:pt x="6" y="42"/>
                    <a:pt x="5" y="39"/>
                    <a:pt x="6" y="38"/>
                  </a:cubicBezTo>
                  <a:cubicBezTo>
                    <a:pt x="6" y="38"/>
                    <a:pt x="8" y="38"/>
                    <a:pt x="8" y="38"/>
                  </a:cubicBezTo>
                  <a:cubicBezTo>
                    <a:pt x="9" y="39"/>
                    <a:pt x="11" y="39"/>
                    <a:pt x="12" y="38"/>
                  </a:cubicBezTo>
                  <a:cubicBezTo>
                    <a:pt x="12" y="38"/>
                    <a:pt x="12" y="38"/>
                    <a:pt x="12" y="37"/>
                  </a:cubicBezTo>
                  <a:cubicBezTo>
                    <a:pt x="10" y="36"/>
                    <a:pt x="9" y="35"/>
                    <a:pt x="8" y="34"/>
                  </a:cubicBezTo>
                  <a:cubicBezTo>
                    <a:pt x="7" y="34"/>
                    <a:pt x="4" y="34"/>
                    <a:pt x="4" y="32"/>
                  </a:cubicBezTo>
                  <a:cubicBezTo>
                    <a:pt x="5" y="32"/>
                    <a:pt x="7" y="31"/>
                    <a:pt x="8" y="32"/>
                  </a:cubicBezTo>
                  <a:cubicBezTo>
                    <a:pt x="9" y="32"/>
                    <a:pt x="9" y="32"/>
                    <a:pt x="10" y="32"/>
                  </a:cubicBezTo>
                  <a:cubicBezTo>
                    <a:pt x="11" y="32"/>
                    <a:pt x="11" y="31"/>
                    <a:pt x="11" y="30"/>
                  </a:cubicBezTo>
                  <a:cubicBezTo>
                    <a:pt x="12" y="30"/>
                    <a:pt x="13" y="30"/>
                    <a:pt x="14" y="30"/>
                  </a:cubicBezTo>
                  <a:cubicBezTo>
                    <a:pt x="16" y="31"/>
                    <a:pt x="18" y="33"/>
                    <a:pt x="20" y="33"/>
                  </a:cubicBezTo>
                  <a:cubicBezTo>
                    <a:pt x="21" y="34"/>
                    <a:pt x="22" y="34"/>
                    <a:pt x="22" y="34"/>
                  </a:cubicBezTo>
                  <a:cubicBezTo>
                    <a:pt x="24" y="35"/>
                    <a:pt x="25" y="36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7" y="37"/>
                    <a:pt x="26" y="36"/>
                    <a:pt x="26" y="36"/>
                  </a:cubicBezTo>
                  <a:cubicBezTo>
                    <a:pt x="27" y="36"/>
                    <a:pt x="27" y="35"/>
                    <a:pt x="27" y="35"/>
                  </a:cubicBezTo>
                  <a:cubicBezTo>
                    <a:pt x="28" y="34"/>
                    <a:pt x="27" y="33"/>
                    <a:pt x="28" y="32"/>
                  </a:cubicBezTo>
                  <a:cubicBezTo>
                    <a:pt x="29" y="31"/>
                    <a:pt x="30" y="29"/>
                    <a:pt x="30" y="28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5" y="27"/>
                    <a:pt x="38" y="25"/>
                    <a:pt x="41" y="24"/>
                  </a:cubicBezTo>
                  <a:cubicBezTo>
                    <a:pt x="41" y="23"/>
                    <a:pt x="42" y="23"/>
                    <a:pt x="42" y="22"/>
                  </a:cubicBezTo>
                  <a:cubicBezTo>
                    <a:pt x="41" y="22"/>
                    <a:pt x="40" y="22"/>
                    <a:pt x="40" y="22"/>
                  </a:cubicBezTo>
                  <a:cubicBezTo>
                    <a:pt x="38" y="22"/>
                    <a:pt x="38" y="21"/>
                    <a:pt x="37" y="20"/>
                  </a:cubicBezTo>
                  <a:cubicBezTo>
                    <a:pt x="37" y="17"/>
                    <a:pt x="38" y="15"/>
                    <a:pt x="37" y="12"/>
                  </a:cubicBezTo>
                  <a:cubicBezTo>
                    <a:pt x="35" y="12"/>
                    <a:pt x="35" y="14"/>
                    <a:pt x="34" y="15"/>
                  </a:cubicBezTo>
                  <a:cubicBezTo>
                    <a:pt x="33" y="16"/>
                    <a:pt x="32" y="16"/>
                    <a:pt x="32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4"/>
                    <a:pt x="27" y="14"/>
                    <a:pt x="26" y="13"/>
                  </a:cubicBezTo>
                  <a:cubicBezTo>
                    <a:pt x="23" y="11"/>
                    <a:pt x="20" y="9"/>
                    <a:pt x="17" y="8"/>
                  </a:cubicBezTo>
                  <a:cubicBezTo>
                    <a:pt x="16" y="8"/>
                    <a:pt x="16" y="8"/>
                    <a:pt x="15" y="8"/>
                  </a:cubicBezTo>
                  <a:cubicBezTo>
                    <a:pt x="15" y="7"/>
                    <a:pt x="14" y="6"/>
                    <a:pt x="14" y="5"/>
                  </a:cubicBezTo>
                  <a:cubicBezTo>
                    <a:pt x="13" y="5"/>
                    <a:pt x="13" y="5"/>
                    <a:pt x="13" y="4"/>
                  </a:cubicBezTo>
                  <a:cubicBezTo>
                    <a:pt x="12" y="4"/>
                    <a:pt x="11" y="3"/>
                    <a:pt x="11" y="2"/>
                  </a:cubicBezTo>
                  <a:cubicBezTo>
                    <a:pt x="10" y="1"/>
                    <a:pt x="10" y="1"/>
                    <a:pt x="9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0"/>
                    <a:pt x="6" y="1"/>
                    <a:pt x="6" y="1"/>
                  </a:cubicBezTo>
                  <a:cubicBezTo>
                    <a:pt x="5" y="2"/>
                    <a:pt x="5" y="3"/>
                    <a:pt x="6" y="5"/>
                  </a:cubicBezTo>
                  <a:lnTo>
                    <a:pt x="7" y="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5" name="Freeform 269"/>
            <p:cNvSpPr>
              <a:spLocks/>
            </p:cNvSpPr>
            <p:nvPr/>
          </p:nvSpPr>
          <p:spPr bwMode="auto">
            <a:xfrm>
              <a:off x="7411100" y="3207482"/>
              <a:ext cx="3261" cy="1352"/>
            </a:xfrm>
            <a:custGeom>
              <a:avLst/>
              <a:gdLst>
                <a:gd name="T0" fmla="*/ 1724631 w 7"/>
                <a:gd name="T1" fmla="*/ 0 h 3"/>
                <a:gd name="T2" fmla="*/ 0 w 7"/>
                <a:gd name="T3" fmla="*/ 727531 h 3"/>
                <a:gd name="T4" fmla="*/ 1156064 w 7"/>
                <a:gd name="T5" fmla="*/ 2243220 h 3"/>
                <a:gd name="T6" fmla="*/ 3942014 w 7"/>
                <a:gd name="T7" fmla="*/ 1697572 h 3"/>
                <a:gd name="T8" fmla="*/ 3942014 w 7"/>
                <a:gd name="T9" fmla="*/ 727531 h 3"/>
                <a:gd name="T10" fmla="*/ 1724631 w 7"/>
                <a:gd name="T11" fmla="*/ 727531 h 3"/>
                <a:gd name="T12" fmla="*/ 1724631 w 7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3"/>
                <a:gd name="T23" fmla="*/ 7 w 7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3">
                  <a:moveTo>
                    <a:pt x="3" y="0"/>
                  </a:moveTo>
                  <a:cubicBezTo>
                    <a:pt x="2" y="0"/>
                    <a:pt x="1" y="0"/>
                    <a:pt x="0" y="1"/>
                  </a:cubicBezTo>
                  <a:cubicBezTo>
                    <a:pt x="0" y="1"/>
                    <a:pt x="1" y="2"/>
                    <a:pt x="2" y="3"/>
                  </a:cubicBezTo>
                  <a:cubicBezTo>
                    <a:pt x="4" y="3"/>
                    <a:pt x="5" y="3"/>
                    <a:pt x="7" y="2"/>
                  </a:cubicBezTo>
                  <a:cubicBezTo>
                    <a:pt x="7" y="2"/>
                    <a:pt x="7" y="2"/>
                    <a:pt x="7" y="1"/>
                  </a:cubicBezTo>
                  <a:cubicBezTo>
                    <a:pt x="6" y="1"/>
                    <a:pt x="4" y="1"/>
                    <a:pt x="3" y="1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6" name="Freeform 270"/>
            <p:cNvSpPr>
              <a:spLocks/>
            </p:cNvSpPr>
            <p:nvPr/>
          </p:nvSpPr>
          <p:spPr bwMode="auto">
            <a:xfrm>
              <a:off x="7414360" y="3208834"/>
              <a:ext cx="2007" cy="3515"/>
            </a:xfrm>
            <a:custGeom>
              <a:avLst/>
              <a:gdLst>
                <a:gd name="T0" fmla="*/ 2497529 w 4"/>
                <a:gd name="T1" fmla="*/ 0 h 7"/>
                <a:gd name="T2" fmla="*/ 0 w 4"/>
                <a:gd name="T3" fmla="*/ 5930334 h 7"/>
                <a:gd name="T4" fmla="*/ 6243820 w 4"/>
                <a:gd name="T5" fmla="*/ 10226328 h 7"/>
                <a:gd name="T6" fmla="*/ 6243820 w 4"/>
                <a:gd name="T7" fmla="*/ 8872004 h 7"/>
                <a:gd name="T8" fmla="*/ 6243820 w 4"/>
                <a:gd name="T9" fmla="*/ 0 h 7"/>
                <a:gd name="T10" fmla="*/ 2497529 w 4"/>
                <a:gd name="T11" fmla="*/ 0 h 7"/>
                <a:gd name="T12" fmla="*/ 2497529 w 4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7"/>
                <a:gd name="T23" fmla="*/ 4 w 4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7">
                  <a:moveTo>
                    <a:pt x="1" y="0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1" y="5"/>
                    <a:pt x="2" y="6"/>
                    <a:pt x="3" y="7"/>
                  </a:cubicBezTo>
                  <a:cubicBezTo>
                    <a:pt x="3" y="7"/>
                    <a:pt x="3" y="6"/>
                    <a:pt x="3" y="6"/>
                  </a:cubicBezTo>
                  <a:cubicBezTo>
                    <a:pt x="4" y="4"/>
                    <a:pt x="4" y="2"/>
                    <a:pt x="3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7" name="Freeform 271"/>
            <p:cNvSpPr>
              <a:spLocks/>
            </p:cNvSpPr>
            <p:nvPr/>
          </p:nvSpPr>
          <p:spPr bwMode="auto">
            <a:xfrm>
              <a:off x="7151240" y="3170711"/>
              <a:ext cx="422397" cy="209544"/>
            </a:xfrm>
            <a:custGeom>
              <a:avLst/>
              <a:gdLst>
                <a:gd name="T0" fmla="*/ 36553278 w 906"/>
                <a:gd name="T1" fmla="*/ 114113090 h 433"/>
                <a:gd name="T2" fmla="*/ 34473066 w 906"/>
                <a:gd name="T3" fmla="*/ 76183474 h 433"/>
                <a:gd name="T4" fmla="*/ 63970374 w 906"/>
                <a:gd name="T5" fmla="*/ 94182920 h 433"/>
                <a:gd name="T6" fmla="*/ 42099146 w 906"/>
                <a:gd name="T7" fmla="*/ 148049123 h 433"/>
                <a:gd name="T8" fmla="*/ 89058329 w 906"/>
                <a:gd name="T9" fmla="*/ 116838040 h 433"/>
                <a:gd name="T10" fmla="*/ 86339916 w 906"/>
                <a:gd name="T11" fmla="*/ 112120201 h 433"/>
                <a:gd name="T12" fmla="*/ 75004344 w 906"/>
                <a:gd name="T13" fmla="*/ 67871859 h 433"/>
                <a:gd name="T14" fmla="*/ 95752814 w 906"/>
                <a:gd name="T15" fmla="*/ 78177496 h 433"/>
                <a:gd name="T16" fmla="*/ 129603694 w 906"/>
                <a:gd name="T17" fmla="*/ 91311225 h 433"/>
                <a:gd name="T18" fmla="*/ 110930881 w 906"/>
                <a:gd name="T19" fmla="*/ 74624658 h 433"/>
                <a:gd name="T20" fmla="*/ 137974956 w 906"/>
                <a:gd name="T21" fmla="*/ 44215040 h 433"/>
                <a:gd name="T22" fmla="*/ 176524235 w 906"/>
                <a:gd name="T23" fmla="*/ 25498247 h 433"/>
                <a:gd name="T24" fmla="*/ 211001713 w 906"/>
                <a:gd name="T25" fmla="*/ 23441417 h 433"/>
                <a:gd name="T26" fmla="*/ 228187619 w 906"/>
                <a:gd name="T27" fmla="*/ 17870369 h 433"/>
                <a:gd name="T28" fmla="*/ 261156422 w 906"/>
                <a:gd name="T29" fmla="*/ 17203618 h 433"/>
                <a:gd name="T30" fmla="*/ 308116607 w 906"/>
                <a:gd name="T31" fmla="*/ 24285049 h 433"/>
                <a:gd name="T32" fmla="*/ 287358858 w 906"/>
                <a:gd name="T33" fmla="*/ 52650946 h 433"/>
                <a:gd name="T34" fmla="*/ 264653285 w 906"/>
                <a:gd name="T35" fmla="*/ 72585955 h 433"/>
                <a:gd name="T36" fmla="*/ 300543598 w 906"/>
                <a:gd name="T37" fmla="*/ 52650946 h 433"/>
                <a:gd name="T38" fmla="*/ 350996186 w 906"/>
                <a:gd name="T39" fmla="*/ 58249103 h 433"/>
                <a:gd name="T40" fmla="*/ 384688035 w 906"/>
                <a:gd name="T41" fmla="*/ 53871250 h 433"/>
                <a:gd name="T42" fmla="*/ 410263569 w 906"/>
                <a:gd name="T43" fmla="*/ 68537843 h 433"/>
                <a:gd name="T44" fmla="*/ 432123952 w 906"/>
                <a:gd name="T45" fmla="*/ 89318563 h 433"/>
                <a:gd name="T46" fmla="*/ 470165564 w 906"/>
                <a:gd name="T47" fmla="*/ 83747397 h 433"/>
                <a:gd name="T48" fmla="*/ 488128181 w 906"/>
                <a:gd name="T49" fmla="*/ 73468277 h 433"/>
                <a:gd name="T50" fmla="*/ 531351294 w 906"/>
                <a:gd name="T51" fmla="*/ 83747397 h 433"/>
                <a:gd name="T52" fmla="*/ 581031782 w 906"/>
                <a:gd name="T53" fmla="*/ 94182920 h 433"/>
                <a:gd name="T54" fmla="*/ 636370107 w 906"/>
                <a:gd name="T55" fmla="*/ 110028122 h 433"/>
                <a:gd name="T56" fmla="*/ 681675133 w 906"/>
                <a:gd name="T57" fmla="*/ 107404026 h 433"/>
                <a:gd name="T58" fmla="*/ 707032983 w 906"/>
                <a:gd name="T59" fmla="*/ 104461870 h 433"/>
                <a:gd name="T60" fmla="*/ 789314780 w 906"/>
                <a:gd name="T61" fmla="*/ 126477088 h 433"/>
                <a:gd name="T62" fmla="*/ 819585653 w 906"/>
                <a:gd name="T63" fmla="*/ 150764093 h 433"/>
                <a:gd name="T64" fmla="*/ 847728053 w 906"/>
                <a:gd name="T65" fmla="*/ 157488580 h 433"/>
                <a:gd name="T66" fmla="*/ 837473289 w 906"/>
                <a:gd name="T67" fmla="*/ 174203479 h 433"/>
                <a:gd name="T68" fmla="*/ 791394878 w 906"/>
                <a:gd name="T69" fmla="*/ 152761821 h 433"/>
                <a:gd name="T70" fmla="*/ 764247781 w 906"/>
                <a:gd name="T71" fmla="*/ 166763714 h 433"/>
                <a:gd name="T72" fmla="*/ 796093844 w 906"/>
                <a:gd name="T73" fmla="*/ 197016760 h 433"/>
                <a:gd name="T74" fmla="*/ 749988223 w 906"/>
                <a:gd name="T75" fmla="*/ 217795420 h 433"/>
                <a:gd name="T76" fmla="*/ 708758134 w 906"/>
                <a:gd name="T77" fmla="*/ 226232989 h 433"/>
                <a:gd name="T78" fmla="*/ 707913397 w 906"/>
                <a:gd name="T79" fmla="*/ 259950908 h 433"/>
                <a:gd name="T80" fmla="*/ 698285686 w 906"/>
                <a:gd name="T81" fmla="*/ 300699127 h 433"/>
                <a:gd name="T82" fmla="*/ 665645677 w 906"/>
                <a:gd name="T83" fmla="*/ 281607769 h 433"/>
                <a:gd name="T84" fmla="*/ 689231816 w 906"/>
                <a:gd name="T85" fmla="*/ 220662125 h 433"/>
                <a:gd name="T86" fmla="*/ 691923245 w 906"/>
                <a:gd name="T87" fmla="*/ 206146548 h 433"/>
                <a:gd name="T88" fmla="*/ 651322024 w 906"/>
                <a:gd name="T89" fmla="*/ 207516318 h 433"/>
                <a:gd name="T90" fmla="*/ 627114728 w 906"/>
                <a:gd name="T91" fmla="*/ 237394676 h 433"/>
                <a:gd name="T92" fmla="*/ 603734483 w 906"/>
                <a:gd name="T93" fmla="*/ 233665646 h 433"/>
                <a:gd name="T94" fmla="*/ 541638106 w 906"/>
                <a:gd name="T95" fmla="*/ 259950908 h 433"/>
                <a:gd name="T96" fmla="*/ 540979005 w 906"/>
                <a:gd name="T97" fmla="*/ 290419270 h 433"/>
                <a:gd name="T98" fmla="*/ 556808009 w 906"/>
                <a:gd name="T99" fmla="*/ 288332029 h 433"/>
                <a:gd name="T100" fmla="*/ 576321931 w 906"/>
                <a:gd name="T101" fmla="*/ 346577371 h 433"/>
                <a:gd name="T102" fmla="*/ 536060842 w 906"/>
                <a:gd name="T103" fmla="*/ 405161035 h 433"/>
                <a:gd name="T104" fmla="*/ 537774807 w 906"/>
                <a:gd name="T105" fmla="*/ 374063204 h 433"/>
                <a:gd name="T106" fmla="*/ 503933905 w 906"/>
                <a:gd name="T107" fmla="*/ 345069549 h 433"/>
                <a:gd name="T108" fmla="*/ 438347316 w 906"/>
                <a:gd name="T109" fmla="*/ 300699127 h 433"/>
                <a:gd name="T110" fmla="*/ 408182866 w 906"/>
                <a:gd name="T111" fmla="*/ 334634858 h 433"/>
                <a:gd name="T112" fmla="*/ 319879366 w 906"/>
                <a:gd name="T113" fmla="*/ 332547920 h 433"/>
                <a:gd name="T114" fmla="*/ 274266030 w 906"/>
                <a:gd name="T115" fmla="*/ 324339578 h 433"/>
                <a:gd name="T116" fmla="*/ 235732813 w 906"/>
                <a:gd name="T117" fmla="*/ 324339578 h 433"/>
                <a:gd name="T118" fmla="*/ 184060207 w 906"/>
                <a:gd name="T119" fmla="*/ 335414473 h 433"/>
                <a:gd name="T120" fmla="*/ 130445635 w 906"/>
                <a:gd name="T121" fmla="*/ 305049309 h 433"/>
                <a:gd name="T122" fmla="*/ 73161696 w 906"/>
                <a:gd name="T123" fmla="*/ 278742879 h 43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06"/>
                <a:gd name="T187" fmla="*/ 0 h 433"/>
                <a:gd name="T188" fmla="*/ 906 w 906"/>
                <a:gd name="T189" fmla="*/ 433 h 43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06" h="433">
                  <a:moveTo>
                    <a:pt x="21" y="285"/>
                  </a:moveTo>
                  <a:cubicBezTo>
                    <a:pt x="21" y="278"/>
                    <a:pt x="31" y="269"/>
                    <a:pt x="29" y="255"/>
                  </a:cubicBezTo>
                  <a:cubicBezTo>
                    <a:pt x="28" y="242"/>
                    <a:pt x="13" y="215"/>
                    <a:pt x="7" y="193"/>
                  </a:cubicBezTo>
                  <a:cubicBezTo>
                    <a:pt x="0" y="170"/>
                    <a:pt x="12" y="116"/>
                    <a:pt x="12" y="116"/>
                  </a:cubicBezTo>
                  <a:cubicBezTo>
                    <a:pt x="13" y="117"/>
                    <a:pt x="14" y="119"/>
                    <a:pt x="16" y="120"/>
                  </a:cubicBezTo>
                  <a:cubicBezTo>
                    <a:pt x="17" y="120"/>
                    <a:pt x="19" y="120"/>
                    <a:pt x="20" y="120"/>
                  </a:cubicBezTo>
                  <a:cubicBezTo>
                    <a:pt x="21" y="120"/>
                    <a:pt x="22" y="121"/>
                    <a:pt x="23" y="122"/>
                  </a:cubicBezTo>
                  <a:cubicBezTo>
                    <a:pt x="24" y="123"/>
                    <a:pt x="26" y="123"/>
                    <a:pt x="27" y="124"/>
                  </a:cubicBezTo>
                  <a:cubicBezTo>
                    <a:pt x="28" y="125"/>
                    <a:pt x="29" y="126"/>
                    <a:pt x="30" y="126"/>
                  </a:cubicBezTo>
                  <a:cubicBezTo>
                    <a:pt x="31" y="127"/>
                    <a:pt x="32" y="127"/>
                    <a:pt x="32" y="127"/>
                  </a:cubicBezTo>
                  <a:cubicBezTo>
                    <a:pt x="35" y="130"/>
                    <a:pt x="38" y="132"/>
                    <a:pt x="41" y="135"/>
                  </a:cubicBezTo>
                  <a:cubicBezTo>
                    <a:pt x="41" y="135"/>
                    <a:pt x="41" y="136"/>
                    <a:pt x="42" y="136"/>
                  </a:cubicBezTo>
                  <a:cubicBezTo>
                    <a:pt x="42" y="136"/>
                    <a:pt x="42" y="136"/>
                    <a:pt x="42" y="136"/>
                  </a:cubicBezTo>
                  <a:cubicBezTo>
                    <a:pt x="43" y="135"/>
                    <a:pt x="44" y="135"/>
                    <a:pt x="45" y="134"/>
                  </a:cubicBezTo>
                  <a:cubicBezTo>
                    <a:pt x="45" y="133"/>
                    <a:pt x="46" y="132"/>
                    <a:pt x="46" y="131"/>
                  </a:cubicBezTo>
                  <a:cubicBezTo>
                    <a:pt x="46" y="130"/>
                    <a:pt x="47" y="129"/>
                    <a:pt x="46" y="128"/>
                  </a:cubicBezTo>
                  <a:cubicBezTo>
                    <a:pt x="45" y="128"/>
                    <a:pt x="43" y="129"/>
                    <a:pt x="42" y="127"/>
                  </a:cubicBezTo>
                  <a:cubicBezTo>
                    <a:pt x="42" y="126"/>
                    <a:pt x="42" y="125"/>
                    <a:pt x="42" y="125"/>
                  </a:cubicBezTo>
                  <a:cubicBezTo>
                    <a:pt x="41" y="124"/>
                    <a:pt x="40" y="122"/>
                    <a:pt x="39" y="121"/>
                  </a:cubicBezTo>
                  <a:cubicBezTo>
                    <a:pt x="38" y="121"/>
                    <a:pt x="38" y="120"/>
                    <a:pt x="39" y="120"/>
                  </a:cubicBezTo>
                  <a:cubicBezTo>
                    <a:pt x="39" y="120"/>
                    <a:pt x="39" y="120"/>
                    <a:pt x="39" y="120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7" y="117"/>
                    <a:pt x="36" y="118"/>
                    <a:pt x="34" y="118"/>
                  </a:cubicBezTo>
                  <a:cubicBezTo>
                    <a:pt x="33" y="118"/>
                    <a:pt x="33" y="117"/>
                    <a:pt x="32" y="117"/>
                  </a:cubicBezTo>
                  <a:cubicBezTo>
                    <a:pt x="32" y="116"/>
                    <a:pt x="31" y="117"/>
                    <a:pt x="30" y="117"/>
                  </a:cubicBezTo>
                  <a:cubicBezTo>
                    <a:pt x="29" y="117"/>
                    <a:pt x="29" y="117"/>
                    <a:pt x="28" y="117"/>
                  </a:cubicBezTo>
                  <a:cubicBezTo>
                    <a:pt x="27" y="116"/>
                    <a:pt x="28" y="115"/>
                    <a:pt x="28" y="114"/>
                  </a:cubicBezTo>
                  <a:cubicBezTo>
                    <a:pt x="28" y="113"/>
                    <a:pt x="30" y="113"/>
                    <a:pt x="30" y="111"/>
                  </a:cubicBezTo>
                  <a:cubicBezTo>
                    <a:pt x="30" y="109"/>
                    <a:pt x="30" y="107"/>
                    <a:pt x="30" y="105"/>
                  </a:cubicBezTo>
                  <a:cubicBezTo>
                    <a:pt x="29" y="104"/>
                    <a:pt x="28" y="102"/>
                    <a:pt x="28" y="101"/>
                  </a:cubicBezTo>
                  <a:cubicBezTo>
                    <a:pt x="28" y="101"/>
                    <a:pt x="28" y="100"/>
                    <a:pt x="27" y="100"/>
                  </a:cubicBezTo>
                  <a:cubicBezTo>
                    <a:pt x="26" y="100"/>
                    <a:pt x="25" y="100"/>
                    <a:pt x="25" y="100"/>
                  </a:cubicBezTo>
                  <a:cubicBezTo>
                    <a:pt x="24" y="99"/>
                    <a:pt x="24" y="98"/>
                    <a:pt x="24" y="97"/>
                  </a:cubicBezTo>
                  <a:cubicBezTo>
                    <a:pt x="24" y="97"/>
                    <a:pt x="25" y="96"/>
                    <a:pt x="25" y="96"/>
                  </a:cubicBezTo>
                  <a:cubicBezTo>
                    <a:pt x="25" y="95"/>
                    <a:pt x="25" y="94"/>
                    <a:pt x="26" y="93"/>
                  </a:cubicBezTo>
                  <a:cubicBezTo>
                    <a:pt x="28" y="93"/>
                    <a:pt x="30" y="93"/>
                    <a:pt x="32" y="92"/>
                  </a:cubicBezTo>
                  <a:cubicBezTo>
                    <a:pt x="34" y="91"/>
                    <a:pt x="34" y="89"/>
                    <a:pt x="35" y="88"/>
                  </a:cubicBezTo>
                  <a:cubicBezTo>
                    <a:pt x="36" y="86"/>
                    <a:pt x="36" y="83"/>
                    <a:pt x="37" y="81"/>
                  </a:cubicBezTo>
                  <a:cubicBezTo>
                    <a:pt x="37" y="79"/>
                    <a:pt x="37" y="78"/>
                    <a:pt x="37" y="76"/>
                  </a:cubicBezTo>
                  <a:cubicBezTo>
                    <a:pt x="38" y="74"/>
                    <a:pt x="38" y="71"/>
                    <a:pt x="40" y="70"/>
                  </a:cubicBezTo>
                  <a:cubicBezTo>
                    <a:pt x="41" y="69"/>
                    <a:pt x="42" y="70"/>
                    <a:pt x="43" y="71"/>
                  </a:cubicBezTo>
                  <a:cubicBezTo>
                    <a:pt x="43" y="72"/>
                    <a:pt x="44" y="71"/>
                    <a:pt x="45" y="71"/>
                  </a:cubicBezTo>
                  <a:cubicBezTo>
                    <a:pt x="45" y="70"/>
                    <a:pt x="46" y="70"/>
                    <a:pt x="47" y="71"/>
                  </a:cubicBezTo>
                  <a:cubicBezTo>
                    <a:pt x="48" y="71"/>
                    <a:pt x="49" y="71"/>
                    <a:pt x="51" y="71"/>
                  </a:cubicBezTo>
                  <a:cubicBezTo>
                    <a:pt x="52" y="70"/>
                    <a:pt x="54" y="70"/>
                    <a:pt x="56" y="71"/>
                  </a:cubicBezTo>
                  <a:cubicBezTo>
                    <a:pt x="57" y="72"/>
                    <a:pt x="59" y="72"/>
                    <a:pt x="59" y="71"/>
                  </a:cubicBezTo>
                  <a:cubicBezTo>
                    <a:pt x="60" y="70"/>
                    <a:pt x="62" y="71"/>
                    <a:pt x="62" y="71"/>
                  </a:cubicBezTo>
                  <a:cubicBezTo>
                    <a:pt x="63" y="72"/>
                    <a:pt x="63" y="73"/>
                    <a:pt x="62" y="73"/>
                  </a:cubicBezTo>
                  <a:cubicBezTo>
                    <a:pt x="62" y="74"/>
                    <a:pt x="62" y="75"/>
                    <a:pt x="62" y="75"/>
                  </a:cubicBezTo>
                  <a:cubicBezTo>
                    <a:pt x="63" y="77"/>
                    <a:pt x="63" y="78"/>
                    <a:pt x="63" y="79"/>
                  </a:cubicBezTo>
                  <a:cubicBezTo>
                    <a:pt x="62" y="82"/>
                    <a:pt x="63" y="84"/>
                    <a:pt x="61" y="87"/>
                  </a:cubicBezTo>
                  <a:cubicBezTo>
                    <a:pt x="61" y="87"/>
                    <a:pt x="60" y="88"/>
                    <a:pt x="60" y="89"/>
                  </a:cubicBezTo>
                  <a:cubicBezTo>
                    <a:pt x="60" y="90"/>
                    <a:pt x="59" y="91"/>
                    <a:pt x="60" y="93"/>
                  </a:cubicBezTo>
                  <a:cubicBezTo>
                    <a:pt x="62" y="94"/>
                    <a:pt x="64" y="95"/>
                    <a:pt x="66" y="96"/>
                  </a:cubicBezTo>
                  <a:cubicBezTo>
                    <a:pt x="67" y="96"/>
                    <a:pt x="68" y="97"/>
                    <a:pt x="68" y="97"/>
                  </a:cubicBezTo>
                  <a:cubicBezTo>
                    <a:pt x="68" y="98"/>
                    <a:pt x="68" y="99"/>
                    <a:pt x="68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9" y="102"/>
                    <a:pt x="68" y="104"/>
                    <a:pt x="69" y="106"/>
                  </a:cubicBezTo>
                  <a:cubicBezTo>
                    <a:pt x="69" y="108"/>
                    <a:pt x="70" y="109"/>
                    <a:pt x="70" y="110"/>
                  </a:cubicBezTo>
                  <a:cubicBezTo>
                    <a:pt x="71" y="112"/>
                    <a:pt x="71" y="113"/>
                    <a:pt x="71" y="115"/>
                  </a:cubicBezTo>
                  <a:cubicBezTo>
                    <a:pt x="72" y="119"/>
                    <a:pt x="70" y="123"/>
                    <a:pt x="72" y="127"/>
                  </a:cubicBezTo>
                  <a:cubicBezTo>
                    <a:pt x="72" y="128"/>
                    <a:pt x="73" y="128"/>
                    <a:pt x="75" y="129"/>
                  </a:cubicBezTo>
                  <a:cubicBezTo>
                    <a:pt x="76" y="129"/>
                    <a:pt x="77" y="130"/>
                    <a:pt x="77" y="131"/>
                  </a:cubicBezTo>
                  <a:cubicBezTo>
                    <a:pt x="78" y="134"/>
                    <a:pt x="77" y="136"/>
                    <a:pt x="77" y="139"/>
                  </a:cubicBezTo>
                  <a:cubicBezTo>
                    <a:pt x="76" y="140"/>
                    <a:pt x="76" y="141"/>
                    <a:pt x="75" y="142"/>
                  </a:cubicBezTo>
                  <a:cubicBezTo>
                    <a:pt x="75" y="142"/>
                    <a:pt x="75" y="143"/>
                    <a:pt x="75" y="144"/>
                  </a:cubicBezTo>
                  <a:cubicBezTo>
                    <a:pt x="75" y="145"/>
                    <a:pt x="73" y="145"/>
                    <a:pt x="73" y="146"/>
                  </a:cubicBezTo>
                  <a:cubicBezTo>
                    <a:pt x="73" y="148"/>
                    <a:pt x="73" y="150"/>
                    <a:pt x="72" y="152"/>
                  </a:cubicBezTo>
                  <a:cubicBezTo>
                    <a:pt x="72" y="153"/>
                    <a:pt x="70" y="153"/>
                    <a:pt x="69" y="153"/>
                  </a:cubicBezTo>
                  <a:cubicBezTo>
                    <a:pt x="68" y="154"/>
                    <a:pt x="68" y="155"/>
                    <a:pt x="68" y="156"/>
                  </a:cubicBezTo>
                  <a:cubicBezTo>
                    <a:pt x="68" y="156"/>
                    <a:pt x="68" y="157"/>
                    <a:pt x="68" y="157"/>
                  </a:cubicBezTo>
                  <a:cubicBezTo>
                    <a:pt x="65" y="157"/>
                    <a:pt x="61" y="157"/>
                    <a:pt x="58" y="156"/>
                  </a:cubicBezTo>
                  <a:cubicBezTo>
                    <a:pt x="57" y="156"/>
                    <a:pt x="56" y="155"/>
                    <a:pt x="54" y="155"/>
                  </a:cubicBezTo>
                  <a:cubicBezTo>
                    <a:pt x="53" y="154"/>
                    <a:pt x="52" y="154"/>
                    <a:pt x="50" y="155"/>
                  </a:cubicBezTo>
                  <a:cubicBezTo>
                    <a:pt x="48" y="155"/>
                    <a:pt x="47" y="156"/>
                    <a:pt x="45" y="157"/>
                  </a:cubicBezTo>
                  <a:cubicBezTo>
                    <a:pt x="45" y="157"/>
                    <a:pt x="45" y="157"/>
                    <a:pt x="45" y="157"/>
                  </a:cubicBezTo>
                  <a:cubicBezTo>
                    <a:pt x="47" y="157"/>
                    <a:pt x="47" y="156"/>
                    <a:pt x="48" y="156"/>
                  </a:cubicBezTo>
                  <a:cubicBezTo>
                    <a:pt x="50" y="155"/>
                    <a:pt x="51" y="155"/>
                    <a:pt x="52" y="156"/>
                  </a:cubicBezTo>
                  <a:cubicBezTo>
                    <a:pt x="53" y="156"/>
                    <a:pt x="53" y="158"/>
                    <a:pt x="54" y="158"/>
                  </a:cubicBezTo>
                  <a:cubicBezTo>
                    <a:pt x="55" y="159"/>
                    <a:pt x="57" y="159"/>
                    <a:pt x="58" y="159"/>
                  </a:cubicBezTo>
                  <a:cubicBezTo>
                    <a:pt x="58" y="160"/>
                    <a:pt x="59" y="160"/>
                    <a:pt x="59" y="160"/>
                  </a:cubicBezTo>
                  <a:cubicBezTo>
                    <a:pt x="63" y="161"/>
                    <a:pt x="66" y="160"/>
                    <a:pt x="70" y="161"/>
                  </a:cubicBezTo>
                  <a:cubicBezTo>
                    <a:pt x="71" y="161"/>
                    <a:pt x="72" y="161"/>
                    <a:pt x="72" y="162"/>
                  </a:cubicBezTo>
                  <a:cubicBezTo>
                    <a:pt x="73" y="162"/>
                    <a:pt x="74" y="162"/>
                    <a:pt x="75" y="162"/>
                  </a:cubicBezTo>
                  <a:cubicBezTo>
                    <a:pt x="75" y="162"/>
                    <a:pt x="75" y="161"/>
                    <a:pt x="75" y="161"/>
                  </a:cubicBezTo>
                  <a:cubicBezTo>
                    <a:pt x="76" y="160"/>
                    <a:pt x="76" y="159"/>
                    <a:pt x="76" y="157"/>
                  </a:cubicBezTo>
                  <a:cubicBezTo>
                    <a:pt x="76" y="157"/>
                    <a:pt x="77" y="157"/>
                    <a:pt x="77" y="156"/>
                  </a:cubicBezTo>
                  <a:cubicBezTo>
                    <a:pt x="78" y="156"/>
                    <a:pt x="78" y="155"/>
                    <a:pt x="79" y="155"/>
                  </a:cubicBezTo>
                  <a:cubicBezTo>
                    <a:pt x="81" y="154"/>
                    <a:pt x="82" y="153"/>
                    <a:pt x="83" y="152"/>
                  </a:cubicBezTo>
                  <a:cubicBezTo>
                    <a:pt x="86" y="151"/>
                    <a:pt x="84" y="147"/>
                    <a:pt x="85" y="144"/>
                  </a:cubicBezTo>
                  <a:cubicBezTo>
                    <a:pt x="86" y="142"/>
                    <a:pt x="87" y="141"/>
                    <a:pt x="89" y="140"/>
                  </a:cubicBezTo>
                  <a:cubicBezTo>
                    <a:pt x="89" y="137"/>
                    <a:pt x="87" y="135"/>
                    <a:pt x="85" y="134"/>
                  </a:cubicBezTo>
                  <a:cubicBezTo>
                    <a:pt x="85" y="131"/>
                    <a:pt x="84" y="128"/>
                    <a:pt x="87" y="127"/>
                  </a:cubicBezTo>
                  <a:cubicBezTo>
                    <a:pt x="88" y="127"/>
                    <a:pt x="90" y="127"/>
                    <a:pt x="92" y="126"/>
                  </a:cubicBezTo>
                  <a:cubicBezTo>
                    <a:pt x="93" y="126"/>
                    <a:pt x="94" y="125"/>
                    <a:pt x="95" y="124"/>
                  </a:cubicBezTo>
                  <a:cubicBezTo>
                    <a:pt x="96" y="124"/>
                    <a:pt x="97" y="124"/>
                    <a:pt x="97" y="124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9" y="127"/>
                    <a:pt x="100" y="129"/>
                    <a:pt x="101" y="130"/>
                  </a:cubicBezTo>
                  <a:cubicBezTo>
                    <a:pt x="103" y="131"/>
                    <a:pt x="104" y="132"/>
                    <a:pt x="104" y="134"/>
                  </a:cubicBezTo>
                  <a:cubicBezTo>
                    <a:pt x="104" y="134"/>
                    <a:pt x="105" y="135"/>
                    <a:pt x="105" y="135"/>
                  </a:cubicBezTo>
                  <a:cubicBezTo>
                    <a:pt x="105" y="137"/>
                    <a:pt x="105" y="139"/>
                    <a:pt x="105" y="141"/>
                  </a:cubicBezTo>
                  <a:cubicBezTo>
                    <a:pt x="105" y="142"/>
                    <a:pt x="106" y="142"/>
                    <a:pt x="107" y="142"/>
                  </a:cubicBezTo>
                  <a:cubicBezTo>
                    <a:pt x="110" y="144"/>
                    <a:pt x="114" y="144"/>
                    <a:pt x="118" y="145"/>
                  </a:cubicBezTo>
                  <a:cubicBezTo>
                    <a:pt x="119" y="145"/>
                    <a:pt x="119" y="145"/>
                    <a:pt x="120" y="146"/>
                  </a:cubicBezTo>
                  <a:cubicBezTo>
                    <a:pt x="120" y="146"/>
                    <a:pt x="121" y="146"/>
                    <a:pt x="121" y="146"/>
                  </a:cubicBezTo>
                  <a:cubicBezTo>
                    <a:pt x="121" y="145"/>
                    <a:pt x="120" y="143"/>
                    <a:pt x="119" y="143"/>
                  </a:cubicBezTo>
                  <a:cubicBezTo>
                    <a:pt x="117" y="142"/>
                    <a:pt x="115" y="143"/>
                    <a:pt x="113" y="142"/>
                  </a:cubicBezTo>
                  <a:cubicBezTo>
                    <a:pt x="111" y="142"/>
                    <a:pt x="109" y="141"/>
                    <a:pt x="107" y="140"/>
                  </a:cubicBezTo>
                  <a:cubicBezTo>
                    <a:pt x="107" y="138"/>
                    <a:pt x="107" y="135"/>
                    <a:pt x="110" y="135"/>
                  </a:cubicBezTo>
                  <a:cubicBezTo>
                    <a:pt x="110" y="133"/>
                    <a:pt x="110" y="132"/>
                    <a:pt x="109" y="131"/>
                  </a:cubicBezTo>
                  <a:cubicBezTo>
                    <a:pt x="107" y="129"/>
                    <a:pt x="105" y="127"/>
                    <a:pt x="103" y="125"/>
                  </a:cubicBezTo>
                  <a:cubicBezTo>
                    <a:pt x="102" y="124"/>
                    <a:pt x="100" y="124"/>
                    <a:pt x="99" y="123"/>
                  </a:cubicBezTo>
                  <a:cubicBezTo>
                    <a:pt x="98" y="123"/>
                    <a:pt x="98" y="122"/>
                    <a:pt x="97" y="122"/>
                  </a:cubicBezTo>
                  <a:cubicBezTo>
                    <a:pt x="95" y="121"/>
                    <a:pt x="93" y="120"/>
                    <a:pt x="92" y="119"/>
                  </a:cubicBezTo>
                  <a:cubicBezTo>
                    <a:pt x="89" y="118"/>
                    <a:pt x="88" y="122"/>
                    <a:pt x="87" y="123"/>
                  </a:cubicBezTo>
                  <a:cubicBezTo>
                    <a:pt x="86" y="124"/>
                    <a:pt x="84" y="123"/>
                    <a:pt x="84" y="122"/>
                  </a:cubicBezTo>
                  <a:cubicBezTo>
                    <a:pt x="83" y="122"/>
                    <a:pt x="83" y="122"/>
                    <a:pt x="82" y="122"/>
                  </a:cubicBezTo>
                  <a:cubicBezTo>
                    <a:pt x="82" y="122"/>
                    <a:pt x="82" y="122"/>
                    <a:pt x="82" y="122"/>
                  </a:cubicBezTo>
                  <a:cubicBezTo>
                    <a:pt x="81" y="122"/>
                    <a:pt x="80" y="123"/>
                    <a:pt x="80" y="122"/>
                  </a:cubicBezTo>
                  <a:cubicBezTo>
                    <a:pt x="79" y="121"/>
                    <a:pt x="78" y="120"/>
                    <a:pt x="78" y="119"/>
                  </a:cubicBezTo>
                  <a:cubicBezTo>
                    <a:pt x="76" y="116"/>
                    <a:pt x="76" y="111"/>
                    <a:pt x="77" y="108"/>
                  </a:cubicBezTo>
                  <a:cubicBezTo>
                    <a:pt x="77" y="106"/>
                    <a:pt x="78" y="105"/>
                    <a:pt x="78" y="103"/>
                  </a:cubicBezTo>
                  <a:cubicBezTo>
                    <a:pt x="77" y="101"/>
                    <a:pt x="75" y="101"/>
                    <a:pt x="75" y="99"/>
                  </a:cubicBezTo>
                  <a:cubicBezTo>
                    <a:pt x="74" y="98"/>
                    <a:pt x="74" y="96"/>
                    <a:pt x="72" y="96"/>
                  </a:cubicBezTo>
                  <a:cubicBezTo>
                    <a:pt x="71" y="95"/>
                    <a:pt x="70" y="95"/>
                    <a:pt x="69" y="94"/>
                  </a:cubicBezTo>
                  <a:cubicBezTo>
                    <a:pt x="69" y="93"/>
                    <a:pt x="69" y="91"/>
                    <a:pt x="71" y="90"/>
                  </a:cubicBezTo>
                  <a:cubicBezTo>
                    <a:pt x="70" y="88"/>
                    <a:pt x="72" y="87"/>
                    <a:pt x="73" y="86"/>
                  </a:cubicBezTo>
                  <a:cubicBezTo>
                    <a:pt x="75" y="85"/>
                    <a:pt x="76" y="85"/>
                    <a:pt x="78" y="84"/>
                  </a:cubicBezTo>
                  <a:cubicBezTo>
                    <a:pt x="79" y="82"/>
                    <a:pt x="79" y="81"/>
                    <a:pt x="78" y="79"/>
                  </a:cubicBezTo>
                  <a:cubicBezTo>
                    <a:pt x="78" y="78"/>
                    <a:pt x="79" y="76"/>
                    <a:pt x="78" y="75"/>
                  </a:cubicBezTo>
                  <a:cubicBezTo>
                    <a:pt x="77" y="73"/>
                    <a:pt x="76" y="72"/>
                    <a:pt x="77" y="71"/>
                  </a:cubicBezTo>
                  <a:cubicBezTo>
                    <a:pt x="77" y="70"/>
                    <a:pt x="78" y="70"/>
                    <a:pt x="79" y="71"/>
                  </a:cubicBezTo>
                  <a:cubicBezTo>
                    <a:pt x="79" y="71"/>
                    <a:pt x="80" y="71"/>
                    <a:pt x="80" y="72"/>
                  </a:cubicBezTo>
                  <a:cubicBezTo>
                    <a:pt x="81" y="74"/>
                    <a:pt x="80" y="76"/>
                    <a:pt x="81" y="78"/>
                  </a:cubicBezTo>
                  <a:cubicBezTo>
                    <a:pt x="81" y="79"/>
                    <a:pt x="82" y="79"/>
                    <a:pt x="82" y="80"/>
                  </a:cubicBezTo>
                  <a:cubicBezTo>
                    <a:pt x="83" y="84"/>
                    <a:pt x="82" y="88"/>
                    <a:pt x="84" y="92"/>
                  </a:cubicBezTo>
                  <a:cubicBezTo>
                    <a:pt x="84" y="94"/>
                    <a:pt x="86" y="95"/>
                    <a:pt x="88" y="95"/>
                  </a:cubicBezTo>
                  <a:cubicBezTo>
                    <a:pt x="92" y="95"/>
                    <a:pt x="97" y="94"/>
                    <a:pt x="101" y="95"/>
                  </a:cubicBezTo>
                  <a:cubicBezTo>
                    <a:pt x="102" y="96"/>
                    <a:pt x="103" y="97"/>
                    <a:pt x="103" y="98"/>
                  </a:cubicBezTo>
                  <a:cubicBezTo>
                    <a:pt x="103" y="98"/>
                    <a:pt x="104" y="98"/>
                    <a:pt x="104" y="98"/>
                  </a:cubicBezTo>
                  <a:cubicBezTo>
                    <a:pt x="104" y="97"/>
                    <a:pt x="104" y="95"/>
                    <a:pt x="102" y="94"/>
                  </a:cubicBezTo>
                  <a:cubicBezTo>
                    <a:pt x="101" y="93"/>
                    <a:pt x="99" y="93"/>
                    <a:pt x="98" y="93"/>
                  </a:cubicBezTo>
                  <a:cubicBezTo>
                    <a:pt x="98" y="93"/>
                    <a:pt x="97" y="93"/>
                    <a:pt x="97" y="92"/>
                  </a:cubicBezTo>
                  <a:cubicBezTo>
                    <a:pt x="95" y="92"/>
                    <a:pt x="92" y="92"/>
                    <a:pt x="91" y="90"/>
                  </a:cubicBezTo>
                  <a:cubicBezTo>
                    <a:pt x="90" y="89"/>
                    <a:pt x="88" y="88"/>
                    <a:pt x="86" y="87"/>
                  </a:cubicBezTo>
                  <a:cubicBezTo>
                    <a:pt x="86" y="87"/>
                    <a:pt x="86" y="86"/>
                    <a:pt x="86" y="86"/>
                  </a:cubicBezTo>
                  <a:cubicBezTo>
                    <a:pt x="88" y="85"/>
                    <a:pt x="89" y="85"/>
                    <a:pt x="90" y="84"/>
                  </a:cubicBezTo>
                  <a:cubicBezTo>
                    <a:pt x="91" y="83"/>
                    <a:pt x="92" y="83"/>
                    <a:pt x="93" y="83"/>
                  </a:cubicBezTo>
                  <a:cubicBezTo>
                    <a:pt x="95" y="84"/>
                    <a:pt x="96" y="86"/>
                    <a:pt x="98" y="87"/>
                  </a:cubicBezTo>
                  <a:cubicBezTo>
                    <a:pt x="99" y="88"/>
                    <a:pt x="100" y="88"/>
                    <a:pt x="101" y="87"/>
                  </a:cubicBezTo>
                  <a:cubicBezTo>
                    <a:pt x="101" y="87"/>
                    <a:pt x="102" y="86"/>
                    <a:pt x="102" y="86"/>
                  </a:cubicBezTo>
                  <a:cubicBezTo>
                    <a:pt x="102" y="85"/>
                    <a:pt x="103" y="83"/>
                    <a:pt x="102" y="83"/>
                  </a:cubicBezTo>
                  <a:cubicBezTo>
                    <a:pt x="101" y="82"/>
                    <a:pt x="99" y="82"/>
                    <a:pt x="97" y="82"/>
                  </a:cubicBezTo>
                  <a:cubicBezTo>
                    <a:pt x="97" y="82"/>
                    <a:pt x="97" y="81"/>
                    <a:pt x="97" y="81"/>
                  </a:cubicBezTo>
                  <a:cubicBezTo>
                    <a:pt x="98" y="80"/>
                    <a:pt x="99" y="79"/>
                    <a:pt x="100" y="79"/>
                  </a:cubicBezTo>
                  <a:cubicBezTo>
                    <a:pt x="102" y="78"/>
                    <a:pt x="105" y="79"/>
                    <a:pt x="107" y="79"/>
                  </a:cubicBezTo>
                  <a:cubicBezTo>
                    <a:pt x="109" y="79"/>
                    <a:pt x="110" y="80"/>
                    <a:pt x="112" y="81"/>
                  </a:cubicBezTo>
                  <a:cubicBezTo>
                    <a:pt x="114" y="82"/>
                    <a:pt x="116" y="81"/>
                    <a:pt x="117" y="83"/>
                  </a:cubicBezTo>
                  <a:cubicBezTo>
                    <a:pt x="119" y="85"/>
                    <a:pt x="121" y="86"/>
                    <a:pt x="123" y="88"/>
                  </a:cubicBezTo>
                  <a:cubicBezTo>
                    <a:pt x="126" y="90"/>
                    <a:pt x="129" y="90"/>
                    <a:pt x="132" y="89"/>
                  </a:cubicBezTo>
                  <a:cubicBezTo>
                    <a:pt x="133" y="89"/>
                    <a:pt x="135" y="89"/>
                    <a:pt x="135" y="89"/>
                  </a:cubicBezTo>
                  <a:cubicBezTo>
                    <a:pt x="135" y="90"/>
                    <a:pt x="136" y="91"/>
                    <a:pt x="135" y="92"/>
                  </a:cubicBezTo>
                  <a:cubicBezTo>
                    <a:pt x="134" y="93"/>
                    <a:pt x="133" y="92"/>
                    <a:pt x="132" y="93"/>
                  </a:cubicBezTo>
                  <a:cubicBezTo>
                    <a:pt x="132" y="95"/>
                    <a:pt x="132" y="96"/>
                    <a:pt x="133" y="97"/>
                  </a:cubicBezTo>
                  <a:cubicBezTo>
                    <a:pt x="134" y="98"/>
                    <a:pt x="133" y="100"/>
                    <a:pt x="133" y="101"/>
                  </a:cubicBezTo>
                  <a:cubicBezTo>
                    <a:pt x="133" y="101"/>
                    <a:pt x="134" y="101"/>
                    <a:pt x="134" y="101"/>
                  </a:cubicBezTo>
                  <a:cubicBezTo>
                    <a:pt x="133" y="102"/>
                    <a:pt x="133" y="104"/>
                    <a:pt x="134" y="105"/>
                  </a:cubicBezTo>
                  <a:cubicBezTo>
                    <a:pt x="134" y="105"/>
                    <a:pt x="135" y="105"/>
                    <a:pt x="135" y="104"/>
                  </a:cubicBezTo>
                  <a:cubicBezTo>
                    <a:pt x="135" y="103"/>
                    <a:pt x="135" y="102"/>
                    <a:pt x="136" y="101"/>
                  </a:cubicBezTo>
                  <a:cubicBezTo>
                    <a:pt x="136" y="100"/>
                    <a:pt x="137" y="99"/>
                    <a:pt x="138" y="97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8" y="99"/>
                    <a:pt x="138" y="101"/>
                    <a:pt x="138" y="103"/>
                  </a:cubicBezTo>
                  <a:cubicBezTo>
                    <a:pt x="138" y="104"/>
                    <a:pt x="137" y="106"/>
                    <a:pt x="137" y="108"/>
                  </a:cubicBezTo>
                  <a:cubicBezTo>
                    <a:pt x="137" y="108"/>
                    <a:pt x="138" y="108"/>
                    <a:pt x="138" y="108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9" y="109"/>
                    <a:pt x="141" y="109"/>
                    <a:pt x="142" y="109"/>
                  </a:cubicBezTo>
                  <a:cubicBezTo>
                    <a:pt x="142" y="108"/>
                    <a:pt x="144" y="108"/>
                    <a:pt x="144" y="107"/>
                  </a:cubicBezTo>
                  <a:cubicBezTo>
                    <a:pt x="144" y="106"/>
                    <a:pt x="144" y="104"/>
                    <a:pt x="144" y="103"/>
                  </a:cubicBezTo>
                  <a:cubicBezTo>
                    <a:pt x="144" y="103"/>
                    <a:pt x="143" y="103"/>
                    <a:pt x="143" y="102"/>
                  </a:cubicBezTo>
                  <a:cubicBezTo>
                    <a:pt x="143" y="101"/>
                    <a:pt x="143" y="100"/>
                    <a:pt x="142" y="100"/>
                  </a:cubicBezTo>
                  <a:cubicBezTo>
                    <a:pt x="142" y="99"/>
                    <a:pt x="140" y="98"/>
                    <a:pt x="139" y="96"/>
                  </a:cubicBezTo>
                  <a:cubicBezTo>
                    <a:pt x="139" y="96"/>
                    <a:pt x="138" y="96"/>
                    <a:pt x="138" y="96"/>
                  </a:cubicBezTo>
                  <a:cubicBezTo>
                    <a:pt x="138" y="95"/>
                    <a:pt x="138" y="94"/>
                    <a:pt x="139" y="93"/>
                  </a:cubicBezTo>
                  <a:cubicBezTo>
                    <a:pt x="139" y="92"/>
                    <a:pt x="139" y="90"/>
                    <a:pt x="139" y="89"/>
                  </a:cubicBezTo>
                  <a:cubicBezTo>
                    <a:pt x="138" y="88"/>
                    <a:pt x="138" y="87"/>
                    <a:pt x="136" y="86"/>
                  </a:cubicBezTo>
                  <a:cubicBezTo>
                    <a:pt x="134" y="86"/>
                    <a:pt x="132" y="86"/>
                    <a:pt x="129" y="86"/>
                  </a:cubicBezTo>
                  <a:cubicBezTo>
                    <a:pt x="129" y="86"/>
                    <a:pt x="129" y="85"/>
                    <a:pt x="129" y="85"/>
                  </a:cubicBezTo>
                  <a:cubicBezTo>
                    <a:pt x="128" y="84"/>
                    <a:pt x="129" y="82"/>
                    <a:pt x="127" y="81"/>
                  </a:cubicBezTo>
                  <a:cubicBezTo>
                    <a:pt x="124" y="81"/>
                    <a:pt x="122" y="81"/>
                    <a:pt x="119" y="80"/>
                  </a:cubicBezTo>
                  <a:cubicBezTo>
                    <a:pt x="119" y="80"/>
                    <a:pt x="118" y="79"/>
                    <a:pt x="118" y="79"/>
                  </a:cubicBezTo>
                  <a:cubicBezTo>
                    <a:pt x="118" y="78"/>
                    <a:pt x="117" y="77"/>
                    <a:pt x="117" y="76"/>
                  </a:cubicBezTo>
                  <a:cubicBezTo>
                    <a:pt x="116" y="72"/>
                    <a:pt x="117" y="67"/>
                    <a:pt x="113" y="63"/>
                  </a:cubicBezTo>
                  <a:cubicBezTo>
                    <a:pt x="113" y="63"/>
                    <a:pt x="113" y="61"/>
                    <a:pt x="114" y="61"/>
                  </a:cubicBezTo>
                  <a:cubicBezTo>
                    <a:pt x="117" y="60"/>
                    <a:pt x="121" y="60"/>
                    <a:pt x="124" y="61"/>
                  </a:cubicBezTo>
                  <a:cubicBezTo>
                    <a:pt x="126" y="61"/>
                    <a:pt x="129" y="62"/>
                    <a:pt x="131" y="61"/>
                  </a:cubicBezTo>
                  <a:cubicBezTo>
                    <a:pt x="133" y="60"/>
                    <a:pt x="136" y="60"/>
                    <a:pt x="138" y="59"/>
                  </a:cubicBezTo>
                  <a:cubicBezTo>
                    <a:pt x="139" y="58"/>
                    <a:pt x="141" y="59"/>
                    <a:pt x="142" y="59"/>
                  </a:cubicBezTo>
                  <a:cubicBezTo>
                    <a:pt x="144" y="60"/>
                    <a:pt x="145" y="61"/>
                    <a:pt x="146" y="60"/>
                  </a:cubicBezTo>
                  <a:cubicBezTo>
                    <a:pt x="148" y="60"/>
                    <a:pt x="149" y="59"/>
                    <a:pt x="150" y="59"/>
                  </a:cubicBezTo>
                  <a:cubicBezTo>
                    <a:pt x="151" y="59"/>
                    <a:pt x="151" y="59"/>
                    <a:pt x="151" y="59"/>
                  </a:cubicBezTo>
                  <a:cubicBezTo>
                    <a:pt x="152" y="59"/>
                    <a:pt x="152" y="58"/>
                    <a:pt x="153" y="59"/>
                  </a:cubicBezTo>
                  <a:cubicBezTo>
                    <a:pt x="154" y="59"/>
                    <a:pt x="155" y="59"/>
                    <a:pt x="156" y="60"/>
                  </a:cubicBezTo>
                  <a:cubicBezTo>
                    <a:pt x="157" y="60"/>
                    <a:pt x="158" y="60"/>
                    <a:pt x="158" y="60"/>
                  </a:cubicBezTo>
                  <a:cubicBezTo>
                    <a:pt x="158" y="59"/>
                    <a:pt x="159" y="59"/>
                    <a:pt x="158" y="58"/>
                  </a:cubicBezTo>
                  <a:cubicBezTo>
                    <a:pt x="156" y="56"/>
                    <a:pt x="154" y="55"/>
                    <a:pt x="151" y="53"/>
                  </a:cubicBezTo>
                  <a:cubicBezTo>
                    <a:pt x="150" y="52"/>
                    <a:pt x="149" y="52"/>
                    <a:pt x="148" y="52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9" y="51"/>
                    <a:pt x="150" y="50"/>
                    <a:pt x="149" y="48"/>
                  </a:cubicBezTo>
                  <a:cubicBezTo>
                    <a:pt x="149" y="48"/>
                    <a:pt x="147" y="47"/>
                    <a:pt x="147" y="47"/>
                  </a:cubicBezTo>
                  <a:cubicBezTo>
                    <a:pt x="146" y="46"/>
                    <a:pt x="147" y="45"/>
                    <a:pt x="147" y="44"/>
                  </a:cubicBezTo>
                  <a:cubicBezTo>
                    <a:pt x="147" y="44"/>
                    <a:pt x="148" y="44"/>
                    <a:pt x="148" y="44"/>
                  </a:cubicBezTo>
                  <a:cubicBezTo>
                    <a:pt x="149" y="45"/>
                    <a:pt x="150" y="46"/>
                    <a:pt x="151" y="46"/>
                  </a:cubicBezTo>
                  <a:cubicBezTo>
                    <a:pt x="152" y="47"/>
                    <a:pt x="153" y="46"/>
                    <a:pt x="154" y="45"/>
                  </a:cubicBezTo>
                  <a:cubicBezTo>
                    <a:pt x="154" y="44"/>
                    <a:pt x="155" y="42"/>
                    <a:pt x="154" y="41"/>
                  </a:cubicBezTo>
                  <a:cubicBezTo>
                    <a:pt x="154" y="41"/>
                    <a:pt x="153" y="41"/>
                    <a:pt x="153" y="41"/>
                  </a:cubicBezTo>
                  <a:cubicBezTo>
                    <a:pt x="153" y="40"/>
                    <a:pt x="153" y="39"/>
                    <a:pt x="153" y="38"/>
                  </a:cubicBezTo>
                  <a:cubicBezTo>
                    <a:pt x="156" y="38"/>
                    <a:pt x="158" y="39"/>
                    <a:pt x="161" y="38"/>
                  </a:cubicBezTo>
                  <a:cubicBezTo>
                    <a:pt x="161" y="38"/>
                    <a:pt x="162" y="38"/>
                    <a:pt x="162" y="37"/>
                  </a:cubicBezTo>
                  <a:cubicBezTo>
                    <a:pt x="163" y="35"/>
                    <a:pt x="165" y="33"/>
                    <a:pt x="168" y="34"/>
                  </a:cubicBezTo>
                  <a:cubicBezTo>
                    <a:pt x="169" y="34"/>
                    <a:pt x="169" y="35"/>
                    <a:pt x="170" y="35"/>
                  </a:cubicBezTo>
                  <a:cubicBezTo>
                    <a:pt x="172" y="35"/>
                    <a:pt x="172" y="33"/>
                    <a:pt x="174" y="32"/>
                  </a:cubicBezTo>
                  <a:cubicBezTo>
                    <a:pt x="176" y="32"/>
                    <a:pt x="178" y="32"/>
                    <a:pt x="180" y="32"/>
                  </a:cubicBezTo>
                  <a:cubicBezTo>
                    <a:pt x="183" y="32"/>
                    <a:pt x="186" y="32"/>
                    <a:pt x="189" y="31"/>
                  </a:cubicBezTo>
                  <a:cubicBezTo>
                    <a:pt x="190" y="31"/>
                    <a:pt x="191" y="31"/>
                    <a:pt x="191" y="30"/>
                  </a:cubicBezTo>
                  <a:cubicBezTo>
                    <a:pt x="193" y="30"/>
                    <a:pt x="195" y="30"/>
                    <a:pt x="197" y="30"/>
                  </a:cubicBezTo>
                  <a:cubicBezTo>
                    <a:pt x="197" y="30"/>
                    <a:pt x="197" y="29"/>
                    <a:pt x="197" y="29"/>
                  </a:cubicBezTo>
                  <a:cubicBezTo>
                    <a:pt x="196" y="28"/>
                    <a:pt x="194" y="29"/>
                    <a:pt x="192" y="28"/>
                  </a:cubicBezTo>
                  <a:cubicBezTo>
                    <a:pt x="191" y="28"/>
                    <a:pt x="190" y="27"/>
                    <a:pt x="188" y="27"/>
                  </a:cubicBezTo>
                  <a:cubicBezTo>
                    <a:pt x="188" y="27"/>
                    <a:pt x="188" y="26"/>
                    <a:pt x="189" y="26"/>
                  </a:cubicBezTo>
                  <a:cubicBezTo>
                    <a:pt x="192" y="24"/>
                    <a:pt x="195" y="26"/>
                    <a:pt x="199" y="26"/>
                  </a:cubicBezTo>
                  <a:cubicBezTo>
                    <a:pt x="199" y="25"/>
                    <a:pt x="199" y="25"/>
                    <a:pt x="200" y="25"/>
                  </a:cubicBezTo>
                  <a:cubicBezTo>
                    <a:pt x="202" y="25"/>
                    <a:pt x="203" y="25"/>
                    <a:pt x="205" y="25"/>
                  </a:cubicBezTo>
                  <a:cubicBezTo>
                    <a:pt x="206" y="24"/>
                    <a:pt x="208" y="24"/>
                    <a:pt x="208" y="22"/>
                  </a:cubicBezTo>
                  <a:cubicBezTo>
                    <a:pt x="207" y="22"/>
                    <a:pt x="208" y="21"/>
                    <a:pt x="209" y="21"/>
                  </a:cubicBezTo>
                  <a:cubicBezTo>
                    <a:pt x="210" y="21"/>
                    <a:pt x="211" y="20"/>
                    <a:pt x="212" y="21"/>
                  </a:cubicBezTo>
                  <a:cubicBezTo>
                    <a:pt x="213" y="21"/>
                    <a:pt x="212" y="22"/>
                    <a:pt x="212" y="22"/>
                  </a:cubicBezTo>
                  <a:cubicBezTo>
                    <a:pt x="212" y="22"/>
                    <a:pt x="211" y="23"/>
                    <a:pt x="211" y="23"/>
                  </a:cubicBezTo>
                  <a:cubicBezTo>
                    <a:pt x="211" y="24"/>
                    <a:pt x="210" y="25"/>
                    <a:pt x="209" y="26"/>
                  </a:cubicBezTo>
                  <a:cubicBezTo>
                    <a:pt x="209" y="27"/>
                    <a:pt x="209" y="27"/>
                    <a:pt x="209" y="28"/>
                  </a:cubicBezTo>
                  <a:cubicBezTo>
                    <a:pt x="210" y="28"/>
                    <a:pt x="211" y="28"/>
                    <a:pt x="211" y="28"/>
                  </a:cubicBezTo>
                  <a:cubicBezTo>
                    <a:pt x="212" y="27"/>
                    <a:pt x="213" y="28"/>
                    <a:pt x="214" y="28"/>
                  </a:cubicBezTo>
                  <a:cubicBezTo>
                    <a:pt x="214" y="29"/>
                    <a:pt x="216" y="28"/>
                    <a:pt x="217" y="27"/>
                  </a:cubicBezTo>
                  <a:cubicBezTo>
                    <a:pt x="217" y="27"/>
                    <a:pt x="218" y="27"/>
                    <a:pt x="218" y="27"/>
                  </a:cubicBezTo>
                  <a:cubicBezTo>
                    <a:pt x="218" y="27"/>
                    <a:pt x="219" y="27"/>
                    <a:pt x="218" y="28"/>
                  </a:cubicBezTo>
                  <a:cubicBezTo>
                    <a:pt x="219" y="28"/>
                    <a:pt x="220" y="28"/>
                    <a:pt x="220" y="27"/>
                  </a:cubicBezTo>
                  <a:cubicBezTo>
                    <a:pt x="221" y="27"/>
                    <a:pt x="221" y="26"/>
                    <a:pt x="221" y="26"/>
                  </a:cubicBezTo>
                  <a:cubicBezTo>
                    <a:pt x="223" y="25"/>
                    <a:pt x="224" y="25"/>
                    <a:pt x="225" y="25"/>
                  </a:cubicBezTo>
                  <a:cubicBezTo>
                    <a:pt x="229" y="24"/>
                    <a:pt x="233" y="24"/>
                    <a:pt x="235" y="27"/>
                  </a:cubicBezTo>
                  <a:cubicBezTo>
                    <a:pt x="236" y="28"/>
                    <a:pt x="236" y="29"/>
                    <a:pt x="234" y="31"/>
                  </a:cubicBezTo>
                  <a:cubicBezTo>
                    <a:pt x="234" y="31"/>
                    <a:pt x="234" y="32"/>
                    <a:pt x="234" y="32"/>
                  </a:cubicBezTo>
                  <a:cubicBezTo>
                    <a:pt x="235" y="32"/>
                    <a:pt x="236" y="31"/>
                    <a:pt x="237" y="31"/>
                  </a:cubicBezTo>
                  <a:cubicBezTo>
                    <a:pt x="237" y="29"/>
                    <a:pt x="237" y="27"/>
                    <a:pt x="236" y="26"/>
                  </a:cubicBezTo>
                  <a:cubicBezTo>
                    <a:pt x="235" y="25"/>
                    <a:pt x="234" y="23"/>
                    <a:pt x="233" y="23"/>
                  </a:cubicBezTo>
                  <a:cubicBezTo>
                    <a:pt x="231" y="23"/>
                    <a:pt x="230" y="22"/>
                    <a:pt x="228" y="21"/>
                  </a:cubicBezTo>
                  <a:cubicBezTo>
                    <a:pt x="228" y="21"/>
                    <a:pt x="228" y="21"/>
                    <a:pt x="228" y="21"/>
                  </a:cubicBezTo>
                  <a:cubicBezTo>
                    <a:pt x="230" y="21"/>
                    <a:pt x="232" y="21"/>
                    <a:pt x="234" y="21"/>
                  </a:cubicBezTo>
                  <a:cubicBezTo>
                    <a:pt x="234" y="20"/>
                    <a:pt x="235" y="21"/>
                    <a:pt x="236" y="20"/>
                  </a:cubicBezTo>
                  <a:cubicBezTo>
                    <a:pt x="236" y="20"/>
                    <a:pt x="236" y="20"/>
                    <a:pt x="236" y="20"/>
                  </a:cubicBezTo>
                  <a:cubicBezTo>
                    <a:pt x="237" y="20"/>
                    <a:pt x="238" y="20"/>
                    <a:pt x="239" y="20"/>
                  </a:cubicBezTo>
                  <a:cubicBezTo>
                    <a:pt x="241" y="20"/>
                    <a:pt x="242" y="21"/>
                    <a:pt x="243" y="22"/>
                  </a:cubicBezTo>
                  <a:cubicBezTo>
                    <a:pt x="245" y="24"/>
                    <a:pt x="247" y="23"/>
                    <a:pt x="249" y="24"/>
                  </a:cubicBezTo>
                  <a:cubicBezTo>
                    <a:pt x="249" y="24"/>
                    <a:pt x="249" y="25"/>
                    <a:pt x="249" y="25"/>
                  </a:cubicBezTo>
                  <a:cubicBezTo>
                    <a:pt x="250" y="25"/>
                    <a:pt x="250" y="25"/>
                    <a:pt x="251" y="25"/>
                  </a:cubicBezTo>
                  <a:cubicBezTo>
                    <a:pt x="251" y="25"/>
                    <a:pt x="251" y="24"/>
                    <a:pt x="251" y="24"/>
                  </a:cubicBezTo>
                  <a:cubicBezTo>
                    <a:pt x="249" y="21"/>
                    <a:pt x="246" y="21"/>
                    <a:pt x="243" y="20"/>
                  </a:cubicBezTo>
                  <a:cubicBezTo>
                    <a:pt x="243" y="20"/>
                    <a:pt x="243" y="19"/>
                    <a:pt x="243" y="19"/>
                  </a:cubicBezTo>
                  <a:cubicBezTo>
                    <a:pt x="243" y="19"/>
                    <a:pt x="244" y="18"/>
                    <a:pt x="244" y="18"/>
                  </a:cubicBezTo>
                  <a:cubicBezTo>
                    <a:pt x="245" y="16"/>
                    <a:pt x="243" y="15"/>
                    <a:pt x="241" y="15"/>
                  </a:cubicBezTo>
                  <a:cubicBezTo>
                    <a:pt x="241" y="15"/>
                    <a:pt x="241" y="14"/>
                    <a:pt x="241" y="14"/>
                  </a:cubicBezTo>
                  <a:cubicBezTo>
                    <a:pt x="242" y="13"/>
                    <a:pt x="242" y="11"/>
                    <a:pt x="243" y="10"/>
                  </a:cubicBezTo>
                  <a:cubicBezTo>
                    <a:pt x="244" y="9"/>
                    <a:pt x="245" y="10"/>
                    <a:pt x="247" y="9"/>
                  </a:cubicBezTo>
                  <a:cubicBezTo>
                    <a:pt x="248" y="8"/>
                    <a:pt x="248" y="6"/>
                    <a:pt x="250" y="6"/>
                  </a:cubicBezTo>
                  <a:cubicBezTo>
                    <a:pt x="250" y="5"/>
                    <a:pt x="251" y="5"/>
                    <a:pt x="251" y="5"/>
                  </a:cubicBezTo>
                  <a:cubicBezTo>
                    <a:pt x="251" y="4"/>
                    <a:pt x="252" y="3"/>
                    <a:pt x="252" y="2"/>
                  </a:cubicBezTo>
                  <a:cubicBezTo>
                    <a:pt x="254" y="2"/>
                    <a:pt x="257" y="2"/>
                    <a:pt x="258" y="0"/>
                  </a:cubicBezTo>
                  <a:cubicBezTo>
                    <a:pt x="261" y="0"/>
                    <a:pt x="263" y="2"/>
                    <a:pt x="266" y="3"/>
                  </a:cubicBezTo>
                  <a:cubicBezTo>
                    <a:pt x="267" y="4"/>
                    <a:pt x="269" y="3"/>
                    <a:pt x="271" y="3"/>
                  </a:cubicBezTo>
                  <a:cubicBezTo>
                    <a:pt x="272" y="4"/>
                    <a:pt x="272" y="5"/>
                    <a:pt x="271" y="6"/>
                  </a:cubicBezTo>
                  <a:cubicBezTo>
                    <a:pt x="270" y="8"/>
                    <a:pt x="268" y="9"/>
                    <a:pt x="266" y="11"/>
                  </a:cubicBezTo>
                  <a:cubicBezTo>
                    <a:pt x="265" y="11"/>
                    <a:pt x="264" y="11"/>
                    <a:pt x="263" y="11"/>
                  </a:cubicBezTo>
                  <a:cubicBezTo>
                    <a:pt x="263" y="11"/>
                    <a:pt x="263" y="11"/>
                    <a:pt x="263" y="12"/>
                  </a:cubicBezTo>
                  <a:cubicBezTo>
                    <a:pt x="267" y="12"/>
                    <a:pt x="270" y="12"/>
                    <a:pt x="274" y="12"/>
                  </a:cubicBezTo>
                  <a:cubicBezTo>
                    <a:pt x="276" y="11"/>
                    <a:pt x="279" y="11"/>
                    <a:pt x="281" y="13"/>
                  </a:cubicBezTo>
                  <a:cubicBezTo>
                    <a:pt x="281" y="14"/>
                    <a:pt x="280" y="15"/>
                    <a:pt x="280" y="17"/>
                  </a:cubicBezTo>
                  <a:cubicBezTo>
                    <a:pt x="279" y="17"/>
                    <a:pt x="279" y="18"/>
                    <a:pt x="278" y="18"/>
                  </a:cubicBezTo>
                  <a:cubicBezTo>
                    <a:pt x="278" y="19"/>
                    <a:pt x="278" y="19"/>
                    <a:pt x="278" y="20"/>
                  </a:cubicBezTo>
                  <a:cubicBezTo>
                    <a:pt x="279" y="20"/>
                    <a:pt x="280" y="20"/>
                    <a:pt x="280" y="19"/>
                  </a:cubicBezTo>
                  <a:cubicBezTo>
                    <a:pt x="282" y="19"/>
                    <a:pt x="285" y="20"/>
                    <a:pt x="287" y="19"/>
                  </a:cubicBezTo>
                  <a:cubicBezTo>
                    <a:pt x="288" y="18"/>
                    <a:pt x="288" y="17"/>
                    <a:pt x="289" y="16"/>
                  </a:cubicBezTo>
                  <a:cubicBezTo>
                    <a:pt x="289" y="15"/>
                    <a:pt x="290" y="16"/>
                    <a:pt x="291" y="16"/>
                  </a:cubicBezTo>
                  <a:cubicBezTo>
                    <a:pt x="292" y="16"/>
                    <a:pt x="293" y="16"/>
                    <a:pt x="294" y="16"/>
                  </a:cubicBezTo>
                  <a:cubicBezTo>
                    <a:pt x="296" y="15"/>
                    <a:pt x="297" y="15"/>
                    <a:pt x="299" y="16"/>
                  </a:cubicBezTo>
                  <a:cubicBezTo>
                    <a:pt x="300" y="17"/>
                    <a:pt x="303" y="17"/>
                    <a:pt x="305" y="15"/>
                  </a:cubicBezTo>
                  <a:cubicBezTo>
                    <a:pt x="305" y="15"/>
                    <a:pt x="306" y="15"/>
                    <a:pt x="307" y="15"/>
                  </a:cubicBezTo>
                  <a:cubicBezTo>
                    <a:pt x="308" y="15"/>
                    <a:pt x="308" y="15"/>
                    <a:pt x="308" y="15"/>
                  </a:cubicBezTo>
                  <a:cubicBezTo>
                    <a:pt x="308" y="15"/>
                    <a:pt x="309" y="15"/>
                    <a:pt x="309" y="15"/>
                  </a:cubicBezTo>
                  <a:cubicBezTo>
                    <a:pt x="310" y="16"/>
                    <a:pt x="310" y="17"/>
                    <a:pt x="311" y="17"/>
                  </a:cubicBezTo>
                  <a:cubicBezTo>
                    <a:pt x="312" y="17"/>
                    <a:pt x="313" y="18"/>
                    <a:pt x="314" y="19"/>
                  </a:cubicBezTo>
                  <a:cubicBezTo>
                    <a:pt x="314" y="19"/>
                    <a:pt x="315" y="20"/>
                    <a:pt x="315" y="20"/>
                  </a:cubicBezTo>
                  <a:cubicBezTo>
                    <a:pt x="317" y="20"/>
                    <a:pt x="318" y="20"/>
                    <a:pt x="319" y="20"/>
                  </a:cubicBezTo>
                  <a:cubicBezTo>
                    <a:pt x="320" y="21"/>
                    <a:pt x="320" y="23"/>
                    <a:pt x="321" y="24"/>
                  </a:cubicBezTo>
                  <a:cubicBezTo>
                    <a:pt x="321" y="24"/>
                    <a:pt x="322" y="24"/>
                    <a:pt x="322" y="25"/>
                  </a:cubicBezTo>
                  <a:cubicBezTo>
                    <a:pt x="323" y="25"/>
                    <a:pt x="325" y="25"/>
                    <a:pt x="326" y="25"/>
                  </a:cubicBezTo>
                  <a:cubicBezTo>
                    <a:pt x="327" y="25"/>
                    <a:pt x="328" y="25"/>
                    <a:pt x="328" y="26"/>
                  </a:cubicBezTo>
                  <a:cubicBezTo>
                    <a:pt x="328" y="27"/>
                    <a:pt x="328" y="27"/>
                    <a:pt x="328" y="28"/>
                  </a:cubicBezTo>
                  <a:cubicBezTo>
                    <a:pt x="329" y="28"/>
                    <a:pt x="329" y="28"/>
                    <a:pt x="330" y="28"/>
                  </a:cubicBezTo>
                  <a:cubicBezTo>
                    <a:pt x="331" y="29"/>
                    <a:pt x="331" y="30"/>
                    <a:pt x="331" y="31"/>
                  </a:cubicBezTo>
                  <a:cubicBezTo>
                    <a:pt x="331" y="31"/>
                    <a:pt x="331" y="33"/>
                    <a:pt x="331" y="33"/>
                  </a:cubicBezTo>
                  <a:cubicBezTo>
                    <a:pt x="329" y="34"/>
                    <a:pt x="328" y="32"/>
                    <a:pt x="326" y="31"/>
                  </a:cubicBezTo>
                  <a:cubicBezTo>
                    <a:pt x="325" y="31"/>
                    <a:pt x="324" y="31"/>
                    <a:pt x="324" y="31"/>
                  </a:cubicBezTo>
                  <a:cubicBezTo>
                    <a:pt x="324" y="31"/>
                    <a:pt x="324" y="31"/>
                    <a:pt x="324" y="31"/>
                  </a:cubicBezTo>
                  <a:cubicBezTo>
                    <a:pt x="325" y="31"/>
                    <a:pt x="325" y="33"/>
                    <a:pt x="326" y="33"/>
                  </a:cubicBezTo>
                  <a:cubicBezTo>
                    <a:pt x="327" y="34"/>
                    <a:pt x="331" y="34"/>
                    <a:pt x="331" y="36"/>
                  </a:cubicBezTo>
                  <a:cubicBezTo>
                    <a:pt x="331" y="36"/>
                    <a:pt x="331" y="37"/>
                    <a:pt x="331" y="38"/>
                  </a:cubicBezTo>
                  <a:cubicBezTo>
                    <a:pt x="330" y="38"/>
                    <a:pt x="330" y="39"/>
                    <a:pt x="329" y="40"/>
                  </a:cubicBezTo>
                  <a:cubicBezTo>
                    <a:pt x="328" y="40"/>
                    <a:pt x="326" y="41"/>
                    <a:pt x="326" y="42"/>
                  </a:cubicBezTo>
                  <a:cubicBezTo>
                    <a:pt x="326" y="44"/>
                    <a:pt x="325" y="46"/>
                    <a:pt x="323" y="46"/>
                  </a:cubicBezTo>
                  <a:cubicBezTo>
                    <a:pt x="322" y="47"/>
                    <a:pt x="321" y="46"/>
                    <a:pt x="320" y="47"/>
                  </a:cubicBezTo>
                  <a:cubicBezTo>
                    <a:pt x="319" y="47"/>
                    <a:pt x="318" y="48"/>
                    <a:pt x="317" y="48"/>
                  </a:cubicBezTo>
                  <a:cubicBezTo>
                    <a:pt x="316" y="49"/>
                    <a:pt x="315" y="49"/>
                    <a:pt x="313" y="49"/>
                  </a:cubicBezTo>
                  <a:cubicBezTo>
                    <a:pt x="311" y="50"/>
                    <a:pt x="310" y="52"/>
                    <a:pt x="309" y="54"/>
                  </a:cubicBezTo>
                  <a:cubicBezTo>
                    <a:pt x="309" y="54"/>
                    <a:pt x="308" y="54"/>
                    <a:pt x="308" y="54"/>
                  </a:cubicBezTo>
                  <a:cubicBezTo>
                    <a:pt x="307" y="55"/>
                    <a:pt x="307" y="55"/>
                    <a:pt x="306" y="56"/>
                  </a:cubicBezTo>
                  <a:cubicBezTo>
                    <a:pt x="304" y="57"/>
                    <a:pt x="303" y="59"/>
                    <a:pt x="301" y="59"/>
                  </a:cubicBezTo>
                  <a:cubicBezTo>
                    <a:pt x="299" y="60"/>
                    <a:pt x="296" y="59"/>
                    <a:pt x="294" y="60"/>
                  </a:cubicBezTo>
                  <a:cubicBezTo>
                    <a:pt x="293" y="60"/>
                    <a:pt x="293" y="62"/>
                    <a:pt x="292" y="63"/>
                  </a:cubicBezTo>
                  <a:cubicBezTo>
                    <a:pt x="291" y="64"/>
                    <a:pt x="289" y="64"/>
                    <a:pt x="289" y="65"/>
                  </a:cubicBezTo>
                  <a:cubicBezTo>
                    <a:pt x="288" y="65"/>
                    <a:pt x="289" y="66"/>
                    <a:pt x="288" y="67"/>
                  </a:cubicBezTo>
                  <a:cubicBezTo>
                    <a:pt x="288" y="68"/>
                    <a:pt x="287" y="69"/>
                    <a:pt x="287" y="69"/>
                  </a:cubicBezTo>
                  <a:cubicBezTo>
                    <a:pt x="287" y="70"/>
                    <a:pt x="286" y="71"/>
                    <a:pt x="286" y="71"/>
                  </a:cubicBezTo>
                  <a:cubicBezTo>
                    <a:pt x="283" y="72"/>
                    <a:pt x="281" y="73"/>
                    <a:pt x="280" y="75"/>
                  </a:cubicBezTo>
                  <a:cubicBezTo>
                    <a:pt x="279" y="75"/>
                    <a:pt x="278" y="76"/>
                    <a:pt x="277" y="76"/>
                  </a:cubicBezTo>
                  <a:cubicBezTo>
                    <a:pt x="276" y="77"/>
                    <a:pt x="275" y="76"/>
                    <a:pt x="274" y="77"/>
                  </a:cubicBezTo>
                  <a:cubicBezTo>
                    <a:pt x="272" y="78"/>
                    <a:pt x="271" y="79"/>
                    <a:pt x="271" y="80"/>
                  </a:cubicBezTo>
                  <a:cubicBezTo>
                    <a:pt x="270" y="81"/>
                    <a:pt x="269" y="83"/>
                    <a:pt x="268" y="84"/>
                  </a:cubicBezTo>
                  <a:cubicBezTo>
                    <a:pt x="268" y="85"/>
                    <a:pt x="267" y="85"/>
                    <a:pt x="268" y="86"/>
                  </a:cubicBezTo>
                  <a:cubicBezTo>
                    <a:pt x="268" y="86"/>
                    <a:pt x="268" y="86"/>
                    <a:pt x="269" y="86"/>
                  </a:cubicBezTo>
                  <a:cubicBezTo>
                    <a:pt x="269" y="85"/>
                    <a:pt x="269" y="85"/>
                    <a:pt x="269" y="84"/>
                  </a:cubicBezTo>
                  <a:cubicBezTo>
                    <a:pt x="270" y="84"/>
                    <a:pt x="270" y="83"/>
                    <a:pt x="271" y="83"/>
                  </a:cubicBezTo>
                  <a:cubicBezTo>
                    <a:pt x="271" y="83"/>
                    <a:pt x="271" y="82"/>
                    <a:pt x="271" y="82"/>
                  </a:cubicBezTo>
                  <a:cubicBezTo>
                    <a:pt x="273" y="80"/>
                    <a:pt x="275" y="79"/>
                    <a:pt x="276" y="77"/>
                  </a:cubicBezTo>
                  <a:cubicBezTo>
                    <a:pt x="278" y="77"/>
                    <a:pt x="280" y="78"/>
                    <a:pt x="282" y="77"/>
                  </a:cubicBezTo>
                  <a:cubicBezTo>
                    <a:pt x="284" y="75"/>
                    <a:pt x="285" y="74"/>
                    <a:pt x="286" y="72"/>
                  </a:cubicBezTo>
                  <a:cubicBezTo>
                    <a:pt x="289" y="72"/>
                    <a:pt x="292" y="73"/>
                    <a:pt x="294" y="72"/>
                  </a:cubicBezTo>
                  <a:cubicBezTo>
                    <a:pt x="294" y="72"/>
                    <a:pt x="294" y="71"/>
                    <a:pt x="294" y="71"/>
                  </a:cubicBezTo>
                  <a:cubicBezTo>
                    <a:pt x="292" y="71"/>
                    <a:pt x="291" y="71"/>
                    <a:pt x="289" y="69"/>
                  </a:cubicBezTo>
                  <a:cubicBezTo>
                    <a:pt x="289" y="69"/>
                    <a:pt x="290" y="68"/>
                    <a:pt x="290" y="67"/>
                  </a:cubicBezTo>
                  <a:cubicBezTo>
                    <a:pt x="293" y="66"/>
                    <a:pt x="295" y="67"/>
                    <a:pt x="297" y="67"/>
                  </a:cubicBezTo>
                  <a:cubicBezTo>
                    <a:pt x="299" y="67"/>
                    <a:pt x="300" y="67"/>
                    <a:pt x="302" y="67"/>
                  </a:cubicBezTo>
                  <a:cubicBezTo>
                    <a:pt x="302" y="66"/>
                    <a:pt x="303" y="67"/>
                    <a:pt x="304" y="67"/>
                  </a:cubicBezTo>
                  <a:cubicBezTo>
                    <a:pt x="305" y="66"/>
                    <a:pt x="306" y="66"/>
                    <a:pt x="307" y="65"/>
                  </a:cubicBezTo>
                  <a:cubicBezTo>
                    <a:pt x="308" y="64"/>
                    <a:pt x="307" y="63"/>
                    <a:pt x="308" y="62"/>
                  </a:cubicBezTo>
                  <a:cubicBezTo>
                    <a:pt x="309" y="62"/>
                    <a:pt x="311" y="63"/>
                    <a:pt x="313" y="62"/>
                  </a:cubicBezTo>
                  <a:cubicBezTo>
                    <a:pt x="314" y="62"/>
                    <a:pt x="315" y="61"/>
                    <a:pt x="316" y="60"/>
                  </a:cubicBezTo>
                  <a:cubicBezTo>
                    <a:pt x="316" y="60"/>
                    <a:pt x="317" y="60"/>
                    <a:pt x="317" y="60"/>
                  </a:cubicBezTo>
                  <a:cubicBezTo>
                    <a:pt x="317" y="60"/>
                    <a:pt x="317" y="60"/>
                    <a:pt x="317" y="59"/>
                  </a:cubicBezTo>
                  <a:cubicBezTo>
                    <a:pt x="316" y="59"/>
                    <a:pt x="315" y="60"/>
                    <a:pt x="313" y="60"/>
                  </a:cubicBezTo>
                  <a:cubicBezTo>
                    <a:pt x="312" y="60"/>
                    <a:pt x="311" y="60"/>
                    <a:pt x="311" y="60"/>
                  </a:cubicBezTo>
                  <a:cubicBezTo>
                    <a:pt x="310" y="58"/>
                    <a:pt x="312" y="57"/>
                    <a:pt x="312" y="55"/>
                  </a:cubicBezTo>
                  <a:cubicBezTo>
                    <a:pt x="314" y="55"/>
                    <a:pt x="315" y="56"/>
                    <a:pt x="317" y="57"/>
                  </a:cubicBezTo>
                  <a:cubicBezTo>
                    <a:pt x="317" y="57"/>
                    <a:pt x="319" y="57"/>
                    <a:pt x="320" y="56"/>
                  </a:cubicBezTo>
                  <a:cubicBezTo>
                    <a:pt x="320" y="55"/>
                    <a:pt x="322" y="56"/>
                    <a:pt x="322" y="57"/>
                  </a:cubicBezTo>
                  <a:cubicBezTo>
                    <a:pt x="323" y="58"/>
                    <a:pt x="323" y="59"/>
                    <a:pt x="323" y="60"/>
                  </a:cubicBezTo>
                  <a:cubicBezTo>
                    <a:pt x="324" y="61"/>
                    <a:pt x="325" y="61"/>
                    <a:pt x="326" y="61"/>
                  </a:cubicBezTo>
                  <a:cubicBezTo>
                    <a:pt x="329" y="62"/>
                    <a:pt x="331" y="61"/>
                    <a:pt x="333" y="62"/>
                  </a:cubicBezTo>
                  <a:cubicBezTo>
                    <a:pt x="333" y="61"/>
                    <a:pt x="333" y="61"/>
                    <a:pt x="333" y="61"/>
                  </a:cubicBezTo>
                  <a:cubicBezTo>
                    <a:pt x="333" y="60"/>
                    <a:pt x="331" y="60"/>
                    <a:pt x="331" y="59"/>
                  </a:cubicBezTo>
                  <a:cubicBezTo>
                    <a:pt x="331" y="58"/>
                    <a:pt x="331" y="57"/>
                    <a:pt x="331" y="57"/>
                  </a:cubicBezTo>
                  <a:cubicBezTo>
                    <a:pt x="332" y="56"/>
                    <a:pt x="333" y="57"/>
                    <a:pt x="334" y="58"/>
                  </a:cubicBezTo>
                  <a:cubicBezTo>
                    <a:pt x="336" y="59"/>
                    <a:pt x="337" y="60"/>
                    <a:pt x="338" y="62"/>
                  </a:cubicBezTo>
                  <a:cubicBezTo>
                    <a:pt x="339" y="63"/>
                    <a:pt x="339" y="65"/>
                    <a:pt x="340" y="66"/>
                  </a:cubicBezTo>
                  <a:cubicBezTo>
                    <a:pt x="340" y="66"/>
                    <a:pt x="340" y="67"/>
                    <a:pt x="340" y="67"/>
                  </a:cubicBezTo>
                  <a:cubicBezTo>
                    <a:pt x="340" y="68"/>
                    <a:pt x="341" y="68"/>
                    <a:pt x="341" y="68"/>
                  </a:cubicBezTo>
                  <a:cubicBezTo>
                    <a:pt x="341" y="66"/>
                    <a:pt x="341" y="64"/>
                    <a:pt x="339" y="62"/>
                  </a:cubicBezTo>
                  <a:cubicBezTo>
                    <a:pt x="339" y="62"/>
                    <a:pt x="339" y="61"/>
                    <a:pt x="339" y="61"/>
                  </a:cubicBezTo>
                  <a:cubicBezTo>
                    <a:pt x="340" y="60"/>
                    <a:pt x="342" y="61"/>
                    <a:pt x="343" y="61"/>
                  </a:cubicBezTo>
                  <a:cubicBezTo>
                    <a:pt x="344" y="60"/>
                    <a:pt x="346" y="61"/>
                    <a:pt x="347" y="60"/>
                  </a:cubicBezTo>
                  <a:cubicBezTo>
                    <a:pt x="351" y="60"/>
                    <a:pt x="355" y="59"/>
                    <a:pt x="358" y="60"/>
                  </a:cubicBezTo>
                  <a:cubicBezTo>
                    <a:pt x="360" y="60"/>
                    <a:pt x="362" y="61"/>
                    <a:pt x="364" y="61"/>
                  </a:cubicBezTo>
                  <a:cubicBezTo>
                    <a:pt x="367" y="61"/>
                    <a:pt x="371" y="60"/>
                    <a:pt x="374" y="62"/>
                  </a:cubicBezTo>
                  <a:cubicBezTo>
                    <a:pt x="375" y="62"/>
                    <a:pt x="375" y="64"/>
                    <a:pt x="374" y="64"/>
                  </a:cubicBezTo>
                  <a:cubicBezTo>
                    <a:pt x="373" y="64"/>
                    <a:pt x="373" y="64"/>
                    <a:pt x="372" y="64"/>
                  </a:cubicBezTo>
                  <a:cubicBezTo>
                    <a:pt x="372" y="65"/>
                    <a:pt x="372" y="66"/>
                    <a:pt x="373" y="66"/>
                  </a:cubicBezTo>
                  <a:cubicBezTo>
                    <a:pt x="374" y="67"/>
                    <a:pt x="375" y="66"/>
                    <a:pt x="377" y="66"/>
                  </a:cubicBezTo>
                  <a:cubicBezTo>
                    <a:pt x="377" y="67"/>
                    <a:pt x="378" y="67"/>
                    <a:pt x="378" y="67"/>
                  </a:cubicBezTo>
                  <a:cubicBezTo>
                    <a:pt x="381" y="69"/>
                    <a:pt x="384" y="67"/>
                    <a:pt x="387" y="68"/>
                  </a:cubicBezTo>
                  <a:cubicBezTo>
                    <a:pt x="388" y="69"/>
                    <a:pt x="388" y="69"/>
                    <a:pt x="389" y="69"/>
                  </a:cubicBezTo>
                  <a:cubicBezTo>
                    <a:pt x="392" y="70"/>
                    <a:pt x="394" y="69"/>
                    <a:pt x="397" y="70"/>
                  </a:cubicBezTo>
                  <a:cubicBezTo>
                    <a:pt x="398" y="70"/>
                    <a:pt x="400" y="71"/>
                    <a:pt x="401" y="70"/>
                  </a:cubicBezTo>
                  <a:cubicBezTo>
                    <a:pt x="401" y="70"/>
                    <a:pt x="401" y="69"/>
                    <a:pt x="402" y="68"/>
                  </a:cubicBezTo>
                  <a:cubicBezTo>
                    <a:pt x="402" y="68"/>
                    <a:pt x="403" y="68"/>
                    <a:pt x="403" y="68"/>
                  </a:cubicBezTo>
                  <a:cubicBezTo>
                    <a:pt x="404" y="69"/>
                    <a:pt x="405" y="70"/>
                    <a:pt x="406" y="70"/>
                  </a:cubicBezTo>
                  <a:cubicBezTo>
                    <a:pt x="406" y="71"/>
                    <a:pt x="407" y="70"/>
                    <a:pt x="407" y="70"/>
                  </a:cubicBezTo>
                  <a:cubicBezTo>
                    <a:pt x="407" y="69"/>
                    <a:pt x="407" y="67"/>
                    <a:pt x="406" y="66"/>
                  </a:cubicBezTo>
                  <a:cubicBezTo>
                    <a:pt x="406" y="66"/>
                    <a:pt x="406" y="66"/>
                    <a:pt x="406" y="66"/>
                  </a:cubicBezTo>
                  <a:cubicBezTo>
                    <a:pt x="406" y="66"/>
                    <a:pt x="406" y="65"/>
                    <a:pt x="405" y="64"/>
                  </a:cubicBezTo>
                  <a:cubicBezTo>
                    <a:pt x="405" y="63"/>
                    <a:pt x="405" y="62"/>
                    <a:pt x="406" y="61"/>
                  </a:cubicBezTo>
                  <a:cubicBezTo>
                    <a:pt x="406" y="60"/>
                    <a:pt x="407" y="60"/>
                    <a:pt x="408" y="59"/>
                  </a:cubicBezTo>
                  <a:cubicBezTo>
                    <a:pt x="408" y="59"/>
                    <a:pt x="409" y="58"/>
                    <a:pt x="410" y="57"/>
                  </a:cubicBezTo>
                  <a:cubicBezTo>
                    <a:pt x="412" y="56"/>
                    <a:pt x="413" y="58"/>
                    <a:pt x="414" y="59"/>
                  </a:cubicBezTo>
                  <a:cubicBezTo>
                    <a:pt x="414" y="59"/>
                    <a:pt x="416" y="58"/>
                    <a:pt x="417" y="59"/>
                  </a:cubicBezTo>
                  <a:cubicBezTo>
                    <a:pt x="418" y="60"/>
                    <a:pt x="419" y="60"/>
                    <a:pt x="419" y="60"/>
                  </a:cubicBezTo>
                  <a:cubicBezTo>
                    <a:pt x="420" y="61"/>
                    <a:pt x="420" y="61"/>
                    <a:pt x="420" y="61"/>
                  </a:cubicBezTo>
                  <a:cubicBezTo>
                    <a:pt x="421" y="61"/>
                    <a:pt x="421" y="61"/>
                    <a:pt x="421" y="61"/>
                  </a:cubicBezTo>
                  <a:cubicBezTo>
                    <a:pt x="422" y="61"/>
                    <a:pt x="422" y="60"/>
                    <a:pt x="423" y="60"/>
                  </a:cubicBezTo>
                  <a:cubicBezTo>
                    <a:pt x="423" y="59"/>
                    <a:pt x="424" y="60"/>
                    <a:pt x="425" y="60"/>
                  </a:cubicBezTo>
                  <a:cubicBezTo>
                    <a:pt x="425" y="60"/>
                    <a:pt x="426" y="60"/>
                    <a:pt x="426" y="60"/>
                  </a:cubicBezTo>
                  <a:cubicBezTo>
                    <a:pt x="426" y="61"/>
                    <a:pt x="427" y="61"/>
                    <a:pt x="427" y="62"/>
                  </a:cubicBezTo>
                  <a:cubicBezTo>
                    <a:pt x="428" y="62"/>
                    <a:pt x="429" y="61"/>
                    <a:pt x="431" y="60"/>
                  </a:cubicBezTo>
                  <a:cubicBezTo>
                    <a:pt x="432" y="59"/>
                    <a:pt x="435" y="60"/>
                    <a:pt x="436" y="61"/>
                  </a:cubicBezTo>
                  <a:cubicBezTo>
                    <a:pt x="437" y="61"/>
                    <a:pt x="438" y="62"/>
                    <a:pt x="438" y="62"/>
                  </a:cubicBezTo>
                  <a:cubicBezTo>
                    <a:pt x="439" y="62"/>
                    <a:pt x="439" y="63"/>
                    <a:pt x="440" y="64"/>
                  </a:cubicBezTo>
                  <a:cubicBezTo>
                    <a:pt x="442" y="64"/>
                    <a:pt x="442" y="65"/>
                    <a:pt x="444" y="66"/>
                  </a:cubicBezTo>
                  <a:cubicBezTo>
                    <a:pt x="444" y="67"/>
                    <a:pt x="446" y="67"/>
                    <a:pt x="446" y="68"/>
                  </a:cubicBezTo>
                  <a:cubicBezTo>
                    <a:pt x="447" y="70"/>
                    <a:pt x="444" y="69"/>
                    <a:pt x="443" y="69"/>
                  </a:cubicBezTo>
                  <a:cubicBezTo>
                    <a:pt x="443" y="71"/>
                    <a:pt x="445" y="70"/>
                    <a:pt x="446" y="71"/>
                  </a:cubicBezTo>
                  <a:cubicBezTo>
                    <a:pt x="447" y="73"/>
                    <a:pt x="444" y="72"/>
                    <a:pt x="442" y="72"/>
                  </a:cubicBezTo>
                  <a:cubicBezTo>
                    <a:pt x="440" y="73"/>
                    <a:pt x="438" y="72"/>
                    <a:pt x="437" y="73"/>
                  </a:cubicBezTo>
                  <a:cubicBezTo>
                    <a:pt x="436" y="74"/>
                    <a:pt x="436" y="75"/>
                    <a:pt x="435" y="76"/>
                  </a:cubicBezTo>
                  <a:cubicBezTo>
                    <a:pt x="435" y="76"/>
                    <a:pt x="434" y="76"/>
                    <a:pt x="434" y="77"/>
                  </a:cubicBezTo>
                  <a:cubicBezTo>
                    <a:pt x="433" y="78"/>
                    <a:pt x="433" y="80"/>
                    <a:pt x="434" y="82"/>
                  </a:cubicBezTo>
                  <a:cubicBezTo>
                    <a:pt x="434" y="82"/>
                    <a:pt x="434" y="83"/>
                    <a:pt x="435" y="83"/>
                  </a:cubicBezTo>
                  <a:cubicBezTo>
                    <a:pt x="435" y="82"/>
                    <a:pt x="435" y="81"/>
                    <a:pt x="436" y="80"/>
                  </a:cubicBezTo>
                  <a:cubicBezTo>
                    <a:pt x="436" y="79"/>
                    <a:pt x="438" y="79"/>
                    <a:pt x="438" y="80"/>
                  </a:cubicBezTo>
                  <a:cubicBezTo>
                    <a:pt x="438" y="80"/>
                    <a:pt x="439" y="81"/>
                    <a:pt x="439" y="81"/>
                  </a:cubicBezTo>
                  <a:cubicBezTo>
                    <a:pt x="440" y="81"/>
                    <a:pt x="440" y="81"/>
                    <a:pt x="440" y="81"/>
                  </a:cubicBezTo>
                  <a:cubicBezTo>
                    <a:pt x="441" y="82"/>
                    <a:pt x="442" y="83"/>
                    <a:pt x="444" y="83"/>
                  </a:cubicBezTo>
                  <a:cubicBezTo>
                    <a:pt x="445" y="84"/>
                    <a:pt x="446" y="84"/>
                    <a:pt x="447" y="85"/>
                  </a:cubicBezTo>
                  <a:cubicBezTo>
                    <a:pt x="447" y="85"/>
                    <a:pt x="447" y="86"/>
                    <a:pt x="448" y="86"/>
                  </a:cubicBezTo>
                  <a:cubicBezTo>
                    <a:pt x="448" y="87"/>
                    <a:pt x="449" y="86"/>
                    <a:pt x="449" y="86"/>
                  </a:cubicBezTo>
                  <a:cubicBezTo>
                    <a:pt x="450" y="86"/>
                    <a:pt x="451" y="86"/>
                    <a:pt x="451" y="86"/>
                  </a:cubicBezTo>
                  <a:cubicBezTo>
                    <a:pt x="451" y="86"/>
                    <a:pt x="451" y="87"/>
                    <a:pt x="451" y="88"/>
                  </a:cubicBezTo>
                  <a:cubicBezTo>
                    <a:pt x="450" y="88"/>
                    <a:pt x="450" y="89"/>
                    <a:pt x="451" y="90"/>
                  </a:cubicBezTo>
                  <a:cubicBezTo>
                    <a:pt x="451" y="90"/>
                    <a:pt x="451" y="90"/>
                    <a:pt x="451" y="90"/>
                  </a:cubicBezTo>
                  <a:cubicBezTo>
                    <a:pt x="452" y="90"/>
                    <a:pt x="453" y="90"/>
                    <a:pt x="454" y="91"/>
                  </a:cubicBezTo>
                  <a:cubicBezTo>
                    <a:pt x="455" y="92"/>
                    <a:pt x="455" y="93"/>
                    <a:pt x="457" y="94"/>
                  </a:cubicBezTo>
                  <a:cubicBezTo>
                    <a:pt x="458" y="94"/>
                    <a:pt x="459" y="95"/>
                    <a:pt x="460" y="95"/>
                  </a:cubicBezTo>
                  <a:cubicBezTo>
                    <a:pt x="461" y="96"/>
                    <a:pt x="462" y="97"/>
                    <a:pt x="463" y="97"/>
                  </a:cubicBezTo>
                  <a:cubicBezTo>
                    <a:pt x="464" y="98"/>
                    <a:pt x="466" y="98"/>
                    <a:pt x="467" y="99"/>
                  </a:cubicBezTo>
                  <a:cubicBezTo>
                    <a:pt x="468" y="99"/>
                    <a:pt x="468" y="100"/>
                    <a:pt x="469" y="101"/>
                  </a:cubicBezTo>
                  <a:cubicBezTo>
                    <a:pt x="470" y="101"/>
                    <a:pt x="471" y="101"/>
                    <a:pt x="472" y="100"/>
                  </a:cubicBezTo>
                  <a:cubicBezTo>
                    <a:pt x="472" y="99"/>
                    <a:pt x="471" y="98"/>
                    <a:pt x="472" y="97"/>
                  </a:cubicBezTo>
                  <a:cubicBezTo>
                    <a:pt x="473" y="97"/>
                    <a:pt x="473" y="96"/>
                    <a:pt x="473" y="95"/>
                  </a:cubicBezTo>
                  <a:cubicBezTo>
                    <a:pt x="474" y="94"/>
                    <a:pt x="473" y="93"/>
                    <a:pt x="473" y="92"/>
                  </a:cubicBezTo>
                  <a:cubicBezTo>
                    <a:pt x="472" y="91"/>
                    <a:pt x="473" y="90"/>
                    <a:pt x="473" y="89"/>
                  </a:cubicBezTo>
                  <a:cubicBezTo>
                    <a:pt x="474" y="88"/>
                    <a:pt x="473" y="86"/>
                    <a:pt x="474" y="85"/>
                  </a:cubicBezTo>
                  <a:cubicBezTo>
                    <a:pt x="475" y="85"/>
                    <a:pt x="476" y="85"/>
                    <a:pt x="476" y="85"/>
                  </a:cubicBezTo>
                  <a:cubicBezTo>
                    <a:pt x="477" y="86"/>
                    <a:pt x="476" y="87"/>
                    <a:pt x="477" y="88"/>
                  </a:cubicBezTo>
                  <a:cubicBezTo>
                    <a:pt x="477" y="88"/>
                    <a:pt x="477" y="89"/>
                    <a:pt x="478" y="89"/>
                  </a:cubicBezTo>
                  <a:cubicBezTo>
                    <a:pt x="479" y="90"/>
                    <a:pt x="480" y="89"/>
                    <a:pt x="481" y="89"/>
                  </a:cubicBezTo>
                  <a:cubicBezTo>
                    <a:pt x="482" y="90"/>
                    <a:pt x="483" y="92"/>
                    <a:pt x="484" y="92"/>
                  </a:cubicBezTo>
                  <a:cubicBezTo>
                    <a:pt x="486" y="93"/>
                    <a:pt x="488" y="93"/>
                    <a:pt x="490" y="92"/>
                  </a:cubicBezTo>
                  <a:cubicBezTo>
                    <a:pt x="491" y="91"/>
                    <a:pt x="492" y="90"/>
                    <a:pt x="493" y="89"/>
                  </a:cubicBezTo>
                  <a:cubicBezTo>
                    <a:pt x="493" y="89"/>
                    <a:pt x="494" y="88"/>
                    <a:pt x="494" y="88"/>
                  </a:cubicBezTo>
                  <a:cubicBezTo>
                    <a:pt x="496" y="88"/>
                    <a:pt x="497" y="88"/>
                    <a:pt x="499" y="88"/>
                  </a:cubicBezTo>
                  <a:cubicBezTo>
                    <a:pt x="500" y="89"/>
                    <a:pt x="501" y="89"/>
                    <a:pt x="501" y="89"/>
                  </a:cubicBezTo>
                  <a:cubicBezTo>
                    <a:pt x="503" y="90"/>
                    <a:pt x="504" y="89"/>
                    <a:pt x="506" y="90"/>
                  </a:cubicBezTo>
                  <a:cubicBezTo>
                    <a:pt x="507" y="92"/>
                    <a:pt x="509" y="92"/>
                    <a:pt x="511" y="93"/>
                  </a:cubicBezTo>
                  <a:cubicBezTo>
                    <a:pt x="512" y="95"/>
                    <a:pt x="514" y="95"/>
                    <a:pt x="516" y="95"/>
                  </a:cubicBezTo>
                  <a:cubicBezTo>
                    <a:pt x="517" y="95"/>
                    <a:pt x="517" y="94"/>
                    <a:pt x="516" y="93"/>
                  </a:cubicBezTo>
                  <a:cubicBezTo>
                    <a:pt x="516" y="93"/>
                    <a:pt x="515" y="92"/>
                    <a:pt x="515" y="91"/>
                  </a:cubicBezTo>
                  <a:cubicBezTo>
                    <a:pt x="513" y="91"/>
                    <a:pt x="512" y="91"/>
                    <a:pt x="511" y="90"/>
                  </a:cubicBezTo>
                  <a:cubicBezTo>
                    <a:pt x="511" y="90"/>
                    <a:pt x="511" y="90"/>
                    <a:pt x="512" y="90"/>
                  </a:cubicBezTo>
                  <a:cubicBezTo>
                    <a:pt x="514" y="89"/>
                    <a:pt x="516" y="89"/>
                    <a:pt x="518" y="89"/>
                  </a:cubicBezTo>
                  <a:cubicBezTo>
                    <a:pt x="518" y="89"/>
                    <a:pt x="518" y="89"/>
                    <a:pt x="519" y="89"/>
                  </a:cubicBezTo>
                  <a:cubicBezTo>
                    <a:pt x="519" y="89"/>
                    <a:pt x="519" y="89"/>
                    <a:pt x="519" y="90"/>
                  </a:cubicBezTo>
                  <a:cubicBezTo>
                    <a:pt x="520" y="91"/>
                    <a:pt x="521" y="93"/>
                    <a:pt x="523" y="92"/>
                  </a:cubicBezTo>
                  <a:cubicBezTo>
                    <a:pt x="524" y="91"/>
                    <a:pt x="526" y="91"/>
                    <a:pt x="527" y="91"/>
                  </a:cubicBezTo>
                  <a:cubicBezTo>
                    <a:pt x="527" y="91"/>
                    <a:pt x="528" y="90"/>
                    <a:pt x="527" y="90"/>
                  </a:cubicBezTo>
                  <a:cubicBezTo>
                    <a:pt x="527" y="89"/>
                    <a:pt x="526" y="89"/>
                    <a:pt x="526" y="89"/>
                  </a:cubicBezTo>
                  <a:cubicBezTo>
                    <a:pt x="526" y="88"/>
                    <a:pt x="526" y="88"/>
                    <a:pt x="526" y="88"/>
                  </a:cubicBezTo>
                  <a:cubicBezTo>
                    <a:pt x="525" y="87"/>
                    <a:pt x="524" y="86"/>
                    <a:pt x="524" y="85"/>
                  </a:cubicBezTo>
                  <a:cubicBezTo>
                    <a:pt x="524" y="84"/>
                    <a:pt x="524" y="82"/>
                    <a:pt x="523" y="82"/>
                  </a:cubicBezTo>
                  <a:cubicBezTo>
                    <a:pt x="522" y="81"/>
                    <a:pt x="521" y="82"/>
                    <a:pt x="520" y="81"/>
                  </a:cubicBezTo>
                  <a:cubicBezTo>
                    <a:pt x="520" y="80"/>
                    <a:pt x="519" y="79"/>
                    <a:pt x="520" y="78"/>
                  </a:cubicBezTo>
                  <a:cubicBezTo>
                    <a:pt x="520" y="77"/>
                    <a:pt x="521" y="76"/>
                    <a:pt x="523" y="76"/>
                  </a:cubicBezTo>
                  <a:cubicBezTo>
                    <a:pt x="525" y="75"/>
                    <a:pt x="527" y="76"/>
                    <a:pt x="529" y="75"/>
                  </a:cubicBezTo>
                  <a:cubicBezTo>
                    <a:pt x="530" y="73"/>
                    <a:pt x="528" y="72"/>
                    <a:pt x="527" y="71"/>
                  </a:cubicBezTo>
                  <a:cubicBezTo>
                    <a:pt x="527" y="70"/>
                    <a:pt x="527" y="70"/>
                    <a:pt x="527" y="70"/>
                  </a:cubicBezTo>
                  <a:cubicBezTo>
                    <a:pt x="529" y="69"/>
                    <a:pt x="531" y="71"/>
                    <a:pt x="533" y="72"/>
                  </a:cubicBezTo>
                  <a:cubicBezTo>
                    <a:pt x="534" y="73"/>
                    <a:pt x="536" y="72"/>
                    <a:pt x="536" y="73"/>
                  </a:cubicBezTo>
                  <a:cubicBezTo>
                    <a:pt x="537" y="73"/>
                    <a:pt x="538" y="73"/>
                    <a:pt x="539" y="73"/>
                  </a:cubicBezTo>
                  <a:cubicBezTo>
                    <a:pt x="541" y="74"/>
                    <a:pt x="543" y="73"/>
                    <a:pt x="546" y="74"/>
                  </a:cubicBezTo>
                  <a:cubicBezTo>
                    <a:pt x="547" y="74"/>
                    <a:pt x="548" y="75"/>
                    <a:pt x="549" y="75"/>
                  </a:cubicBezTo>
                  <a:cubicBezTo>
                    <a:pt x="551" y="75"/>
                    <a:pt x="553" y="75"/>
                    <a:pt x="555" y="75"/>
                  </a:cubicBezTo>
                  <a:cubicBezTo>
                    <a:pt x="556" y="78"/>
                    <a:pt x="554" y="79"/>
                    <a:pt x="552" y="81"/>
                  </a:cubicBezTo>
                  <a:cubicBezTo>
                    <a:pt x="551" y="81"/>
                    <a:pt x="551" y="82"/>
                    <a:pt x="552" y="83"/>
                  </a:cubicBezTo>
                  <a:cubicBezTo>
                    <a:pt x="552" y="83"/>
                    <a:pt x="553" y="83"/>
                    <a:pt x="554" y="82"/>
                  </a:cubicBezTo>
                  <a:cubicBezTo>
                    <a:pt x="555" y="82"/>
                    <a:pt x="555" y="81"/>
                    <a:pt x="556" y="81"/>
                  </a:cubicBezTo>
                  <a:cubicBezTo>
                    <a:pt x="558" y="80"/>
                    <a:pt x="561" y="81"/>
                    <a:pt x="563" y="80"/>
                  </a:cubicBezTo>
                  <a:cubicBezTo>
                    <a:pt x="564" y="82"/>
                    <a:pt x="564" y="83"/>
                    <a:pt x="563" y="84"/>
                  </a:cubicBezTo>
                  <a:cubicBezTo>
                    <a:pt x="563" y="85"/>
                    <a:pt x="561" y="85"/>
                    <a:pt x="561" y="86"/>
                  </a:cubicBezTo>
                  <a:cubicBezTo>
                    <a:pt x="561" y="87"/>
                    <a:pt x="560" y="89"/>
                    <a:pt x="561" y="89"/>
                  </a:cubicBezTo>
                  <a:cubicBezTo>
                    <a:pt x="563" y="90"/>
                    <a:pt x="564" y="90"/>
                    <a:pt x="566" y="89"/>
                  </a:cubicBezTo>
                  <a:cubicBezTo>
                    <a:pt x="568" y="89"/>
                    <a:pt x="569" y="87"/>
                    <a:pt x="570" y="86"/>
                  </a:cubicBezTo>
                  <a:cubicBezTo>
                    <a:pt x="571" y="84"/>
                    <a:pt x="570" y="83"/>
                    <a:pt x="571" y="81"/>
                  </a:cubicBezTo>
                  <a:cubicBezTo>
                    <a:pt x="571" y="81"/>
                    <a:pt x="571" y="80"/>
                    <a:pt x="572" y="80"/>
                  </a:cubicBezTo>
                  <a:cubicBezTo>
                    <a:pt x="573" y="79"/>
                    <a:pt x="574" y="80"/>
                    <a:pt x="576" y="80"/>
                  </a:cubicBezTo>
                  <a:cubicBezTo>
                    <a:pt x="579" y="80"/>
                    <a:pt x="581" y="79"/>
                    <a:pt x="584" y="80"/>
                  </a:cubicBezTo>
                  <a:cubicBezTo>
                    <a:pt x="585" y="80"/>
                    <a:pt x="586" y="81"/>
                    <a:pt x="587" y="81"/>
                  </a:cubicBezTo>
                  <a:cubicBezTo>
                    <a:pt x="589" y="81"/>
                    <a:pt x="591" y="81"/>
                    <a:pt x="592" y="82"/>
                  </a:cubicBezTo>
                  <a:cubicBezTo>
                    <a:pt x="593" y="83"/>
                    <a:pt x="594" y="85"/>
                    <a:pt x="593" y="85"/>
                  </a:cubicBezTo>
                  <a:cubicBezTo>
                    <a:pt x="592" y="86"/>
                    <a:pt x="589" y="85"/>
                    <a:pt x="588" y="86"/>
                  </a:cubicBezTo>
                  <a:cubicBezTo>
                    <a:pt x="588" y="86"/>
                    <a:pt x="588" y="87"/>
                    <a:pt x="588" y="87"/>
                  </a:cubicBezTo>
                  <a:cubicBezTo>
                    <a:pt x="589" y="87"/>
                    <a:pt x="591" y="88"/>
                    <a:pt x="592" y="89"/>
                  </a:cubicBezTo>
                  <a:cubicBezTo>
                    <a:pt x="594" y="89"/>
                    <a:pt x="597" y="89"/>
                    <a:pt x="599" y="90"/>
                  </a:cubicBezTo>
                  <a:cubicBezTo>
                    <a:pt x="599" y="91"/>
                    <a:pt x="600" y="91"/>
                    <a:pt x="601" y="91"/>
                  </a:cubicBezTo>
                  <a:cubicBezTo>
                    <a:pt x="602" y="90"/>
                    <a:pt x="603" y="90"/>
                    <a:pt x="603" y="89"/>
                  </a:cubicBezTo>
                  <a:cubicBezTo>
                    <a:pt x="604" y="89"/>
                    <a:pt x="605" y="90"/>
                    <a:pt x="606" y="90"/>
                  </a:cubicBezTo>
                  <a:cubicBezTo>
                    <a:pt x="607" y="90"/>
                    <a:pt x="609" y="90"/>
                    <a:pt x="610" y="90"/>
                  </a:cubicBezTo>
                  <a:cubicBezTo>
                    <a:pt x="611" y="91"/>
                    <a:pt x="613" y="92"/>
                    <a:pt x="613" y="94"/>
                  </a:cubicBezTo>
                  <a:cubicBezTo>
                    <a:pt x="614" y="95"/>
                    <a:pt x="613" y="97"/>
                    <a:pt x="614" y="99"/>
                  </a:cubicBezTo>
                  <a:cubicBezTo>
                    <a:pt x="615" y="100"/>
                    <a:pt x="617" y="101"/>
                    <a:pt x="619" y="100"/>
                  </a:cubicBezTo>
                  <a:cubicBezTo>
                    <a:pt x="619" y="100"/>
                    <a:pt x="620" y="99"/>
                    <a:pt x="620" y="99"/>
                  </a:cubicBezTo>
                  <a:cubicBezTo>
                    <a:pt x="621" y="99"/>
                    <a:pt x="623" y="99"/>
                    <a:pt x="624" y="99"/>
                  </a:cubicBezTo>
                  <a:cubicBezTo>
                    <a:pt x="624" y="99"/>
                    <a:pt x="624" y="99"/>
                    <a:pt x="624" y="99"/>
                  </a:cubicBezTo>
                  <a:cubicBezTo>
                    <a:pt x="625" y="99"/>
                    <a:pt x="625" y="99"/>
                    <a:pt x="626" y="99"/>
                  </a:cubicBezTo>
                  <a:cubicBezTo>
                    <a:pt x="628" y="99"/>
                    <a:pt x="629" y="99"/>
                    <a:pt x="630" y="99"/>
                  </a:cubicBezTo>
                  <a:cubicBezTo>
                    <a:pt x="631" y="99"/>
                    <a:pt x="632" y="98"/>
                    <a:pt x="632" y="97"/>
                  </a:cubicBezTo>
                  <a:cubicBezTo>
                    <a:pt x="634" y="97"/>
                    <a:pt x="636" y="97"/>
                    <a:pt x="638" y="97"/>
                  </a:cubicBezTo>
                  <a:cubicBezTo>
                    <a:pt x="640" y="98"/>
                    <a:pt x="642" y="98"/>
                    <a:pt x="643" y="98"/>
                  </a:cubicBezTo>
                  <a:cubicBezTo>
                    <a:pt x="648" y="97"/>
                    <a:pt x="652" y="97"/>
                    <a:pt x="657" y="97"/>
                  </a:cubicBezTo>
                  <a:cubicBezTo>
                    <a:pt x="658" y="97"/>
                    <a:pt x="660" y="98"/>
                    <a:pt x="661" y="98"/>
                  </a:cubicBezTo>
                  <a:cubicBezTo>
                    <a:pt x="662" y="98"/>
                    <a:pt x="663" y="99"/>
                    <a:pt x="664" y="99"/>
                  </a:cubicBezTo>
                  <a:cubicBezTo>
                    <a:pt x="666" y="101"/>
                    <a:pt x="667" y="102"/>
                    <a:pt x="669" y="103"/>
                  </a:cubicBezTo>
                  <a:cubicBezTo>
                    <a:pt x="669" y="103"/>
                    <a:pt x="669" y="103"/>
                    <a:pt x="669" y="103"/>
                  </a:cubicBezTo>
                  <a:cubicBezTo>
                    <a:pt x="670" y="104"/>
                    <a:pt x="672" y="104"/>
                    <a:pt x="672" y="106"/>
                  </a:cubicBezTo>
                  <a:cubicBezTo>
                    <a:pt x="673" y="107"/>
                    <a:pt x="673" y="110"/>
                    <a:pt x="672" y="112"/>
                  </a:cubicBezTo>
                  <a:cubicBezTo>
                    <a:pt x="672" y="113"/>
                    <a:pt x="671" y="114"/>
                    <a:pt x="673" y="114"/>
                  </a:cubicBezTo>
                  <a:cubicBezTo>
                    <a:pt x="674" y="115"/>
                    <a:pt x="675" y="115"/>
                    <a:pt x="676" y="116"/>
                  </a:cubicBezTo>
                  <a:cubicBezTo>
                    <a:pt x="676" y="116"/>
                    <a:pt x="676" y="116"/>
                    <a:pt x="677" y="116"/>
                  </a:cubicBezTo>
                  <a:cubicBezTo>
                    <a:pt x="677" y="116"/>
                    <a:pt x="678" y="116"/>
                    <a:pt x="678" y="117"/>
                  </a:cubicBezTo>
                  <a:cubicBezTo>
                    <a:pt x="679" y="118"/>
                    <a:pt x="680" y="119"/>
                    <a:pt x="680" y="121"/>
                  </a:cubicBezTo>
                  <a:cubicBezTo>
                    <a:pt x="681" y="121"/>
                    <a:pt x="681" y="121"/>
                    <a:pt x="681" y="121"/>
                  </a:cubicBezTo>
                  <a:cubicBezTo>
                    <a:pt x="684" y="121"/>
                    <a:pt x="686" y="124"/>
                    <a:pt x="688" y="126"/>
                  </a:cubicBezTo>
                  <a:cubicBezTo>
                    <a:pt x="688" y="126"/>
                    <a:pt x="689" y="126"/>
                    <a:pt x="689" y="126"/>
                  </a:cubicBezTo>
                  <a:cubicBezTo>
                    <a:pt x="689" y="126"/>
                    <a:pt x="689" y="125"/>
                    <a:pt x="689" y="125"/>
                  </a:cubicBezTo>
                  <a:cubicBezTo>
                    <a:pt x="688" y="123"/>
                    <a:pt x="687" y="122"/>
                    <a:pt x="686" y="121"/>
                  </a:cubicBezTo>
                  <a:cubicBezTo>
                    <a:pt x="685" y="120"/>
                    <a:pt x="686" y="120"/>
                    <a:pt x="686" y="119"/>
                  </a:cubicBezTo>
                  <a:cubicBezTo>
                    <a:pt x="686" y="118"/>
                    <a:pt x="687" y="119"/>
                    <a:pt x="688" y="118"/>
                  </a:cubicBezTo>
                  <a:cubicBezTo>
                    <a:pt x="689" y="118"/>
                    <a:pt x="688" y="116"/>
                    <a:pt x="689" y="116"/>
                  </a:cubicBezTo>
                  <a:cubicBezTo>
                    <a:pt x="690" y="114"/>
                    <a:pt x="692" y="115"/>
                    <a:pt x="694" y="115"/>
                  </a:cubicBezTo>
                  <a:cubicBezTo>
                    <a:pt x="696" y="114"/>
                    <a:pt x="698" y="115"/>
                    <a:pt x="700" y="114"/>
                  </a:cubicBezTo>
                  <a:cubicBezTo>
                    <a:pt x="700" y="114"/>
                    <a:pt x="701" y="114"/>
                    <a:pt x="701" y="114"/>
                  </a:cubicBezTo>
                  <a:cubicBezTo>
                    <a:pt x="701" y="113"/>
                    <a:pt x="701" y="113"/>
                    <a:pt x="701" y="112"/>
                  </a:cubicBezTo>
                  <a:cubicBezTo>
                    <a:pt x="701" y="112"/>
                    <a:pt x="702" y="112"/>
                    <a:pt x="702" y="112"/>
                  </a:cubicBezTo>
                  <a:cubicBezTo>
                    <a:pt x="704" y="114"/>
                    <a:pt x="705" y="116"/>
                    <a:pt x="708" y="115"/>
                  </a:cubicBezTo>
                  <a:cubicBezTo>
                    <a:pt x="708" y="115"/>
                    <a:pt x="710" y="114"/>
                    <a:pt x="710" y="115"/>
                  </a:cubicBezTo>
                  <a:cubicBezTo>
                    <a:pt x="714" y="117"/>
                    <a:pt x="718" y="118"/>
                    <a:pt x="722" y="117"/>
                  </a:cubicBezTo>
                  <a:cubicBezTo>
                    <a:pt x="723" y="117"/>
                    <a:pt x="725" y="117"/>
                    <a:pt x="725" y="116"/>
                  </a:cubicBezTo>
                  <a:cubicBezTo>
                    <a:pt x="726" y="115"/>
                    <a:pt x="726" y="115"/>
                    <a:pt x="726" y="114"/>
                  </a:cubicBezTo>
                  <a:cubicBezTo>
                    <a:pt x="728" y="113"/>
                    <a:pt x="729" y="115"/>
                    <a:pt x="730" y="116"/>
                  </a:cubicBezTo>
                  <a:cubicBezTo>
                    <a:pt x="731" y="117"/>
                    <a:pt x="733" y="118"/>
                    <a:pt x="733" y="120"/>
                  </a:cubicBezTo>
                  <a:cubicBezTo>
                    <a:pt x="733" y="121"/>
                    <a:pt x="734" y="121"/>
                    <a:pt x="734" y="121"/>
                  </a:cubicBezTo>
                  <a:cubicBezTo>
                    <a:pt x="736" y="122"/>
                    <a:pt x="739" y="121"/>
                    <a:pt x="741" y="122"/>
                  </a:cubicBezTo>
                  <a:cubicBezTo>
                    <a:pt x="742" y="122"/>
                    <a:pt x="743" y="122"/>
                    <a:pt x="743" y="123"/>
                  </a:cubicBezTo>
                  <a:cubicBezTo>
                    <a:pt x="744" y="124"/>
                    <a:pt x="745" y="126"/>
                    <a:pt x="746" y="126"/>
                  </a:cubicBezTo>
                  <a:cubicBezTo>
                    <a:pt x="748" y="127"/>
                    <a:pt x="750" y="127"/>
                    <a:pt x="752" y="127"/>
                  </a:cubicBezTo>
                  <a:cubicBezTo>
                    <a:pt x="753" y="126"/>
                    <a:pt x="754" y="125"/>
                    <a:pt x="754" y="125"/>
                  </a:cubicBezTo>
                  <a:cubicBezTo>
                    <a:pt x="756" y="124"/>
                    <a:pt x="754" y="122"/>
                    <a:pt x="753" y="121"/>
                  </a:cubicBezTo>
                  <a:cubicBezTo>
                    <a:pt x="751" y="120"/>
                    <a:pt x="750" y="118"/>
                    <a:pt x="748" y="117"/>
                  </a:cubicBezTo>
                  <a:cubicBezTo>
                    <a:pt x="747" y="117"/>
                    <a:pt x="746" y="115"/>
                    <a:pt x="747" y="114"/>
                  </a:cubicBezTo>
                  <a:cubicBezTo>
                    <a:pt x="747" y="114"/>
                    <a:pt x="747" y="114"/>
                    <a:pt x="747" y="114"/>
                  </a:cubicBezTo>
                  <a:cubicBezTo>
                    <a:pt x="747" y="113"/>
                    <a:pt x="747" y="112"/>
                    <a:pt x="747" y="112"/>
                  </a:cubicBezTo>
                  <a:cubicBezTo>
                    <a:pt x="747" y="111"/>
                    <a:pt x="746" y="111"/>
                    <a:pt x="746" y="111"/>
                  </a:cubicBezTo>
                  <a:cubicBezTo>
                    <a:pt x="746" y="110"/>
                    <a:pt x="746" y="110"/>
                    <a:pt x="746" y="110"/>
                  </a:cubicBezTo>
                  <a:cubicBezTo>
                    <a:pt x="745" y="110"/>
                    <a:pt x="745" y="109"/>
                    <a:pt x="745" y="109"/>
                  </a:cubicBezTo>
                  <a:cubicBezTo>
                    <a:pt x="745" y="109"/>
                    <a:pt x="745" y="108"/>
                    <a:pt x="745" y="108"/>
                  </a:cubicBezTo>
                  <a:cubicBezTo>
                    <a:pt x="746" y="108"/>
                    <a:pt x="747" y="108"/>
                    <a:pt x="748" y="109"/>
                  </a:cubicBezTo>
                  <a:cubicBezTo>
                    <a:pt x="750" y="109"/>
                    <a:pt x="751" y="110"/>
                    <a:pt x="753" y="111"/>
                  </a:cubicBezTo>
                  <a:cubicBezTo>
                    <a:pt x="754" y="112"/>
                    <a:pt x="754" y="112"/>
                    <a:pt x="755" y="112"/>
                  </a:cubicBezTo>
                  <a:cubicBezTo>
                    <a:pt x="757" y="112"/>
                    <a:pt x="758" y="112"/>
                    <a:pt x="760" y="112"/>
                  </a:cubicBezTo>
                  <a:cubicBezTo>
                    <a:pt x="761" y="112"/>
                    <a:pt x="762" y="112"/>
                    <a:pt x="763" y="113"/>
                  </a:cubicBezTo>
                  <a:cubicBezTo>
                    <a:pt x="765" y="113"/>
                    <a:pt x="768" y="113"/>
                    <a:pt x="770" y="112"/>
                  </a:cubicBezTo>
                  <a:cubicBezTo>
                    <a:pt x="771" y="112"/>
                    <a:pt x="771" y="112"/>
                    <a:pt x="771" y="112"/>
                  </a:cubicBezTo>
                  <a:cubicBezTo>
                    <a:pt x="773" y="112"/>
                    <a:pt x="775" y="112"/>
                    <a:pt x="776" y="112"/>
                  </a:cubicBezTo>
                  <a:cubicBezTo>
                    <a:pt x="779" y="113"/>
                    <a:pt x="781" y="111"/>
                    <a:pt x="783" y="112"/>
                  </a:cubicBezTo>
                  <a:cubicBezTo>
                    <a:pt x="784" y="112"/>
                    <a:pt x="785" y="113"/>
                    <a:pt x="785" y="113"/>
                  </a:cubicBezTo>
                  <a:cubicBezTo>
                    <a:pt x="787" y="114"/>
                    <a:pt x="790" y="114"/>
                    <a:pt x="792" y="114"/>
                  </a:cubicBezTo>
                  <a:cubicBezTo>
                    <a:pt x="794" y="115"/>
                    <a:pt x="796" y="114"/>
                    <a:pt x="798" y="115"/>
                  </a:cubicBezTo>
                  <a:cubicBezTo>
                    <a:pt x="799" y="116"/>
                    <a:pt x="799" y="118"/>
                    <a:pt x="801" y="118"/>
                  </a:cubicBezTo>
                  <a:cubicBezTo>
                    <a:pt x="802" y="118"/>
                    <a:pt x="803" y="118"/>
                    <a:pt x="804" y="119"/>
                  </a:cubicBezTo>
                  <a:cubicBezTo>
                    <a:pt x="808" y="120"/>
                    <a:pt x="812" y="123"/>
                    <a:pt x="817" y="124"/>
                  </a:cubicBezTo>
                  <a:cubicBezTo>
                    <a:pt x="818" y="124"/>
                    <a:pt x="818" y="125"/>
                    <a:pt x="819" y="126"/>
                  </a:cubicBezTo>
                  <a:cubicBezTo>
                    <a:pt x="821" y="126"/>
                    <a:pt x="823" y="126"/>
                    <a:pt x="825" y="127"/>
                  </a:cubicBezTo>
                  <a:cubicBezTo>
                    <a:pt x="827" y="128"/>
                    <a:pt x="828" y="130"/>
                    <a:pt x="830" y="131"/>
                  </a:cubicBezTo>
                  <a:cubicBezTo>
                    <a:pt x="831" y="132"/>
                    <a:pt x="833" y="131"/>
                    <a:pt x="834" y="132"/>
                  </a:cubicBezTo>
                  <a:cubicBezTo>
                    <a:pt x="834" y="132"/>
                    <a:pt x="835" y="132"/>
                    <a:pt x="835" y="132"/>
                  </a:cubicBezTo>
                  <a:cubicBezTo>
                    <a:pt x="837" y="133"/>
                    <a:pt x="840" y="131"/>
                    <a:pt x="841" y="134"/>
                  </a:cubicBezTo>
                  <a:cubicBezTo>
                    <a:pt x="841" y="134"/>
                    <a:pt x="840" y="135"/>
                    <a:pt x="841" y="136"/>
                  </a:cubicBezTo>
                  <a:cubicBezTo>
                    <a:pt x="841" y="136"/>
                    <a:pt x="841" y="136"/>
                    <a:pt x="842" y="136"/>
                  </a:cubicBezTo>
                  <a:cubicBezTo>
                    <a:pt x="842" y="135"/>
                    <a:pt x="842" y="135"/>
                    <a:pt x="842" y="134"/>
                  </a:cubicBezTo>
                  <a:cubicBezTo>
                    <a:pt x="842" y="134"/>
                    <a:pt x="843" y="134"/>
                    <a:pt x="844" y="134"/>
                  </a:cubicBezTo>
                  <a:cubicBezTo>
                    <a:pt x="845" y="135"/>
                    <a:pt x="845" y="136"/>
                    <a:pt x="845" y="137"/>
                  </a:cubicBezTo>
                  <a:cubicBezTo>
                    <a:pt x="846" y="137"/>
                    <a:pt x="847" y="138"/>
                    <a:pt x="847" y="138"/>
                  </a:cubicBezTo>
                  <a:cubicBezTo>
                    <a:pt x="847" y="139"/>
                    <a:pt x="847" y="139"/>
                    <a:pt x="848" y="139"/>
                  </a:cubicBezTo>
                  <a:cubicBezTo>
                    <a:pt x="849" y="140"/>
                    <a:pt x="849" y="140"/>
                    <a:pt x="850" y="139"/>
                  </a:cubicBezTo>
                  <a:cubicBezTo>
                    <a:pt x="850" y="139"/>
                    <a:pt x="850" y="138"/>
                    <a:pt x="850" y="138"/>
                  </a:cubicBezTo>
                  <a:cubicBezTo>
                    <a:pt x="850" y="138"/>
                    <a:pt x="851" y="138"/>
                    <a:pt x="851" y="138"/>
                  </a:cubicBezTo>
                  <a:cubicBezTo>
                    <a:pt x="852" y="139"/>
                    <a:pt x="852" y="141"/>
                    <a:pt x="854" y="140"/>
                  </a:cubicBezTo>
                  <a:cubicBezTo>
                    <a:pt x="855" y="140"/>
                    <a:pt x="856" y="139"/>
                    <a:pt x="856" y="140"/>
                  </a:cubicBezTo>
                  <a:cubicBezTo>
                    <a:pt x="857" y="140"/>
                    <a:pt x="857" y="141"/>
                    <a:pt x="858" y="141"/>
                  </a:cubicBezTo>
                  <a:cubicBezTo>
                    <a:pt x="861" y="144"/>
                    <a:pt x="863" y="148"/>
                    <a:pt x="865" y="152"/>
                  </a:cubicBezTo>
                  <a:cubicBezTo>
                    <a:pt x="865" y="152"/>
                    <a:pt x="866" y="153"/>
                    <a:pt x="866" y="154"/>
                  </a:cubicBezTo>
                  <a:cubicBezTo>
                    <a:pt x="867" y="155"/>
                    <a:pt x="866" y="156"/>
                    <a:pt x="867" y="157"/>
                  </a:cubicBezTo>
                  <a:cubicBezTo>
                    <a:pt x="868" y="158"/>
                    <a:pt x="870" y="157"/>
                    <a:pt x="871" y="158"/>
                  </a:cubicBezTo>
                  <a:cubicBezTo>
                    <a:pt x="871" y="158"/>
                    <a:pt x="871" y="160"/>
                    <a:pt x="872" y="160"/>
                  </a:cubicBezTo>
                  <a:cubicBezTo>
                    <a:pt x="873" y="161"/>
                    <a:pt x="873" y="160"/>
                    <a:pt x="873" y="160"/>
                  </a:cubicBezTo>
                  <a:cubicBezTo>
                    <a:pt x="874" y="159"/>
                    <a:pt x="874" y="159"/>
                    <a:pt x="875" y="160"/>
                  </a:cubicBezTo>
                  <a:cubicBezTo>
                    <a:pt x="875" y="160"/>
                    <a:pt x="876" y="160"/>
                    <a:pt x="876" y="160"/>
                  </a:cubicBezTo>
                  <a:cubicBezTo>
                    <a:pt x="876" y="160"/>
                    <a:pt x="876" y="159"/>
                    <a:pt x="876" y="159"/>
                  </a:cubicBezTo>
                  <a:cubicBezTo>
                    <a:pt x="875" y="158"/>
                    <a:pt x="874" y="157"/>
                    <a:pt x="874" y="156"/>
                  </a:cubicBezTo>
                  <a:cubicBezTo>
                    <a:pt x="873" y="155"/>
                    <a:pt x="872" y="153"/>
                    <a:pt x="871" y="152"/>
                  </a:cubicBezTo>
                  <a:cubicBezTo>
                    <a:pt x="871" y="152"/>
                    <a:pt x="870" y="151"/>
                    <a:pt x="870" y="151"/>
                  </a:cubicBezTo>
                  <a:cubicBezTo>
                    <a:pt x="870" y="151"/>
                    <a:pt x="870" y="150"/>
                    <a:pt x="870" y="150"/>
                  </a:cubicBezTo>
                  <a:cubicBezTo>
                    <a:pt x="872" y="150"/>
                    <a:pt x="874" y="149"/>
                    <a:pt x="876" y="150"/>
                  </a:cubicBezTo>
                  <a:cubicBezTo>
                    <a:pt x="877" y="151"/>
                    <a:pt x="877" y="154"/>
                    <a:pt x="879" y="153"/>
                  </a:cubicBezTo>
                  <a:cubicBezTo>
                    <a:pt x="879" y="153"/>
                    <a:pt x="879" y="153"/>
                    <a:pt x="879" y="153"/>
                  </a:cubicBezTo>
                  <a:cubicBezTo>
                    <a:pt x="882" y="152"/>
                    <a:pt x="884" y="150"/>
                    <a:pt x="886" y="151"/>
                  </a:cubicBezTo>
                  <a:cubicBezTo>
                    <a:pt x="888" y="151"/>
                    <a:pt x="888" y="153"/>
                    <a:pt x="889" y="154"/>
                  </a:cubicBezTo>
                  <a:cubicBezTo>
                    <a:pt x="891" y="155"/>
                    <a:pt x="893" y="155"/>
                    <a:pt x="895" y="156"/>
                  </a:cubicBezTo>
                  <a:cubicBezTo>
                    <a:pt x="897" y="158"/>
                    <a:pt x="899" y="159"/>
                    <a:pt x="901" y="160"/>
                  </a:cubicBezTo>
                  <a:cubicBezTo>
                    <a:pt x="902" y="160"/>
                    <a:pt x="904" y="159"/>
                    <a:pt x="906" y="160"/>
                  </a:cubicBezTo>
                  <a:cubicBezTo>
                    <a:pt x="906" y="161"/>
                    <a:pt x="906" y="163"/>
                    <a:pt x="906" y="163"/>
                  </a:cubicBezTo>
                  <a:cubicBezTo>
                    <a:pt x="905" y="163"/>
                    <a:pt x="903" y="163"/>
                    <a:pt x="901" y="163"/>
                  </a:cubicBezTo>
                  <a:cubicBezTo>
                    <a:pt x="901" y="164"/>
                    <a:pt x="901" y="164"/>
                    <a:pt x="901" y="165"/>
                  </a:cubicBezTo>
                  <a:cubicBezTo>
                    <a:pt x="902" y="165"/>
                    <a:pt x="903" y="166"/>
                    <a:pt x="903" y="167"/>
                  </a:cubicBezTo>
                  <a:cubicBezTo>
                    <a:pt x="903" y="167"/>
                    <a:pt x="903" y="168"/>
                    <a:pt x="903" y="169"/>
                  </a:cubicBezTo>
                  <a:cubicBezTo>
                    <a:pt x="902" y="170"/>
                    <a:pt x="900" y="168"/>
                    <a:pt x="899" y="169"/>
                  </a:cubicBezTo>
                  <a:cubicBezTo>
                    <a:pt x="899" y="169"/>
                    <a:pt x="898" y="170"/>
                    <a:pt x="898" y="170"/>
                  </a:cubicBezTo>
                  <a:cubicBezTo>
                    <a:pt x="897" y="170"/>
                    <a:pt x="897" y="170"/>
                    <a:pt x="896" y="170"/>
                  </a:cubicBezTo>
                  <a:cubicBezTo>
                    <a:pt x="894" y="169"/>
                    <a:pt x="892" y="168"/>
                    <a:pt x="889" y="168"/>
                  </a:cubicBezTo>
                  <a:cubicBezTo>
                    <a:pt x="889" y="168"/>
                    <a:pt x="889" y="169"/>
                    <a:pt x="889" y="169"/>
                  </a:cubicBezTo>
                  <a:cubicBezTo>
                    <a:pt x="890" y="169"/>
                    <a:pt x="891" y="170"/>
                    <a:pt x="891" y="170"/>
                  </a:cubicBezTo>
                  <a:cubicBezTo>
                    <a:pt x="891" y="172"/>
                    <a:pt x="891" y="173"/>
                    <a:pt x="891" y="174"/>
                  </a:cubicBezTo>
                  <a:cubicBezTo>
                    <a:pt x="891" y="174"/>
                    <a:pt x="891" y="175"/>
                    <a:pt x="892" y="175"/>
                  </a:cubicBezTo>
                  <a:cubicBezTo>
                    <a:pt x="892" y="175"/>
                    <a:pt x="893" y="175"/>
                    <a:pt x="893" y="176"/>
                  </a:cubicBezTo>
                  <a:cubicBezTo>
                    <a:pt x="894" y="176"/>
                    <a:pt x="894" y="177"/>
                    <a:pt x="894" y="178"/>
                  </a:cubicBezTo>
                  <a:cubicBezTo>
                    <a:pt x="893" y="178"/>
                    <a:pt x="892" y="177"/>
                    <a:pt x="891" y="178"/>
                  </a:cubicBezTo>
                  <a:cubicBezTo>
                    <a:pt x="889" y="180"/>
                    <a:pt x="893" y="180"/>
                    <a:pt x="895" y="181"/>
                  </a:cubicBezTo>
                  <a:cubicBezTo>
                    <a:pt x="895" y="181"/>
                    <a:pt x="895" y="182"/>
                    <a:pt x="896" y="182"/>
                  </a:cubicBezTo>
                  <a:cubicBezTo>
                    <a:pt x="896" y="182"/>
                    <a:pt x="896" y="183"/>
                    <a:pt x="896" y="183"/>
                  </a:cubicBezTo>
                  <a:cubicBezTo>
                    <a:pt x="897" y="183"/>
                    <a:pt x="899" y="183"/>
                    <a:pt x="899" y="185"/>
                  </a:cubicBezTo>
                  <a:cubicBezTo>
                    <a:pt x="897" y="185"/>
                    <a:pt x="896" y="186"/>
                    <a:pt x="894" y="185"/>
                  </a:cubicBezTo>
                  <a:cubicBezTo>
                    <a:pt x="894" y="185"/>
                    <a:pt x="893" y="184"/>
                    <a:pt x="893" y="184"/>
                  </a:cubicBezTo>
                  <a:cubicBezTo>
                    <a:pt x="892" y="184"/>
                    <a:pt x="893" y="185"/>
                    <a:pt x="892" y="185"/>
                  </a:cubicBezTo>
                  <a:cubicBezTo>
                    <a:pt x="892" y="186"/>
                    <a:pt x="892" y="186"/>
                    <a:pt x="892" y="187"/>
                  </a:cubicBezTo>
                  <a:cubicBezTo>
                    <a:pt x="892" y="187"/>
                    <a:pt x="891" y="187"/>
                    <a:pt x="891" y="187"/>
                  </a:cubicBezTo>
                  <a:cubicBezTo>
                    <a:pt x="890" y="187"/>
                    <a:pt x="888" y="188"/>
                    <a:pt x="888" y="187"/>
                  </a:cubicBezTo>
                  <a:cubicBezTo>
                    <a:pt x="887" y="186"/>
                    <a:pt x="886" y="185"/>
                    <a:pt x="885" y="184"/>
                  </a:cubicBezTo>
                  <a:cubicBezTo>
                    <a:pt x="883" y="183"/>
                    <a:pt x="881" y="182"/>
                    <a:pt x="880" y="181"/>
                  </a:cubicBezTo>
                  <a:cubicBezTo>
                    <a:pt x="879" y="181"/>
                    <a:pt x="878" y="180"/>
                    <a:pt x="878" y="179"/>
                  </a:cubicBezTo>
                  <a:cubicBezTo>
                    <a:pt x="878" y="179"/>
                    <a:pt x="877" y="179"/>
                    <a:pt x="877" y="179"/>
                  </a:cubicBezTo>
                  <a:cubicBezTo>
                    <a:pt x="876" y="178"/>
                    <a:pt x="875" y="179"/>
                    <a:pt x="873" y="179"/>
                  </a:cubicBezTo>
                  <a:cubicBezTo>
                    <a:pt x="873" y="179"/>
                    <a:pt x="872" y="179"/>
                    <a:pt x="871" y="178"/>
                  </a:cubicBezTo>
                  <a:cubicBezTo>
                    <a:pt x="870" y="178"/>
                    <a:pt x="869" y="177"/>
                    <a:pt x="869" y="176"/>
                  </a:cubicBezTo>
                  <a:cubicBezTo>
                    <a:pt x="868" y="175"/>
                    <a:pt x="869" y="174"/>
                    <a:pt x="868" y="173"/>
                  </a:cubicBezTo>
                  <a:cubicBezTo>
                    <a:pt x="868" y="172"/>
                    <a:pt x="867" y="172"/>
                    <a:pt x="867" y="171"/>
                  </a:cubicBezTo>
                  <a:cubicBezTo>
                    <a:pt x="865" y="170"/>
                    <a:pt x="864" y="171"/>
                    <a:pt x="863" y="171"/>
                  </a:cubicBezTo>
                  <a:cubicBezTo>
                    <a:pt x="858" y="170"/>
                    <a:pt x="853" y="171"/>
                    <a:pt x="848" y="171"/>
                  </a:cubicBezTo>
                  <a:cubicBezTo>
                    <a:pt x="848" y="171"/>
                    <a:pt x="848" y="171"/>
                    <a:pt x="848" y="171"/>
                  </a:cubicBezTo>
                  <a:cubicBezTo>
                    <a:pt x="847" y="170"/>
                    <a:pt x="848" y="168"/>
                    <a:pt x="848" y="167"/>
                  </a:cubicBezTo>
                  <a:cubicBezTo>
                    <a:pt x="847" y="167"/>
                    <a:pt x="847" y="166"/>
                    <a:pt x="846" y="166"/>
                  </a:cubicBezTo>
                  <a:cubicBezTo>
                    <a:pt x="845" y="165"/>
                    <a:pt x="844" y="166"/>
                    <a:pt x="843" y="165"/>
                  </a:cubicBezTo>
                  <a:cubicBezTo>
                    <a:pt x="842" y="164"/>
                    <a:pt x="842" y="163"/>
                    <a:pt x="843" y="162"/>
                  </a:cubicBezTo>
                  <a:cubicBezTo>
                    <a:pt x="843" y="160"/>
                    <a:pt x="844" y="158"/>
                    <a:pt x="843" y="157"/>
                  </a:cubicBezTo>
                  <a:cubicBezTo>
                    <a:pt x="843" y="156"/>
                    <a:pt x="842" y="156"/>
                    <a:pt x="842" y="157"/>
                  </a:cubicBezTo>
                  <a:cubicBezTo>
                    <a:pt x="841" y="157"/>
                    <a:pt x="841" y="159"/>
                    <a:pt x="840" y="160"/>
                  </a:cubicBezTo>
                  <a:cubicBezTo>
                    <a:pt x="840" y="160"/>
                    <a:pt x="838" y="159"/>
                    <a:pt x="838" y="160"/>
                  </a:cubicBezTo>
                  <a:cubicBezTo>
                    <a:pt x="838" y="160"/>
                    <a:pt x="837" y="161"/>
                    <a:pt x="837" y="162"/>
                  </a:cubicBezTo>
                  <a:cubicBezTo>
                    <a:pt x="837" y="163"/>
                    <a:pt x="835" y="162"/>
                    <a:pt x="835" y="162"/>
                  </a:cubicBezTo>
                  <a:cubicBezTo>
                    <a:pt x="834" y="163"/>
                    <a:pt x="834" y="163"/>
                    <a:pt x="835" y="163"/>
                  </a:cubicBezTo>
                  <a:cubicBezTo>
                    <a:pt x="836" y="165"/>
                    <a:pt x="837" y="166"/>
                    <a:pt x="839" y="167"/>
                  </a:cubicBezTo>
                  <a:cubicBezTo>
                    <a:pt x="841" y="169"/>
                    <a:pt x="840" y="173"/>
                    <a:pt x="840" y="176"/>
                  </a:cubicBezTo>
                  <a:cubicBezTo>
                    <a:pt x="840" y="176"/>
                    <a:pt x="839" y="177"/>
                    <a:pt x="839" y="177"/>
                  </a:cubicBezTo>
                  <a:cubicBezTo>
                    <a:pt x="837" y="179"/>
                    <a:pt x="836" y="181"/>
                    <a:pt x="834" y="182"/>
                  </a:cubicBezTo>
                  <a:cubicBezTo>
                    <a:pt x="833" y="182"/>
                    <a:pt x="832" y="181"/>
                    <a:pt x="831" y="181"/>
                  </a:cubicBezTo>
                  <a:cubicBezTo>
                    <a:pt x="829" y="180"/>
                    <a:pt x="827" y="182"/>
                    <a:pt x="825" y="181"/>
                  </a:cubicBezTo>
                  <a:cubicBezTo>
                    <a:pt x="825" y="181"/>
                    <a:pt x="824" y="181"/>
                    <a:pt x="824" y="181"/>
                  </a:cubicBezTo>
                  <a:cubicBezTo>
                    <a:pt x="824" y="181"/>
                    <a:pt x="825" y="181"/>
                    <a:pt x="824" y="181"/>
                  </a:cubicBezTo>
                  <a:cubicBezTo>
                    <a:pt x="824" y="180"/>
                    <a:pt x="823" y="179"/>
                    <a:pt x="823" y="178"/>
                  </a:cubicBezTo>
                  <a:cubicBezTo>
                    <a:pt x="822" y="177"/>
                    <a:pt x="820" y="176"/>
                    <a:pt x="819" y="176"/>
                  </a:cubicBezTo>
                  <a:cubicBezTo>
                    <a:pt x="817" y="176"/>
                    <a:pt x="816" y="176"/>
                    <a:pt x="814" y="176"/>
                  </a:cubicBezTo>
                  <a:cubicBezTo>
                    <a:pt x="814" y="176"/>
                    <a:pt x="814" y="177"/>
                    <a:pt x="814" y="177"/>
                  </a:cubicBezTo>
                  <a:cubicBezTo>
                    <a:pt x="816" y="177"/>
                    <a:pt x="818" y="177"/>
                    <a:pt x="818" y="179"/>
                  </a:cubicBezTo>
                  <a:cubicBezTo>
                    <a:pt x="817" y="179"/>
                    <a:pt x="816" y="179"/>
                    <a:pt x="815" y="179"/>
                  </a:cubicBezTo>
                  <a:cubicBezTo>
                    <a:pt x="815" y="180"/>
                    <a:pt x="815" y="180"/>
                    <a:pt x="815" y="180"/>
                  </a:cubicBezTo>
                  <a:cubicBezTo>
                    <a:pt x="817" y="181"/>
                    <a:pt x="819" y="181"/>
                    <a:pt x="821" y="181"/>
                  </a:cubicBezTo>
                  <a:cubicBezTo>
                    <a:pt x="822" y="182"/>
                    <a:pt x="821" y="184"/>
                    <a:pt x="823" y="184"/>
                  </a:cubicBezTo>
                  <a:cubicBezTo>
                    <a:pt x="824" y="185"/>
                    <a:pt x="825" y="186"/>
                    <a:pt x="826" y="187"/>
                  </a:cubicBezTo>
                  <a:cubicBezTo>
                    <a:pt x="827" y="187"/>
                    <a:pt x="828" y="187"/>
                    <a:pt x="829" y="187"/>
                  </a:cubicBezTo>
                  <a:cubicBezTo>
                    <a:pt x="830" y="186"/>
                    <a:pt x="831" y="185"/>
                    <a:pt x="832" y="186"/>
                  </a:cubicBezTo>
                  <a:cubicBezTo>
                    <a:pt x="833" y="186"/>
                    <a:pt x="833" y="187"/>
                    <a:pt x="833" y="188"/>
                  </a:cubicBezTo>
                  <a:cubicBezTo>
                    <a:pt x="834" y="190"/>
                    <a:pt x="836" y="191"/>
                    <a:pt x="838" y="192"/>
                  </a:cubicBezTo>
                  <a:cubicBezTo>
                    <a:pt x="839" y="193"/>
                    <a:pt x="840" y="194"/>
                    <a:pt x="841" y="195"/>
                  </a:cubicBezTo>
                  <a:cubicBezTo>
                    <a:pt x="841" y="195"/>
                    <a:pt x="841" y="195"/>
                    <a:pt x="841" y="196"/>
                  </a:cubicBezTo>
                  <a:cubicBezTo>
                    <a:pt x="842" y="198"/>
                    <a:pt x="846" y="198"/>
                    <a:pt x="846" y="202"/>
                  </a:cubicBezTo>
                  <a:cubicBezTo>
                    <a:pt x="846" y="202"/>
                    <a:pt x="846" y="202"/>
                    <a:pt x="847" y="202"/>
                  </a:cubicBezTo>
                  <a:cubicBezTo>
                    <a:pt x="847" y="202"/>
                    <a:pt x="847" y="202"/>
                    <a:pt x="847" y="203"/>
                  </a:cubicBezTo>
                  <a:cubicBezTo>
                    <a:pt x="847" y="203"/>
                    <a:pt x="848" y="203"/>
                    <a:pt x="848" y="204"/>
                  </a:cubicBezTo>
                  <a:cubicBezTo>
                    <a:pt x="848" y="204"/>
                    <a:pt x="848" y="205"/>
                    <a:pt x="848" y="206"/>
                  </a:cubicBezTo>
                  <a:cubicBezTo>
                    <a:pt x="848" y="208"/>
                    <a:pt x="848" y="208"/>
                    <a:pt x="848" y="208"/>
                  </a:cubicBezTo>
                  <a:cubicBezTo>
                    <a:pt x="848" y="208"/>
                    <a:pt x="848" y="208"/>
                    <a:pt x="848" y="209"/>
                  </a:cubicBezTo>
                  <a:cubicBezTo>
                    <a:pt x="848" y="209"/>
                    <a:pt x="847" y="209"/>
                    <a:pt x="847" y="209"/>
                  </a:cubicBezTo>
                  <a:cubicBezTo>
                    <a:pt x="846" y="210"/>
                    <a:pt x="847" y="211"/>
                    <a:pt x="847" y="212"/>
                  </a:cubicBezTo>
                  <a:cubicBezTo>
                    <a:pt x="847" y="212"/>
                    <a:pt x="847" y="212"/>
                    <a:pt x="847" y="212"/>
                  </a:cubicBezTo>
                  <a:cubicBezTo>
                    <a:pt x="847" y="212"/>
                    <a:pt x="846" y="212"/>
                    <a:pt x="846" y="212"/>
                  </a:cubicBezTo>
                  <a:cubicBezTo>
                    <a:pt x="843" y="210"/>
                    <a:pt x="841" y="209"/>
                    <a:pt x="837" y="208"/>
                  </a:cubicBezTo>
                  <a:cubicBezTo>
                    <a:pt x="836" y="208"/>
                    <a:pt x="834" y="208"/>
                    <a:pt x="833" y="208"/>
                  </a:cubicBezTo>
                  <a:cubicBezTo>
                    <a:pt x="832" y="209"/>
                    <a:pt x="830" y="208"/>
                    <a:pt x="829" y="209"/>
                  </a:cubicBezTo>
                  <a:cubicBezTo>
                    <a:pt x="828" y="210"/>
                    <a:pt x="827" y="212"/>
                    <a:pt x="825" y="212"/>
                  </a:cubicBezTo>
                  <a:cubicBezTo>
                    <a:pt x="823" y="213"/>
                    <a:pt x="821" y="212"/>
                    <a:pt x="820" y="213"/>
                  </a:cubicBezTo>
                  <a:cubicBezTo>
                    <a:pt x="819" y="213"/>
                    <a:pt x="819" y="215"/>
                    <a:pt x="818" y="215"/>
                  </a:cubicBezTo>
                  <a:cubicBezTo>
                    <a:pt x="817" y="215"/>
                    <a:pt x="817" y="216"/>
                    <a:pt x="816" y="216"/>
                  </a:cubicBezTo>
                  <a:cubicBezTo>
                    <a:pt x="815" y="216"/>
                    <a:pt x="815" y="217"/>
                    <a:pt x="814" y="217"/>
                  </a:cubicBezTo>
                  <a:cubicBezTo>
                    <a:pt x="812" y="218"/>
                    <a:pt x="810" y="217"/>
                    <a:pt x="809" y="217"/>
                  </a:cubicBezTo>
                  <a:cubicBezTo>
                    <a:pt x="808" y="218"/>
                    <a:pt x="809" y="220"/>
                    <a:pt x="808" y="221"/>
                  </a:cubicBezTo>
                  <a:cubicBezTo>
                    <a:pt x="808" y="221"/>
                    <a:pt x="807" y="221"/>
                    <a:pt x="807" y="222"/>
                  </a:cubicBezTo>
                  <a:cubicBezTo>
                    <a:pt x="805" y="223"/>
                    <a:pt x="805" y="225"/>
                    <a:pt x="803" y="227"/>
                  </a:cubicBezTo>
                  <a:cubicBezTo>
                    <a:pt x="803" y="227"/>
                    <a:pt x="803" y="228"/>
                    <a:pt x="802" y="228"/>
                  </a:cubicBezTo>
                  <a:cubicBezTo>
                    <a:pt x="802" y="229"/>
                    <a:pt x="801" y="230"/>
                    <a:pt x="800" y="230"/>
                  </a:cubicBezTo>
                  <a:cubicBezTo>
                    <a:pt x="799" y="231"/>
                    <a:pt x="799" y="231"/>
                    <a:pt x="799" y="231"/>
                  </a:cubicBezTo>
                  <a:cubicBezTo>
                    <a:pt x="796" y="232"/>
                    <a:pt x="795" y="235"/>
                    <a:pt x="795" y="238"/>
                  </a:cubicBezTo>
                  <a:cubicBezTo>
                    <a:pt x="795" y="239"/>
                    <a:pt x="794" y="239"/>
                    <a:pt x="793" y="238"/>
                  </a:cubicBezTo>
                  <a:cubicBezTo>
                    <a:pt x="791" y="237"/>
                    <a:pt x="790" y="235"/>
                    <a:pt x="788" y="233"/>
                  </a:cubicBezTo>
                  <a:cubicBezTo>
                    <a:pt x="787" y="232"/>
                    <a:pt x="785" y="232"/>
                    <a:pt x="783" y="231"/>
                  </a:cubicBezTo>
                  <a:cubicBezTo>
                    <a:pt x="782" y="231"/>
                    <a:pt x="780" y="232"/>
                    <a:pt x="778" y="231"/>
                  </a:cubicBezTo>
                  <a:cubicBezTo>
                    <a:pt x="777" y="231"/>
                    <a:pt x="776" y="231"/>
                    <a:pt x="775" y="231"/>
                  </a:cubicBezTo>
                  <a:cubicBezTo>
                    <a:pt x="775" y="232"/>
                    <a:pt x="774" y="232"/>
                    <a:pt x="773" y="233"/>
                  </a:cubicBezTo>
                  <a:cubicBezTo>
                    <a:pt x="773" y="234"/>
                    <a:pt x="772" y="234"/>
                    <a:pt x="771" y="235"/>
                  </a:cubicBezTo>
                  <a:cubicBezTo>
                    <a:pt x="771" y="236"/>
                    <a:pt x="769" y="236"/>
                    <a:pt x="769" y="237"/>
                  </a:cubicBezTo>
                  <a:cubicBezTo>
                    <a:pt x="768" y="238"/>
                    <a:pt x="767" y="239"/>
                    <a:pt x="766" y="241"/>
                  </a:cubicBezTo>
                  <a:cubicBezTo>
                    <a:pt x="766" y="241"/>
                    <a:pt x="765" y="241"/>
                    <a:pt x="765" y="241"/>
                  </a:cubicBezTo>
                  <a:cubicBezTo>
                    <a:pt x="765" y="239"/>
                    <a:pt x="765" y="237"/>
                    <a:pt x="764" y="235"/>
                  </a:cubicBezTo>
                  <a:cubicBezTo>
                    <a:pt x="764" y="234"/>
                    <a:pt x="764" y="233"/>
                    <a:pt x="763" y="233"/>
                  </a:cubicBezTo>
                  <a:cubicBezTo>
                    <a:pt x="763" y="232"/>
                    <a:pt x="762" y="232"/>
                    <a:pt x="762" y="233"/>
                  </a:cubicBezTo>
                  <a:cubicBezTo>
                    <a:pt x="761" y="233"/>
                    <a:pt x="760" y="234"/>
                    <a:pt x="759" y="235"/>
                  </a:cubicBezTo>
                  <a:cubicBezTo>
                    <a:pt x="759" y="235"/>
                    <a:pt x="759" y="236"/>
                    <a:pt x="758" y="236"/>
                  </a:cubicBezTo>
                  <a:cubicBezTo>
                    <a:pt x="758" y="238"/>
                    <a:pt x="759" y="240"/>
                    <a:pt x="757" y="241"/>
                  </a:cubicBezTo>
                  <a:cubicBezTo>
                    <a:pt x="757" y="242"/>
                    <a:pt x="756" y="242"/>
                    <a:pt x="756" y="241"/>
                  </a:cubicBezTo>
                  <a:cubicBezTo>
                    <a:pt x="755" y="241"/>
                    <a:pt x="755" y="240"/>
                    <a:pt x="755" y="240"/>
                  </a:cubicBezTo>
                  <a:cubicBezTo>
                    <a:pt x="755" y="238"/>
                    <a:pt x="753" y="238"/>
                    <a:pt x="752" y="238"/>
                  </a:cubicBezTo>
                  <a:cubicBezTo>
                    <a:pt x="751" y="240"/>
                    <a:pt x="749" y="239"/>
                    <a:pt x="748" y="240"/>
                  </a:cubicBezTo>
                  <a:cubicBezTo>
                    <a:pt x="747" y="241"/>
                    <a:pt x="748" y="242"/>
                    <a:pt x="747" y="243"/>
                  </a:cubicBezTo>
                  <a:cubicBezTo>
                    <a:pt x="746" y="244"/>
                    <a:pt x="746" y="245"/>
                    <a:pt x="747" y="246"/>
                  </a:cubicBezTo>
                  <a:cubicBezTo>
                    <a:pt x="747" y="248"/>
                    <a:pt x="747" y="249"/>
                    <a:pt x="747" y="251"/>
                  </a:cubicBezTo>
                  <a:cubicBezTo>
                    <a:pt x="747" y="252"/>
                    <a:pt x="745" y="252"/>
                    <a:pt x="744" y="253"/>
                  </a:cubicBezTo>
                  <a:cubicBezTo>
                    <a:pt x="743" y="254"/>
                    <a:pt x="743" y="255"/>
                    <a:pt x="743" y="257"/>
                  </a:cubicBezTo>
                  <a:cubicBezTo>
                    <a:pt x="743" y="258"/>
                    <a:pt x="743" y="260"/>
                    <a:pt x="744" y="262"/>
                  </a:cubicBezTo>
                  <a:cubicBezTo>
                    <a:pt x="744" y="263"/>
                    <a:pt x="745" y="264"/>
                    <a:pt x="746" y="265"/>
                  </a:cubicBezTo>
                  <a:cubicBezTo>
                    <a:pt x="746" y="266"/>
                    <a:pt x="747" y="266"/>
                    <a:pt x="748" y="265"/>
                  </a:cubicBezTo>
                  <a:cubicBezTo>
                    <a:pt x="749" y="265"/>
                    <a:pt x="749" y="264"/>
                    <a:pt x="749" y="263"/>
                  </a:cubicBezTo>
                  <a:cubicBezTo>
                    <a:pt x="750" y="263"/>
                    <a:pt x="750" y="263"/>
                    <a:pt x="751" y="263"/>
                  </a:cubicBezTo>
                  <a:cubicBezTo>
                    <a:pt x="752" y="264"/>
                    <a:pt x="752" y="265"/>
                    <a:pt x="753" y="265"/>
                  </a:cubicBezTo>
                  <a:cubicBezTo>
                    <a:pt x="753" y="265"/>
                    <a:pt x="753" y="266"/>
                    <a:pt x="753" y="267"/>
                  </a:cubicBezTo>
                  <a:cubicBezTo>
                    <a:pt x="753" y="267"/>
                    <a:pt x="752" y="268"/>
                    <a:pt x="752" y="268"/>
                  </a:cubicBezTo>
                  <a:cubicBezTo>
                    <a:pt x="751" y="269"/>
                    <a:pt x="751" y="270"/>
                    <a:pt x="752" y="271"/>
                  </a:cubicBezTo>
                  <a:cubicBezTo>
                    <a:pt x="752" y="272"/>
                    <a:pt x="752" y="272"/>
                    <a:pt x="752" y="272"/>
                  </a:cubicBezTo>
                  <a:cubicBezTo>
                    <a:pt x="752" y="273"/>
                    <a:pt x="753" y="275"/>
                    <a:pt x="753" y="276"/>
                  </a:cubicBezTo>
                  <a:cubicBezTo>
                    <a:pt x="753" y="276"/>
                    <a:pt x="754" y="276"/>
                    <a:pt x="754" y="276"/>
                  </a:cubicBezTo>
                  <a:cubicBezTo>
                    <a:pt x="754" y="277"/>
                    <a:pt x="754" y="277"/>
                    <a:pt x="755" y="277"/>
                  </a:cubicBezTo>
                  <a:cubicBezTo>
                    <a:pt x="755" y="277"/>
                    <a:pt x="754" y="277"/>
                    <a:pt x="754" y="278"/>
                  </a:cubicBezTo>
                  <a:cubicBezTo>
                    <a:pt x="756" y="278"/>
                    <a:pt x="758" y="276"/>
                    <a:pt x="759" y="278"/>
                  </a:cubicBezTo>
                  <a:cubicBezTo>
                    <a:pt x="759" y="280"/>
                    <a:pt x="759" y="283"/>
                    <a:pt x="759" y="285"/>
                  </a:cubicBezTo>
                  <a:cubicBezTo>
                    <a:pt x="757" y="285"/>
                    <a:pt x="758" y="282"/>
                    <a:pt x="757" y="280"/>
                  </a:cubicBezTo>
                  <a:cubicBezTo>
                    <a:pt x="757" y="280"/>
                    <a:pt x="756" y="280"/>
                    <a:pt x="755" y="281"/>
                  </a:cubicBezTo>
                  <a:cubicBezTo>
                    <a:pt x="755" y="283"/>
                    <a:pt x="754" y="284"/>
                    <a:pt x="753" y="286"/>
                  </a:cubicBezTo>
                  <a:cubicBezTo>
                    <a:pt x="753" y="287"/>
                    <a:pt x="752" y="287"/>
                    <a:pt x="752" y="288"/>
                  </a:cubicBezTo>
                  <a:cubicBezTo>
                    <a:pt x="752" y="289"/>
                    <a:pt x="752" y="290"/>
                    <a:pt x="752" y="291"/>
                  </a:cubicBezTo>
                  <a:cubicBezTo>
                    <a:pt x="753" y="294"/>
                    <a:pt x="755" y="297"/>
                    <a:pt x="757" y="299"/>
                  </a:cubicBezTo>
                  <a:cubicBezTo>
                    <a:pt x="757" y="300"/>
                    <a:pt x="757" y="301"/>
                    <a:pt x="757" y="302"/>
                  </a:cubicBezTo>
                  <a:cubicBezTo>
                    <a:pt x="756" y="303"/>
                    <a:pt x="754" y="303"/>
                    <a:pt x="753" y="304"/>
                  </a:cubicBezTo>
                  <a:cubicBezTo>
                    <a:pt x="752" y="305"/>
                    <a:pt x="752" y="304"/>
                    <a:pt x="751" y="304"/>
                  </a:cubicBezTo>
                  <a:cubicBezTo>
                    <a:pt x="749" y="303"/>
                    <a:pt x="749" y="305"/>
                    <a:pt x="748" y="306"/>
                  </a:cubicBezTo>
                  <a:cubicBezTo>
                    <a:pt x="747" y="307"/>
                    <a:pt x="747" y="307"/>
                    <a:pt x="746" y="308"/>
                  </a:cubicBezTo>
                  <a:cubicBezTo>
                    <a:pt x="746" y="308"/>
                    <a:pt x="746" y="309"/>
                    <a:pt x="746" y="309"/>
                  </a:cubicBezTo>
                  <a:cubicBezTo>
                    <a:pt x="745" y="312"/>
                    <a:pt x="746" y="314"/>
                    <a:pt x="746" y="317"/>
                  </a:cubicBezTo>
                  <a:cubicBezTo>
                    <a:pt x="747" y="317"/>
                    <a:pt x="748" y="318"/>
                    <a:pt x="748" y="319"/>
                  </a:cubicBezTo>
                  <a:cubicBezTo>
                    <a:pt x="747" y="320"/>
                    <a:pt x="745" y="319"/>
                    <a:pt x="744" y="319"/>
                  </a:cubicBezTo>
                  <a:cubicBezTo>
                    <a:pt x="744" y="319"/>
                    <a:pt x="743" y="319"/>
                    <a:pt x="742" y="319"/>
                  </a:cubicBezTo>
                  <a:cubicBezTo>
                    <a:pt x="741" y="319"/>
                    <a:pt x="740" y="321"/>
                    <a:pt x="740" y="322"/>
                  </a:cubicBezTo>
                  <a:cubicBezTo>
                    <a:pt x="740" y="324"/>
                    <a:pt x="740" y="326"/>
                    <a:pt x="740" y="328"/>
                  </a:cubicBezTo>
                  <a:cubicBezTo>
                    <a:pt x="739" y="331"/>
                    <a:pt x="737" y="334"/>
                    <a:pt x="735" y="336"/>
                  </a:cubicBezTo>
                  <a:cubicBezTo>
                    <a:pt x="734" y="337"/>
                    <a:pt x="734" y="338"/>
                    <a:pt x="733" y="339"/>
                  </a:cubicBezTo>
                  <a:cubicBezTo>
                    <a:pt x="733" y="340"/>
                    <a:pt x="732" y="341"/>
                    <a:pt x="730" y="342"/>
                  </a:cubicBezTo>
                  <a:cubicBezTo>
                    <a:pt x="729" y="342"/>
                    <a:pt x="729" y="342"/>
                    <a:pt x="728" y="341"/>
                  </a:cubicBezTo>
                  <a:cubicBezTo>
                    <a:pt x="728" y="340"/>
                    <a:pt x="728" y="339"/>
                    <a:pt x="727" y="338"/>
                  </a:cubicBezTo>
                  <a:cubicBezTo>
                    <a:pt x="726" y="336"/>
                    <a:pt x="726" y="335"/>
                    <a:pt x="726" y="334"/>
                  </a:cubicBezTo>
                  <a:cubicBezTo>
                    <a:pt x="725" y="333"/>
                    <a:pt x="725" y="333"/>
                    <a:pt x="725" y="333"/>
                  </a:cubicBezTo>
                  <a:cubicBezTo>
                    <a:pt x="724" y="331"/>
                    <a:pt x="726" y="327"/>
                    <a:pt x="723" y="326"/>
                  </a:cubicBezTo>
                  <a:cubicBezTo>
                    <a:pt x="723" y="326"/>
                    <a:pt x="723" y="325"/>
                    <a:pt x="723" y="325"/>
                  </a:cubicBezTo>
                  <a:cubicBezTo>
                    <a:pt x="722" y="324"/>
                    <a:pt x="721" y="324"/>
                    <a:pt x="720" y="323"/>
                  </a:cubicBezTo>
                  <a:cubicBezTo>
                    <a:pt x="720" y="322"/>
                    <a:pt x="720" y="321"/>
                    <a:pt x="719" y="320"/>
                  </a:cubicBezTo>
                  <a:cubicBezTo>
                    <a:pt x="718" y="317"/>
                    <a:pt x="716" y="315"/>
                    <a:pt x="715" y="312"/>
                  </a:cubicBezTo>
                  <a:cubicBezTo>
                    <a:pt x="714" y="311"/>
                    <a:pt x="714" y="310"/>
                    <a:pt x="713" y="309"/>
                  </a:cubicBezTo>
                  <a:cubicBezTo>
                    <a:pt x="713" y="308"/>
                    <a:pt x="713" y="308"/>
                    <a:pt x="713" y="308"/>
                  </a:cubicBezTo>
                  <a:cubicBezTo>
                    <a:pt x="712" y="306"/>
                    <a:pt x="711" y="304"/>
                    <a:pt x="710" y="302"/>
                  </a:cubicBezTo>
                  <a:cubicBezTo>
                    <a:pt x="710" y="301"/>
                    <a:pt x="710" y="300"/>
                    <a:pt x="709" y="299"/>
                  </a:cubicBezTo>
                  <a:cubicBezTo>
                    <a:pt x="706" y="294"/>
                    <a:pt x="706" y="289"/>
                    <a:pt x="705" y="284"/>
                  </a:cubicBezTo>
                  <a:cubicBezTo>
                    <a:pt x="705" y="281"/>
                    <a:pt x="704" y="279"/>
                    <a:pt x="705" y="276"/>
                  </a:cubicBezTo>
                  <a:cubicBezTo>
                    <a:pt x="706" y="275"/>
                    <a:pt x="707" y="274"/>
                    <a:pt x="708" y="272"/>
                  </a:cubicBezTo>
                  <a:cubicBezTo>
                    <a:pt x="708" y="270"/>
                    <a:pt x="708" y="269"/>
                    <a:pt x="708" y="268"/>
                  </a:cubicBezTo>
                  <a:cubicBezTo>
                    <a:pt x="708" y="267"/>
                    <a:pt x="707" y="266"/>
                    <a:pt x="707" y="266"/>
                  </a:cubicBezTo>
                  <a:cubicBezTo>
                    <a:pt x="709" y="265"/>
                    <a:pt x="710" y="264"/>
                    <a:pt x="712" y="263"/>
                  </a:cubicBezTo>
                  <a:cubicBezTo>
                    <a:pt x="713" y="262"/>
                    <a:pt x="715" y="263"/>
                    <a:pt x="716" y="263"/>
                  </a:cubicBezTo>
                  <a:cubicBezTo>
                    <a:pt x="717" y="262"/>
                    <a:pt x="717" y="262"/>
                    <a:pt x="717" y="262"/>
                  </a:cubicBezTo>
                  <a:cubicBezTo>
                    <a:pt x="717" y="262"/>
                    <a:pt x="717" y="261"/>
                    <a:pt x="718" y="261"/>
                  </a:cubicBezTo>
                  <a:cubicBezTo>
                    <a:pt x="719" y="260"/>
                    <a:pt x="720" y="258"/>
                    <a:pt x="721" y="257"/>
                  </a:cubicBezTo>
                  <a:cubicBezTo>
                    <a:pt x="721" y="257"/>
                    <a:pt x="721" y="256"/>
                    <a:pt x="721" y="256"/>
                  </a:cubicBezTo>
                  <a:cubicBezTo>
                    <a:pt x="721" y="255"/>
                    <a:pt x="721" y="255"/>
                    <a:pt x="721" y="255"/>
                  </a:cubicBezTo>
                  <a:cubicBezTo>
                    <a:pt x="722" y="254"/>
                    <a:pt x="722" y="254"/>
                    <a:pt x="723" y="253"/>
                  </a:cubicBezTo>
                  <a:cubicBezTo>
                    <a:pt x="724" y="251"/>
                    <a:pt x="724" y="249"/>
                    <a:pt x="725" y="248"/>
                  </a:cubicBezTo>
                  <a:cubicBezTo>
                    <a:pt x="726" y="246"/>
                    <a:pt x="727" y="245"/>
                    <a:pt x="728" y="243"/>
                  </a:cubicBezTo>
                  <a:cubicBezTo>
                    <a:pt x="729" y="242"/>
                    <a:pt x="729" y="241"/>
                    <a:pt x="730" y="240"/>
                  </a:cubicBezTo>
                  <a:cubicBezTo>
                    <a:pt x="731" y="238"/>
                    <a:pt x="732" y="237"/>
                    <a:pt x="733" y="236"/>
                  </a:cubicBezTo>
                  <a:cubicBezTo>
                    <a:pt x="733" y="236"/>
                    <a:pt x="734" y="236"/>
                    <a:pt x="734" y="235"/>
                  </a:cubicBezTo>
                  <a:cubicBezTo>
                    <a:pt x="734" y="235"/>
                    <a:pt x="734" y="234"/>
                    <a:pt x="734" y="234"/>
                  </a:cubicBezTo>
                  <a:cubicBezTo>
                    <a:pt x="734" y="234"/>
                    <a:pt x="733" y="233"/>
                    <a:pt x="733" y="233"/>
                  </a:cubicBezTo>
                  <a:cubicBezTo>
                    <a:pt x="733" y="232"/>
                    <a:pt x="734" y="231"/>
                    <a:pt x="735" y="230"/>
                  </a:cubicBezTo>
                  <a:cubicBezTo>
                    <a:pt x="737" y="229"/>
                    <a:pt x="739" y="228"/>
                    <a:pt x="742" y="228"/>
                  </a:cubicBezTo>
                  <a:cubicBezTo>
                    <a:pt x="743" y="227"/>
                    <a:pt x="741" y="225"/>
                    <a:pt x="742" y="224"/>
                  </a:cubicBezTo>
                  <a:cubicBezTo>
                    <a:pt x="742" y="223"/>
                    <a:pt x="743" y="223"/>
                    <a:pt x="743" y="222"/>
                  </a:cubicBezTo>
                  <a:cubicBezTo>
                    <a:pt x="743" y="222"/>
                    <a:pt x="744" y="221"/>
                    <a:pt x="743" y="221"/>
                  </a:cubicBezTo>
                  <a:cubicBezTo>
                    <a:pt x="743" y="220"/>
                    <a:pt x="741" y="221"/>
                    <a:pt x="741" y="220"/>
                  </a:cubicBezTo>
                  <a:cubicBezTo>
                    <a:pt x="740" y="219"/>
                    <a:pt x="740" y="218"/>
                    <a:pt x="741" y="218"/>
                  </a:cubicBezTo>
                  <a:cubicBezTo>
                    <a:pt x="741" y="217"/>
                    <a:pt x="741" y="215"/>
                    <a:pt x="741" y="214"/>
                  </a:cubicBezTo>
                  <a:cubicBezTo>
                    <a:pt x="741" y="213"/>
                    <a:pt x="740" y="211"/>
                    <a:pt x="741" y="210"/>
                  </a:cubicBezTo>
                  <a:cubicBezTo>
                    <a:pt x="742" y="210"/>
                    <a:pt x="742" y="210"/>
                    <a:pt x="743" y="209"/>
                  </a:cubicBezTo>
                  <a:cubicBezTo>
                    <a:pt x="744" y="208"/>
                    <a:pt x="746" y="209"/>
                    <a:pt x="747" y="209"/>
                  </a:cubicBezTo>
                  <a:cubicBezTo>
                    <a:pt x="747" y="209"/>
                    <a:pt x="747" y="208"/>
                    <a:pt x="747" y="208"/>
                  </a:cubicBezTo>
                  <a:cubicBezTo>
                    <a:pt x="745" y="207"/>
                    <a:pt x="744" y="206"/>
                    <a:pt x="742" y="206"/>
                  </a:cubicBezTo>
                  <a:cubicBezTo>
                    <a:pt x="741" y="206"/>
                    <a:pt x="740" y="206"/>
                    <a:pt x="739" y="206"/>
                  </a:cubicBezTo>
                  <a:cubicBezTo>
                    <a:pt x="737" y="207"/>
                    <a:pt x="735" y="207"/>
                    <a:pt x="733" y="208"/>
                  </a:cubicBezTo>
                  <a:cubicBezTo>
                    <a:pt x="732" y="208"/>
                    <a:pt x="732" y="210"/>
                    <a:pt x="733" y="210"/>
                  </a:cubicBezTo>
                  <a:cubicBezTo>
                    <a:pt x="735" y="212"/>
                    <a:pt x="734" y="214"/>
                    <a:pt x="735" y="216"/>
                  </a:cubicBezTo>
                  <a:cubicBezTo>
                    <a:pt x="736" y="216"/>
                    <a:pt x="737" y="218"/>
                    <a:pt x="737" y="219"/>
                  </a:cubicBezTo>
                  <a:cubicBezTo>
                    <a:pt x="736" y="220"/>
                    <a:pt x="736" y="220"/>
                    <a:pt x="736" y="220"/>
                  </a:cubicBezTo>
                  <a:cubicBezTo>
                    <a:pt x="734" y="220"/>
                    <a:pt x="732" y="220"/>
                    <a:pt x="731" y="220"/>
                  </a:cubicBezTo>
                  <a:cubicBezTo>
                    <a:pt x="729" y="220"/>
                    <a:pt x="729" y="222"/>
                    <a:pt x="728" y="224"/>
                  </a:cubicBezTo>
                  <a:cubicBezTo>
                    <a:pt x="728" y="225"/>
                    <a:pt x="726" y="225"/>
                    <a:pt x="725" y="226"/>
                  </a:cubicBezTo>
                  <a:cubicBezTo>
                    <a:pt x="724" y="227"/>
                    <a:pt x="724" y="229"/>
                    <a:pt x="723" y="230"/>
                  </a:cubicBezTo>
                  <a:cubicBezTo>
                    <a:pt x="722" y="230"/>
                    <a:pt x="721" y="230"/>
                    <a:pt x="721" y="230"/>
                  </a:cubicBezTo>
                  <a:cubicBezTo>
                    <a:pt x="720" y="230"/>
                    <a:pt x="720" y="231"/>
                    <a:pt x="719" y="231"/>
                  </a:cubicBezTo>
                  <a:cubicBezTo>
                    <a:pt x="719" y="230"/>
                    <a:pt x="719" y="228"/>
                    <a:pt x="719" y="227"/>
                  </a:cubicBezTo>
                  <a:cubicBezTo>
                    <a:pt x="718" y="226"/>
                    <a:pt x="716" y="227"/>
                    <a:pt x="715" y="227"/>
                  </a:cubicBezTo>
                  <a:cubicBezTo>
                    <a:pt x="714" y="226"/>
                    <a:pt x="714" y="223"/>
                    <a:pt x="714" y="222"/>
                  </a:cubicBezTo>
                  <a:cubicBezTo>
                    <a:pt x="714" y="220"/>
                    <a:pt x="715" y="217"/>
                    <a:pt x="714" y="215"/>
                  </a:cubicBezTo>
                  <a:cubicBezTo>
                    <a:pt x="714" y="215"/>
                    <a:pt x="713" y="215"/>
                    <a:pt x="713" y="215"/>
                  </a:cubicBezTo>
                  <a:cubicBezTo>
                    <a:pt x="712" y="216"/>
                    <a:pt x="713" y="217"/>
                    <a:pt x="712" y="218"/>
                  </a:cubicBezTo>
                  <a:cubicBezTo>
                    <a:pt x="712" y="219"/>
                    <a:pt x="711" y="220"/>
                    <a:pt x="710" y="219"/>
                  </a:cubicBezTo>
                  <a:cubicBezTo>
                    <a:pt x="709" y="218"/>
                    <a:pt x="708" y="217"/>
                    <a:pt x="707" y="216"/>
                  </a:cubicBezTo>
                  <a:cubicBezTo>
                    <a:pt x="707" y="216"/>
                    <a:pt x="705" y="216"/>
                    <a:pt x="704" y="216"/>
                  </a:cubicBezTo>
                  <a:cubicBezTo>
                    <a:pt x="703" y="217"/>
                    <a:pt x="703" y="218"/>
                    <a:pt x="702" y="218"/>
                  </a:cubicBezTo>
                  <a:cubicBezTo>
                    <a:pt x="700" y="219"/>
                    <a:pt x="699" y="218"/>
                    <a:pt x="698" y="219"/>
                  </a:cubicBezTo>
                  <a:cubicBezTo>
                    <a:pt x="696" y="219"/>
                    <a:pt x="695" y="220"/>
                    <a:pt x="694" y="220"/>
                  </a:cubicBezTo>
                  <a:cubicBezTo>
                    <a:pt x="693" y="221"/>
                    <a:pt x="692" y="221"/>
                    <a:pt x="691" y="222"/>
                  </a:cubicBezTo>
                  <a:cubicBezTo>
                    <a:pt x="691" y="223"/>
                    <a:pt x="691" y="224"/>
                    <a:pt x="691" y="224"/>
                  </a:cubicBezTo>
                  <a:cubicBezTo>
                    <a:pt x="689" y="225"/>
                    <a:pt x="689" y="227"/>
                    <a:pt x="688" y="227"/>
                  </a:cubicBezTo>
                  <a:cubicBezTo>
                    <a:pt x="688" y="227"/>
                    <a:pt x="688" y="228"/>
                    <a:pt x="687" y="228"/>
                  </a:cubicBezTo>
                  <a:cubicBezTo>
                    <a:pt x="687" y="229"/>
                    <a:pt x="687" y="229"/>
                    <a:pt x="687" y="230"/>
                  </a:cubicBezTo>
                  <a:cubicBezTo>
                    <a:pt x="687" y="232"/>
                    <a:pt x="685" y="233"/>
                    <a:pt x="684" y="234"/>
                  </a:cubicBezTo>
                  <a:cubicBezTo>
                    <a:pt x="683" y="235"/>
                    <a:pt x="681" y="235"/>
                    <a:pt x="681" y="236"/>
                  </a:cubicBezTo>
                  <a:cubicBezTo>
                    <a:pt x="680" y="237"/>
                    <a:pt x="680" y="238"/>
                    <a:pt x="680" y="240"/>
                  </a:cubicBezTo>
                  <a:cubicBezTo>
                    <a:pt x="680" y="240"/>
                    <a:pt x="680" y="241"/>
                    <a:pt x="681" y="241"/>
                  </a:cubicBezTo>
                  <a:cubicBezTo>
                    <a:pt x="681" y="242"/>
                    <a:pt x="681" y="242"/>
                    <a:pt x="682" y="243"/>
                  </a:cubicBezTo>
                  <a:cubicBezTo>
                    <a:pt x="683" y="243"/>
                    <a:pt x="684" y="244"/>
                    <a:pt x="685" y="245"/>
                  </a:cubicBezTo>
                  <a:cubicBezTo>
                    <a:pt x="686" y="245"/>
                    <a:pt x="687" y="245"/>
                    <a:pt x="688" y="246"/>
                  </a:cubicBezTo>
                  <a:cubicBezTo>
                    <a:pt x="688" y="247"/>
                    <a:pt x="688" y="248"/>
                    <a:pt x="688" y="248"/>
                  </a:cubicBezTo>
                  <a:cubicBezTo>
                    <a:pt x="687" y="248"/>
                    <a:pt x="686" y="248"/>
                    <a:pt x="686" y="249"/>
                  </a:cubicBezTo>
                  <a:cubicBezTo>
                    <a:pt x="684" y="250"/>
                    <a:pt x="683" y="250"/>
                    <a:pt x="681" y="249"/>
                  </a:cubicBezTo>
                  <a:cubicBezTo>
                    <a:pt x="679" y="248"/>
                    <a:pt x="676" y="247"/>
                    <a:pt x="675" y="249"/>
                  </a:cubicBezTo>
                  <a:cubicBezTo>
                    <a:pt x="674" y="250"/>
                    <a:pt x="674" y="252"/>
                    <a:pt x="673" y="252"/>
                  </a:cubicBezTo>
                  <a:cubicBezTo>
                    <a:pt x="672" y="252"/>
                    <a:pt x="671" y="252"/>
                    <a:pt x="670" y="252"/>
                  </a:cubicBezTo>
                  <a:cubicBezTo>
                    <a:pt x="670" y="251"/>
                    <a:pt x="669" y="251"/>
                    <a:pt x="668" y="252"/>
                  </a:cubicBezTo>
                  <a:cubicBezTo>
                    <a:pt x="667" y="253"/>
                    <a:pt x="665" y="253"/>
                    <a:pt x="663" y="253"/>
                  </a:cubicBezTo>
                  <a:cubicBezTo>
                    <a:pt x="662" y="253"/>
                    <a:pt x="662" y="252"/>
                    <a:pt x="661" y="251"/>
                  </a:cubicBezTo>
                  <a:cubicBezTo>
                    <a:pt x="661" y="251"/>
                    <a:pt x="661" y="251"/>
                    <a:pt x="660" y="251"/>
                  </a:cubicBezTo>
                  <a:cubicBezTo>
                    <a:pt x="660" y="250"/>
                    <a:pt x="660" y="249"/>
                    <a:pt x="660" y="249"/>
                  </a:cubicBezTo>
                  <a:cubicBezTo>
                    <a:pt x="662" y="248"/>
                    <a:pt x="665" y="248"/>
                    <a:pt x="667" y="248"/>
                  </a:cubicBezTo>
                  <a:cubicBezTo>
                    <a:pt x="667" y="248"/>
                    <a:pt x="667" y="247"/>
                    <a:pt x="667" y="247"/>
                  </a:cubicBezTo>
                  <a:cubicBezTo>
                    <a:pt x="665" y="247"/>
                    <a:pt x="662" y="246"/>
                    <a:pt x="660" y="245"/>
                  </a:cubicBezTo>
                  <a:cubicBezTo>
                    <a:pt x="659" y="245"/>
                    <a:pt x="659" y="245"/>
                    <a:pt x="658" y="245"/>
                  </a:cubicBezTo>
                  <a:cubicBezTo>
                    <a:pt x="658" y="245"/>
                    <a:pt x="657" y="246"/>
                    <a:pt x="656" y="246"/>
                  </a:cubicBezTo>
                  <a:cubicBezTo>
                    <a:pt x="656" y="246"/>
                    <a:pt x="655" y="246"/>
                    <a:pt x="655" y="246"/>
                  </a:cubicBezTo>
                  <a:cubicBezTo>
                    <a:pt x="654" y="245"/>
                    <a:pt x="655" y="244"/>
                    <a:pt x="655" y="242"/>
                  </a:cubicBezTo>
                  <a:cubicBezTo>
                    <a:pt x="655" y="242"/>
                    <a:pt x="654" y="242"/>
                    <a:pt x="654" y="242"/>
                  </a:cubicBezTo>
                  <a:cubicBezTo>
                    <a:pt x="654" y="243"/>
                    <a:pt x="654" y="243"/>
                    <a:pt x="653" y="244"/>
                  </a:cubicBezTo>
                  <a:cubicBezTo>
                    <a:pt x="652" y="244"/>
                    <a:pt x="650" y="244"/>
                    <a:pt x="649" y="244"/>
                  </a:cubicBezTo>
                  <a:cubicBezTo>
                    <a:pt x="647" y="243"/>
                    <a:pt x="646" y="243"/>
                    <a:pt x="644" y="243"/>
                  </a:cubicBezTo>
                  <a:cubicBezTo>
                    <a:pt x="644" y="243"/>
                    <a:pt x="644" y="244"/>
                    <a:pt x="644" y="244"/>
                  </a:cubicBezTo>
                  <a:cubicBezTo>
                    <a:pt x="643" y="245"/>
                    <a:pt x="643" y="245"/>
                    <a:pt x="642" y="245"/>
                  </a:cubicBezTo>
                  <a:cubicBezTo>
                    <a:pt x="642" y="246"/>
                    <a:pt x="642" y="246"/>
                    <a:pt x="642" y="246"/>
                  </a:cubicBezTo>
                  <a:cubicBezTo>
                    <a:pt x="643" y="247"/>
                    <a:pt x="643" y="248"/>
                    <a:pt x="643" y="248"/>
                  </a:cubicBezTo>
                  <a:cubicBezTo>
                    <a:pt x="641" y="249"/>
                    <a:pt x="638" y="247"/>
                    <a:pt x="636" y="247"/>
                  </a:cubicBezTo>
                  <a:cubicBezTo>
                    <a:pt x="635" y="248"/>
                    <a:pt x="633" y="248"/>
                    <a:pt x="632" y="248"/>
                  </a:cubicBezTo>
                  <a:cubicBezTo>
                    <a:pt x="630" y="247"/>
                    <a:pt x="628" y="246"/>
                    <a:pt x="626" y="246"/>
                  </a:cubicBezTo>
                  <a:cubicBezTo>
                    <a:pt x="625" y="246"/>
                    <a:pt x="625" y="247"/>
                    <a:pt x="625" y="247"/>
                  </a:cubicBezTo>
                  <a:cubicBezTo>
                    <a:pt x="625" y="248"/>
                    <a:pt x="625" y="248"/>
                    <a:pt x="625" y="249"/>
                  </a:cubicBezTo>
                  <a:cubicBezTo>
                    <a:pt x="624" y="250"/>
                    <a:pt x="623" y="250"/>
                    <a:pt x="622" y="250"/>
                  </a:cubicBezTo>
                  <a:cubicBezTo>
                    <a:pt x="621" y="249"/>
                    <a:pt x="622" y="247"/>
                    <a:pt x="621" y="246"/>
                  </a:cubicBezTo>
                  <a:cubicBezTo>
                    <a:pt x="619" y="246"/>
                    <a:pt x="618" y="246"/>
                    <a:pt x="616" y="247"/>
                  </a:cubicBezTo>
                  <a:cubicBezTo>
                    <a:pt x="611" y="248"/>
                    <a:pt x="606" y="246"/>
                    <a:pt x="600" y="247"/>
                  </a:cubicBezTo>
                  <a:cubicBezTo>
                    <a:pt x="600" y="247"/>
                    <a:pt x="600" y="248"/>
                    <a:pt x="599" y="248"/>
                  </a:cubicBezTo>
                  <a:cubicBezTo>
                    <a:pt x="599" y="248"/>
                    <a:pt x="598" y="248"/>
                    <a:pt x="597" y="248"/>
                  </a:cubicBezTo>
                  <a:cubicBezTo>
                    <a:pt x="596" y="249"/>
                    <a:pt x="594" y="251"/>
                    <a:pt x="595" y="253"/>
                  </a:cubicBezTo>
                  <a:cubicBezTo>
                    <a:pt x="593" y="255"/>
                    <a:pt x="591" y="255"/>
                    <a:pt x="589" y="256"/>
                  </a:cubicBezTo>
                  <a:cubicBezTo>
                    <a:pt x="589" y="257"/>
                    <a:pt x="588" y="257"/>
                    <a:pt x="588" y="258"/>
                  </a:cubicBezTo>
                  <a:cubicBezTo>
                    <a:pt x="588" y="259"/>
                    <a:pt x="587" y="259"/>
                    <a:pt x="587" y="260"/>
                  </a:cubicBezTo>
                  <a:cubicBezTo>
                    <a:pt x="586" y="261"/>
                    <a:pt x="587" y="263"/>
                    <a:pt x="587" y="265"/>
                  </a:cubicBezTo>
                  <a:cubicBezTo>
                    <a:pt x="586" y="265"/>
                    <a:pt x="585" y="266"/>
                    <a:pt x="585" y="267"/>
                  </a:cubicBezTo>
                  <a:cubicBezTo>
                    <a:pt x="584" y="268"/>
                    <a:pt x="584" y="269"/>
                    <a:pt x="583" y="269"/>
                  </a:cubicBezTo>
                  <a:cubicBezTo>
                    <a:pt x="581" y="271"/>
                    <a:pt x="579" y="273"/>
                    <a:pt x="577" y="276"/>
                  </a:cubicBezTo>
                  <a:cubicBezTo>
                    <a:pt x="577" y="275"/>
                    <a:pt x="577" y="275"/>
                    <a:pt x="577" y="275"/>
                  </a:cubicBezTo>
                  <a:cubicBezTo>
                    <a:pt x="577" y="277"/>
                    <a:pt x="577" y="278"/>
                    <a:pt x="576" y="279"/>
                  </a:cubicBezTo>
                  <a:cubicBezTo>
                    <a:pt x="576" y="280"/>
                    <a:pt x="576" y="281"/>
                    <a:pt x="575" y="281"/>
                  </a:cubicBezTo>
                  <a:cubicBezTo>
                    <a:pt x="575" y="282"/>
                    <a:pt x="575" y="282"/>
                    <a:pt x="574" y="282"/>
                  </a:cubicBezTo>
                  <a:cubicBezTo>
                    <a:pt x="573" y="283"/>
                    <a:pt x="572" y="284"/>
                    <a:pt x="572" y="285"/>
                  </a:cubicBezTo>
                  <a:cubicBezTo>
                    <a:pt x="571" y="286"/>
                    <a:pt x="572" y="287"/>
                    <a:pt x="571" y="288"/>
                  </a:cubicBezTo>
                  <a:cubicBezTo>
                    <a:pt x="570" y="289"/>
                    <a:pt x="568" y="290"/>
                    <a:pt x="567" y="291"/>
                  </a:cubicBezTo>
                  <a:cubicBezTo>
                    <a:pt x="565" y="291"/>
                    <a:pt x="566" y="293"/>
                    <a:pt x="566" y="294"/>
                  </a:cubicBezTo>
                  <a:cubicBezTo>
                    <a:pt x="564" y="296"/>
                    <a:pt x="562" y="296"/>
                    <a:pt x="560" y="298"/>
                  </a:cubicBezTo>
                  <a:cubicBezTo>
                    <a:pt x="559" y="298"/>
                    <a:pt x="560" y="299"/>
                    <a:pt x="560" y="300"/>
                  </a:cubicBezTo>
                  <a:cubicBezTo>
                    <a:pt x="560" y="301"/>
                    <a:pt x="562" y="301"/>
                    <a:pt x="563" y="301"/>
                  </a:cubicBezTo>
                  <a:cubicBezTo>
                    <a:pt x="563" y="302"/>
                    <a:pt x="563" y="303"/>
                    <a:pt x="564" y="303"/>
                  </a:cubicBezTo>
                  <a:cubicBezTo>
                    <a:pt x="565" y="303"/>
                    <a:pt x="566" y="303"/>
                    <a:pt x="567" y="303"/>
                  </a:cubicBezTo>
                  <a:cubicBezTo>
                    <a:pt x="568" y="303"/>
                    <a:pt x="569" y="302"/>
                    <a:pt x="570" y="301"/>
                  </a:cubicBezTo>
                  <a:cubicBezTo>
                    <a:pt x="570" y="301"/>
                    <a:pt x="572" y="301"/>
                    <a:pt x="572" y="302"/>
                  </a:cubicBezTo>
                  <a:cubicBezTo>
                    <a:pt x="573" y="303"/>
                    <a:pt x="572" y="304"/>
                    <a:pt x="573" y="305"/>
                  </a:cubicBezTo>
                  <a:cubicBezTo>
                    <a:pt x="573" y="306"/>
                    <a:pt x="573" y="308"/>
                    <a:pt x="574" y="309"/>
                  </a:cubicBezTo>
                  <a:cubicBezTo>
                    <a:pt x="574" y="309"/>
                    <a:pt x="575" y="310"/>
                    <a:pt x="576" y="309"/>
                  </a:cubicBezTo>
                  <a:cubicBezTo>
                    <a:pt x="576" y="309"/>
                    <a:pt x="576" y="308"/>
                    <a:pt x="576" y="308"/>
                  </a:cubicBezTo>
                  <a:cubicBezTo>
                    <a:pt x="576" y="307"/>
                    <a:pt x="576" y="306"/>
                    <a:pt x="576" y="305"/>
                  </a:cubicBezTo>
                  <a:cubicBezTo>
                    <a:pt x="576" y="305"/>
                    <a:pt x="578" y="304"/>
                    <a:pt x="579" y="305"/>
                  </a:cubicBezTo>
                  <a:cubicBezTo>
                    <a:pt x="579" y="305"/>
                    <a:pt x="579" y="306"/>
                    <a:pt x="579" y="306"/>
                  </a:cubicBezTo>
                  <a:cubicBezTo>
                    <a:pt x="578" y="307"/>
                    <a:pt x="577" y="307"/>
                    <a:pt x="578" y="308"/>
                  </a:cubicBezTo>
                  <a:cubicBezTo>
                    <a:pt x="578" y="309"/>
                    <a:pt x="580" y="309"/>
                    <a:pt x="580" y="310"/>
                  </a:cubicBezTo>
                  <a:cubicBezTo>
                    <a:pt x="580" y="310"/>
                    <a:pt x="580" y="311"/>
                    <a:pt x="580" y="311"/>
                  </a:cubicBezTo>
                  <a:cubicBezTo>
                    <a:pt x="580" y="312"/>
                    <a:pt x="579" y="312"/>
                    <a:pt x="578" y="313"/>
                  </a:cubicBezTo>
                  <a:cubicBezTo>
                    <a:pt x="577" y="313"/>
                    <a:pt x="578" y="314"/>
                    <a:pt x="578" y="314"/>
                  </a:cubicBezTo>
                  <a:cubicBezTo>
                    <a:pt x="579" y="314"/>
                    <a:pt x="580" y="314"/>
                    <a:pt x="581" y="314"/>
                  </a:cubicBezTo>
                  <a:cubicBezTo>
                    <a:pt x="582" y="314"/>
                    <a:pt x="582" y="313"/>
                    <a:pt x="583" y="312"/>
                  </a:cubicBezTo>
                  <a:cubicBezTo>
                    <a:pt x="583" y="312"/>
                    <a:pt x="584" y="312"/>
                    <a:pt x="585" y="311"/>
                  </a:cubicBezTo>
                  <a:cubicBezTo>
                    <a:pt x="585" y="310"/>
                    <a:pt x="586" y="309"/>
                    <a:pt x="587" y="310"/>
                  </a:cubicBezTo>
                  <a:cubicBezTo>
                    <a:pt x="587" y="311"/>
                    <a:pt x="587" y="312"/>
                    <a:pt x="587" y="313"/>
                  </a:cubicBezTo>
                  <a:cubicBezTo>
                    <a:pt x="587" y="313"/>
                    <a:pt x="587" y="313"/>
                    <a:pt x="588" y="313"/>
                  </a:cubicBezTo>
                  <a:cubicBezTo>
                    <a:pt x="588" y="312"/>
                    <a:pt x="589" y="309"/>
                    <a:pt x="588" y="307"/>
                  </a:cubicBezTo>
                  <a:cubicBezTo>
                    <a:pt x="587" y="307"/>
                    <a:pt x="586" y="306"/>
                    <a:pt x="587" y="305"/>
                  </a:cubicBezTo>
                  <a:cubicBezTo>
                    <a:pt x="587" y="305"/>
                    <a:pt x="588" y="305"/>
                    <a:pt x="588" y="305"/>
                  </a:cubicBezTo>
                  <a:cubicBezTo>
                    <a:pt x="589" y="306"/>
                    <a:pt x="590" y="306"/>
                    <a:pt x="590" y="306"/>
                  </a:cubicBezTo>
                  <a:cubicBezTo>
                    <a:pt x="591" y="307"/>
                    <a:pt x="592" y="306"/>
                    <a:pt x="593" y="306"/>
                  </a:cubicBezTo>
                  <a:cubicBezTo>
                    <a:pt x="594" y="305"/>
                    <a:pt x="595" y="305"/>
                    <a:pt x="595" y="306"/>
                  </a:cubicBezTo>
                  <a:cubicBezTo>
                    <a:pt x="596" y="306"/>
                    <a:pt x="597" y="307"/>
                    <a:pt x="598" y="308"/>
                  </a:cubicBezTo>
                  <a:cubicBezTo>
                    <a:pt x="599" y="310"/>
                    <a:pt x="599" y="312"/>
                    <a:pt x="601" y="313"/>
                  </a:cubicBezTo>
                  <a:cubicBezTo>
                    <a:pt x="601" y="314"/>
                    <a:pt x="601" y="314"/>
                    <a:pt x="602" y="314"/>
                  </a:cubicBezTo>
                  <a:cubicBezTo>
                    <a:pt x="604" y="315"/>
                    <a:pt x="606" y="318"/>
                    <a:pt x="609" y="319"/>
                  </a:cubicBezTo>
                  <a:cubicBezTo>
                    <a:pt x="610" y="319"/>
                    <a:pt x="610" y="321"/>
                    <a:pt x="609" y="322"/>
                  </a:cubicBezTo>
                  <a:cubicBezTo>
                    <a:pt x="609" y="322"/>
                    <a:pt x="609" y="323"/>
                    <a:pt x="609" y="323"/>
                  </a:cubicBezTo>
                  <a:cubicBezTo>
                    <a:pt x="610" y="324"/>
                    <a:pt x="610" y="324"/>
                    <a:pt x="611" y="325"/>
                  </a:cubicBezTo>
                  <a:cubicBezTo>
                    <a:pt x="611" y="326"/>
                    <a:pt x="611" y="326"/>
                    <a:pt x="611" y="327"/>
                  </a:cubicBezTo>
                  <a:cubicBezTo>
                    <a:pt x="611" y="327"/>
                    <a:pt x="612" y="328"/>
                    <a:pt x="612" y="328"/>
                  </a:cubicBezTo>
                  <a:cubicBezTo>
                    <a:pt x="613" y="329"/>
                    <a:pt x="613" y="331"/>
                    <a:pt x="612" y="332"/>
                  </a:cubicBezTo>
                  <a:cubicBezTo>
                    <a:pt x="612" y="332"/>
                    <a:pt x="612" y="333"/>
                    <a:pt x="611" y="333"/>
                  </a:cubicBezTo>
                  <a:cubicBezTo>
                    <a:pt x="610" y="336"/>
                    <a:pt x="611" y="338"/>
                    <a:pt x="610" y="341"/>
                  </a:cubicBezTo>
                  <a:cubicBezTo>
                    <a:pt x="610" y="341"/>
                    <a:pt x="610" y="341"/>
                    <a:pt x="610" y="341"/>
                  </a:cubicBezTo>
                  <a:cubicBezTo>
                    <a:pt x="610" y="343"/>
                    <a:pt x="610" y="344"/>
                    <a:pt x="610" y="346"/>
                  </a:cubicBezTo>
                  <a:cubicBezTo>
                    <a:pt x="611" y="347"/>
                    <a:pt x="612" y="349"/>
                    <a:pt x="613" y="351"/>
                  </a:cubicBezTo>
                  <a:cubicBezTo>
                    <a:pt x="613" y="353"/>
                    <a:pt x="614" y="355"/>
                    <a:pt x="615" y="357"/>
                  </a:cubicBezTo>
                  <a:cubicBezTo>
                    <a:pt x="615" y="360"/>
                    <a:pt x="614" y="363"/>
                    <a:pt x="614" y="366"/>
                  </a:cubicBezTo>
                  <a:cubicBezTo>
                    <a:pt x="614" y="368"/>
                    <a:pt x="614" y="368"/>
                    <a:pt x="614" y="368"/>
                  </a:cubicBezTo>
                  <a:cubicBezTo>
                    <a:pt x="614" y="369"/>
                    <a:pt x="614" y="371"/>
                    <a:pt x="614" y="372"/>
                  </a:cubicBezTo>
                  <a:cubicBezTo>
                    <a:pt x="613" y="373"/>
                    <a:pt x="612" y="375"/>
                    <a:pt x="611" y="376"/>
                  </a:cubicBezTo>
                  <a:cubicBezTo>
                    <a:pt x="611" y="377"/>
                    <a:pt x="611" y="377"/>
                    <a:pt x="611" y="378"/>
                  </a:cubicBezTo>
                  <a:cubicBezTo>
                    <a:pt x="610" y="379"/>
                    <a:pt x="610" y="379"/>
                    <a:pt x="609" y="380"/>
                  </a:cubicBezTo>
                  <a:cubicBezTo>
                    <a:pt x="609" y="382"/>
                    <a:pt x="609" y="385"/>
                    <a:pt x="608" y="387"/>
                  </a:cubicBezTo>
                  <a:cubicBezTo>
                    <a:pt x="607" y="388"/>
                    <a:pt x="607" y="390"/>
                    <a:pt x="607" y="391"/>
                  </a:cubicBezTo>
                  <a:cubicBezTo>
                    <a:pt x="606" y="393"/>
                    <a:pt x="605" y="395"/>
                    <a:pt x="604" y="397"/>
                  </a:cubicBezTo>
                  <a:cubicBezTo>
                    <a:pt x="603" y="399"/>
                    <a:pt x="601" y="401"/>
                    <a:pt x="600" y="403"/>
                  </a:cubicBezTo>
                  <a:cubicBezTo>
                    <a:pt x="599" y="405"/>
                    <a:pt x="598" y="407"/>
                    <a:pt x="597" y="410"/>
                  </a:cubicBezTo>
                  <a:cubicBezTo>
                    <a:pt x="596" y="410"/>
                    <a:pt x="596" y="410"/>
                    <a:pt x="596" y="410"/>
                  </a:cubicBezTo>
                  <a:cubicBezTo>
                    <a:pt x="595" y="411"/>
                    <a:pt x="595" y="412"/>
                    <a:pt x="594" y="413"/>
                  </a:cubicBezTo>
                  <a:cubicBezTo>
                    <a:pt x="593" y="414"/>
                    <a:pt x="592" y="416"/>
                    <a:pt x="591" y="417"/>
                  </a:cubicBezTo>
                  <a:cubicBezTo>
                    <a:pt x="591" y="418"/>
                    <a:pt x="591" y="419"/>
                    <a:pt x="590" y="420"/>
                  </a:cubicBezTo>
                  <a:cubicBezTo>
                    <a:pt x="589" y="422"/>
                    <a:pt x="587" y="425"/>
                    <a:pt x="585" y="427"/>
                  </a:cubicBezTo>
                  <a:cubicBezTo>
                    <a:pt x="584" y="428"/>
                    <a:pt x="582" y="428"/>
                    <a:pt x="580" y="429"/>
                  </a:cubicBezTo>
                  <a:cubicBezTo>
                    <a:pt x="580" y="430"/>
                    <a:pt x="580" y="430"/>
                    <a:pt x="579" y="430"/>
                  </a:cubicBezTo>
                  <a:cubicBezTo>
                    <a:pt x="578" y="431"/>
                    <a:pt x="576" y="431"/>
                    <a:pt x="575" y="430"/>
                  </a:cubicBezTo>
                  <a:cubicBezTo>
                    <a:pt x="575" y="430"/>
                    <a:pt x="574" y="430"/>
                    <a:pt x="574" y="429"/>
                  </a:cubicBezTo>
                  <a:cubicBezTo>
                    <a:pt x="573" y="429"/>
                    <a:pt x="572" y="430"/>
                    <a:pt x="571" y="430"/>
                  </a:cubicBezTo>
                  <a:cubicBezTo>
                    <a:pt x="569" y="431"/>
                    <a:pt x="569" y="428"/>
                    <a:pt x="567" y="427"/>
                  </a:cubicBezTo>
                  <a:cubicBezTo>
                    <a:pt x="566" y="427"/>
                    <a:pt x="565" y="426"/>
                    <a:pt x="564" y="427"/>
                  </a:cubicBezTo>
                  <a:cubicBezTo>
                    <a:pt x="562" y="428"/>
                    <a:pt x="562" y="430"/>
                    <a:pt x="561" y="432"/>
                  </a:cubicBezTo>
                  <a:cubicBezTo>
                    <a:pt x="560" y="433"/>
                    <a:pt x="559" y="433"/>
                    <a:pt x="558" y="433"/>
                  </a:cubicBezTo>
                  <a:cubicBezTo>
                    <a:pt x="558" y="432"/>
                    <a:pt x="558" y="432"/>
                    <a:pt x="558" y="432"/>
                  </a:cubicBezTo>
                  <a:cubicBezTo>
                    <a:pt x="558" y="432"/>
                    <a:pt x="557" y="431"/>
                    <a:pt x="558" y="431"/>
                  </a:cubicBezTo>
                  <a:cubicBezTo>
                    <a:pt x="558" y="430"/>
                    <a:pt x="559" y="429"/>
                    <a:pt x="560" y="429"/>
                  </a:cubicBezTo>
                  <a:cubicBezTo>
                    <a:pt x="561" y="428"/>
                    <a:pt x="561" y="426"/>
                    <a:pt x="561" y="425"/>
                  </a:cubicBezTo>
                  <a:cubicBezTo>
                    <a:pt x="561" y="424"/>
                    <a:pt x="560" y="423"/>
                    <a:pt x="559" y="421"/>
                  </a:cubicBezTo>
                  <a:cubicBezTo>
                    <a:pt x="559" y="420"/>
                    <a:pt x="559" y="419"/>
                    <a:pt x="559" y="418"/>
                  </a:cubicBezTo>
                  <a:cubicBezTo>
                    <a:pt x="559" y="415"/>
                    <a:pt x="558" y="413"/>
                    <a:pt x="559" y="410"/>
                  </a:cubicBezTo>
                  <a:cubicBezTo>
                    <a:pt x="560" y="409"/>
                    <a:pt x="560" y="407"/>
                    <a:pt x="560" y="406"/>
                  </a:cubicBezTo>
                  <a:cubicBezTo>
                    <a:pt x="560" y="405"/>
                    <a:pt x="562" y="405"/>
                    <a:pt x="563" y="405"/>
                  </a:cubicBezTo>
                  <a:cubicBezTo>
                    <a:pt x="563" y="405"/>
                    <a:pt x="563" y="406"/>
                    <a:pt x="564" y="406"/>
                  </a:cubicBezTo>
                  <a:cubicBezTo>
                    <a:pt x="565" y="407"/>
                    <a:pt x="566" y="407"/>
                    <a:pt x="568" y="408"/>
                  </a:cubicBezTo>
                  <a:cubicBezTo>
                    <a:pt x="568" y="408"/>
                    <a:pt x="569" y="408"/>
                    <a:pt x="570" y="408"/>
                  </a:cubicBezTo>
                  <a:cubicBezTo>
                    <a:pt x="570" y="406"/>
                    <a:pt x="569" y="403"/>
                    <a:pt x="571" y="402"/>
                  </a:cubicBezTo>
                  <a:cubicBezTo>
                    <a:pt x="572" y="401"/>
                    <a:pt x="572" y="401"/>
                    <a:pt x="573" y="401"/>
                  </a:cubicBezTo>
                  <a:cubicBezTo>
                    <a:pt x="573" y="399"/>
                    <a:pt x="572" y="398"/>
                    <a:pt x="573" y="397"/>
                  </a:cubicBezTo>
                  <a:cubicBezTo>
                    <a:pt x="573" y="397"/>
                    <a:pt x="573" y="396"/>
                    <a:pt x="573" y="396"/>
                  </a:cubicBezTo>
                  <a:cubicBezTo>
                    <a:pt x="574" y="391"/>
                    <a:pt x="574" y="387"/>
                    <a:pt x="574" y="383"/>
                  </a:cubicBezTo>
                  <a:cubicBezTo>
                    <a:pt x="575" y="381"/>
                    <a:pt x="576" y="380"/>
                    <a:pt x="576" y="378"/>
                  </a:cubicBezTo>
                  <a:cubicBezTo>
                    <a:pt x="575" y="378"/>
                    <a:pt x="575" y="378"/>
                    <a:pt x="575" y="377"/>
                  </a:cubicBezTo>
                  <a:cubicBezTo>
                    <a:pt x="574" y="376"/>
                    <a:pt x="575" y="375"/>
                    <a:pt x="575" y="374"/>
                  </a:cubicBezTo>
                  <a:cubicBezTo>
                    <a:pt x="575" y="373"/>
                    <a:pt x="574" y="373"/>
                    <a:pt x="574" y="373"/>
                  </a:cubicBezTo>
                  <a:cubicBezTo>
                    <a:pt x="574" y="373"/>
                    <a:pt x="573" y="373"/>
                    <a:pt x="573" y="373"/>
                  </a:cubicBezTo>
                  <a:cubicBezTo>
                    <a:pt x="572" y="372"/>
                    <a:pt x="572" y="372"/>
                    <a:pt x="571" y="371"/>
                  </a:cubicBezTo>
                  <a:cubicBezTo>
                    <a:pt x="570" y="371"/>
                    <a:pt x="569" y="372"/>
                    <a:pt x="568" y="372"/>
                  </a:cubicBezTo>
                  <a:cubicBezTo>
                    <a:pt x="567" y="374"/>
                    <a:pt x="566" y="376"/>
                    <a:pt x="564" y="376"/>
                  </a:cubicBezTo>
                  <a:cubicBezTo>
                    <a:pt x="561" y="377"/>
                    <a:pt x="559" y="378"/>
                    <a:pt x="557" y="379"/>
                  </a:cubicBezTo>
                  <a:cubicBezTo>
                    <a:pt x="555" y="380"/>
                    <a:pt x="553" y="380"/>
                    <a:pt x="550" y="379"/>
                  </a:cubicBezTo>
                  <a:cubicBezTo>
                    <a:pt x="550" y="379"/>
                    <a:pt x="549" y="378"/>
                    <a:pt x="548" y="378"/>
                  </a:cubicBezTo>
                  <a:cubicBezTo>
                    <a:pt x="547" y="377"/>
                    <a:pt x="546" y="377"/>
                    <a:pt x="546" y="376"/>
                  </a:cubicBezTo>
                  <a:cubicBezTo>
                    <a:pt x="546" y="376"/>
                    <a:pt x="545" y="375"/>
                    <a:pt x="545" y="375"/>
                  </a:cubicBezTo>
                  <a:cubicBezTo>
                    <a:pt x="545" y="374"/>
                    <a:pt x="545" y="373"/>
                    <a:pt x="545" y="372"/>
                  </a:cubicBezTo>
                  <a:cubicBezTo>
                    <a:pt x="545" y="371"/>
                    <a:pt x="543" y="370"/>
                    <a:pt x="543" y="370"/>
                  </a:cubicBezTo>
                  <a:cubicBezTo>
                    <a:pt x="542" y="369"/>
                    <a:pt x="543" y="368"/>
                    <a:pt x="542" y="367"/>
                  </a:cubicBezTo>
                  <a:cubicBezTo>
                    <a:pt x="541" y="365"/>
                    <a:pt x="539" y="367"/>
                    <a:pt x="537" y="366"/>
                  </a:cubicBezTo>
                  <a:cubicBezTo>
                    <a:pt x="536" y="364"/>
                    <a:pt x="535" y="363"/>
                    <a:pt x="534" y="361"/>
                  </a:cubicBezTo>
                  <a:cubicBezTo>
                    <a:pt x="533" y="360"/>
                    <a:pt x="531" y="359"/>
                    <a:pt x="530" y="360"/>
                  </a:cubicBezTo>
                  <a:cubicBezTo>
                    <a:pt x="529" y="360"/>
                    <a:pt x="527" y="360"/>
                    <a:pt x="526" y="360"/>
                  </a:cubicBezTo>
                  <a:cubicBezTo>
                    <a:pt x="525" y="360"/>
                    <a:pt x="524" y="359"/>
                    <a:pt x="523" y="358"/>
                  </a:cubicBezTo>
                  <a:cubicBezTo>
                    <a:pt x="522" y="358"/>
                    <a:pt x="521" y="358"/>
                    <a:pt x="521" y="358"/>
                  </a:cubicBezTo>
                  <a:cubicBezTo>
                    <a:pt x="520" y="358"/>
                    <a:pt x="520" y="358"/>
                    <a:pt x="519" y="357"/>
                  </a:cubicBezTo>
                  <a:cubicBezTo>
                    <a:pt x="517" y="355"/>
                    <a:pt x="515" y="352"/>
                    <a:pt x="514" y="350"/>
                  </a:cubicBezTo>
                  <a:cubicBezTo>
                    <a:pt x="514" y="349"/>
                    <a:pt x="513" y="348"/>
                    <a:pt x="513" y="348"/>
                  </a:cubicBezTo>
                  <a:cubicBezTo>
                    <a:pt x="512" y="347"/>
                    <a:pt x="512" y="346"/>
                    <a:pt x="512" y="345"/>
                  </a:cubicBezTo>
                  <a:cubicBezTo>
                    <a:pt x="512" y="343"/>
                    <a:pt x="510" y="343"/>
                    <a:pt x="509" y="342"/>
                  </a:cubicBezTo>
                  <a:cubicBezTo>
                    <a:pt x="507" y="339"/>
                    <a:pt x="504" y="337"/>
                    <a:pt x="502" y="334"/>
                  </a:cubicBezTo>
                  <a:cubicBezTo>
                    <a:pt x="502" y="331"/>
                    <a:pt x="500" y="328"/>
                    <a:pt x="499" y="326"/>
                  </a:cubicBezTo>
                  <a:cubicBezTo>
                    <a:pt x="498" y="325"/>
                    <a:pt x="498" y="324"/>
                    <a:pt x="498" y="324"/>
                  </a:cubicBezTo>
                  <a:cubicBezTo>
                    <a:pt x="496" y="322"/>
                    <a:pt x="495" y="320"/>
                    <a:pt x="492" y="319"/>
                  </a:cubicBezTo>
                  <a:cubicBezTo>
                    <a:pt x="490" y="319"/>
                    <a:pt x="487" y="319"/>
                    <a:pt x="485" y="319"/>
                  </a:cubicBezTo>
                  <a:cubicBezTo>
                    <a:pt x="485" y="319"/>
                    <a:pt x="484" y="318"/>
                    <a:pt x="483" y="318"/>
                  </a:cubicBezTo>
                  <a:cubicBezTo>
                    <a:pt x="481" y="318"/>
                    <a:pt x="479" y="317"/>
                    <a:pt x="477" y="316"/>
                  </a:cubicBezTo>
                  <a:cubicBezTo>
                    <a:pt x="475" y="316"/>
                    <a:pt x="473" y="316"/>
                    <a:pt x="470" y="317"/>
                  </a:cubicBezTo>
                  <a:cubicBezTo>
                    <a:pt x="469" y="318"/>
                    <a:pt x="468" y="319"/>
                    <a:pt x="467" y="319"/>
                  </a:cubicBezTo>
                  <a:cubicBezTo>
                    <a:pt x="465" y="319"/>
                    <a:pt x="462" y="319"/>
                    <a:pt x="460" y="319"/>
                  </a:cubicBezTo>
                  <a:cubicBezTo>
                    <a:pt x="458" y="320"/>
                    <a:pt x="458" y="321"/>
                    <a:pt x="458" y="323"/>
                  </a:cubicBezTo>
                  <a:cubicBezTo>
                    <a:pt x="457" y="323"/>
                    <a:pt x="457" y="324"/>
                    <a:pt x="456" y="324"/>
                  </a:cubicBezTo>
                  <a:cubicBezTo>
                    <a:pt x="455" y="325"/>
                    <a:pt x="454" y="326"/>
                    <a:pt x="455" y="327"/>
                  </a:cubicBezTo>
                  <a:cubicBezTo>
                    <a:pt x="457" y="327"/>
                    <a:pt x="459" y="326"/>
                    <a:pt x="460" y="327"/>
                  </a:cubicBezTo>
                  <a:cubicBezTo>
                    <a:pt x="461" y="329"/>
                    <a:pt x="461" y="331"/>
                    <a:pt x="461" y="333"/>
                  </a:cubicBezTo>
                  <a:cubicBezTo>
                    <a:pt x="460" y="334"/>
                    <a:pt x="460" y="335"/>
                    <a:pt x="459" y="335"/>
                  </a:cubicBezTo>
                  <a:cubicBezTo>
                    <a:pt x="458" y="337"/>
                    <a:pt x="456" y="339"/>
                    <a:pt x="455" y="341"/>
                  </a:cubicBezTo>
                  <a:cubicBezTo>
                    <a:pt x="455" y="343"/>
                    <a:pt x="455" y="345"/>
                    <a:pt x="454" y="347"/>
                  </a:cubicBezTo>
                  <a:cubicBezTo>
                    <a:pt x="454" y="347"/>
                    <a:pt x="454" y="347"/>
                    <a:pt x="454" y="348"/>
                  </a:cubicBezTo>
                  <a:cubicBezTo>
                    <a:pt x="454" y="349"/>
                    <a:pt x="453" y="349"/>
                    <a:pt x="454" y="350"/>
                  </a:cubicBezTo>
                  <a:cubicBezTo>
                    <a:pt x="455" y="351"/>
                    <a:pt x="455" y="353"/>
                    <a:pt x="454" y="353"/>
                  </a:cubicBezTo>
                  <a:cubicBezTo>
                    <a:pt x="453" y="355"/>
                    <a:pt x="451" y="357"/>
                    <a:pt x="449" y="357"/>
                  </a:cubicBezTo>
                  <a:cubicBezTo>
                    <a:pt x="448" y="358"/>
                    <a:pt x="447" y="358"/>
                    <a:pt x="446" y="359"/>
                  </a:cubicBezTo>
                  <a:cubicBezTo>
                    <a:pt x="445" y="359"/>
                    <a:pt x="444" y="359"/>
                    <a:pt x="443" y="359"/>
                  </a:cubicBezTo>
                  <a:cubicBezTo>
                    <a:pt x="442" y="358"/>
                    <a:pt x="441" y="357"/>
                    <a:pt x="439" y="357"/>
                  </a:cubicBezTo>
                  <a:cubicBezTo>
                    <a:pt x="439" y="356"/>
                    <a:pt x="438" y="356"/>
                    <a:pt x="437" y="356"/>
                  </a:cubicBezTo>
                  <a:cubicBezTo>
                    <a:pt x="437" y="356"/>
                    <a:pt x="437" y="355"/>
                    <a:pt x="436" y="355"/>
                  </a:cubicBezTo>
                  <a:cubicBezTo>
                    <a:pt x="436" y="355"/>
                    <a:pt x="435" y="355"/>
                    <a:pt x="435" y="355"/>
                  </a:cubicBezTo>
                  <a:cubicBezTo>
                    <a:pt x="435" y="355"/>
                    <a:pt x="435" y="355"/>
                    <a:pt x="435" y="355"/>
                  </a:cubicBezTo>
                  <a:cubicBezTo>
                    <a:pt x="433" y="353"/>
                    <a:pt x="430" y="355"/>
                    <a:pt x="427" y="354"/>
                  </a:cubicBezTo>
                  <a:cubicBezTo>
                    <a:pt x="425" y="354"/>
                    <a:pt x="424" y="352"/>
                    <a:pt x="422" y="352"/>
                  </a:cubicBezTo>
                  <a:cubicBezTo>
                    <a:pt x="421" y="351"/>
                    <a:pt x="420" y="351"/>
                    <a:pt x="419" y="352"/>
                  </a:cubicBezTo>
                  <a:cubicBezTo>
                    <a:pt x="419" y="352"/>
                    <a:pt x="418" y="352"/>
                    <a:pt x="417" y="353"/>
                  </a:cubicBezTo>
                  <a:cubicBezTo>
                    <a:pt x="417" y="353"/>
                    <a:pt x="416" y="353"/>
                    <a:pt x="416" y="353"/>
                  </a:cubicBezTo>
                  <a:cubicBezTo>
                    <a:pt x="414" y="355"/>
                    <a:pt x="413" y="357"/>
                    <a:pt x="410" y="358"/>
                  </a:cubicBezTo>
                  <a:cubicBezTo>
                    <a:pt x="408" y="360"/>
                    <a:pt x="405" y="358"/>
                    <a:pt x="403" y="360"/>
                  </a:cubicBezTo>
                  <a:cubicBezTo>
                    <a:pt x="403" y="360"/>
                    <a:pt x="402" y="361"/>
                    <a:pt x="402" y="361"/>
                  </a:cubicBezTo>
                  <a:cubicBezTo>
                    <a:pt x="400" y="362"/>
                    <a:pt x="399" y="362"/>
                    <a:pt x="397" y="362"/>
                  </a:cubicBezTo>
                  <a:cubicBezTo>
                    <a:pt x="393" y="362"/>
                    <a:pt x="389" y="362"/>
                    <a:pt x="384" y="362"/>
                  </a:cubicBezTo>
                  <a:cubicBezTo>
                    <a:pt x="382" y="360"/>
                    <a:pt x="379" y="362"/>
                    <a:pt x="376" y="360"/>
                  </a:cubicBezTo>
                  <a:cubicBezTo>
                    <a:pt x="373" y="359"/>
                    <a:pt x="372" y="356"/>
                    <a:pt x="369" y="355"/>
                  </a:cubicBezTo>
                  <a:cubicBezTo>
                    <a:pt x="368" y="355"/>
                    <a:pt x="367" y="355"/>
                    <a:pt x="366" y="355"/>
                  </a:cubicBezTo>
                  <a:cubicBezTo>
                    <a:pt x="365" y="355"/>
                    <a:pt x="365" y="354"/>
                    <a:pt x="364" y="354"/>
                  </a:cubicBezTo>
                  <a:cubicBezTo>
                    <a:pt x="362" y="351"/>
                    <a:pt x="357" y="349"/>
                    <a:pt x="353" y="350"/>
                  </a:cubicBezTo>
                  <a:cubicBezTo>
                    <a:pt x="353" y="350"/>
                    <a:pt x="352" y="351"/>
                    <a:pt x="351" y="351"/>
                  </a:cubicBezTo>
                  <a:cubicBezTo>
                    <a:pt x="349" y="352"/>
                    <a:pt x="347" y="352"/>
                    <a:pt x="345" y="353"/>
                  </a:cubicBezTo>
                  <a:cubicBezTo>
                    <a:pt x="344" y="353"/>
                    <a:pt x="342" y="353"/>
                    <a:pt x="341" y="353"/>
                  </a:cubicBezTo>
                  <a:cubicBezTo>
                    <a:pt x="341" y="353"/>
                    <a:pt x="340" y="352"/>
                    <a:pt x="339" y="352"/>
                  </a:cubicBezTo>
                  <a:cubicBezTo>
                    <a:pt x="337" y="352"/>
                    <a:pt x="335" y="352"/>
                    <a:pt x="333" y="351"/>
                  </a:cubicBezTo>
                  <a:cubicBezTo>
                    <a:pt x="332" y="351"/>
                    <a:pt x="331" y="351"/>
                    <a:pt x="330" y="350"/>
                  </a:cubicBezTo>
                  <a:cubicBezTo>
                    <a:pt x="330" y="350"/>
                    <a:pt x="330" y="349"/>
                    <a:pt x="330" y="349"/>
                  </a:cubicBezTo>
                  <a:cubicBezTo>
                    <a:pt x="330" y="348"/>
                    <a:pt x="329" y="347"/>
                    <a:pt x="328" y="347"/>
                  </a:cubicBezTo>
                  <a:cubicBezTo>
                    <a:pt x="328" y="346"/>
                    <a:pt x="328" y="345"/>
                    <a:pt x="328" y="345"/>
                  </a:cubicBezTo>
                  <a:cubicBezTo>
                    <a:pt x="327" y="344"/>
                    <a:pt x="326" y="343"/>
                    <a:pt x="326" y="343"/>
                  </a:cubicBezTo>
                  <a:cubicBezTo>
                    <a:pt x="326" y="342"/>
                    <a:pt x="326" y="341"/>
                    <a:pt x="326" y="341"/>
                  </a:cubicBezTo>
                  <a:cubicBezTo>
                    <a:pt x="325" y="339"/>
                    <a:pt x="324" y="338"/>
                    <a:pt x="323" y="338"/>
                  </a:cubicBezTo>
                  <a:cubicBezTo>
                    <a:pt x="321" y="337"/>
                    <a:pt x="320" y="337"/>
                    <a:pt x="318" y="337"/>
                  </a:cubicBezTo>
                  <a:cubicBezTo>
                    <a:pt x="317" y="337"/>
                    <a:pt x="315" y="336"/>
                    <a:pt x="314" y="336"/>
                  </a:cubicBezTo>
                  <a:cubicBezTo>
                    <a:pt x="312" y="335"/>
                    <a:pt x="309" y="336"/>
                    <a:pt x="307" y="335"/>
                  </a:cubicBezTo>
                  <a:cubicBezTo>
                    <a:pt x="305" y="334"/>
                    <a:pt x="303" y="333"/>
                    <a:pt x="301" y="332"/>
                  </a:cubicBezTo>
                  <a:cubicBezTo>
                    <a:pt x="300" y="332"/>
                    <a:pt x="299" y="331"/>
                    <a:pt x="299" y="332"/>
                  </a:cubicBezTo>
                  <a:cubicBezTo>
                    <a:pt x="298" y="333"/>
                    <a:pt x="297" y="334"/>
                    <a:pt x="297" y="336"/>
                  </a:cubicBezTo>
                  <a:cubicBezTo>
                    <a:pt x="297" y="337"/>
                    <a:pt x="295" y="336"/>
                    <a:pt x="294" y="337"/>
                  </a:cubicBezTo>
                  <a:cubicBezTo>
                    <a:pt x="294" y="337"/>
                    <a:pt x="294" y="338"/>
                    <a:pt x="294" y="339"/>
                  </a:cubicBezTo>
                  <a:cubicBezTo>
                    <a:pt x="293" y="340"/>
                    <a:pt x="292" y="340"/>
                    <a:pt x="291" y="341"/>
                  </a:cubicBezTo>
                  <a:cubicBezTo>
                    <a:pt x="291" y="342"/>
                    <a:pt x="291" y="343"/>
                    <a:pt x="292" y="344"/>
                  </a:cubicBezTo>
                  <a:cubicBezTo>
                    <a:pt x="293" y="345"/>
                    <a:pt x="295" y="345"/>
                    <a:pt x="296" y="347"/>
                  </a:cubicBezTo>
                  <a:cubicBezTo>
                    <a:pt x="297" y="349"/>
                    <a:pt x="296" y="350"/>
                    <a:pt x="296" y="352"/>
                  </a:cubicBezTo>
                  <a:cubicBezTo>
                    <a:pt x="297" y="352"/>
                    <a:pt x="297" y="352"/>
                    <a:pt x="298" y="353"/>
                  </a:cubicBezTo>
                  <a:cubicBezTo>
                    <a:pt x="298" y="353"/>
                    <a:pt x="298" y="353"/>
                    <a:pt x="298" y="353"/>
                  </a:cubicBezTo>
                  <a:cubicBezTo>
                    <a:pt x="299" y="355"/>
                    <a:pt x="298" y="356"/>
                    <a:pt x="297" y="356"/>
                  </a:cubicBezTo>
                  <a:cubicBezTo>
                    <a:pt x="295" y="357"/>
                    <a:pt x="294" y="356"/>
                    <a:pt x="292" y="357"/>
                  </a:cubicBezTo>
                  <a:cubicBezTo>
                    <a:pt x="291" y="357"/>
                    <a:pt x="289" y="357"/>
                    <a:pt x="288" y="357"/>
                  </a:cubicBezTo>
                  <a:cubicBezTo>
                    <a:pt x="286" y="356"/>
                    <a:pt x="285" y="356"/>
                    <a:pt x="283" y="355"/>
                  </a:cubicBezTo>
                  <a:cubicBezTo>
                    <a:pt x="283" y="355"/>
                    <a:pt x="282" y="355"/>
                    <a:pt x="282" y="355"/>
                  </a:cubicBezTo>
                  <a:cubicBezTo>
                    <a:pt x="281" y="355"/>
                    <a:pt x="279" y="355"/>
                    <a:pt x="278" y="356"/>
                  </a:cubicBezTo>
                  <a:cubicBezTo>
                    <a:pt x="277" y="356"/>
                    <a:pt x="275" y="355"/>
                    <a:pt x="274" y="354"/>
                  </a:cubicBezTo>
                  <a:cubicBezTo>
                    <a:pt x="273" y="353"/>
                    <a:pt x="272" y="354"/>
                    <a:pt x="271" y="354"/>
                  </a:cubicBezTo>
                  <a:cubicBezTo>
                    <a:pt x="270" y="353"/>
                    <a:pt x="271" y="352"/>
                    <a:pt x="269" y="352"/>
                  </a:cubicBezTo>
                  <a:cubicBezTo>
                    <a:pt x="269" y="350"/>
                    <a:pt x="270" y="349"/>
                    <a:pt x="269" y="348"/>
                  </a:cubicBezTo>
                  <a:cubicBezTo>
                    <a:pt x="269" y="347"/>
                    <a:pt x="268" y="347"/>
                    <a:pt x="267" y="347"/>
                  </a:cubicBezTo>
                  <a:cubicBezTo>
                    <a:pt x="265" y="348"/>
                    <a:pt x="263" y="347"/>
                    <a:pt x="261" y="346"/>
                  </a:cubicBezTo>
                  <a:cubicBezTo>
                    <a:pt x="260" y="346"/>
                    <a:pt x="259" y="346"/>
                    <a:pt x="258" y="345"/>
                  </a:cubicBezTo>
                  <a:cubicBezTo>
                    <a:pt x="257" y="345"/>
                    <a:pt x="255" y="346"/>
                    <a:pt x="254" y="345"/>
                  </a:cubicBezTo>
                  <a:cubicBezTo>
                    <a:pt x="253" y="345"/>
                    <a:pt x="252" y="345"/>
                    <a:pt x="251" y="344"/>
                  </a:cubicBezTo>
                  <a:cubicBezTo>
                    <a:pt x="251" y="344"/>
                    <a:pt x="250" y="344"/>
                    <a:pt x="249" y="345"/>
                  </a:cubicBezTo>
                  <a:cubicBezTo>
                    <a:pt x="248" y="346"/>
                    <a:pt x="247" y="347"/>
                    <a:pt x="246" y="348"/>
                  </a:cubicBezTo>
                  <a:cubicBezTo>
                    <a:pt x="245" y="348"/>
                    <a:pt x="245" y="349"/>
                    <a:pt x="245" y="349"/>
                  </a:cubicBezTo>
                  <a:cubicBezTo>
                    <a:pt x="244" y="349"/>
                    <a:pt x="242" y="348"/>
                    <a:pt x="241" y="349"/>
                  </a:cubicBezTo>
                  <a:cubicBezTo>
                    <a:pt x="239" y="350"/>
                    <a:pt x="238" y="352"/>
                    <a:pt x="237" y="355"/>
                  </a:cubicBezTo>
                  <a:cubicBezTo>
                    <a:pt x="236" y="355"/>
                    <a:pt x="236" y="355"/>
                    <a:pt x="235" y="356"/>
                  </a:cubicBezTo>
                  <a:cubicBezTo>
                    <a:pt x="234" y="357"/>
                    <a:pt x="233" y="358"/>
                    <a:pt x="233" y="359"/>
                  </a:cubicBezTo>
                  <a:cubicBezTo>
                    <a:pt x="232" y="360"/>
                    <a:pt x="231" y="360"/>
                    <a:pt x="230" y="361"/>
                  </a:cubicBezTo>
                  <a:cubicBezTo>
                    <a:pt x="228" y="361"/>
                    <a:pt x="226" y="360"/>
                    <a:pt x="224" y="361"/>
                  </a:cubicBezTo>
                  <a:cubicBezTo>
                    <a:pt x="223" y="362"/>
                    <a:pt x="222" y="364"/>
                    <a:pt x="222" y="366"/>
                  </a:cubicBezTo>
                  <a:cubicBezTo>
                    <a:pt x="220" y="366"/>
                    <a:pt x="218" y="365"/>
                    <a:pt x="216" y="366"/>
                  </a:cubicBezTo>
                  <a:cubicBezTo>
                    <a:pt x="214" y="365"/>
                    <a:pt x="212" y="365"/>
                    <a:pt x="211" y="363"/>
                  </a:cubicBezTo>
                  <a:cubicBezTo>
                    <a:pt x="210" y="363"/>
                    <a:pt x="210" y="362"/>
                    <a:pt x="210" y="361"/>
                  </a:cubicBezTo>
                  <a:cubicBezTo>
                    <a:pt x="209" y="360"/>
                    <a:pt x="210" y="359"/>
                    <a:pt x="209" y="359"/>
                  </a:cubicBezTo>
                  <a:cubicBezTo>
                    <a:pt x="208" y="358"/>
                    <a:pt x="207" y="358"/>
                    <a:pt x="206" y="359"/>
                  </a:cubicBezTo>
                  <a:cubicBezTo>
                    <a:pt x="205" y="359"/>
                    <a:pt x="205" y="359"/>
                    <a:pt x="204" y="360"/>
                  </a:cubicBezTo>
                  <a:cubicBezTo>
                    <a:pt x="203" y="360"/>
                    <a:pt x="202" y="360"/>
                    <a:pt x="201" y="360"/>
                  </a:cubicBezTo>
                  <a:cubicBezTo>
                    <a:pt x="201" y="359"/>
                    <a:pt x="200" y="359"/>
                    <a:pt x="199" y="358"/>
                  </a:cubicBezTo>
                  <a:cubicBezTo>
                    <a:pt x="198" y="358"/>
                    <a:pt x="197" y="357"/>
                    <a:pt x="196" y="356"/>
                  </a:cubicBezTo>
                  <a:cubicBezTo>
                    <a:pt x="196" y="355"/>
                    <a:pt x="196" y="354"/>
                    <a:pt x="196" y="353"/>
                  </a:cubicBezTo>
                  <a:cubicBezTo>
                    <a:pt x="196" y="353"/>
                    <a:pt x="195" y="352"/>
                    <a:pt x="195" y="352"/>
                  </a:cubicBezTo>
                  <a:cubicBezTo>
                    <a:pt x="194" y="351"/>
                    <a:pt x="192" y="352"/>
                    <a:pt x="191" y="351"/>
                  </a:cubicBezTo>
                  <a:cubicBezTo>
                    <a:pt x="190" y="349"/>
                    <a:pt x="187" y="348"/>
                    <a:pt x="186" y="346"/>
                  </a:cubicBezTo>
                  <a:cubicBezTo>
                    <a:pt x="185" y="344"/>
                    <a:pt x="183" y="343"/>
                    <a:pt x="181" y="344"/>
                  </a:cubicBezTo>
                  <a:cubicBezTo>
                    <a:pt x="180" y="344"/>
                    <a:pt x="180" y="345"/>
                    <a:pt x="179" y="345"/>
                  </a:cubicBezTo>
                  <a:cubicBezTo>
                    <a:pt x="177" y="346"/>
                    <a:pt x="176" y="345"/>
                    <a:pt x="175" y="345"/>
                  </a:cubicBezTo>
                  <a:cubicBezTo>
                    <a:pt x="173" y="344"/>
                    <a:pt x="172" y="345"/>
                    <a:pt x="170" y="346"/>
                  </a:cubicBezTo>
                  <a:cubicBezTo>
                    <a:pt x="170" y="347"/>
                    <a:pt x="169" y="347"/>
                    <a:pt x="168" y="346"/>
                  </a:cubicBezTo>
                  <a:cubicBezTo>
                    <a:pt x="167" y="345"/>
                    <a:pt x="166" y="344"/>
                    <a:pt x="166" y="342"/>
                  </a:cubicBezTo>
                  <a:cubicBezTo>
                    <a:pt x="166" y="342"/>
                    <a:pt x="165" y="341"/>
                    <a:pt x="165" y="341"/>
                  </a:cubicBezTo>
                  <a:cubicBezTo>
                    <a:pt x="164" y="341"/>
                    <a:pt x="163" y="341"/>
                    <a:pt x="162" y="342"/>
                  </a:cubicBezTo>
                  <a:cubicBezTo>
                    <a:pt x="161" y="342"/>
                    <a:pt x="160" y="343"/>
                    <a:pt x="159" y="344"/>
                  </a:cubicBezTo>
                  <a:cubicBezTo>
                    <a:pt x="159" y="345"/>
                    <a:pt x="158" y="344"/>
                    <a:pt x="157" y="343"/>
                  </a:cubicBezTo>
                  <a:cubicBezTo>
                    <a:pt x="157" y="343"/>
                    <a:pt x="157" y="342"/>
                    <a:pt x="157" y="342"/>
                  </a:cubicBezTo>
                  <a:cubicBezTo>
                    <a:pt x="156" y="342"/>
                    <a:pt x="156" y="341"/>
                    <a:pt x="156" y="341"/>
                  </a:cubicBezTo>
                  <a:cubicBezTo>
                    <a:pt x="153" y="337"/>
                    <a:pt x="151" y="334"/>
                    <a:pt x="147" y="331"/>
                  </a:cubicBezTo>
                  <a:cubicBezTo>
                    <a:pt x="147" y="331"/>
                    <a:pt x="146" y="330"/>
                    <a:pt x="145" y="330"/>
                  </a:cubicBezTo>
                  <a:cubicBezTo>
                    <a:pt x="143" y="328"/>
                    <a:pt x="141" y="326"/>
                    <a:pt x="139" y="324"/>
                  </a:cubicBezTo>
                  <a:cubicBezTo>
                    <a:pt x="138" y="321"/>
                    <a:pt x="135" y="319"/>
                    <a:pt x="133" y="317"/>
                  </a:cubicBezTo>
                  <a:cubicBezTo>
                    <a:pt x="131" y="315"/>
                    <a:pt x="128" y="313"/>
                    <a:pt x="126" y="311"/>
                  </a:cubicBezTo>
                  <a:cubicBezTo>
                    <a:pt x="126" y="311"/>
                    <a:pt x="126" y="310"/>
                    <a:pt x="126" y="310"/>
                  </a:cubicBezTo>
                  <a:cubicBezTo>
                    <a:pt x="127" y="309"/>
                    <a:pt x="127" y="308"/>
                    <a:pt x="127" y="307"/>
                  </a:cubicBezTo>
                  <a:cubicBezTo>
                    <a:pt x="124" y="307"/>
                    <a:pt x="122" y="309"/>
                    <a:pt x="120" y="310"/>
                  </a:cubicBezTo>
                  <a:cubicBezTo>
                    <a:pt x="118" y="312"/>
                    <a:pt x="116" y="312"/>
                    <a:pt x="115" y="314"/>
                  </a:cubicBezTo>
                  <a:cubicBezTo>
                    <a:pt x="114" y="314"/>
                    <a:pt x="114" y="315"/>
                    <a:pt x="114" y="315"/>
                  </a:cubicBezTo>
                  <a:cubicBezTo>
                    <a:pt x="113" y="315"/>
                    <a:pt x="113" y="315"/>
                    <a:pt x="113" y="315"/>
                  </a:cubicBezTo>
                  <a:cubicBezTo>
                    <a:pt x="111" y="316"/>
                    <a:pt x="110" y="316"/>
                    <a:pt x="109" y="316"/>
                  </a:cubicBezTo>
                  <a:cubicBezTo>
                    <a:pt x="109" y="316"/>
                    <a:pt x="108" y="316"/>
                    <a:pt x="108" y="316"/>
                  </a:cubicBezTo>
                  <a:cubicBezTo>
                    <a:pt x="107" y="317"/>
                    <a:pt x="105" y="317"/>
                    <a:pt x="104" y="316"/>
                  </a:cubicBezTo>
                  <a:cubicBezTo>
                    <a:pt x="104" y="316"/>
                    <a:pt x="104" y="315"/>
                    <a:pt x="104" y="314"/>
                  </a:cubicBezTo>
                  <a:cubicBezTo>
                    <a:pt x="105" y="314"/>
                    <a:pt x="106" y="313"/>
                    <a:pt x="105" y="312"/>
                  </a:cubicBezTo>
                  <a:cubicBezTo>
                    <a:pt x="105" y="311"/>
                    <a:pt x="105" y="311"/>
                    <a:pt x="104" y="311"/>
                  </a:cubicBezTo>
                  <a:cubicBezTo>
                    <a:pt x="101" y="311"/>
                    <a:pt x="98" y="310"/>
                    <a:pt x="96" y="308"/>
                  </a:cubicBezTo>
                  <a:cubicBezTo>
                    <a:pt x="92" y="308"/>
                    <a:pt x="89" y="309"/>
                    <a:pt x="86" y="307"/>
                  </a:cubicBezTo>
                  <a:cubicBezTo>
                    <a:pt x="86" y="304"/>
                    <a:pt x="86" y="302"/>
                    <a:pt x="86" y="300"/>
                  </a:cubicBezTo>
                  <a:cubicBezTo>
                    <a:pt x="85" y="299"/>
                    <a:pt x="85" y="298"/>
                    <a:pt x="84" y="298"/>
                  </a:cubicBezTo>
                  <a:cubicBezTo>
                    <a:pt x="82" y="296"/>
                    <a:pt x="80" y="296"/>
                    <a:pt x="78" y="296"/>
                  </a:cubicBezTo>
                  <a:cubicBezTo>
                    <a:pt x="77" y="296"/>
                    <a:pt x="77" y="295"/>
                    <a:pt x="76" y="295"/>
                  </a:cubicBezTo>
                  <a:cubicBezTo>
                    <a:pt x="74" y="295"/>
                    <a:pt x="72" y="295"/>
                    <a:pt x="70" y="295"/>
                  </a:cubicBezTo>
                  <a:cubicBezTo>
                    <a:pt x="70" y="295"/>
                    <a:pt x="67" y="296"/>
                    <a:pt x="67" y="296"/>
                  </a:cubicBezTo>
                  <a:cubicBezTo>
                    <a:pt x="65" y="298"/>
                    <a:pt x="63" y="301"/>
                    <a:pt x="60" y="301"/>
                  </a:cubicBezTo>
                  <a:cubicBezTo>
                    <a:pt x="60" y="302"/>
                    <a:pt x="59" y="302"/>
                    <a:pt x="58" y="302"/>
                  </a:cubicBezTo>
                  <a:cubicBezTo>
                    <a:pt x="56" y="302"/>
                    <a:pt x="54" y="302"/>
                    <a:pt x="51" y="302"/>
                  </a:cubicBezTo>
                  <a:cubicBezTo>
                    <a:pt x="51" y="303"/>
                    <a:pt x="50" y="303"/>
                    <a:pt x="49" y="303"/>
                  </a:cubicBezTo>
                  <a:cubicBezTo>
                    <a:pt x="48" y="303"/>
                    <a:pt x="47" y="303"/>
                    <a:pt x="45" y="303"/>
                  </a:cubicBezTo>
                  <a:cubicBezTo>
                    <a:pt x="42" y="305"/>
                    <a:pt x="39" y="306"/>
                    <a:pt x="35" y="308"/>
                  </a:cubicBezTo>
                  <a:cubicBezTo>
                    <a:pt x="34" y="308"/>
                    <a:pt x="34" y="308"/>
                    <a:pt x="33" y="308"/>
                  </a:cubicBezTo>
                  <a:cubicBezTo>
                    <a:pt x="31" y="309"/>
                    <a:pt x="30" y="308"/>
                    <a:pt x="28" y="309"/>
                  </a:cubicBezTo>
                  <a:cubicBezTo>
                    <a:pt x="28" y="309"/>
                    <a:pt x="27" y="309"/>
                    <a:pt x="26" y="310"/>
                  </a:cubicBezTo>
                  <a:cubicBezTo>
                    <a:pt x="26" y="310"/>
                    <a:pt x="21" y="291"/>
                    <a:pt x="21" y="28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8" name="Freeform 272"/>
            <p:cNvSpPr>
              <a:spLocks/>
            </p:cNvSpPr>
            <p:nvPr/>
          </p:nvSpPr>
          <p:spPr bwMode="auto">
            <a:xfrm>
              <a:off x="7204667" y="3186934"/>
              <a:ext cx="1756" cy="2974"/>
            </a:xfrm>
            <a:custGeom>
              <a:avLst/>
              <a:gdLst>
                <a:gd name="T0" fmla="*/ 2497529 w 4"/>
                <a:gd name="T1" fmla="*/ 0 h 6"/>
                <a:gd name="T2" fmla="*/ 0 w 4"/>
                <a:gd name="T3" fmla="*/ 2243220 h 6"/>
                <a:gd name="T4" fmla="*/ 4450654 w 4"/>
                <a:gd name="T5" fmla="*/ 2970751 h 6"/>
                <a:gd name="T6" fmla="*/ 6243820 w 4"/>
                <a:gd name="T7" fmla="*/ 2243220 h 6"/>
                <a:gd name="T8" fmla="*/ 6243820 w 4"/>
                <a:gd name="T9" fmla="*/ 727531 h 6"/>
                <a:gd name="T10" fmla="*/ 2497529 w 4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1" y="0"/>
                  </a:moveTo>
                  <a:cubicBezTo>
                    <a:pt x="0" y="0"/>
                    <a:pt x="0" y="2"/>
                    <a:pt x="0" y="3"/>
                  </a:cubicBezTo>
                  <a:cubicBezTo>
                    <a:pt x="1" y="4"/>
                    <a:pt x="1" y="6"/>
                    <a:pt x="2" y="4"/>
                  </a:cubicBezTo>
                  <a:cubicBezTo>
                    <a:pt x="3" y="4"/>
                    <a:pt x="3" y="3"/>
                    <a:pt x="3" y="3"/>
                  </a:cubicBezTo>
                  <a:cubicBezTo>
                    <a:pt x="4" y="2"/>
                    <a:pt x="4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9" name="Freeform 273"/>
            <p:cNvSpPr>
              <a:spLocks/>
            </p:cNvSpPr>
            <p:nvPr/>
          </p:nvSpPr>
          <p:spPr bwMode="auto">
            <a:xfrm>
              <a:off x="7256839" y="3157462"/>
              <a:ext cx="16806" cy="12437"/>
            </a:xfrm>
            <a:custGeom>
              <a:avLst/>
              <a:gdLst>
                <a:gd name="T0" fmla="*/ 28785776 w 36"/>
                <a:gd name="T1" fmla="*/ 10127813 h 26"/>
                <a:gd name="T2" fmla="*/ 21259350 w 36"/>
                <a:gd name="T3" fmla="*/ 5038211 h 26"/>
                <a:gd name="T4" fmla="*/ 17710644 w 36"/>
                <a:gd name="T5" fmla="*/ 4316773 h 26"/>
                <a:gd name="T6" fmla="*/ 17075317 w 36"/>
                <a:gd name="T7" fmla="*/ 6922623 h 26"/>
                <a:gd name="T8" fmla="*/ 17075317 w 36"/>
                <a:gd name="T9" fmla="*/ 6922623 h 26"/>
                <a:gd name="T10" fmla="*/ 15729730 w 36"/>
                <a:gd name="T11" fmla="*/ 2476837 h 26"/>
                <a:gd name="T12" fmla="*/ 12191625 w 36"/>
                <a:gd name="T13" fmla="*/ 1839936 h 26"/>
                <a:gd name="T14" fmla="*/ 11049821 w 36"/>
                <a:gd name="T15" fmla="*/ 4316773 h 26"/>
                <a:gd name="T16" fmla="*/ 8379337 w 36"/>
                <a:gd name="T17" fmla="*/ 3198282 h 26"/>
                <a:gd name="T18" fmla="*/ 7500980 w 36"/>
                <a:gd name="T19" fmla="*/ 3198282 h 26"/>
                <a:gd name="T20" fmla="*/ 5519055 w 36"/>
                <a:gd name="T21" fmla="*/ 6922623 h 26"/>
                <a:gd name="T22" fmla="*/ 4679924 w 36"/>
                <a:gd name="T23" fmla="*/ 11156751 h 26"/>
                <a:gd name="T24" fmla="*/ 3548896 w 36"/>
                <a:gd name="T25" fmla="*/ 11820412 h 26"/>
                <a:gd name="T26" fmla="*/ 1982086 w 36"/>
                <a:gd name="T27" fmla="*/ 13633585 h 26"/>
                <a:gd name="T28" fmla="*/ 839472 w 36"/>
                <a:gd name="T29" fmla="*/ 14406455 h 26"/>
                <a:gd name="T30" fmla="*/ 839472 w 36"/>
                <a:gd name="T31" fmla="*/ 21921488 h 26"/>
                <a:gd name="T32" fmla="*/ 1982086 w 36"/>
                <a:gd name="T33" fmla="*/ 21921488 h 26"/>
                <a:gd name="T34" fmla="*/ 8379337 w 36"/>
                <a:gd name="T35" fmla="*/ 19444641 h 26"/>
                <a:gd name="T36" fmla="*/ 10210418 w 36"/>
                <a:gd name="T37" fmla="*/ 18660434 h 26"/>
                <a:gd name="T38" fmla="*/ 17710644 w 36"/>
                <a:gd name="T39" fmla="*/ 18660434 h 26"/>
                <a:gd name="T40" fmla="*/ 23229971 w 36"/>
                <a:gd name="T41" fmla="*/ 17604740 h 26"/>
                <a:gd name="T42" fmla="*/ 28123853 w 36"/>
                <a:gd name="T43" fmla="*/ 17604740 h 26"/>
                <a:gd name="T44" fmla="*/ 30767843 w 36"/>
                <a:gd name="T45" fmla="*/ 16821088 h 26"/>
                <a:gd name="T46" fmla="*/ 32815247 w 36"/>
                <a:gd name="T47" fmla="*/ 15127963 h 26"/>
                <a:gd name="T48" fmla="*/ 32815247 w 36"/>
                <a:gd name="T49" fmla="*/ 12522682 h 26"/>
                <a:gd name="T50" fmla="*/ 30767843 w 36"/>
                <a:gd name="T51" fmla="*/ 11156751 h 26"/>
                <a:gd name="T52" fmla="*/ 28785776 w 36"/>
                <a:gd name="T53" fmla="*/ 10127813 h 2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6"/>
                <a:gd name="T82" fmla="*/ 0 h 26"/>
                <a:gd name="T83" fmla="*/ 36 w 36"/>
                <a:gd name="T84" fmla="*/ 26 h 2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6" h="26">
                  <a:moveTo>
                    <a:pt x="31" y="12"/>
                  </a:moveTo>
                  <a:cubicBezTo>
                    <a:pt x="29" y="9"/>
                    <a:pt x="26" y="8"/>
                    <a:pt x="23" y="6"/>
                  </a:cubicBezTo>
                  <a:cubicBezTo>
                    <a:pt x="22" y="5"/>
                    <a:pt x="21" y="4"/>
                    <a:pt x="19" y="5"/>
                  </a:cubicBezTo>
                  <a:cubicBezTo>
                    <a:pt x="19" y="5"/>
                    <a:pt x="19" y="7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6"/>
                    <a:pt x="18" y="4"/>
                    <a:pt x="17" y="3"/>
                  </a:cubicBezTo>
                  <a:cubicBezTo>
                    <a:pt x="17" y="2"/>
                    <a:pt x="15" y="0"/>
                    <a:pt x="13" y="2"/>
                  </a:cubicBezTo>
                  <a:cubicBezTo>
                    <a:pt x="12" y="2"/>
                    <a:pt x="13" y="4"/>
                    <a:pt x="12" y="5"/>
                  </a:cubicBezTo>
                  <a:cubicBezTo>
                    <a:pt x="11" y="6"/>
                    <a:pt x="10" y="5"/>
                    <a:pt x="9" y="4"/>
                  </a:cubicBezTo>
                  <a:cubicBezTo>
                    <a:pt x="9" y="4"/>
                    <a:pt x="8" y="4"/>
                    <a:pt x="8" y="4"/>
                  </a:cubicBezTo>
                  <a:cubicBezTo>
                    <a:pt x="7" y="5"/>
                    <a:pt x="7" y="6"/>
                    <a:pt x="6" y="8"/>
                  </a:cubicBezTo>
                  <a:cubicBezTo>
                    <a:pt x="5" y="9"/>
                    <a:pt x="6" y="11"/>
                    <a:pt x="5" y="13"/>
                  </a:cubicBezTo>
                  <a:cubicBezTo>
                    <a:pt x="5" y="13"/>
                    <a:pt x="4" y="13"/>
                    <a:pt x="4" y="14"/>
                  </a:cubicBezTo>
                  <a:cubicBezTo>
                    <a:pt x="3" y="14"/>
                    <a:pt x="3" y="16"/>
                    <a:pt x="2" y="16"/>
                  </a:cubicBezTo>
                  <a:cubicBezTo>
                    <a:pt x="2" y="17"/>
                    <a:pt x="1" y="17"/>
                    <a:pt x="1" y="17"/>
                  </a:cubicBezTo>
                  <a:cubicBezTo>
                    <a:pt x="0" y="20"/>
                    <a:pt x="0" y="23"/>
                    <a:pt x="1" y="26"/>
                  </a:cubicBezTo>
                  <a:cubicBezTo>
                    <a:pt x="1" y="26"/>
                    <a:pt x="2" y="26"/>
                    <a:pt x="2" y="26"/>
                  </a:cubicBezTo>
                  <a:cubicBezTo>
                    <a:pt x="4" y="25"/>
                    <a:pt x="7" y="24"/>
                    <a:pt x="9" y="23"/>
                  </a:cubicBezTo>
                  <a:cubicBezTo>
                    <a:pt x="9" y="22"/>
                    <a:pt x="10" y="22"/>
                    <a:pt x="11" y="22"/>
                  </a:cubicBezTo>
                  <a:cubicBezTo>
                    <a:pt x="14" y="21"/>
                    <a:pt x="17" y="23"/>
                    <a:pt x="19" y="22"/>
                  </a:cubicBezTo>
                  <a:cubicBezTo>
                    <a:pt x="21" y="21"/>
                    <a:pt x="23" y="22"/>
                    <a:pt x="25" y="21"/>
                  </a:cubicBezTo>
                  <a:cubicBezTo>
                    <a:pt x="26" y="20"/>
                    <a:pt x="28" y="21"/>
                    <a:pt x="30" y="21"/>
                  </a:cubicBezTo>
                  <a:cubicBezTo>
                    <a:pt x="31" y="20"/>
                    <a:pt x="32" y="20"/>
                    <a:pt x="33" y="20"/>
                  </a:cubicBezTo>
                  <a:cubicBezTo>
                    <a:pt x="34" y="19"/>
                    <a:pt x="35" y="18"/>
                    <a:pt x="35" y="18"/>
                  </a:cubicBezTo>
                  <a:cubicBezTo>
                    <a:pt x="36" y="17"/>
                    <a:pt x="36" y="16"/>
                    <a:pt x="35" y="15"/>
                  </a:cubicBezTo>
                  <a:cubicBezTo>
                    <a:pt x="35" y="14"/>
                    <a:pt x="34" y="14"/>
                    <a:pt x="33" y="13"/>
                  </a:cubicBezTo>
                  <a:cubicBezTo>
                    <a:pt x="33" y="13"/>
                    <a:pt x="32" y="12"/>
                    <a:pt x="31" y="1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0" name="Freeform 274"/>
            <p:cNvSpPr>
              <a:spLocks/>
            </p:cNvSpPr>
            <p:nvPr/>
          </p:nvSpPr>
          <p:spPr bwMode="auto">
            <a:xfrm>
              <a:off x="7234014" y="3152596"/>
              <a:ext cx="22073" cy="11626"/>
            </a:xfrm>
            <a:custGeom>
              <a:avLst/>
              <a:gdLst>
                <a:gd name="T0" fmla="*/ 25383254 w 47"/>
                <a:gd name="T1" fmla="*/ 937382 h 24"/>
                <a:gd name="T2" fmla="*/ 17759659 w 47"/>
                <a:gd name="T3" fmla="*/ 937382 h 24"/>
                <a:gd name="T4" fmla="*/ 12226429 w 47"/>
                <a:gd name="T5" fmla="*/ 3065439 h 24"/>
                <a:gd name="T6" fmla="*/ 11077036 w 47"/>
                <a:gd name="T7" fmla="*/ 3065439 h 24"/>
                <a:gd name="T8" fmla="*/ 8399771 w 47"/>
                <a:gd name="T9" fmla="*/ 5287420 h 24"/>
                <a:gd name="T10" fmla="*/ 6683811 w 47"/>
                <a:gd name="T11" fmla="*/ 8176465 h 24"/>
                <a:gd name="T12" fmla="*/ 840908 w 47"/>
                <a:gd name="T13" fmla="*/ 9111497 h 24"/>
                <a:gd name="T14" fmla="*/ 840908 w 47"/>
                <a:gd name="T15" fmla="*/ 11242634 h 24"/>
                <a:gd name="T16" fmla="*/ 6683811 w 47"/>
                <a:gd name="T17" fmla="*/ 11242634 h 24"/>
                <a:gd name="T18" fmla="*/ 7519858 w 47"/>
                <a:gd name="T19" fmla="*/ 12557623 h 24"/>
                <a:gd name="T20" fmla="*/ 7519858 w 47"/>
                <a:gd name="T21" fmla="*/ 15581415 h 24"/>
                <a:gd name="T22" fmla="*/ 12226429 w 47"/>
                <a:gd name="T23" fmla="*/ 18521930 h 24"/>
                <a:gd name="T24" fmla="*/ 13933712 w 47"/>
                <a:gd name="T25" fmla="*/ 18521930 h 24"/>
                <a:gd name="T26" fmla="*/ 17759659 w 47"/>
                <a:gd name="T27" fmla="*/ 17290978 h 24"/>
                <a:gd name="T28" fmla="*/ 20626693 w 47"/>
                <a:gd name="T29" fmla="*/ 20751062 h 24"/>
                <a:gd name="T30" fmla="*/ 24173459 w 47"/>
                <a:gd name="T31" fmla="*/ 21639806 h 24"/>
                <a:gd name="T32" fmla="*/ 26160651 w 47"/>
                <a:gd name="T33" fmla="*/ 22349417 h 24"/>
                <a:gd name="T34" fmla="*/ 30073499 w 47"/>
                <a:gd name="T35" fmla="*/ 22349417 h 24"/>
                <a:gd name="T36" fmla="*/ 31710196 w 47"/>
                <a:gd name="T37" fmla="*/ 24547147 h 24"/>
                <a:gd name="T38" fmla="*/ 41943004 w 47"/>
                <a:gd name="T39" fmla="*/ 24547147 h 24"/>
                <a:gd name="T40" fmla="*/ 44022661 w 47"/>
                <a:gd name="T41" fmla="*/ 21639806 h 24"/>
                <a:gd name="T42" fmla="*/ 44022661 w 47"/>
                <a:gd name="T43" fmla="*/ 19419101 h 24"/>
                <a:gd name="T44" fmla="*/ 44022661 w 47"/>
                <a:gd name="T45" fmla="*/ 18521930 h 24"/>
                <a:gd name="T46" fmla="*/ 41943004 w 47"/>
                <a:gd name="T47" fmla="*/ 17290978 h 24"/>
                <a:gd name="T48" fmla="*/ 40463936 w 47"/>
                <a:gd name="T49" fmla="*/ 16353661 h 24"/>
                <a:gd name="T50" fmla="*/ 38478114 w 47"/>
                <a:gd name="T51" fmla="*/ 14143705 h 24"/>
                <a:gd name="T52" fmla="*/ 38478114 w 47"/>
                <a:gd name="T53" fmla="*/ 14143705 h 24"/>
                <a:gd name="T54" fmla="*/ 39314534 w 47"/>
                <a:gd name="T55" fmla="*/ 14143705 h 24"/>
                <a:gd name="T56" fmla="*/ 41308292 w 47"/>
                <a:gd name="T57" fmla="*/ 14143705 h 24"/>
                <a:gd name="T58" fmla="*/ 41308292 w 47"/>
                <a:gd name="T59" fmla="*/ 5287420 h 24"/>
                <a:gd name="T60" fmla="*/ 41308292 w 47"/>
                <a:gd name="T61" fmla="*/ 4351850 h 24"/>
                <a:gd name="T62" fmla="*/ 35774155 w 47"/>
                <a:gd name="T63" fmla="*/ 4351850 h 24"/>
                <a:gd name="T64" fmla="*/ 31710196 w 47"/>
                <a:gd name="T65" fmla="*/ 3065439 h 24"/>
                <a:gd name="T66" fmla="*/ 30914397 w 47"/>
                <a:gd name="T67" fmla="*/ 5955246 h 24"/>
                <a:gd name="T68" fmla="*/ 26160651 w 47"/>
                <a:gd name="T69" fmla="*/ 9111497 h 24"/>
                <a:gd name="T70" fmla="*/ 26160651 w 47"/>
                <a:gd name="T71" fmla="*/ 8176465 h 24"/>
                <a:gd name="T72" fmla="*/ 28875172 w 47"/>
                <a:gd name="T73" fmla="*/ 5287420 h 24"/>
                <a:gd name="T74" fmla="*/ 30073499 w 47"/>
                <a:gd name="T75" fmla="*/ 2226282 h 24"/>
                <a:gd name="T76" fmla="*/ 28875172 w 47"/>
                <a:gd name="T77" fmla="*/ 2226282 h 24"/>
                <a:gd name="T78" fmla="*/ 25383254 w 47"/>
                <a:gd name="T79" fmla="*/ 937382 h 24"/>
                <a:gd name="T80" fmla="*/ 25383254 w 47"/>
                <a:gd name="T81" fmla="*/ 937382 h 2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7"/>
                <a:gd name="T124" fmla="*/ 0 h 24"/>
                <a:gd name="T125" fmla="*/ 47 w 47"/>
                <a:gd name="T126" fmla="*/ 24 h 2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7" h="24">
                  <a:moveTo>
                    <a:pt x="27" y="1"/>
                  </a:moveTo>
                  <a:cubicBezTo>
                    <a:pt x="24" y="1"/>
                    <a:pt x="22" y="0"/>
                    <a:pt x="19" y="1"/>
                  </a:cubicBezTo>
                  <a:cubicBezTo>
                    <a:pt x="17" y="1"/>
                    <a:pt x="15" y="1"/>
                    <a:pt x="13" y="3"/>
                  </a:cubicBezTo>
                  <a:cubicBezTo>
                    <a:pt x="13" y="3"/>
                    <a:pt x="12" y="3"/>
                    <a:pt x="12" y="3"/>
                  </a:cubicBezTo>
                  <a:cubicBezTo>
                    <a:pt x="11" y="3"/>
                    <a:pt x="10" y="4"/>
                    <a:pt x="9" y="5"/>
                  </a:cubicBezTo>
                  <a:cubicBezTo>
                    <a:pt x="9" y="5"/>
                    <a:pt x="8" y="7"/>
                    <a:pt x="7" y="8"/>
                  </a:cubicBezTo>
                  <a:cubicBezTo>
                    <a:pt x="5" y="8"/>
                    <a:pt x="2" y="8"/>
                    <a:pt x="1" y="9"/>
                  </a:cubicBezTo>
                  <a:cubicBezTo>
                    <a:pt x="0" y="9"/>
                    <a:pt x="0" y="10"/>
                    <a:pt x="1" y="11"/>
                  </a:cubicBezTo>
                  <a:cubicBezTo>
                    <a:pt x="2" y="12"/>
                    <a:pt x="5" y="11"/>
                    <a:pt x="7" y="11"/>
                  </a:cubicBezTo>
                  <a:cubicBezTo>
                    <a:pt x="8" y="11"/>
                    <a:pt x="8" y="12"/>
                    <a:pt x="8" y="12"/>
                  </a:cubicBezTo>
                  <a:cubicBezTo>
                    <a:pt x="8" y="13"/>
                    <a:pt x="8" y="14"/>
                    <a:pt x="8" y="15"/>
                  </a:cubicBezTo>
                  <a:cubicBezTo>
                    <a:pt x="9" y="17"/>
                    <a:pt x="11" y="17"/>
                    <a:pt x="13" y="18"/>
                  </a:cubicBezTo>
                  <a:cubicBezTo>
                    <a:pt x="14" y="18"/>
                    <a:pt x="14" y="18"/>
                    <a:pt x="15" y="18"/>
                  </a:cubicBezTo>
                  <a:cubicBezTo>
                    <a:pt x="16" y="17"/>
                    <a:pt x="18" y="17"/>
                    <a:pt x="19" y="17"/>
                  </a:cubicBezTo>
                  <a:cubicBezTo>
                    <a:pt x="20" y="18"/>
                    <a:pt x="20" y="19"/>
                    <a:pt x="22" y="20"/>
                  </a:cubicBezTo>
                  <a:cubicBezTo>
                    <a:pt x="23" y="20"/>
                    <a:pt x="24" y="20"/>
                    <a:pt x="26" y="21"/>
                  </a:cubicBezTo>
                  <a:cubicBezTo>
                    <a:pt x="27" y="21"/>
                    <a:pt x="27" y="22"/>
                    <a:pt x="28" y="22"/>
                  </a:cubicBezTo>
                  <a:cubicBezTo>
                    <a:pt x="29" y="23"/>
                    <a:pt x="31" y="22"/>
                    <a:pt x="32" y="22"/>
                  </a:cubicBezTo>
                  <a:cubicBezTo>
                    <a:pt x="33" y="23"/>
                    <a:pt x="33" y="24"/>
                    <a:pt x="34" y="24"/>
                  </a:cubicBezTo>
                  <a:cubicBezTo>
                    <a:pt x="38" y="24"/>
                    <a:pt x="41" y="24"/>
                    <a:pt x="45" y="24"/>
                  </a:cubicBezTo>
                  <a:cubicBezTo>
                    <a:pt x="45" y="23"/>
                    <a:pt x="46" y="22"/>
                    <a:pt x="47" y="21"/>
                  </a:cubicBezTo>
                  <a:cubicBezTo>
                    <a:pt x="47" y="20"/>
                    <a:pt x="47" y="19"/>
                    <a:pt x="47" y="19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6" y="17"/>
                    <a:pt x="46" y="17"/>
                    <a:pt x="45" y="17"/>
                  </a:cubicBezTo>
                  <a:cubicBezTo>
                    <a:pt x="45" y="16"/>
                    <a:pt x="44" y="16"/>
                    <a:pt x="43" y="16"/>
                  </a:cubicBezTo>
                  <a:cubicBezTo>
                    <a:pt x="42" y="16"/>
                    <a:pt x="41" y="15"/>
                    <a:pt x="41" y="14"/>
                  </a:cubicBezTo>
                  <a:cubicBezTo>
                    <a:pt x="40" y="14"/>
                    <a:pt x="40" y="14"/>
                    <a:pt x="41" y="14"/>
                  </a:cubicBezTo>
                  <a:cubicBezTo>
                    <a:pt x="41" y="13"/>
                    <a:pt x="42" y="13"/>
                    <a:pt x="42" y="14"/>
                  </a:cubicBezTo>
                  <a:cubicBezTo>
                    <a:pt x="43" y="14"/>
                    <a:pt x="44" y="15"/>
                    <a:pt x="44" y="14"/>
                  </a:cubicBezTo>
                  <a:cubicBezTo>
                    <a:pt x="45" y="12"/>
                    <a:pt x="44" y="8"/>
                    <a:pt x="44" y="5"/>
                  </a:cubicBezTo>
                  <a:cubicBezTo>
                    <a:pt x="44" y="5"/>
                    <a:pt x="44" y="4"/>
                    <a:pt x="44" y="4"/>
                  </a:cubicBezTo>
                  <a:cubicBezTo>
                    <a:pt x="42" y="4"/>
                    <a:pt x="40" y="5"/>
                    <a:pt x="38" y="4"/>
                  </a:cubicBezTo>
                  <a:cubicBezTo>
                    <a:pt x="37" y="3"/>
                    <a:pt x="35" y="2"/>
                    <a:pt x="34" y="3"/>
                  </a:cubicBezTo>
                  <a:cubicBezTo>
                    <a:pt x="33" y="4"/>
                    <a:pt x="34" y="5"/>
                    <a:pt x="33" y="6"/>
                  </a:cubicBezTo>
                  <a:cubicBezTo>
                    <a:pt x="33" y="8"/>
                    <a:pt x="30" y="9"/>
                    <a:pt x="28" y="9"/>
                  </a:cubicBezTo>
                  <a:cubicBezTo>
                    <a:pt x="28" y="9"/>
                    <a:pt x="28" y="8"/>
                    <a:pt x="28" y="8"/>
                  </a:cubicBezTo>
                  <a:cubicBezTo>
                    <a:pt x="29" y="7"/>
                    <a:pt x="31" y="7"/>
                    <a:pt x="31" y="5"/>
                  </a:cubicBezTo>
                  <a:cubicBezTo>
                    <a:pt x="32" y="4"/>
                    <a:pt x="32" y="3"/>
                    <a:pt x="32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0" y="2"/>
                    <a:pt x="29" y="1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1" name="Freeform 275"/>
            <p:cNvSpPr>
              <a:spLocks/>
            </p:cNvSpPr>
            <p:nvPr/>
          </p:nvSpPr>
          <p:spPr bwMode="auto">
            <a:xfrm>
              <a:off x="7227241" y="3153947"/>
              <a:ext cx="7776" cy="3245"/>
            </a:xfrm>
            <a:custGeom>
              <a:avLst/>
              <a:gdLst>
                <a:gd name="T0" fmla="*/ 13070851 w 17"/>
                <a:gd name="T1" fmla="*/ 4768082 h 6"/>
                <a:gd name="T2" fmla="*/ 12471472 w 17"/>
                <a:gd name="T3" fmla="*/ 2975593 h 6"/>
                <a:gd name="T4" fmla="*/ 5300376 w 17"/>
                <a:gd name="T5" fmla="*/ 0 h 6"/>
                <a:gd name="T6" fmla="*/ 0 w 17"/>
                <a:gd name="T7" fmla="*/ 0 h 6"/>
                <a:gd name="T8" fmla="*/ 0 w 17"/>
                <a:gd name="T9" fmla="*/ 4768082 h 6"/>
                <a:gd name="T10" fmla="*/ 2560181 w 17"/>
                <a:gd name="T11" fmla="*/ 9251750 h 6"/>
                <a:gd name="T12" fmla="*/ 6023953 w 17"/>
                <a:gd name="T13" fmla="*/ 11920201 h 6"/>
                <a:gd name="T14" fmla="*/ 11661007 w 17"/>
                <a:gd name="T15" fmla="*/ 13878121 h 6"/>
                <a:gd name="T16" fmla="*/ 14174003 w 17"/>
                <a:gd name="T17" fmla="*/ 7438980 h 6"/>
                <a:gd name="T18" fmla="*/ 13070851 w 17"/>
                <a:gd name="T19" fmla="*/ 4768082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6"/>
                <a:gd name="T32" fmla="*/ 17 w 1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6">
                  <a:moveTo>
                    <a:pt x="15" y="2"/>
                  </a:moveTo>
                  <a:cubicBezTo>
                    <a:pt x="15" y="1"/>
                    <a:pt x="14" y="1"/>
                    <a:pt x="14" y="1"/>
                  </a:cubicBezTo>
                  <a:cubicBezTo>
                    <a:pt x="11" y="0"/>
                    <a:pt x="9" y="1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3"/>
                    <a:pt x="3" y="4"/>
                  </a:cubicBezTo>
                  <a:cubicBezTo>
                    <a:pt x="4" y="5"/>
                    <a:pt x="6" y="4"/>
                    <a:pt x="7" y="5"/>
                  </a:cubicBezTo>
                  <a:cubicBezTo>
                    <a:pt x="9" y="6"/>
                    <a:pt x="11" y="6"/>
                    <a:pt x="13" y="6"/>
                  </a:cubicBezTo>
                  <a:cubicBezTo>
                    <a:pt x="14" y="5"/>
                    <a:pt x="16" y="5"/>
                    <a:pt x="16" y="3"/>
                  </a:cubicBezTo>
                  <a:cubicBezTo>
                    <a:pt x="17" y="3"/>
                    <a:pt x="16" y="2"/>
                    <a:pt x="15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2" name="Freeform 276"/>
            <p:cNvSpPr>
              <a:spLocks/>
            </p:cNvSpPr>
            <p:nvPr/>
          </p:nvSpPr>
          <p:spPr bwMode="auto">
            <a:xfrm>
              <a:off x="7227241" y="3143943"/>
              <a:ext cx="18311" cy="10004"/>
            </a:xfrm>
            <a:custGeom>
              <a:avLst/>
              <a:gdLst>
                <a:gd name="T0" fmla="*/ 26920716 w 40"/>
                <a:gd name="T1" fmla="*/ 3961001 h 21"/>
                <a:gd name="T2" fmla="*/ 25868593 w 40"/>
                <a:gd name="T3" fmla="*/ 2243220 h 21"/>
                <a:gd name="T4" fmla="*/ 21789991 w 40"/>
                <a:gd name="T5" fmla="*/ 727531 h 21"/>
                <a:gd name="T6" fmla="*/ 19118601 w 40"/>
                <a:gd name="T7" fmla="*/ 727531 h 21"/>
                <a:gd name="T8" fmla="*/ 18009157 w 40"/>
                <a:gd name="T9" fmla="*/ 2970751 h 21"/>
                <a:gd name="T10" fmla="*/ 17186742 w 40"/>
                <a:gd name="T11" fmla="*/ 3961001 h 21"/>
                <a:gd name="T12" fmla="*/ 12876646 w 40"/>
                <a:gd name="T13" fmla="*/ 4688532 h 21"/>
                <a:gd name="T14" fmla="*/ 11455630 w 40"/>
                <a:gd name="T15" fmla="*/ 5234180 h 21"/>
                <a:gd name="T16" fmla="*/ 7062610 w 40"/>
                <a:gd name="T17" fmla="*/ 7659274 h 21"/>
                <a:gd name="T18" fmla="*/ 5927927 w 40"/>
                <a:gd name="T19" fmla="*/ 10939909 h 21"/>
                <a:gd name="T20" fmla="*/ 2522523 w 40"/>
                <a:gd name="T21" fmla="*/ 11620010 h 21"/>
                <a:gd name="T22" fmla="*/ 795113 w 40"/>
                <a:gd name="T23" fmla="*/ 14590762 h 21"/>
                <a:gd name="T24" fmla="*/ 2522523 w 40"/>
                <a:gd name="T25" fmla="*/ 13906433 h 21"/>
                <a:gd name="T26" fmla="*/ 5927927 w 40"/>
                <a:gd name="T27" fmla="*/ 14590762 h 21"/>
                <a:gd name="T28" fmla="*/ 11455630 w 40"/>
                <a:gd name="T29" fmla="*/ 15628432 h 21"/>
                <a:gd name="T30" fmla="*/ 12876646 w 40"/>
                <a:gd name="T31" fmla="*/ 16174077 h 21"/>
                <a:gd name="T32" fmla="*/ 18009157 w 40"/>
                <a:gd name="T33" fmla="*/ 16174077 h 21"/>
                <a:gd name="T34" fmla="*/ 19857972 w 40"/>
                <a:gd name="T35" fmla="*/ 15628432 h 21"/>
                <a:gd name="T36" fmla="*/ 24249331 w 40"/>
                <a:gd name="T37" fmla="*/ 13906433 h 21"/>
                <a:gd name="T38" fmla="*/ 33871637 w 40"/>
                <a:gd name="T39" fmla="*/ 13184929 h 21"/>
                <a:gd name="T40" fmla="*/ 32736945 w 40"/>
                <a:gd name="T41" fmla="*/ 10939909 h 21"/>
                <a:gd name="T42" fmla="*/ 31938622 w 40"/>
                <a:gd name="T43" fmla="*/ 9902490 h 21"/>
                <a:gd name="T44" fmla="*/ 31938622 w 40"/>
                <a:gd name="T45" fmla="*/ 9242332 h 21"/>
                <a:gd name="T46" fmla="*/ 33871637 w 40"/>
                <a:gd name="T47" fmla="*/ 6931750 h 21"/>
                <a:gd name="T48" fmla="*/ 29479413 w 40"/>
                <a:gd name="T49" fmla="*/ 6253184 h 21"/>
                <a:gd name="T50" fmla="*/ 26920716 w 40"/>
                <a:gd name="T51" fmla="*/ 3961001 h 2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0"/>
                <a:gd name="T79" fmla="*/ 0 h 21"/>
                <a:gd name="T80" fmla="*/ 40 w 40"/>
                <a:gd name="T81" fmla="*/ 21 h 2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0" h="21">
                  <a:moveTo>
                    <a:pt x="31" y="5"/>
                  </a:moveTo>
                  <a:cubicBezTo>
                    <a:pt x="31" y="4"/>
                    <a:pt x="30" y="3"/>
                    <a:pt x="30" y="3"/>
                  </a:cubicBezTo>
                  <a:cubicBezTo>
                    <a:pt x="28" y="2"/>
                    <a:pt x="26" y="2"/>
                    <a:pt x="25" y="1"/>
                  </a:cubicBezTo>
                  <a:cubicBezTo>
                    <a:pt x="24" y="0"/>
                    <a:pt x="23" y="0"/>
                    <a:pt x="22" y="1"/>
                  </a:cubicBezTo>
                  <a:cubicBezTo>
                    <a:pt x="21" y="2"/>
                    <a:pt x="21" y="3"/>
                    <a:pt x="21" y="4"/>
                  </a:cubicBezTo>
                  <a:cubicBezTo>
                    <a:pt x="21" y="5"/>
                    <a:pt x="20" y="5"/>
                    <a:pt x="20" y="5"/>
                  </a:cubicBezTo>
                  <a:cubicBezTo>
                    <a:pt x="18" y="5"/>
                    <a:pt x="16" y="5"/>
                    <a:pt x="15" y="6"/>
                  </a:cubicBezTo>
                  <a:cubicBezTo>
                    <a:pt x="14" y="6"/>
                    <a:pt x="14" y="7"/>
                    <a:pt x="13" y="7"/>
                  </a:cubicBezTo>
                  <a:cubicBezTo>
                    <a:pt x="11" y="8"/>
                    <a:pt x="10" y="9"/>
                    <a:pt x="8" y="10"/>
                  </a:cubicBezTo>
                  <a:cubicBezTo>
                    <a:pt x="7" y="11"/>
                    <a:pt x="7" y="12"/>
                    <a:pt x="7" y="14"/>
                  </a:cubicBezTo>
                  <a:cubicBezTo>
                    <a:pt x="6" y="15"/>
                    <a:pt x="4" y="14"/>
                    <a:pt x="3" y="15"/>
                  </a:cubicBezTo>
                  <a:cubicBezTo>
                    <a:pt x="2" y="16"/>
                    <a:pt x="0" y="18"/>
                    <a:pt x="1" y="19"/>
                  </a:cubicBezTo>
                  <a:cubicBezTo>
                    <a:pt x="1" y="19"/>
                    <a:pt x="2" y="19"/>
                    <a:pt x="3" y="18"/>
                  </a:cubicBezTo>
                  <a:cubicBezTo>
                    <a:pt x="4" y="18"/>
                    <a:pt x="5" y="18"/>
                    <a:pt x="7" y="19"/>
                  </a:cubicBezTo>
                  <a:cubicBezTo>
                    <a:pt x="8" y="20"/>
                    <a:pt x="11" y="19"/>
                    <a:pt x="13" y="20"/>
                  </a:cubicBezTo>
                  <a:cubicBezTo>
                    <a:pt x="14" y="20"/>
                    <a:pt x="14" y="21"/>
                    <a:pt x="15" y="21"/>
                  </a:cubicBezTo>
                  <a:cubicBezTo>
                    <a:pt x="17" y="21"/>
                    <a:pt x="19" y="21"/>
                    <a:pt x="21" y="21"/>
                  </a:cubicBezTo>
                  <a:cubicBezTo>
                    <a:pt x="22" y="20"/>
                    <a:pt x="22" y="20"/>
                    <a:pt x="23" y="20"/>
                  </a:cubicBezTo>
                  <a:cubicBezTo>
                    <a:pt x="24" y="19"/>
                    <a:pt x="26" y="18"/>
                    <a:pt x="28" y="18"/>
                  </a:cubicBezTo>
                  <a:cubicBezTo>
                    <a:pt x="32" y="18"/>
                    <a:pt x="35" y="17"/>
                    <a:pt x="39" y="17"/>
                  </a:cubicBezTo>
                  <a:cubicBezTo>
                    <a:pt x="39" y="16"/>
                    <a:pt x="39" y="15"/>
                    <a:pt x="38" y="14"/>
                  </a:cubicBezTo>
                  <a:cubicBezTo>
                    <a:pt x="38" y="14"/>
                    <a:pt x="37" y="13"/>
                    <a:pt x="37" y="13"/>
                  </a:cubicBezTo>
                  <a:cubicBezTo>
                    <a:pt x="37" y="13"/>
                    <a:pt x="37" y="12"/>
                    <a:pt x="37" y="12"/>
                  </a:cubicBezTo>
                  <a:cubicBezTo>
                    <a:pt x="38" y="11"/>
                    <a:pt x="40" y="10"/>
                    <a:pt x="39" y="9"/>
                  </a:cubicBezTo>
                  <a:cubicBezTo>
                    <a:pt x="38" y="9"/>
                    <a:pt x="36" y="8"/>
                    <a:pt x="34" y="8"/>
                  </a:cubicBezTo>
                  <a:cubicBezTo>
                    <a:pt x="33" y="7"/>
                    <a:pt x="32" y="6"/>
                    <a:pt x="31" y="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3" name="Freeform 277"/>
            <p:cNvSpPr>
              <a:spLocks/>
            </p:cNvSpPr>
            <p:nvPr/>
          </p:nvSpPr>
          <p:spPr bwMode="auto">
            <a:xfrm>
              <a:off x="7221974" y="3144484"/>
              <a:ext cx="4264" cy="2163"/>
            </a:xfrm>
            <a:custGeom>
              <a:avLst/>
              <a:gdLst>
                <a:gd name="T0" fmla="*/ 4688532 w 9"/>
                <a:gd name="T1" fmla="*/ 1064436 h 5"/>
                <a:gd name="T2" fmla="*/ 1697572 w 9"/>
                <a:gd name="T3" fmla="*/ 1064436 h 5"/>
                <a:gd name="T4" fmla="*/ 0 w 9"/>
                <a:gd name="T5" fmla="*/ 2554647 h 5"/>
                <a:gd name="T6" fmla="*/ 0 w 9"/>
                <a:gd name="T7" fmla="*/ 3577445 h 5"/>
                <a:gd name="T8" fmla="*/ 2243220 w 9"/>
                <a:gd name="T9" fmla="*/ 5085394 h 5"/>
                <a:gd name="T10" fmla="*/ 4688532 w 9"/>
                <a:gd name="T11" fmla="*/ 6131150 h 5"/>
                <a:gd name="T12" fmla="*/ 6253179 w 9"/>
                <a:gd name="T13" fmla="*/ 3577445 h 5"/>
                <a:gd name="T14" fmla="*/ 6931749 w 9"/>
                <a:gd name="T15" fmla="*/ 2554647 h 5"/>
                <a:gd name="T16" fmla="*/ 4688532 w 9"/>
                <a:gd name="T17" fmla="*/ 1064436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5"/>
                <a:gd name="T29" fmla="*/ 9 w 9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5">
                  <a:moveTo>
                    <a:pt x="6" y="1"/>
                  </a:moveTo>
                  <a:cubicBezTo>
                    <a:pt x="5" y="0"/>
                    <a:pt x="3" y="0"/>
                    <a:pt x="2" y="1"/>
                  </a:cubicBezTo>
                  <a:cubicBezTo>
                    <a:pt x="1" y="1"/>
                    <a:pt x="1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4" y="5"/>
                    <a:pt x="5" y="5"/>
                    <a:pt x="6" y="5"/>
                  </a:cubicBezTo>
                  <a:cubicBezTo>
                    <a:pt x="7" y="4"/>
                    <a:pt x="7" y="3"/>
                    <a:pt x="8" y="3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9" y="1"/>
                    <a:pt x="7" y="1"/>
                    <a:pt x="6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4" name="Freeform 278"/>
            <p:cNvSpPr>
              <a:spLocks/>
            </p:cNvSpPr>
            <p:nvPr/>
          </p:nvSpPr>
          <p:spPr bwMode="auto">
            <a:xfrm>
              <a:off x="7277909" y="3167737"/>
              <a:ext cx="3763" cy="1622"/>
            </a:xfrm>
            <a:custGeom>
              <a:avLst/>
              <a:gdLst>
                <a:gd name="T0" fmla="*/ 4351847 w 8"/>
                <a:gd name="T1" fmla="*/ 0 h 3"/>
                <a:gd name="T2" fmla="*/ 896786 w 8"/>
                <a:gd name="T3" fmla="*/ 727531 h 3"/>
                <a:gd name="T4" fmla="*/ 896786 w 8"/>
                <a:gd name="T5" fmla="*/ 2243220 h 3"/>
                <a:gd name="T6" fmla="*/ 3065115 w 8"/>
                <a:gd name="T7" fmla="*/ 2243220 h 3"/>
                <a:gd name="T8" fmla="*/ 5058432 w 8"/>
                <a:gd name="T9" fmla="*/ 2243220 h 3"/>
                <a:gd name="T10" fmla="*/ 8176458 w 8"/>
                <a:gd name="T11" fmla="*/ 1697572 h 3"/>
                <a:gd name="T12" fmla="*/ 8176458 w 8"/>
                <a:gd name="T13" fmla="*/ 727531 h 3"/>
                <a:gd name="T14" fmla="*/ 4351847 w 8"/>
                <a:gd name="T15" fmla="*/ 0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3"/>
                <a:gd name="T26" fmla="*/ 8 w 8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3">
                  <a:moveTo>
                    <a:pt x="4" y="0"/>
                  </a:moveTo>
                  <a:cubicBezTo>
                    <a:pt x="3" y="0"/>
                    <a:pt x="2" y="0"/>
                    <a:pt x="1" y="1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1" y="3"/>
                    <a:pt x="2" y="3"/>
                    <a:pt x="3" y="3"/>
                  </a:cubicBezTo>
                  <a:cubicBezTo>
                    <a:pt x="4" y="3"/>
                    <a:pt x="4" y="3"/>
                    <a:pt x="5" y="3"/>
                  </a:cubicBezTo>
                  <a:cubicBezTo>
                    <a:pt x="6" y="2"/>
                    <a:pt x="7" y="3"/>
                    <a:pt x="8" y="2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7" y="1"/>
                    <a:pt x="6" y="1"/>
                    <a:pt x="4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5" name="Freeform 279"/>
            <p:cNvSpPr>
              <a:spLocks/>
            </p:cNvSpPr>
            <p:nvPr/>
          </p:nvSpPr>
          <p:spPr bwMode="auto">
            <a:xfrm>
              <a:off x="7241789" y="3174767"/>
              <a:ext cx="3261" cy="2704"/>
            </a:xfrm>
            <a:custGeom>
              <a:avLst/>
              <a:gdLst>
                <a:gd name="T0" fmla="*/ 5930334 w 7"/>
                <a:gd name="T1" fmla="*/ 1064436 h 5"/>
                <a:gd name="T2" fmla="*/ 5930334 w 7"/>
                <a:gd name="T3" fmla="*/ 2554647 h 5"/>
                <a:gd name="T4" fmla="*/ 0 w 7"/>
                <a:gd name="T5" fmla="*/ 5085394 h 5"/>
                <a:gd name="T6" fmla="*/ 0 w 7"/>
                <a:gd name="T7" fmla="*/ 5085394 h 5"/>
                <a:gd name="T8" fmla="*/ 7158428 w 7"/>
                <a:gd name="T9" fmla="*/ 6131150 h 5"/>
                <a:gd name="T10" fmla="*/ 10226328 w 7"/>
                <a:gd name="T11" fmla="*/ 3577445 h 5"/>
                <a:gd name="T12" fmla="*/ 10226328 w 7"/>
                <a:gd name="T13" fmla="*/ 1064436 h 5"/>
                <a:gd name="T14" fmla="*/ 5930334 w 7"/>
                <a:gd name="T15" fmla="*/ 106443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5"/>
                <a:gd name="T26" fmla="*/ 7 w 7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5">
                  <a:moveTo>
                    <a:pt x="4" y="1"/>
                  </a:moveTo>
                  <a:cubicBezTo>
                    <a:pt x="4" y="1"/>
                    <a:pt x="4" y="2"/>
                    <a:pt x="4" y="2"/>
                  </a:cubicBezTo>
                  <a:cubicBezTo>
                    <a:pt x="3" y="4"/>
                    <a:pt x="2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3" y="5"/>
                    <a:pt x="5" y="5"/>
                  </a:cubicBezTo>
                  <a:cubicBezTo>
                    <a:pt x="5" y="4"/>
                    <a:pt x="6" y="4"/>
                    <a:pt x="7" y="3"/>
                  </a:cubicBezTo>
                  <a:cubicBezTo>
                    <a:pt x="7" y="2"/>
                    <a:pt x="7" y="1"/>
                    <a:pt x="7" y="1"/>
                  </a:cubicBezTo>
                  <a:cubicBezTo>
                    <a:pt x="6" y="0"/>
                    <a:pt x="5" y="0"/>
                    <a:pt x="4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6" name="Freeform 280"/>
            <p:cNvSpPr>
              <a:spLocks/>
            </p:cNvSpPr>
            <p:nvPr/>
          </p:nvSpPr>
          <p:spPr bwMode="auto">
            <a:xfrm>
              <a:off x="7198145" y="3202075"/>
              <a:ext cx="2759" cy="4056"/>
            </a:xfrm>
            <a:custGeom>
              <a:avLst/>
              <a:gdLst>
                <a:gd name="T0" fmla="*/ 4688532 w 6"/>
                <a:gd name="T1" fmla="*/ 5058432 h 8"/>
                <a:gd name="T2" fmla="*/ 3961001 w 6"/>
                <a:gd name="T3" fmla="*/ 896786 h 8"/>
                <a:gd name="T4" fmla="*/ 2243220 w 6"/>
                <a:gd name="T5" fmla="*/ 0 h 8"/>
                <a:gd name="T6" fmla="*/ 727531 w 6"/>
                <a:gd name="T7" fmla="*/ 4351847 h 8"/>
                <a:gd name="T8" fmla="*/ 0 w 6"/>
                <a:gd name="T9" fmla="*/ 5955246 h 8"/>
                <a:gd name="T10" fmla="*/ 0 w 6"/>
                <a:gd name="T11" fmla="*/ 7279645 h 8"/>
                <a:gd name="T12" fmla="*/ 2243220 w 6"/>
                <a:gd name="T13" fmla="*/ 8176458 h 8"/>
                <a:gd name="T14" fmla="*/ 3961001 w 6"/>
                <a:gd name="T15" fmla="*/ 8176458 h 8"/>
                <a:gd name="T16" fmla="*/ 4688532 w 6"/>
                <a:gd name="T17" fmla="*/ 5058432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8"/>
                <a:gd name="T29" fmla="*/ 6 w 6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8">
                  <a:moveTo>
                    <a:pt x="6" y="5"/>
                  </a:moveTo>
                  <a:cubicBezTo>
                    <a:pt x="6" y="4"/>
                    <a:pt x="5" y="2"/>
                    <a:pt x="5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3"/>
                    <a:pt x="1" y="4"/>
                  </a:cubicBezTo>
                  <a:cubicBezTo>
                    <a:pt x="1" y="5"/>
                    <a:pt x="1" y="5"/>
                    <a:pt x="0" y="6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1" y="7"/>
                    <a:pt x="2" y="8"/>
                    <a:pt x="3" y="8"/>
                  </a:cubicBezTo>
                  <a:cubicBezTo>
                    <a:pt x="4" y="8"/>
                    <a:pt x="5" y="8"/>
                    <a:pt x="5" y="8"/>
                  </a:cubicBezTo>
                  <a:cubicBezTo>
                    <a:pt x="6" y="7"/>
                    <a:pt x="6" y="6"/>
                    <a:pt x="6" y="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7" name="Freeform 281"/>
            <p:cNvSpPr>
              <a:spLocks/>
            </p:cNvSpPr>
            <p:nvPr/>
          </p:nvSpPr>
          <p:spPr bwMode="auto">
            <a:xfrm>
              <a:off x="7193881" y="3206131"/>
              <a:ext cx="4264" cy="3245"/>
            </a:xfrm>
            <a:custGeom>
              <a:avLst/>
              <a:gdLst>
                <a:gd name="T0" fmla="*/ 2970751 w 9"/>
                <a:gd name="T1" fmla="*/ 1213713 h 7"/>
                <a:gd name="T2" fmla="*/ 1697572 w 9"/>
                <a:gd name="T3" fmla="*/ 4210842 h 7"/>
                <a:gd name="T4" fmla="*/ 0 w 9"/>
                <a:gd name="T5" fmla="*/ 8872004 h 7"/>
                <a:gd name="T6" fmla="*/ 0 w 9"/>
                <a:gd name="T7" fmla="*/ 10226328 h 7"/>
                <a:gd name="T8" fmla="*/ 2970751 w 9"/>
                <a:gd name="T9" fmla="*/ 10226328 h 7"/>
                <a:gd name="T10" fmla="*/ 6253179 w 9"/>
                <a:gd name="T11" fmla="*/ 1213713 h 7"/>
                <a:gd name="T12" fmla="*/ 2970751 w 9"/>
                <a:gd name="T13" fmla="*/ 1213713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7"/>
                <a:gd name="T23" fmla="*/ 9 w 9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7">
                  <a:moveTo>
                    <a:pt x="4" y="1"/>
                  </a:moveTo>
                  <a:cubicBezTo>
                    <a:pt x="3" y="2"/>
                    <a:pt x="2" y="3"/>
                    <a:pt x="2" y="3"/>
                  </a:cubicBezTo>
                  <a:cubicBezTo>
                    <a:pt x="2" y="5"/>
                    <a:pt x="1" y="5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1" y="7"/>
                    <a:pt x="3" y="7"/>
                    <a:pt x="4" y="7"/>
                  </a:cubicBezTo>
                  <a:cubicBezTo>
                    <a:pt x="6" y="6"/>
                    <a:pt x="9" y="4"/>
                    <a:pt x="8" y="1"/>
                  </a:cubicBezTo>
                  <a:cubicBezTo>
                    <a:pt x="7" y="1"/>
                    <a:pt x="5" y="0"/>
                    <a:pt x="4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8" name="Freeform 282"/>
            <p:cNvSpPr>
              <a:spLocks/>
            </p:cNvSpPr>
            <p:nvPr/>
          </p:nvSpPr>
          <p:spPr bwMode="auto">
            <a:xfrm>
              <a:off x="7170805" y="3199371"/>
              <a:ext cx="5017" cy="4056"/>
            </a:xfrm>
            <a:custGeom>
              <a:avLst/>
              <a:gdLst>
                <a:gd name="T0" fmla="*/ 7630664 w 11"/>
                <a:gd name="T1" fmla="*/ 3065115 h 8"/>
                <a:gd name="T2" fmla="*/ 4745295 w 11"/>
                <a:gd name="T3" fmla="*/ 896786 h 8"/>
                <a:gd name="T4" fmla="*/ 849380 w 11"/>
                <a:gd name="T5" fmla="*/ 896786 h 8"/>
                <a:gd name="T6" fmla="*/ 0 w 11"/>
                <a:gd name="T7" fmla="*/ 7279645 h 8"/>
                <a:gd name="T8" fmla="*/ 5595820 w 11"/>
                <a:gd name="T9" fmla="*/ 7279645 h 8"/>
                <a:gd name="T10" fmla="*/ 6840539 w 11"/>
                <a:gd name="T11" fmla="*/ 7279645 h 8"/>
                <a:gd name="T12" fmla="*/ 10341118 w 11"/>
                <a:gd name="T13" fmla="*/ 7279645 h 8"/>
                <a:gd name="T14" fmla="*/ 10341118 w 11"/>
                <a:gd name="T15" fmla="*/ 5955246 h 8"/>
                <a:gd name="T16" fmla="*/ 7630664 w 11"/>
                <a:gd name="T17" fmla="*/ 3065115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8"/>
                <a:gd name="T29" fmla="*/ 11 w 11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8">
                  <a:moveTo>
                    <a:pt x="8" y="3"/>
                  </a:moveTo>
                  <a:cubicBezTo>
                    <a:pt x="7" y="2"/>
                    <a:pt x="7" y="1"/>
                    <a:pt x="5" y="1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0" y="3"/>
                    <a:pt x="1" y="5"/>
                    <a:pt x="0" y="7"/>
                  </a:cubicBezTo>
                  <a:cubicBezTo>
                    <a:pt x="2" y="8"/>
                    <a:pt x="4" y="8"/>
                    <a:pt x="6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8" y="7"/>
                    <a:pt x="10" y="7"/>
                    <a:pt x="11" y="7"/>
                  </a:cubicBezTo>
                  <a:cubicBezTo>
                    <a:pt x="11" y="7"/>
                    <a:pt x="11" y="6"/>
                    <a:pt x="11" y="6"/>
                  </a:cubicBezTo>
                  <a:cubicBezTo>
                    <a:pt x="10" y="5"/>
                    <a:pt x="9" y="4"/>
                    <a:pt x="8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9" name="Freeform 283"/>
            <p:cNvSpPr>
              <a:spLocks/>
            </p:cNvSpPr>
            <p:nvPr/>
          </p:nvSpPr>
          <p:spPr bwMode="auto">
            <a:xfrm>
              <a:off x="7376987" y="3196126"/>
              <a:ext cx="2508" cy="2704"/>
            </a:xfrm>
            <a:custGeom>
              <a:avLst/>
              <a:gdLst>
                <a:gd name="T0" fmla="*/ 5085394 w 5"/>
                <a:gd name="T1" fmla="*/ 2554647 h 5"/>
                <a:gd name="T2" fmla="*/ 2554647 w 5"/>
                <a:gd name="T3" fmla="*/ 1064436 h 5"/>
                <a:gd name="T4" fmla="*/ 1064436 w 5"/>
                <a:gd name="T5" fmla="*/ 0 h 5"/>
                <a:gd name="T6" fmla="*/ 5085394 w 5"/>
                <a:gd name="T7" fmla="*/ 6131150 h 5"/>
                <a:gd name="T8" fmla="*/ 5085394 w 5"/>
                <a:gd name="T9" fmla="*/ 2554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4" y="2"/>
                  </a:moveTo>
                  <a:cubicBezTo>
                    <a:pt x="3" y="1"/>
                    <a:pt x="2" y="1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2"/>
                    <a:pt x="1" y="5"/>
                    <a:pt x="4" y="5"/>
                  </a:cubicBezTo>
                  <a:cubicBezTo>
                    <a:pt x="4" y="4"/>
                    <a:pt x="5" y="2"/>
                    <a:pt x="4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0" name="Freeform 284"/>
            <p:cNvSpPr>
              <a:spLocks/>
            </p:cNvSpPr>
            <p:nvPr/>
          </p:nvSpPr>
          <p:spPr bwMode="auto">
            <a:xfrm>
              <a:off x="7373475" y="3184500"/>
              <a:ext cx="1756" cy="4056"/>
            </a:xfrm>
            <a:custGeom>
              <a:avLst/>
              <a:gdLst>
                <a:gd name="T0" fmla="*/ 9219213 w 4"/>
                <a:gd name="T1" fmla="*/ 5058432 h 8"/>
                <a:gd name="T2" fmla="*/ 9219213 w 4"/>
                <a:gd name="T3" fmla="*/ 3065115 h 8"/>
                <a:gd name="T4" fmla="*/ 6243820 w 4"/>
                <a:gd name="T5" fmla="*/ 896786 h 8"/>
                <a:gd name="T6" fmla="*/ 2497529 w 4"/>
                <a:gd name="T7" fmla="*/ 0 h 8"/>
                <a:gd name="T8" fmla="*/ 2497529 w 4"/>
                <a:gd name="T9" fmla="*/ 5955246 h 8"/>
                <a:gd name="T10" fmla="*/ 6243820 w 4"/>
                <a:gd name="T11" fmla="*/ 7279645 h 8"/>
                <a:gd name="T12" fmla="*/ 9219213 w 4"/>
                <a:gd name="T13" fmla="*/ 5058432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8"/>
                <a:gd name="T23" fmla="*/ 4 w 4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8">
                  <a:moveTo>
                    <a:pt x="4" y="5"/>
                  </a:moveTo>
                  <a:cubicBezTo>
                    <a:pt x="4" y="4"/>
                    <a:pt x="4" y="3"/>
                    <a:pt x="4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2"/>
                    <a:pt x="0" y="4"/>
                    <a:pt x="1" y="6"/>
                  </a:cubicBezTo>
                  <a:cubicBezTo>
                    <a:pt x="2" y="6"/>
                    <a:pt x="2" y="7"/>
                    <a:pt x="3" y="7"/>
                  </a:cubicBezTo>
                  <a:cubicBezTo>
                    <a:pt x="4" y="8"/>
                    <a:pt x="4" y="6"/>
                    <a:pt x="4" y="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1" name="Freeform 285"/>
            <p:cNvSpPr>
              <a:spLocks/>
            </p:cNvSpPr>
            <p:nvPr/>
          </p:nvSpPr>
          <p:spPr bwMode="auto">
            <a:xfrm>
              <a:off x="7377990" y="3182067"/>
              <a:ext cx="25334" cy="12167"/>
            </a:xfrm>
            <a:custGeom>
              <a:avLst/>
              <a:gdLst>
                <a:gd name="T0" fmla="*/ 48605189 w 54"/>
                <a:gd name="T1" fmla="*/ 6629066 h 25"/>
                <a:gd name="T2" fmla="*/ 48605189 w 54"/>
                <a:gd name="T3" fmla="*/ 6629066 h 25"/>
                <a:gd name="T4" fmla="*/ 46472236 w 54"/>
                <a:gd name="T5" fmla="*/ 5488568 h 25"/>
                <a:gd name="T6" fmla="*/ 43645200 w 54"/>
                <a:gd name="T7" fmla="*/ 3515237 h 25"/>
                <a:gd name="T8" fmla="*/ 39742159 w 54"/>
                <a:gd name="T9" fmla="*/ 4650620 h 25"/>
                <a:gd name="T10" fmla="*/ 34830772 w 54"/>
                <a:gd name="T11" fmla="*/ 4650620 h 25"/>
                <a:gd name="T12" fmla="*/ 29666476 w 54"/>
                <a:gd name="T13" fmla="*/ 1970602 h 25"/>
                <a:gd name="T14" fmla="*/ 29666476 w 54"/>
                <a:gd name="T15" fmla="*/ 1970602 h 25"/>
                <a:gd name="T16" fmla="*/ 25959805 w 54"/>
                <a:gd name="T17" fmla="*/ 835001 h 25"/>
                <a:gd name="T18" fmla="*/ 24755278 w 54"/>
                <a:gd name="T19" fmla="*/ 7460446 h 25"/>
                <a:gd name="T20" fmla="*/ 22964094 w 54"/>
                <a:gd name="T21" fmla="*/ 7460446 h 25"/>
                <a:gd name="T22" fmla="*/ 21766963 w 54"/>
                <a:gd name="T23" fmla="*/ 4650620 h 25"/>
                <a:gd name="T24" fmla="*/ 18064640 w 54"/>
                <a:gd name="T25" fmla="*/ 4650620 h 25"/>
                <a:gd name="T26" fmla="*/ 15887104 w 54"/>
                <a:gd name="T27" fmla="*/ 2808927 h 25"/>
                <a:gd name="T28" fmla="*/ 11641450 w 54"/>
                <a:gd name="T29" fmla="*/ 0 h 25"/>
                <a:gd name="T30" fmla="*/ 7991856 w 54"/>
                <a:gd name="T31" fmla="*/ 835001 h 25"/>
                <a:gd name="T32" fmla="*/ 2984029 w 54"/>
                <a:gd name="T33" fmla="*/ 3515237 h 25"/>
                <a:gd name="T34" fmla="*/ 2071929 w 54"/>
                <a:gd name="T35" fmla="*/ 4650620 h 25"/>
                <a:gd name="T36" fmla="*/ 2071929 w 54"/>
                <a:gd name="T37" fmla="*/ 6629066 h 25"/>
                <a:gd name="T38" fmla="*/ 874095 w 54"/>
                <a:gd name="T39" fmla="*/ 9524393 h 25"/>
                <a:gd name="T40" fmla="*/ 2071929 w 54"/>
                <a:gd name="T41" fmla="*/ 12117629 h 25"/>
                <a:gd name="T42" fmla="*/ 874095 w 54"/>
                <a:gd name="T43" fmla="*/ 12117629 h 25"/>
                <a:gd name="T44" fmla="*/ 874095 w 54"/>
                <a:gd name="T45" fmla="*/ 12953021 h 25"/>
                <a:gd name="T46" fmla="*/ 7991856 w 54"/>
                <a:gd name="T47" fmla="*/ 16480852 h 25"/>
                <a:gd name="T48" fmla="*/ 10072692 w 54"/>
                <a:gd name="T49" fmla="*/ 20413475 h 25"/>
                <a:gd name="T50" fmla="*/ 14972246 w 54"/>
                <a:gd name="T51" fmla="*/ 21138070 h 25"/>
                <a:gd name="T52" fmla="*/ 15887104 w 54"/>
                <a:gd name="T53" fmla="*/ 22477568 h 25"/>
                <a:gd name="T54" fmla="*/ 16766227 w 54"/>
                <a:gd name="T55" fmla="*/ 22477568 h 25"/>
                <a:gd name="T56" fmla="*/ 21010663 w 54"/>
                <a:gd name="T57" fmla="*/ 23108688 h 25"/>
                <a:gd name="T58" fmla="*/ 21766963 w 54"/>
                <a:gd name="T59" fmla="*/ 16480852 h 25"/>
                <a:gd name="T60" fmla="*/ 24755278 w 54"/>
                <a:gd name="T61" fmla="*/ 20413475 h 25"/>
                <a:gd name="T62" fmla="*/ 26838890 w 54"/>
                <a:gd name="T63" fmla="*/ 20413475 h 25"/>
                <a:gd name="T64" fmla="*/ 27594545 w 54"/>
                <a:gd name="T65" fmla="*/ 18442993 h 25"/>
                <a:gd name="T66" fmla="*/ 31844808 w 54"/>
                <a:gd name="T67" fmla="*/ 18442993 h 25"/>
                <a:gd name="T68" fmla="*/ 35489754 w 54"/>
                <a:gd name="T69" fmla="*/ 17606647 h 25"/>
                <a:gd name="T70" fmla="*/ 38549332 w 54"/>
                <a:gd name="T71" fmla="*/ 18442993 h 25"/>
                <a:gd name="T72" fmla="*/ 42819894 w 54"/>
                <a:gd name="T73" fmla="*/ 18442993 h 25"/>
                <a:gd name="T74" fmla="*/ 45648068 w 54"/>
                <a:gd name="T75" fmla="*/ 19578455 h 25"/>
                <a:gd name="T76" fmla="*/ 47731111 w 54"/>
                <a:gd name="T77" fmla="*/ 19578455 h 25"/>
                <a:gd name="T78" fmla="*/ 45648068 w 54"/>
                <a:gd name="T79" fmla="*/ 16480852 h 25"/>
                <a:gd name="T80" fmla="*/ 41900646 w 54"/>
                <a:gd name="T81" fmla="*/ 15644591 h 25"/>
                <a:gd name="T82" fmla="*/ 41900646 w 54"/>
                <a:gd name="T83" fmla="*/ 15644591 h 25"/>
                <a:gd name="T84" fmla="*/ 36902683 w 54"/>
                <a:gd name="T85" fmla="*/ 12953021 h 25"/>
                <a:gd name="T86" fmla="*/ 34830772 w 54"/>
                <a:gd name="T87" fmla="*/ 10144084 h 25"/>
                <a:gd name="T88" fmla="*/ 35489754 w 54"/>
                <a:gd name="T89" fmla="*/ 6629066 h 25"/>
                <a:gd name="T90" fmla="*/ 37658319 w 54"/>
                <a:gd name="T91" fmla="*/ 6629066 h 25"/>
                <a:gd name="T92" fmla="*/ 37658319 w 54"/>
                <a:gd name="T93" fmla="*/ 10975465 h 25"/>
                <a:gd name="T94" fmla="*/ 41900646 w 54"/>
                <a:gd name="T95" fmla="*/ 12953021 h 25"/>
                <a:gd name="T96" fmla="*/ 43645200 w 54"/>
                <a:gd name="T97" fmla="*/ 13821180 h 25"/>
                <a:gd name="T98" fmla="*/ 45648068 w 54"/>
                <a:gd name="T99" fmla="*/ 14926566 h 25"/>
                <a:gd name="T100" fmla="*/ 48605189 w 54"/>
                <a:gd name="T101" fmla="*/ 15644591 h 25"/>
                <a:gd name="T102" fmla="*/ 49803041 w 54"/>
                <a:gd name="T103" fmla="*/ 15644591 h 25"/>
                <a:gd name="T104" fmla="*/ 51595761 w 54"/>
                <a:gd name="T105" fmla="*/ 13821180 h 25"/>
                <a:gd name="T106" fmla="*/ 52895407 w 54"/>
                <a:gd name="T107" fmla="*/ 10144084 h 25"/>
                <a:gd name="T108" fmla="*/ 53542461 w 54"/>
                <a:gd name="T109" fmla="*/ 6629066 h 25"/>
                <a:gd name="T110" fmla="*/ 49803041 w 54"/>
                <a:gd name="T111" fmla="*/ 6629066 h 25"/>
                <a:gd name="T112" fmla="*/ 48605189 w 54"/>
                <a:gd name="T113" fmla="*/ 6629066 h 2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4"/>
                <a:gd name="T172" fmla="*/ 0 h 25"/>
                <a:gd name="T173" fmla="*/ 54 w 54"/>
                <a:gd name="T174" fmla="*/ 25 h 2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4" h="25">
                  <a:moveTo>
                    <a:pt x="49" y="7"/>
                  </a:moveTo>
                  <a:cubicBezTo>
                    <a:pt x="49" y="7"/>
                    <a:pt x="49" y="7"/>
                    <a:pt x="49" y="7"/>
                  </a:cubicBezTo>
                  <a:cubicBezTo>
                    <a:pt x="48" y="6"/>
                    <a:pt x="47" y="6"/>
                    <a:pt x="47" y="6"/>
                  </a:cubicBezTo>
                  <a:cubicBezTo>
                    <a:pt x="46" y="5"/>
                    <a:pt x="45" y="5"/>
                    <a:pt x="44" y="4"/>
                  </a:cubicBezTo>
                  <a:cubicBezTo>
                    <a:pt x="43" y="3"/>
                    <a:pt x="41" y="5"/>
                    <a:pt x="40" y="5"/>
                  </a:cubicBezTo>
                  <a:cubicBezTo>
                    <a:pt x="38" y="6"/>
                    <a:pt x="36" y="6"/>
                    <a:pt x="35" y="5"/>
                  </a:cubicBezTo>
                  <a:cubicBezTo>
                    <a:pt x="33" y="4"/>
                    <a:pt x="32" y="3"/>
                    <a:pt x="30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9" y="1"/>
                    <a:pt x="27" y="1"/>
                    <a:pt x="26" y="1"/>
                  </a:cubicBezTo>
                  <a:cubicBezTo>
                    <a:pt x="25" y="3"/>
                    <a:pt x="27" y="6"/>
                    <a:pt x="25" y="8"/>
                  </a:cubicBezTo>
                  <a:cubicBezTo>
                    <a:pt x="25" y="8"/>
                    <a:pt x="24" y="8"/>
                    <a:pt x="23" y="8"/>
                  </a:cubicBezTo>
                  <a:cubicBezTo>
                    <a:pt x="23" y="7"/>
                    <a:pt x="23" y="6"/>
                    <a:pt x="22" y="5"/>
                  </a:cubicBezTo>
                  <a:cubicBezTo>
                    <a:pt x="21" y="5"/>
                    <a:pt x="19" y="5"/>
                    <a:pt x="18" y="5"/>
                  </a:cubicBezTo>
                  <a:cubicBezTo>
                    <a:pt x="17" y="5"/>
                    <a:pt x="17" y="3"/>
                    <a:pt x="16" y="3"/>
                  </a:cubicBezTo>
                  <a:cubicBezTo>
                    <a:pt x="14" y="3"/>
                    <a:pt x="12" y="2"/>
                    <a:pt x="12" y="0"/>
                  </a:cubicBezTo>
                  <a:cubicBezTo>
                    <a:pt x="10" y="0"/>
                    <a:pt x="9" y="0"/>
                    <a:pt x="8" y="1"/>
                  </a:cubicBezTo>
                  <a:cubicBezTo>
                    <a:pt x="6" y="2"/>
                    <a:pt x="4" y="3"/>
                    <a:pt x="3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6"/>
                    <a:pt x="3" y="7"/>
                    <a:pt x="2" y="7"/>
                  </a:cubicBezTo>
                  <a:cubicBezTo>
                    <a:pt x="2" y="8"/>
                    <a:pt x="0" y="9"/>
                    <a:pt x="1" y="10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3"/>
                    <a:pt x="2" y="14"/>
                    <a:pt x="1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4" y="16"/>
                    <a:pt x="6" y="17"/>
                    <a:pt x="8" y="18"/>
                  </a:cubicBezTo>
                  <a:cubicBezTo>
                    <a:pt x="9" y="19"/>
                    <a:pt x="9" y="21"/>
                    <a:pt x="10" y="22"/>
                  </a:cubicBezTo>
                  <a:cubicBezTo>
                    <a:pt x="12" y="23"/>
                    <a:pt x="13" y="22"/>
                    <a:pt x="15" y="23"/>
                  </a:cubicBezTo>
                  <a:cubicBezTo>
                    <a:pt x="15" y="23"/>
                    <a:pt x="16" y="23"/>
                    <a:pt x="16" y="24"/>
                  </a:cubicBezTo>
                  <a:cubicBezTo>
                    <a:pt x="16" y="24"/>
                    <a:pt x="17" y="24"/>
                    <a:pt x="17" y="24"/>
                  </a:cubicBezTo>
                  <a:cubicBezTo>
                    <a:pt x="18" y="25"/>
                    <a:pt x="20" y="25"/>
                    <a:pt x="21" y="25"/>
                  </a:cubicBezTo>
                  <a:cubicBezTo>
                    <a:pt x="22" y="23"/>
                    <a:pt x="21" y="20"/>
                    <a:pt x="22" y="18"/>
                  </a:cubicBezTo>
                  <a:cubicBezTo>
                    <a:pt x="24" y="17"/>
                    <a:pt x="24" y="21"/>
                    <a:pt x="25" y="22"/>
                  </a:cubicBezTo>
                  <a:cubicBezTo>
                    <a:pt x="25" y="22"/>
                    <a:pt x="26" y="22"/>
                    <a:pt x="27" y="22"/>
                  </a:cubicBezTo>
                  <a:cubicBezTo>
                    <a:pt x="27" y="21"/>
                    <a:pt x="28" y="21"/>
                    <a:pt x="28" y="20"/>
                  </a:cubicBezTo>
                  <a:cubicBezTo>
                    <a:pt x="29" y="19"/>
                    <a:pt x="31" y="20"/>
                    <a:pt x="32" y="20"/>
                  </a:cubicBezTo>
                  <a:cubicBezTo>
                    <a:pt x="34" y="19"/>
                    <a:pt x="35" y="18"/>
                    <a:pt x="36" y="19"/>
                  </a:cubicBezTo>
                  <a:cubicBezTo>
                    <a:pt x="37" y="19"/>
                    <a:pt x="38" y="20"/>
                    <a:pt x="39" y="20"/>
                  </a:cubicBezTo>
                  <a:cubicBezTo>
                    <a:pt x="40" y="19"/>
                    <a:pt x="42" y="19"/>
                    <a:pt x="43" y="20"/>
                  </a:cubicBezTo>
                  <a:cubicBezTo>
                    <a:pt x="44" y="20"/>
                    <a:pt x="45" y="20"/>
                    <a:pt x="46" y="21"/>
                  </a:cubicBezTo>
                  <a:cubicBezTo>
                    <a:pt x="46" y="21"/>
                    <a:pt x="48" y="21"/>
                    <a:pt x="48" y="21"/>
                  </a:cubicBezTo>
                  <a:cubicBezTo>
                    <a:pt x="49" y="20"/>
                    <a:pt x="47" y="19"/>
                    <a:pt x="46" y="18"/>
                  </a:cubicBezTo>
                  <a:cubicBezTo>
                    <a:pt x="45" y="17"/>
                    <a:pt x="43" y="18"/>
                    <a:pt x="4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6"/>
                    <a:pt x="38" y="16"/>
                    <a:pt x="37" y="14"/>
                  </a:cubicBezTo>
                  <a:cubicBezTo>
                    <a:pt x="36" y="13"/>
                    <a:pt x="35" y="12"/>
                    <a:pt x="35" y="11"/>
                  </a:cubicBezTo>
                  <a:cubicBezTo>
                    <a:pt x="34" y="10"/>
                    <a:pt x="34" y="8"/>
                    <a:pt x="36" y="7"/>
                  </a:cubicBezTo>
                  <a:cubicBezTo>
                    <a:pt x="36" y="7"/>
                    <a:pt x="38" y="7"/>
                    <a:pt x="38" y="7"/>
                  </a:cubicBezTo>
                  <a:cubicBezTo>
                    <a:pt x="38" y="9"/>
                    <a:pt x="38" y="11"/>
                    <a:pt x="38" y="12"/>
                  </a:cubicBezTo>
                  <a:cubicBezTo>
                    <a:pt x="39" y="14"/>
                    <a:pt x="41" y="14"/>
                    <a:pt x="42" y="14"/>
                  </a:cubicBezTo>
                  <a:cubicBezTo>
                    <a:pt x="43" y="14"/>
                    <a:pt x="43" y="14"/>
                    <a:pt x="44" y="15"/>
                  </a:cubicBezTo>
                  <a:cubicBezTo>
                    <a:pt x="45" y="15"/>
                    <a:pt x="45" y="16"/>
                    <a:pt x="46" y="16"/>
                  </a:cubicBezTo>
                  <a:cubicBezTo>
                    <a:pt x="47" y="17"/>
                    <a:pt x="48" y="17"/>
                    <a:pt x="49" y="17"/>
                  </a:cubicBezTo>
                  <a:cubicBezTo>
                    <a:pt x="49" y="18"/>
                    <a:pt x="50" y="18"/>
                    <a:pt x="50" y="17"/>
                  </a:cubicBezTo>
                  <a:cubicBezTo>
                    <a:pt x="51" y="17"/>
                    <a:pt x="52" y="16"/>
                    <a:pt x="52" y="15"/>
                  </a:cubicBezTo>
                  <a:cubicBezTo>
                    <a:pt x="53" y="14"/>
                    <a:pt x="52" y="12"/>
                    <a:pt x="53" y="11"/>
                  </a:cubicBezTo>
                  <a:cubicBezTo>
                    <a:pt x="53" y="10"/>
                    <a:pt x="54" y="9"/>
                    <a:pt x="54" y="7"/>
                  </a:cubicBezTo>
                  <a:cubicBezTo>
                    <a:pt x="52" y="7"/>
                    <a:pt x="51" y="7"/>
                    <a:pt x="50" y="7"/>
                  </a:cubicBezTo>
                  <a:cubicBezTo>
                    <a:pt x="49" y="7"/>
                    <a:pt x="49" y="7"/>
                    <a:pt x="49" y="7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2" name="Freeform 286"/>
            <p:cNvSpPr>
              <a:spLocks/>
            </p:cNvSpPr>
            <p:nvPr/>
          </p:nvSpPr>
          <p:spPr bwMode="auto">
            <a:xfrm>
              <a:off x="7391786" y="3195315"/>
              <a:ext cx="3010" cy="3515"/>
            </a:xfrm>
            <a:custGeom>
              <a:avLst/>
              <a:gdLst>
                <a:gd name="T0" fmla="*/ 3397424 w 7"/>
                <a:gd name="T1" fmla="*/ 4210842 h 7"/>
                <a:gd name="T2" fmla="*/ 2642432 w 7"/>
                <a:gd name="T3" fmla="*/ 1213713 h 7"/>
                <a:gd name="T4" fmla="*/ 505778 w 7"/>
                <a:gd name="T5" fmla="*/ 1213713 h 7"/>
                <a:gd name="T6" fmla="*/ 505778 w 7"/>
                <a:gd name="T7" fmla="*/ 7158428 h 7"/>
                <a:gd name="T8" fmla="*/ 1156064 w 7"/>
                <a:gd name="T9" fmla="*/ 10226328 h 7"/>
                <a:gd name="T10" fmla="*/ 1724631 w 7"/>
                <a:gd name="T11" fmla="*/ 10226328 h 7"/>
                <a:gd name="T12" fmla="*/ 3397424 w 7"/>
                <a:gd name="T13" fmla="*/ 7158428 h 7"/>
                <a:gd name="T14" fmla="*/ 3397424 w 7"/>
                <a:gd name="T15" fmla="*/ 4210842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7"/>
                <a:gd name="T26" fmla="*/ 7 w 7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7">
                  <a:moveTo>
                    <a:pt x="6" y="3"/>
                  </a:moveTo>
                  <a:cubicBezTo>
                    <a:pt x="7" y="3"/>
                    <a:pt x="6" y="1"/>
                    <a:pt x="5" y="1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0" y="2"/>
                    <a:pt x="0" y="4"/>
                    <a:pt x="1" y="5"/>
                  </a:cubicBezTo>
                  <a:cubicBezTo>
                    <a:pt x="1" y="5"/>
                    <a:pt x="2" y="6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4" y="6"/>
                    <a:pt x="5" y="6"/>
                    <a:pt x="6" y="5"/>
                  </a:cubicBezTo>
                  <a:cubicBezTo>
                    <a:pt x="6" y="5"/>
                    <a:pt x="6" y="4"/>
                    <a:pt x="6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3" name="Freeform 287"/>
            <p:cNvSpPr>
              <a:spLocks/>
            </p:cNvSpPr>
            <p:nvPr/>
          </p:nvSpPr>
          <p:spPr bwMode="auto">
            <a:xfrm>
              <a:off x="7392287" y="3198019"/>
              <a:ext cx="11037" cy="4867"/>
            </a:xfrm>
            <a:custGeom>
              <a:avLst/>
              <a:gdLst>
                <a:gd name="T0" fmla="*/ 22349417 w 24"/>
                <a:gd name="T1" fmla="*/ 5085394 h 10"/>
                <a:gd name="T2" fmla="*/ 20751062 w 24"/>
                <a:gd name="T3" fmla="*/ 3577445 h 10"/>
                <a:gd name="T4" fmla="*/ 16353661 w 24"/>
                <a:gd name="T5" fmla="*/ 2554647 h 10"/>
                <a:gd name="T6" fmla="*/ 14143705 w 24"/>
                <a:gd name="T7" fmla="*/ 1064436 h 10"/>
                <a:gd name="T8" fmla="*/ 11242634 w 24"/>
                <a:gd name="T9" fmla="*/ 0 h 10"/>
                <a:gd name="T10" fmla="*/ 5955246 w 24"/>
                <a:gd name="T11" fmla="*/ 0 h 10"/>
                <a:gd name="T12" fmla="*/ 5287420 w 24"/>
                <a:gd name="T13" fmla="*/ 5085394 h 10"/>
                <a:gd name="T14" fmla="*/ 3065439 w 24"/>
                <a:gd name="T15" fmla="*/ 7196548 h 10"/>
                <a:gd name="T16" fmla="*/ 937382 w 24"/>
                <a:gd name="T17" fmla="*/ 8585865 h 10"/>
                <a:gd name="T18" fmla="*/ 0 w 24"/>
                <a:gd name="T19" fmla="*/ 9650293 h 10"/>
                <a:gd name="T20" fmla="*/ 937382 w 24"/>
                <a:gd name="T21" fmla="*/ 11140513 h 10"/>
                <a:gd name="T22" fmla="*/ 2226282 w 24"/>
                <a:gd name="T23" fmla="*/ 11140513 h 10"/>
                <a:gd name="T24" fmla="*/ 3065439 w 24"/>
                <a:gd name="T25" fmla="*/ 9650293 h 10"/>
                <a:gd name="T26" fmla="*/ 5955246 w 24"/>
                <a:gd name="T27" fmla="*/ 8585865 h 10"/>
                <a:gd name="T28" fmla="*/ 11242634 w 24"/>
                <a:gd name="T29" fmla="*/ 8585865 h 10"/>
                <a:gd name="T30" fmla="*/ 20751062 w 24"/>
                <a:gd name="T31" fmla="*/ 11140513 h 10"/>
                <a:gd name="T32" fmla="*/ 24547147 w 24"/>
                <a:gd name="T33" fmla="*/ 11140513 h 10"/>
                <a:gd name="T34" fmla="*/ 24547147 w 24"/>
                <a:gd name="T35" fmla="*/ 9650293 h 10"/>
                <a:gd name="T36" fmla="*/ 23798965 w 24"/>
                <a:gd name="T37" fmla="*/ 7196548 h 10"/>
                <a:gd name="T38" fmla="*/ 22349417 w 24"/>
                <a:gd name="T39" fmla="*/ 5085394 h 1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4"/>
                <a:gd name="T61" fmla="*/ 0 h 10"/>
                <a:gd name="T62" fmla="*/ 24 w 24"/>
                <a:gd name="T63" fmla="*/ 10 h 1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4" h="10">
                  <a:moveTo>
                    <a:pt x="22" y="4"/>
                  </a:moveTo>
                  <a:cubicBezTo>
                    <a:pt x="21" y="4"/>
                    <a:pt x="21" y="3"/>
                    <a:pt x="20" y="3"/>
                  </a:cubicBezTo>
                  <a:cubicBezTo>
                    <a:pt x="19" y="2"/>
                    <a:pt x="17" y="2"/>
                    <a:pt x="16" y="2"/>
                  </a:cubicBezTo>
                  <a:cubicBezTo>
                    <a:pt x="15" y="2"/>
                    <a:pt x="14" y="2"/>
                    <a:pt x="14" y="1"/>
                  </a:cubicBezTo>
                  <a:cubicBezTo>
                    <a:pt x="13" y="1"/>
                    <a:pt x="12" y="1"/>
                    <a:pt x="11" y="0"/>
                  </a:cubicBezTo>
                  <a:cubicBezTo>
                    <a:pt x="9" y="0"/>
                    <a:pt x="7" y="0"/>
                    <a:pt x="6" y="0"/>
                  </a:cubicBezTo>
                  <a:cubicBezTo>
                    <a:pt x="6" y="2"/>
                    <a:pt x="6" y="3"/>
                    <a:pt x="5" y="4"/>
                  </a:cubicBezTo>
                  <a:cubicBezTo>
                    <a:pt x="5" y="5"/>
                    <a:pt x="3" y="5"/>
                    <a:pt x="3" y="6"/>
                  </a:cubicBezTo>
                  <a:cubicBezTo>
                    <a:pt x="2" y="6"/>
                    <a:pt x="2" y="6"/>
                    <a:pt x="1" y="7"/>
                  </a:cubicBezTo>
                  <a:cubicBezTo>
                    <a:pt x="1" y="7"/>
                    <a:pt x="0" y="7"/>
                    <a:pt x="0" y="8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1" y="9"/>
                    <a:pt x="2" y="9"/>
                    <a:pt x="2" y="9"/>
                  </a:cubicBezTo>
                  <a:cubicBezTo>
                    <a:pt x="2" y="8"/>
                    <a:pt x="3" y="8"/>
                    <a:pt x="3" y="8"/>
                  </a:cubicBezTo>
                  <a:cubicBezTo>
                    <a:pt x="4" y="8"/>
                    <a:pt x="5" y="7"/>
                    <a:pt x="6" y="7"/>
                  </a:cubicBezTo>
                  <a:cubicBezTo>
                    <a:pt x="8" y="6"/>
                    <a:pt x="10" y="7"/>
                    <a:pt x="11" y="7"/>
                  </a:cubicBezTo>
                  <a:cubicBezTo>
                    <a:pt x="14" y="7"/>
                    <a:pt x="17" y="8"/>
                    <a:pt x="20" y="9"/>
                  </a:cubicBezTo>
                  <a:cubicBezTo>
                    <a:pt x="21" y="10"/>
                    <a:pt x="23" y="10"/>
                    <a:pt x="24" y="9"/>
                  </a:cubicBezTo>
                  <a:cubicBezTo>
                    <a:pt x="24" y="9"/>
                    <a:pt x="24" y="8"/>
                    <a:pt x="24" y="8"/>
                  </a:cubicBezTo>
                  <a:cubicBezTo>
                    <a:pt x="24" y="7"/>
                    <a:pt x="23" y="7"/>
                    <a:pt x="23" y="6"/>
                  </a:cubicBezTo>
                  <a:cubicBezTo>
                    <a:pt x="22" y="6"/>
                    <a:pt x="23" y="5"/>
                    <a:pt x="22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4" name="Freeform 288"/>
            <p:cNvSpPr>
              <a:spLocks/>
            </p:cNvSpPr>
            <p:nvPr/>
          </p:nvSpPr>
          <p:spPr bwMode="auto">
            <a:xfrm>
              <a:off x="7406585" y="3185582"/>
              <a:ext cx="15551" cy="7300"/>
            </a:xfrm>
            <a:custGeom>
              <a:avLst/>
              <a:gdLst>
                <a:gd name="T0" fmla="*/ 25480374 w 34"/>
                <a:gd name="T1" fmla="*/ 4688532 h 15"/>
                <a:gd name="T2" fmla="*/ 24050521 w 34"/>
                <a:gd name="T3" fmla="*/ 4688532 h 15"/>
                <a:gd name="T4" fmla="*/ 19433342 w 34"/>
                <a:gd name="T5" fmla="*/ 3961001 h 15"/>
                <a:gd name="T6" fmla="*/ 17684806 w 34"/>
                <a:gd name="T7" fmla="*/ 5234181 h 15"/>
                <a:gd name="T8" fmla="*/ 15774699 w 34"/>
                <a:gd name="T9" fmla="*/ 4688532 h 15"/>
                <a:gd name="T10" fmla="*/ 14174003 w 34"/>
                <a:gd name="T11" fmla="*/ 3961001 h 15"/>
                <a:gd name="T12" fmla="*/ 8957156 w 34"/>
                <a:gd name="T13" fmla="*/ 3961001 h 15"/>
                <a:gd name="T14" fmla="*/ 7173119 w 34"/>
                <a:gd name="T15" fmla="*/ 4688532 h 15"/>
                <a:gd name="T16" fmla="*/ 5300376 w 34"/>
                <a:gd name="T17" fmla="*/ 4688532 h 15"/>
                <a:gd name="T18" fmla="*/ 4467192 w 34"/>
                <a:gd name="T19" fmla="*/ 3961001 h 15"/>
                <a:gd name="T20" fmla="*/ 1898557 w 34"/>
                <a:gd name="T21" fmla="*/ 0 h 15"/>
                <a:gd name="T22" fmla="*/ 806887 w 34"/>
                <a:gd name="T23" fmla="*/ 0 h 15"/>
                <a:gd name="T24" fmla="*/ 806887 w 34"/>
                <a:gd name="T25" fmla="*/ 2243220 h 15"/>
                <a:gd name="T26" fmla="*/ 806887 w 34"/>
                <a:gd name="T27" fmla="*/ 4688532 h 15"/>
                <a:gd name="T28" fmla="*/ 3318400 w 34"/>
                <a:gd name="T29" fmla="*/ 6253185 h 15"/>
                <a:gd name="T30" fmla="*/ 10511040 w 34"/>
                <a:gd name="T31" fmla="*/ 8614993 h 15"/>
                <a:gd name="T32" fmla="*/ 14174003 w 34"/>
                <a:gd name="T33" fmla="*/ 9902491 h 15"/>
                <a:gd name="T34" fmla="*/ 17684806 w 34"/>
                <a:gd name="T35" fmla="*/ 11620011 h 15"/>
                <a:gd name="T36" fmla="*/ 20263812 w 34"/>
                <a:gd name="T37" fmla="*/ 10939910 h 15"/>
                <a:gd name="T38" fmla="*/ 25480374 w 34"/>
                <a:gd name="T39" fmla="*/ 10939910 h 15"/>
                <a:gd name="T40" fmla="*/ 28048994 w 34"/>
                <a:gd name="T41" fmla="*/ 10939910 h 15"/>
                <a:gd name="T42" fmla="*/ 28048994 w 34"/>
                <a:gd name="T43" fmla="*/ 4688532 h 15"/>
                <a:gd name="T44" fmla="*/ 27437644 w 34"/>
                <a:gd name="T45" fmla="*/ 4688532 h 15"/>
                <a:gd name="T46" fmla="*/ 25480374 w 34"/>
                <a:gd name="T47" fmla="*/ 4688532 h 1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4"/>
                <a:gd name="T73" fmla="*/ 0 h 15"/>
                <a:gd name="T74" fmla="*/ 34 w 34"/>
                <a:gd name="T75" fmla="*/ 15 h 1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4" h="15">
                  <a:moveTo>
                    <a:pt x="29" y="6"/>
                  </a:moveTo>
                  <a:cubicBezTo>
                    <a:pt x="28" y="6"/>
                    <a:pt x="28" y="6"/>
                    <a:pt x="27" y="6"/>
                  </a:cubicBezTo>
                  <a:cubicBezTo>
                    <a:pt x="26" y="5"/>
                    <a:pt x="24" y="4"/>
                    <a:pt x="22" y="5"/>
                  </a:cubicBezTo>
                  <a:cubicBezTo>
                    <a:pt x="21" y="6"/>
                    <a:pt x="21" y="6"/>
                    <a:pt x="20" y="7"/>
                  </a:cubicBezTo>
                  <a:cubicBezTo>
                    <a:pt x="19" y="7"/>
                    <a:pt x="18" y="7"/>
                    <a:pt x="18" y="6"/>
                  </a:cubicBezTo>
                  <a:cubicBezTo>
                    <a:pt x="17" y="6"/>
                    <a:pt x="17" y="5"/>
                    <a:pt x="16" y="5"/>
                  </a:cubicBezTo>
                  <a:cubicBezTo>
                    <a:pt x="14" y="4"/>
                    <a:pt x="12" y="4"/>
                    <a:pt x="10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7"/>
                    <a:pt x="7" y="7"/>
                    <a:pt x="6" y="6"/>
                  </a:cubicBezTo>
                  <a:cubicBezTo>
                    <a:pt x="6" y="6"/>
                    <a:pt x="5" y="5"/>
                    <a:pt x="5" y="5"/>
                  </a:cubicBezTo>
                  <a:cubicBezTo>
                    <a:pt x="2" y="4"/>
                    <a:pt x="3" y="2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1" y="7"/>
                    <a:pt x="3" y="8"/>
                    <a:pt x="4" y="8"/>
                  </a:cubicBezTo>
                  <a:cubicBezTo>
                    <a:pt x="7" y="9"/>
                    <a:pt x="9" y="10"/>
                    <a:pt x="12" y="11"/>
                  </a:cubicBezTo>
                  <a:cubicBezTo>
                    <a:pt x="13" y="12"/>
                    <a:pt x="15" y="12"/>
                    <a:pt x="16" y="13"/>
                  </a:cubicBezTo>
                  <a:cubicBezTo>
                    <a:pt x="17" y="14"/>
                    <a:pt x="19" y="14"/>
                    <a:pt x="20" y="15"/>
                  </a:cubicBezTo>
                  <a:cubicBezTo>
                    <a:pt x="21" y="15"/>
                    <a:pt x="22" y="14"/>
                    <a:pt x="23" y="14"/>
                  </a:cubicBezTo>
                  <a:cubicBezTo>
                    <a:pt x="25" y="14"/>
                    <a:pt x="27" y="14"/>
                    <a:pt x="29" y="14"/>
                  </a:cubicBezTo>
                  <a:cubicBezTo>
                    <a:pt x="30" y="14"/>
                    <a:pt x="32" y="15"/>
                    <a:pt x="32" y="14"/>
                  </a:cubicBezTo>
                  <a:cubicBezTo>
                    <a:pt x="33" y="11"/>
                    <a:pt x="34" y="9"/>
                    <a:pt x="32" y="6"/>
                  </a:cubicBezTo>
                  <a:cubicBezTo>
                    <a:pt x="32" y="6"/>
                    <a:pt x="31" y="6"/>
                    <a:pt x="31" y="6"/>
                  </a:cubicBezTo>
                  <a:lnTo>
                    <a:pt x="29" y="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5" name="Freeform 289"/>
            <p:cNvSpPr>
              <a:spLocks/>
            </p:cNvSpPr>
            <p:nvPr/>
          </p:nvSpPr>
          <p:spPr bwMode="auto">
            <a:xfrm>
              <a:off x="7353659" y="3206942"/>
              <a:ext cx="7525" cy="3245"/>
            </a:xfrm>
            <a:custGeom>
              <a:avLst/>
              <a:gdLst>
                <a:gd name="T0" fmla="*/ 15456858 w 16"/>
                <a:gd name="T1" fmla="*/ 2642432 h 7"/>
                <a:gd name="T2" fmla="*/ 13463332 w 16"/>
                <a:gd name="T3" fmla="*/ 1724631 h 7"/>
                <a:gd name="T4" fmla="*/ 5955246 w 16"/>
                <a:gd name="T5" fmla="*/ 505778 h 7"/>
                <a:gd name="T6" fmla="*/ 2129866 w 16"/>
                <a:gd name="T7" fmla="*/ 505778 h 7"/>
                <a:gd name="T8" fmla="*/ 896786 w 16"/>
                <a:gd name="T9" fmla="*/ 505778 h 7"/>
                <a:gd name="T10" fmla="*/ 0 w 16"/>
                <a:gd name="T11" fmla="*/ 1724631 h 7"/>
                <a:gd name="T12" fmla="*/ 5058432 w 16"/>
                <a:gd name="T13" fmla="*/ 2234466 h 7"/>
                <a:gd name="T14" fmla="*/ 8176458 w 16"/>
                <a:gd name="T15" fmla="*/ 3397424 h 7"/>
                <a:gd name="T16" fmla="*/ 15456858 w 16"/>
                <a:gd name="T17" fmla="*/ 3942014 h 7"/>
                <a:gd name="T18" fmla="*/ 16353582 w 16"/>
                <a:gd name="T19" fmla="*/ 2642432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7"/>
                <a:gd name="T32" fmla="*/ 16 w 1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7">
                  <a:moveTo>
                    <a:pt x="15" y="5"/>
                  </a:moveTo>
                  <a:cubicBezTo>
                    <a:pt x="14" y="4"/>
                    <a:pt x="14" y="3"/>
                    <a:pt x="13" y="3"/>
                  </a:cubicBezTo>
                  <a:cubicBezTo>
                    <a:pt x="11" y="2"/>
                    <a:pt x="8" y="2"/>
                    <a:pt x="6" y="1"/>
                  </a:cubicBezTo>
                  <a:cubicBezTo>
                    <a:pt x="5" y="0"/>
                    <a:pt x="3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2" y="4"/>
                    <a:pt x="4" y="3"/>
                    <a:pt x="5" y="4"/>
                  </a:cubicBezTo>
                  <a:cubicBezTo>
                    <a:pt x="6" y="4"/>
                    <a:pt x="7" y="5"/>
                    <a:pt x="8" y="6"/>
                  </a:cubicBezTo>
                  <a:cubicBezTo>
                    <a:pt x="10" y="7"/>
                    <a:pt x="13" y="7"/>
                    <a:pt x="15" y="7"/>
                  </a:cubicBezTo>
                  <a:cubicBezTo>
                    <a:pt x="16" y="7"/>
                    <a:pt x="16" y="6"/>
                    <a:pt x="16" y="5"/>
                  </a:cubicBezTo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6" name="Freeform 290"/>
            <p:cNvSpPr>
              <a:spLocks/>
            </p:cNvSpPr>
            <p:nvPr/>
          </p:nvSpPr>
          <p:spPr bwMode="auto">
            <a:xfrm>
              <a:off x="7356669" y="3206131"/>
              <a:ext cx="3261" cy="1622"/>
            </a:xfrm>
            <a:custGeom>
              <a:avLst/>
              <a:gdLst>
                <a:gd name="T0" fmla="*/ 7158428 w 7"/>
                <a:gd name="T1" fmla="*/ 2497529 h 4"/>
                <a:gd name="T2" fmla="*/ 1213713 w 7"/>
                <a:gd name="T3" fmla="*/ 2497529 h 4"/>
                <a:gd name="T4" fmla="*/ 1213713 w 7"/>
                <a:gd name="T5" fmla="*/ 6243820 h 4"/>
                <a:gd name="T6" fmla="*/ 10226328 w 7"/>
                <a:gd name="T7" fmla="*/ 6243820 h 4"/>
                <a:gd name="T8" fmla="*/ 10226328 w 7"/>
                <a:gd name="T9" fmla="*/ 4450654 h 4"/>
                <a:gd name="T10" fmla="*/ 5930334 w 7"/>
                <a:gd name="T11" fmla="*/ 2497529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4"/>
                <a:gd name="T20" fmla="*/ 7 w 7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4">
                  <a:moveTo>
                    <a:pt x="5" y="1"/>
                  </a:moveTo>
                  <a:cubicBezTo>
                    <a:pt x="3" y="2"/>
                    <a:pt x="2" y="0"/>
                    <a:pt x="1" y="1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3" y="4"/>
                    <a:pt x="6" y="3"/>
                    <a:pt x="7" y="3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6" y="2"/>
                    <a:pt x="5" y="2"/>
                    <a:pt x="4" y="1"/>
                  </a:cubicBezTo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7" name="Freeform 291"/>
            <p:cNvSpPr>
              <a:spLocks/>
            </p:cNvSpPr>
            <p:nvPr/>
          </p:nvSpPr>
          <p:spPr bwMode="auto">
            <a:xfrm>
              <a:off x="7301487" y="3193693"/>
              <a:ext cx="4515" cy="3515"/>
            </a:xfrm>
            <a:custGeom>
              <a:avLst/>
              <a:gdLst>
                <a:gd name="T0" fmla="*/ 5234180 w 9"/>
                <a:gd name="T1" fmla="*/ 1213713 h 7"/>
                <a:gd name="T2" fmla="*/ 2243220 w 9"/>
                <a:gd name="T3" fmla="*/ 1213713 h 7"/>
                <a:gd name="T4" fmla="*/ 727531 w 9"/>
                <a:gd name="T5" fmla="*/ 5930334 h 7"/>
                <a:gd name="T6" fmla="*/ 727531 w 9"/>
                <a:gd name="T7" fmla="*/ 7158428 h 7"/>
                <a:gd name="T8" fmla="*/ 2970751 w 9"/>
                <a:gd name="T9" fmla="*/ 8872004 h 7"/>
                <a:gd name="T10" fmla="*/ 4688532 w 9"/>
                <a:gd name="T11" fmla="*/ 8872004 h 7"/>
                <a:gd name="T12" fmla="*/ 6253179 w 9"/>
                <a:gd name="T13" fmla="*/ 7158428 h 7"/>
                <a:gd name="T14" fmla="*/ 6931749 w 9"/>
                <a:gd name="T15" fmla="*/ 5930334 h 7"/>
                <a:gd name="T16" fmla="*/ 6931749 w 9"/>
                <a:gd name="T17" fmla="*/ 1213713 h 7"/>
                <a:gd name="T18" fmla="*/ 5234180 w 9"/>
                <a:gd name="T19" fmla="*/ 1213713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7"/>
                <a:gd name="T32" fmla="*/ 9 w 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7">
                  <a:moveTo>
                    <a:pt x="7" y="1"/>
                  </a:moveTo>
                  <a:cubicBezTo>
                    <a:pt x="6" y="1"/>
                    <a:pt x="4" y="0"/>
                    <a:pt x="3" y="1"/>
                  </a:cubicBezTo>
                  <a:cubicBezTo>
                    <a:pt x="2" y="2"/>
                    <a:pt x="1" y="3"/>
                    <a:pt x="1" y="4"/>
                  </a:cubicBezTo>
                  <a:cubicBezTo>
                    <a:pt x="0" y="4"/>
                    <a:pt x="0" y="5"/>
                    <a:pt x="1" y="5"/>
                  </a:cubicBezTo>
                  <a:cubicBezTo>
                    <a:pt x="2" y="6"/>
                    <a:pt x="3" y="5"/>
                    <a:pt x="4" y="6"/>
                  </a:cubicBezTo>
                  <a:cubicBezTo>
                    <a:pt x="5" y="7"/>
                    <a:pt x="6" y="6"/>
                    <a:pt x="6" y="6"/>
                  </a:cubicBezTo>
                  <a:cubicBezTo>
                    <a:pt x="7" y="6"/>
                    <a:pt x="7" y="5"/>
                    <a:pt x="8" y="5"/>
                  </a:cubicBezTo>
                  <a:cubicBezTo>
                    <a:pt x="8" y="5"/>
                    <a:pt x="8" y="4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8" y="1"/>
                    <a:pt x="8" y="1"/>
                    <a:pt x="7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8" name="Freeform 292"/>
            <p:cNvSpPr>
              <a:spLocks/>
            </p:cNvSpPr>
            <p:nvPr/>
          </p:nvSpPr>
          <p:spPr bwMode="auto">
            <a:xfrm>
              <a:off x="7461516" y="3370521"/>
              <a:ext cx="3261" cy="3515"/>
            </a:xfrm>
            <a:custGeom>
              <a:avLst/>
              <a:gdLst>
                <a:gd name="T0" fmla="*/ 2234466 w 7"/>
                <a:gd name="T1" fmla="*/ 2947589 h 7"/>
                <a:gd name="T2" fmla="*/ 1156064 w 7"/>
                <a:gd name="T3" fmla="*/ 5930334 h 7"/>
                <a:gd name="T4" fmla="*/ 505778 w 7"/>
                <a:gd name="T5" fmla="*/ 10226328 h 7"/>
                <a:gd name="T6" fmla="*/ 1156064 w 7"/>
                <a:gd name="T7" fmla="*/ 10226328 h 7"/>
                <a:gd name="T8" fmla="*/ 2234466 w 7"/>
                <a:gd name="T9" fmla="*/ 5930334 h 7"/>
                <a:gd name="T10" fmla="*/ 2642432 w 7"/>
                <a:gd name="T11" fmla="*/ 4210842 h 7"/>
                <a:gd name="T12" fmla="*/ 3942014 w 7"/>
                <a:gd name="T13" fmla="*/ 1213713 h 7"/>
                <a:gd name="T14" fmla="*/ 3942014 w 7"/>
                <a:gd name="T15" fmla="*/ 1213713 h 7"/>
                <a:gd name="T16" fmla="*/ 2234466 w 7"/>
                <a:gd name="T17" fmla="*/ 2947589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7"/>
                <a:gd name="T29" fmla="*/ 7 w 7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7">
                  <a:moveTo>
                    <a:pt x="4" y="2"/>
                  </a:moveTo>
                  <a:cubicBezTo>
                    <a:pt x="3" y="3"/>
                    <a:pt x="2" y="3"/>
                    <a:pt x="2" y="4"/>
                  </a:cubicBezTo>
                  <a:cubicBezTo>
                    <a:pt x="1" y="5"/>
                    <a:pt x="0" y="6"/>
                    <a:pt x="1" y="7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3" y="6"/>
                    <a:pt x="4" y="5"/>
                    <a:pt x="4" y="4"/>
                  </a:cubicBezTo>
                  <a:cubicBezTo>
                    <a:pt x="5" y="4"/>
                    <a:pt x="5" y="3"/>
                    <a:pt x="5" y="3"/>
                  </a:cubicBezTo>
                  <a:cubicBezTo>
                    <a:pt x="6" y="2"/>
                    <a:pt x="6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0"/>
                    <a:pt x="5" y="1"/>
                    <a:pt x="4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9" name="Freeform 293"/>
            <p:cNvSpPr>
              <a:spLocks/>
            </p:cNvSpPr>
            <p:nvPr/>
          </p:nvSpPr>
          <p:spPr bwMode="auto">
            <a:xfrm>
              <a:off x="7466282" y="3364843"/>
              <a:ext cx="5518" cy="5678"/>
            </a:xfrm>
            <a:custGeom>
              <a:avLst/>
              <a:gdLst>
                <a:gd name="T0" fmla="*/ 5234181 w 12"/>
                <a:gd name="T1" fmla="*/ 1697572 h 12"/>
                <a:gd name="T2" fmla="*/ 2243220 w 12"/>
                <a:gd name="T3" fmla="*/ 3961001 h 12"/>
                <a:gd name="T4" fmla="*/ 0 w 12"/>
                <a:gd name="T5" fmla="*/ 8614988 h 12"/>
                <a:gd name="T6" fmla="*/ 0 w 12"/>
                <a:gd name="T7" fmla="*/ 9242333 h 12"/>
                <a:gd name="T8" fmla="*/ 727531 w 12"/>
                <a:gd name="T9" fmla="*/ 9242333 h 12"/>
                <a:gd name="T10" fmla="*/ 5234181 w 12"/>
                <a:gd name="T11" fmla="*/ 4688532 h 12"/>
                <a:gd name="T12" fmla="*/ 8614988 w 12"/>
                <a:gd name="T13" fmla="*/ 1697572 h 12"/>
                <a:gd name="T14" fmla="*/ 8614988 w 12"/>
                <a:gd name="T15" fmla="*/ 727531 h 12"/>
                <a:gd name="T16" fmla="*/ 7659274 w 12"/>
                <a:gd name="T17" fmla="*/ 727531 h 12"/>
                <a:gd name="T18" fmla="*/ 5234181 w 12"/>
                <a:gd name="T19" fmla="*/ 1697572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12"/>
                <a:gd name="T32" fmla="*/ 12 w 12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12">
                  <a:moveTo>
                    <a:pt x="7" y="2"/>
                  </a:moveTo>
                  <a:cubicBezTo>
                    <a:pt x="5" y="1"/>
                    <a:pt x="3" y="3"/>
                    <a:pt x="3" y="5"/>
                  </a:cubicBezTo>
                  <a:cubicBezTo>
                    <a:pt x="3" y="7"/>
                    <a:pt x="2" y="10"/>
                    <a:pt x="0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1" y="12"/>
                    <a:pt x="1" y="12"/>
                  </a:cubicBezTo>
                  <a:cubicBezTo>
                    <a:pt x="4" y="10"/>
                    <a:pt x="5" y="8"/>
                    <a:pt x="7" y="6"/>
                  </a:cubicBezTo>
                  <a:cubicBezTo>
                    <a:pt x="9" y="4"/>
                    <a:pt x="10" y="4"/>
                    <a:pt x="11" y="2"/>
                  </a:cubicBezTo>
                  <a:cubicBezTo>
                    <a:pt x="12" y="2"/>
                    <a:pt x="12" y="1"/>
                    <a:pt x="11" y="1"/>
                  </a:cubicBezTo>
                  <a:cubicBezTo>
                    <a:pt x="11" y="0"/>
                    <a:pt x="10" y="0"/>
                    <a:pt x="10" y="1"/>
                  </a:cubicBezTo>
                  <a:cubicBezTo>
                    <a:pt x="9" y="1"/>
                    <a:pt x="8" y="2"/>
                    <a:pt x="7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0" name="Freeform 294"/>
            <p:cNvSpPr>
              <a:spLocks/>
            </p:cNvSpPr>
            <p:nvPr/>
          </p:nvSpPr>
          <p:spPr bwMode="auto">
            <a:xfrm>
              <a:off x="7473556" y="3361057"/>
              <a:ext cx="3512" cy="3785"/>
            </a:xfrm>
            <a:custGeom>
              <a:avLst/>
              <a:gdLst>
                <a:gd name="T0" fmla="*/ 5930334 w 7"/>
                <a:gd name="T1" fmla="*/ 2129866 h 8"/>
                <a:gd name="T2" fmla="*/ 0 w 7"/>
                <a:gd name="T3" fmla="*/ 8176458 h 8"/>
                <a:gd name="T4" fmla="*/ 5930334 w 7"/>
                <a:gd name="T5" fmla="*/ 7279645 h 8"/>
                <a:gd name="T6" fmla="*/ 5930334 w 7"/>
                <a:gd name="T7" fmla="*/ 5955246 h 8"/>
                <a:gd name="T8" fmla="*/ 10226328 w 7"/>
                <a:gd name="T9" fmla="*/ 2129866 h 8"/>
                <a:gd name="T10" fmla="*/ 10226328 w 7"/>
                <a:gd name="T11" fmla="*/ 896786 h 8"/>
                <a:gd name="T12" fmla="*/ 5930334 w 7"/>
                <a:gd name="T13" fmla="*/ 2129866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8"/>
                <a:gd name="T23" fmla="*/ 7 w 7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8">
                  <a:moveTo>
                    <a:pt x="4" y="2"/>
                  </a:moveTo>
                  <a:cubicBezTo>
                    <a:pt x="3" y="4"/>
                    <a:pt x="0" y="5"/>
                    <a:pt x="0" y="8"/>
                  </a:cubicBezTo>
                  <a:cubicBezTo>
                    <a:pt x="1" y="8"/>
                    <a:pt x="3" y="7"/>
                    <a:pt x="4" y="7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5" y="5"/>
                    <a:pt x="6" y="3"/>
                    <a:pt x="7" y="2"/>
                  </a:cubicBezTo>
                  <a:cubicBezTo>
                    <a:pt x="7" y="2"/>
                    <a:pt x="7" y="1"/>
                    <a:pt x="7" y="1"/>
                  </a:cubicBezTo>
                  <a:cubicBezTo>
                    <a:pt x="6" y="0"/>
                    <a:pt x="5" y="1"/>
                    <a:pt x="4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1" name="Freeform 295"/>
            <p:cNvSpPr>
              <a:spLocks/>
            </p:cNvSpPr>
            <p:nvPr/>
          </p:nvSpPr>
          <p:spPr bwMode="auto">
            <a:xfrm>
              <a:off x="7436433" y="3317797"/>
              <a:ext cx="17307" cy="45694"/>
            </a:xfrm>
            <a:custGeom>
              <a:avLst/>
              <a:gdLst>
                <a:gd name="T0" fmla="*/ 15991929 w 37"/>
                <a:gd name="T1" fmla="*/ 53533818 h 94"/>
                <a:gd name="T2" fmla="*/ 15991929 w 37"/>
                <a:gd name="T3" fmla="*/ 55099645 h 94"/>
                <a:gd name="T4" fmla="*/ 15991929 w 37"/>
                <a:gd name="T5" fmla="*/ 63769432 h 94"/>
                <a:gd name="T6" fmla="*/ 18938643 w 37"/>
                <a:gd name="T7" fmla="*/ 65490187 h 94"/>
                <a:gd name="T8" fmla="*/ 19795716 w 37"/>
                <a:gd name="T9" fmla="*/ 66688533 h 94"/>
                <a:gd name="T10" fmla="*/ 19795716 w 37"/>
                <a:gd name="T11" fmla="*/ 74252250 h 94"/>
                <a:gd name="T12" fmla="*/ 22055388 w 37"/>
                <a:gd name="T13" fmla="*/ 74890022 h 94"/>
                <a:gd name="T14" fmla="*/ 22055388 w 37"/>
                <a:gd name="T15" fmla="*/ 77717149 h 94"/>
                <a:gd name="T16" fmla="*/ 21127764 w 37"/>
                <a:gd name="T17" fmla="*/ 81260249 h 94"/>
                <a:gd name="T18" fmla="*/ 24313001 w 37"/>
                <a:gd name="T19" fmla="*/ 87316785 h 94"/>
                <a:gd name="T20" fmla="*/ 25164841 w 37"/>
                <a:gd name="T21" fmla="*/ 88043887 h 94"/>
                <a:gd name="T22" fmla="*/ 25164841 w 37"/>
                <a:gd name="T23" fmla="*/ 88043887 h 94"/>
                <a:gd name="T24" fmla="*/ 25954329 w 37"/>
                <a:gd name="T25" fmla="*/ 82501257 h 94"/>
                <a:gd name="T26" fmla="*/ 28211999 w 37"/>
                <a:gd name="T27" fmla="*/ 81260249 h 94"/>
                <a:gd name="T28" fmla="*/ 32660687 w 37"/>
                <a:gd name="T29" fmla="*/ 83278162 h 94"/>
                <a:gd name="T30" fmla="*/ 33517683 w 37"/>
                <a:gd name="T31" fmla="*/ 83278162 h 94"/>
                <a:gd name="T32" fmla="*/ 34438115 w 37"/>
                <a:gd name="T33" fmla="*/ 80422960 h 94"/>
                <a:gd name="T34" fmla="*/ 31321432 w 37"/>
                <a:gd name="T35" fmla="*/ 76931099 h 94"/>
                <a:gd name="T36" fmla="*/ 30401057 w 37"/>
                <a:gd name="T37" fmla="*/ 75730902 h 94"/>
                <a:gd name="T38" fmla="*/ 24313001 w 37"/>
                <a:gd name="T39" fmla="*/ 69340251 h 94"/>
                <a:gd name="T40" fmla="*/ 23005635 w 37"/>
                <a:gd name="T41" fmla="*/ 67353588 h 94"/>
                <a:gd name="T42" fmla="*/ 23005635 w 37"/>
                <a:gd name="T43" fmla="*/ 61157353 h 94"/>
                <a:gd name="T44" fmla="*/ 24313001 w 37"/>
                <a:gd name="T45" fmla="*/ 57954697 h 94"/>
                <a:gd name="T46" fmla="*/ 23005635 w 37"/>
                <a:gd name="T47" fmla="*/ 55099645 h 94"/>
                <a:gd name="T48" fmla="*/ 29450962 w 37"/>
                <a:gd name="T49" fmla="*/ 53533818 h 94"/>
                <a:gd name="T50" fmla="*/ 30401057 w 37"/>
                <a:gd name="T51" fmla="*/ 53533818 h 94"/>
                <a:gd name="T52" fmla="*/ 34438115 w 37"/>
                <a:gd name="T53" fmla="*/ 57090503 h 94"/>
                <a:gd name="T54" fmla="*/ 36527796 w 37"/>
                <a:gd name="T55" fmla="*/ 61157353 h 94"/>
                <a:gd name="T56" fmla="*/ 38724103 w 37"/>
                <a:gd name="T57" fmla="*/ 61157353 h 94"/>
                <a:gd name="T58" fmla="*/ 38724103 w 37"/>
                <a:gd name="T59" fmla="*/ 59947670 h 94"/>
                <a:gd name="T60" fmla="*/ 29450962 w 37"/>
                <a:gd name="T61" fmla="*/ 46850846 h 94"/>
                <a:gd name="T62" fmla="*/ 27261904 w 37"/>
                <a:gd name="T63" fmla="*/ 44864069 h 94"/>
                <a:gd name="T64" fmla="*/ 25954329 w 37"/>
                <a:gd name="T65" fmla="*/ 43179666 h 94"/>
                <a:gd name="T66" fmla="*/ 25164841 w 37"/>
                <a:gd name="T67" fmla="*/ 41943004 h 94"/>
                <a:gd name="T68" fmla="*/ 19795716 w 37"/>
                <a:gd name="T69" fmla="*/ 32907276 h 94"/>
                <a:gd name="T70" fmla="*/ 16681192 w 37"/>
                <a:gd name="T71" fmla="*/ 28875172 h 94"/>
                <a:gd name="T72" fmla="*/ 15991929 w 37"/>
                <a:gd name="T73" fmla="*/ 27001473 h 94"/>
                <a:gd name="T74" fmla="*/ 14479671 w 37"/>
                <a:gd name="T75" fmla="*/ 22667487 h 94"/>
                <a:gd name="T76" fmla="*/ 12782271 w 37"/>
                <a:gd name="T77" fmla="*/ 15147617 h 94"/>
                <a:gd name="T78" fmla="*/ 6088044 w 37"/>
                <a:gd name="T79" fmla="*/ 2830082 h 94"/>
                <a:gd name="T80" fmla="*/ 2259676 w 37"/>
                <a:gd name="T81" fmla="*/ 840908 h 94"/>
                <a:gd name="T82" fmla="*/ 2259676 w 37"/>
                <a:gd name="T83" fmla="*/ 1985974 h 94"/>
                <a:gd name="T84" fmla="*/ 4448692 w 37"/>
                <a:gd name="T85" fmla="*/ 4690279 h 94"/>
                <a:gd name="T86" fmla="*/ 4448692 w 37"/>
                <a:gd name="T87" fmla="*/ 5542566 h 94"/>
                <a:gd name="T88" fmla="*/ 3116679 w 37"/>
                <a:gd name="T89" fmla="*/ 6683811 h 94"/>
                <a:gd name="T90" fmla="*/ 3116679 w 37"/>
                <a:gd name="T91" fmla="*/ 7519858 h 94"/>
                <a:gd name="T92" fmla="*/ 4448692 w 37"/>
                <a:gd name="T93" fmla="*/ 10235609 h 94"/>
                <a:gd name="T94" fmla="*/ 950091 w 37"/>
                <a:gd name="T95" fmla="*/ 10235609 h 94"/>
                <a:gd name="T96" fmla="*/ 950091 w 37"/>
                <a:gd name="T97" fmla="*/ 13933712 h 94"/>
                <a:gd name="T98" fmla="*/ 2259676 w 37"/>
                <a:gd name="T99" fmla="*/ 17759659 h 94"/>
                <a:gd name="T100" fmla="*/ 3116679 w 37"/>
                <a:gd name="T101" fmla="*/ 18640233 h 94"/>
                <a:gd name="T102" fmla="*/ 3116679 w 37"/>
                <a:gd name="T103" fmla="*/ 24173459 h 94"/>
                <a:gd name="T104" fmla="*/ 4448692 w 37"/>
                <a:gd name="T105" fmla="*/ 27001473 h 94"/>
                <a:gd name="T106" fmla="*/ 8323201 w 37"/>
                <a:gd name="T107" fmla="*/ 30073499 h 94"/>
                <a:gd name="T108" fmla="*/ 10580673 w 37"/>
                <a:gd name="T109" fmla="*/ 33787888 h 94"/>
                <a:gd name="T110" fmla="*/ 10580673 w 37"/>
                <a:gd name="T111" fmla="*/ 36400365 h 94"/>
                <a:gd name="T112" fmla="*/ 10580673 w 37"/>
                <a:gd name="T113" fmla="*/ 40463936 h 94"/>
                <a:gd name="T114" fmla="*/ 14479671 w 37"/>
                <a:gd name="T115" fmla="*/ 48714096 h 94"/>
                <a:gd name="T116" fmla="*/ 14479671 w 37"/>
                <a:gd name="T117" fmla="*/ 52420796 h 94"/>
                <a:gd name="T118" fmla="*/ 15991929 w 37"/>
                <a:gd name="T119" fmla="*/ 53533818 h 9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7"/>
                <a:gd name="T181" fmla="*/ 0 h 94"/>
                <a:gd name="T182" fmla="*/ 37 w 37"/>
                <a:gd name="T183" fmla="*/ 94 h 9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7" h="94">
                  <a:moveTo>
                    <a:pt x="15" y="57"/>
                  </a:moveTo>
                  <a:cubicBezTo>
                    <a:pt x="15" y="58"/>
                    <a:pt x="15" y="58"/>
                    <a:pt x="15" y="59"/>
                  </a:cubicBezTo>
                  <a:cubicBezTo>
                    <a:pt x="15" y="62"/>
                    <a:pt x="14" y="65"/>
                    <a:pt x="15" y="68"/>
                  </a:cubicBezTo>
                  <a:cubicBezTo>
                    <a:pt x="16" y="69"/>
                    <a:pt x="17" y="70"/>
                    <a:pt x="18" y="70"/>
                  </a:cubicBezTo>
                  <a:cubicBezTo>
                    <a:pt x="18" y="70"/>
                    <a:pt x="18" y="71"/>
                    <a:pt x="19" y="71"/>
                  </a:cubicBezTo>
                  <a:cubicBezTo>
                    <a:pt x="20" y="73"/>
                    <a:pt x="19" y="76"/>
                    <a:pt x="19" y="79"/>
                  </a:cubicBezTo>
                  <a:cubicBezTo>
                    <a:pt x="19" y="79"/>
                    <a:pt x="20" y="80"/>
                    <a:pt x="21" y="80"/>
                  </a:cubicBezTo>
                  <a:cubicBezTo>
                    <a:pt x="21" y="81"/>
                    <a:pt x="21" y="82"/>
                    <a:pt x="21" y="83"/>
                  </a:cubicBezTo>
                  <a:cubicBezTo>
                    <a:pt x="20" y="84"/>
                    <a:pt x="19" y="86"/>
                    <a:pt x="20" y="87"/>
                  </a:cubicBezTo>
                  <a:cubicBezTo>
                    <a:pt x="21" y="89"/>
                    <a:pt x="22" y="91"/>
                    <a:pt x="23" y="93"/>
                  </a:cubicBezTo>
                  <a:cubicBezTo>
                    <a:pt x="23" y="93"/>
                    <a:pt x="23" y="94"/>
                    <a:pt x="24" y="94"/>
                  </a:cubicBezTo>
                  <a:cubicBezTo>
                    <a:pt x="24" y="94"/>
                    <a:pt x="24" y="94"/>
                    <a:pt x="24" y="94"/>
                  </a:cubicBezTo>
                  <a:cubicBezTo>
                    <a:pt x="25" y="92"/>
                    <a:pt x="24" y="90"/>
                    <a:pt x="25" y="88"/>
                  </a:cubicBezTo>
                  <a:cubicBezTo>
                    <a:pt x="25" y="87"/>
                    <a:pt x="27" y="87"/>
                    <a:pt x="27" y="87"/>
                  </a:cubicBezTo>
                  <a:cubicBezTo>
                    <a:pt x="28" y="88"/>
                    <a:pt x="30" y="88"/>
                    <a:pt x="31" y="89"/>
                  </a:cubicBezTo>
                  <a:cubicBezTo>
                    <a:pt x="32" y="89"/>
                    <a:pt x="32" y="89"/>
                    <a:pt x="32" y="89"/>
                  </a:cubicBezTo>
                  <a:cubicBezTo>
                    <a:pt x="33" y="88"/>
                    <a:pt x="33" y="87"/>
                    <a:pt x="33" y="86"/>
                  </a:cubicBezTo>
                  <a:cubicBezTo>
                    <a:pt x="32" y="84"/>
                    <a:pt x="31" y="83"/>
                    <a:pt x="30" y="82"/>
                  </a:cubicBezTo>
                  <a:cubicBezTo>
                    <a:pt x="30" y="81"/>
                    <a:pt x="29" y="81"/>
                    <a:pt x="29" y="81"/>
                  </a:cubicBezTo>
                  <a:cubicBezTo>
                    <a:pt x="27" y="78"/>
                    <a:pt x="25" y="76"/>
                    <a:pt x="23" y="74"/>
                  </a:cubicBezTo>
                  <a:cubicBezTo>
                    <a:pt x="23" y="74"/>
                    <a:pt x="22" y="73"/>
                    <a:pt x="22" y="72"/>
                  </a:cubicBezTo>
                  <a:cubicBezTo>
                    <a:pt x="22" y="70"/>
                    <a:pt x="22" y="67"/>
                    <a:pt x="22" y="65"/>
                  </a:cubicBezTo>
                  <a:cubicBezTo>
                    <a:pt x="23" y="64"/>
                    <a:pt x="23" y="63"/>
                    <a:pt x="23" y="62"/>
                  </a:cubicBezTo>
                  <a:cubicBezTo>
                    <a:pt x="22" y="61"/>
                    <a:pt x="22" y="60"/>
                    <a:pt x="22" y="59"/>
                  </a:cubicBezTo>
                  <a:cubicBezTo>
                    <a:pt x="23" y="57"/>
                    <a:pt x="26" y="57"/>
                    <a:pt x="28" y="57"/>
                  </a:cubicBezTo>
                  <a:cubicBezTo>
                    <a:pt x="28" y="57"/>
                    <a:pt x="29" y="57"/>
                    <a:pt x="29" y="57"/>
                  </a:cubicBezTo>
                  <a:cubicBezTo>
                    <a:pt x="31" y="58"/>
                    <a:pt x="32" y="59"/>
                    <a:pt x="33" y="61"/>
                  </a:cubicBezTo>
                  <a:cubicBezTo>
                    <a:pt x="33" y="63"/>
                    <a:pt x="34" y="64"/>
                    <a:pt x="35" y="65"/>
                  </a:cubicBezTo>
                  <a:cubicBezTo>
                    <a:pt x="36" y="65"/>
                    <a:pt x="36" y="65"/>
                    <a:pt x="37" y="65"/>
                  </a:cubicBezTo>
                  <a:cubicBezTo>
                    <a:pt x="37" y="65"/>
                    <a:pt x="37" y="64"/>
                    <a:pt x="37" y="64"/>
                  </a:cubicBezTo>
                  <a:cubicBezTo>
                    <a:pt x="33" y="60"/>
                    <a:pt x="29" y="56"/>
                    <a:pt x="28" y="50"/>
                  </a:cubicBezTo>
                  <a:cubicBezTo>
                    <a:pt x="28" y="49"/>
                    <a:pt x="27" y="49"/>
                    <a:pt x="26" y="48"/>
                  </a:cubicBezTo>
                  <a:cubicBezTo>
                    <a:pt x="26" y="47"/>
                    <a:pt x="25" y="47"/>
                    <a:pt x="25" y="46"/>
                  </a:cubicBezTo>
                  <a:cubicBezTo>
                    <a:pt x="25" y="46"/>
                    <a:pt x="24" y="45"/>
                    <a:pt x="24" y="45"/>
                  </a:cubicBezTo>
                  <a:cubicBezTo>
                    <a:pt x="22" y="42"/>
                    <a:pt x="21" y="38"/>
                    <a:pt x="19" y="35"/>
                  </a:cubicBezTo>
                  <a:cubicBezTo>
                    <a:pt x="19" y="33"/>
                    <a:pt x="17" y="33"/>
                    <a:pt x="16" y="31"/>
                  </a:cubicBezTo>
                  <a:cubicBezTo>
                    <a:pt x="16" y="30"/>
                    <a:pt x="15" y="29"/>
                    <a:pt x="15" y="29"/>
                  </a:cubicBezTo>
                  <a:cubicBezTo>
                    <a:pt x="14" y="27"/>
                    <a:pt x="15" y="26"/>
                    <a:pt x="14" y="24"/>
                  </a:cubicBezTo>
                  <a:cubicBezTo>
                    <a:pt x="14" y="22"/>
                    <a:pt x="13" y="19"/>
                    <a:pt x="12" y="16"/>
                  </a:cubicBezTo>
                  <a:cubicBezTo>
                    <a:pt x="10" y="12"/>
                    <a:pt x="8" y="8"/>
                    <a:pt x="6" y="3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3" y="3"/>
                    <a:pt x="4" y="4"/>
                    <a:pt x="4" y="5"/>
                  </a:cubicBezTo>
                  <a:cubicBezTo>
                    <a:pt x="4" y="5"/>
                    <a:pt x="4" y="6"/>
                    <a:pt x="4" y="6"/>
                  </a:cubicBezTo>
                  <a:cubicBezTo>
                    <a:pt x="4" y="7"/>
                    <a:pt x="3" y="7"/>
                    <a:pt x="3" y="7"/>
                  </a:cubicBezTo>
                  <a:cubicBezTo>
                    <a:pt x="2" y="7"/>
                    <a:pt x="2" y="8"/>
                    <a:pt x="3" y="8"/>
                  </a:cubicBezTo>
                  <a:cubicBezTo>
                    <a:pt x="4" y="9"/>
                    <a:pt x="5" y="10"/>
                    <a:pt x="4" y="11"/>
                  </a:cubicBezTo>
                  <a:cubicBezTo>
                    <a:pt x="3" y="11"/>
                    <a:pt x="2" y="11"/>
                    <a:pt x="1" y="11"/>
                  </a:cubicBezTo>
                  <a:cubicBezTo>
                    <a:pt x="0" y="12"/>
                    <a:pt x="0" y="14"/>
                    <a:pt x="1" y="15"/>
                  </a:cubicBezTo>
                  <a:cubicBezTo>
                    <a:pt x="2" y="16"/>
                    <a:pt x="2" y="17"/>
                    <a:pt x="2" y="19"/>
                  </a:cubicBezTo>
                  <a:cubicBezTo>
                    <a:pt x="2" y="19"/>
                    <a:pt x="3" y="20"/>
                    <a:pt x="3" y="20"/>
                  </a:cubicBezTo>
                  <a:cubicBezTo>
                    <a:pt x="3" y="22"/>
                    <a:pt x="3" y="24"/>
                    <a:pt x="3" y="26"/>
                  </a:cubicBezTo>
                  <a:cubicBezTo>
                    <a:pt x="3" y="27"/>
                    <a:pt x="3" y="28"/>
                    <a:pt x="4" y="29"/>
                  </a:cubicBezTo>
                  <a:cubicBezTo>
                    <a:pt x="5" y="30"/>
                    <a:pt x="7" y="31"/>
                    <a:pt x="8" y="32"/>
                  </a:cubicBezTo>
                  <a:cubicBezTo>
                    <a:pt x="9" y="33"/>
                    <a:pt x="10" y="35"/>
                    <a:pt x="10" y="36"/>
                  </a:cubicBezTo>
                  <a:cubicBezTo>
                    <a:pt x="10" y="37"/>
                    <a:pt x="10" y="38"/>
                    <a:pt x="10" y="39"/>
                  </a:cubicBezTo>
                  <a:cubicBezTo>
                    <a:pt x="10" y="40"/>
                    <a:pt x="9" y="42"/>
                    <a:pt x="10" y="43"/>
                  </a:cubicBezTo>
                  <a:cubicBezTo>
                    <a:pt x="11" y="46"/>
                    <a:pt x="13" y="49"/>
                    <a:pt x="14" y="52"/>
                  </a:cubicBezTo>
                  <a:cubicBezTo>
                    <a:pt x="14" y="53"/>
                    <a:pt x="14" y="55"/>
                    <a:pt x="14" y="56"/>
                  </a:cubicBezTo>
                  <a:lnTo>
                    <a:pt x="15" y="57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2" name="Freeform 296"/>
            <p:cNvSpPr>
              <a:spLocks/>
            </p:cNvSpPr>
            <p:nvPr/>
          </p:nvSpPr>
          <p:spPr bwMode="auto">
            <a:xfrm>
              <a:off x="7479576" y="3356731"/>
              <a:ext cx="3010" cy="2433"/>
            </a:xfrm>
            <a:custGeom>
              <a:avLst/>
              <a:gdLst>
                <a:gd name="T0" fmla="*/ 2970751 w 6"/>
                <a:gd name="T1" fmla="*/ 0 h 5"/>
                <a:gd name="T2" fmla="*/ 727531 w 6"/>
                <a:gd name="T3" fmla="*/ 5085394 h 5"/>
                <a:gd name="T4" fmla="*/ 2243220 w 6"/>
                <a:gd name="T5" fmla="*/ 5085394 h 5"/>
                <a:gd name="T6" fmla="*/ 3961001 w 6"/>
                <a:gd name="T7" fmla="*/ 1064436 h 5"/>
                <a:gd name="T8" fmla="*/ 3961001 w 6"/>
                <a:gd name="T9" fmla="*/ 0 h 5"/>
                <a:gd name="T10" fmla="*/ 2970751 w 6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4" y="0"/>
                  </a:moveTo>
                  <a:cubicBezTo>
                    <a:pt x="3" y="2"/>
                    <a:pt x="0" y="3"/>
                    <a:pt x="1" y="4"/>
                  </a:cubicBezTo>
                  <a:cubicBezTo>
                    <a:pt x="2" y="5"/>
                    <a:pt x="3" y="4"/>
                    <a:pt x="3" y="4"/>
                  </a:cubicBezTo>
                  <a:cubicBezTo>
                    <a:pt x="4" y="3"/>
                    <a:pt x="5" y="2"/>
                    <a:pt x="5" y="1"/>
                  </a:cubicBezTo>
                  <a:cubicBezTo>
                    <a:pt x="6" y="1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3" name="Freeform 297"/>
            <p:cNvSpPr>
              <a:spLocks/>
            </p:cNvSpPr>
            <p:nvPr/>
          </p:nvSpPr>
          <p:spPr bwMode="auto">
            <a:xfrm>
              <a:off x="7486599" y="3343753"/>
              <a:ext cx="1003" cy="1622"/>
            </a:xfrm>
            <a:custGeom>
              <a:avLst/>
              <a:gdLst>
                <a:gd name="T0" fmla="*/ 2497529 w 2"/>
                <a:gd name="T1" fmla="*/ 0 h 4"/>
                <a:gd name="T2" fmla="*/ 0 w 2"/>
                <a:gd name="T3" fmla="*/ 0 h 4"/>
                <a:gd name="T4" fmla="*/ 2497529 w 2"/>
                <a:gd name="T5" fmla="*/ 1699274 h 4"/>
                <a:gd name="T6" fmla="*/ 2497529 w 2"/>
                <a:gd name="T7" fmla="*/ 1699274 h 4"/>
                <a:gd name="T8" fmla="*/ 4450654 w 2"/>
                <a:gd name="T9" fmla="*/ 0 h 4"/>
                <a:gd name="T10" fmla="*/ 2497529 w 2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4"/>
                <a:gd name="T20" fmla="*/ 2 w 2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4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1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4" name="Freeform 298"/>
            <p:cNvSpPr>
              <a:spLocks/>
            </p:cNvSpPr>
            <p:nvPr/>
          </p:nvSpPr>
          <p:spPr bwMode="auto">
            <a:xfrm>
              <a:off x="7487603" y="3336994"/>
              <a:ext cx="2258" cy="4867"/>
            </a:xfrm>
            <a:custGeom>
              <a:avLst/>
              <a:gdLst>
                <a:gd name="T0" fmla="*/ 6131150 w 5"/>
                <a:gd name="T1" fmla="*/ 4692541 h 9"/>
                <a:gd name="T2" fmla="*/ 6131150 w 5"/>
                <a:gd name="T3" fmla="*/ 1324701 h 9"/>
                <a:gd name="T4" fmla="*/ 3577445 w 5"/>
                <a:gd name="T5" fmla="*/ 1324701 h 9"/>
                <a:gd name="T6" fmla="*/ 2554647 w 5"/>
                <a:gd name="T7" fmla="*/ 6550065 h 9"/>
                <a:gd name="T8" fmla="*/ 0 w 5"/>
                <a:gd name="T9" fmla="*/ 13330806 h 9"/>
                <a:gd name="T10" fmla="*/ 2554647 w 5"/>
                <a:gd name="T11" fmla="*/ 13330806 h 9"/>
                <a:gd name="T12" fmla="*/ 5085394 w 5"/>
                <a:gd name="T13" fmla="*/ 11470653 h 9"/>
                <a:gd name="T14" fmla="*/ 6131150 w 5"/>
                <a:gd name="T15" fmla="*/ 4692541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9"/>
                <a:gd name="T26" fmla="*/ 5 w 5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9">
                  <a:moveTo>
                    <a:pt x="5" y="3"/>
                  </a:moveTo>
                  <a:cubicBezTo>
                    <a:pt x="5" y="3"/>
                    <a:pt x="5" y="2"/>
                    <a:pt x="5" y="1"/>
                  </a:cubicBezTo>
                  <a:cubicBezTo>
                    <a:pt x="5" y="0"/>
                    <a:pt x="3" y="0"/>
                    <a:pt x="3" y="1"/>
                  </a:cubicBezTo>
                  <a:cubicBezTo>
                    <a:pt x="2" y="1"/>
                    <a:pt x="2" y="3"/>
                    <a:pt x="2" y="4"/>
                  </a:cubicBezTo>
                  <a:cubicBezTo>
                    <a:pt x="1" y="5"/>
                    <a:pt x="0" y="7"/>
                    <a:pt x="0" y="8"/>
                  </a:cubicBezTo>
                  <a:cubicBezTo>
                    <a:pt x="1" y="9"/>
                    <a:pt x="2" y="9"/>
                    <a:pt x="2" y="8"/>
                  </a:cubicBezTo>
                  <a:cubicBezTo>
                    <a:pt x="3" y="8"/>
                    <a:pt x="3" y="7"/>
                    <a:pt x="4" y="7"/>
                  </a:cubicBezTo>
                  <a:cubicBezTo>
                    <a:pt x="5" y="6"/>
                    <a:pt x="5" y="5"/>
                    <a:pt x="5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5" name="Freeform 299"/>
            <p:cNvSpPr>
              <a:spLocks/>
            </p:cNvSpPr>
            <p:nvPr/>
          </p:nvSpPr>
          <p:spPr bwMode="auto">
            <a:xfrm>
              <a:off x="7490362" y="3223435"/>
              <a:ext cx="5017" cy="3785"/>
            </a:xfrm>
            <a:custGeom>
              <a:avLst/>
              <a:gdLst>
                <a:gd name="T0" fmla="*/ 7630664 w 11"/>
                <a:gd name="T1" fmla="*/ 2129866 h 8"/>
                <a:gd name="T2" fmla="*/ 0 w 11"/>
                <a:gd name="T3" fmla="*/ 2129866 h 8"/>
                <a:gd name="T4" fmla="*/ 0 w 11"/>
                <a:gd name="T5" fmla="*/ 3065115 h 8"/>
                <a:gd name="T6" fmla="*/ 5595820 w 11"/>
                <a:gd name="T7" fmla="*/ 7279645 h 8"/>
                <a:gd name="T8" fmla="*/ 9698926 w 11"/>
                <a:gd name="T9" fmla="*/ 7279645 h 8"/>
                <a:gd name="T10" fmla="*/ 9698926 w 11"/>
                <a:gd name="T11" fmla="*/ 4351847 h 8"/>
                <a:gd name="T12" fmla="*/ 7630664 w 11"/>
                <a:gd name="T13" fmla="*/ 3065115 h 8"/>
                <a:gd name="T14" fmla="*/ 7630664 w 11"/>
                <a:gd name="T15" fmla="*/ 2129866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8"/>
                <a:gd name="T26" fmla="*/ 11 w 11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8">
                  <a:moveTo>
                    <a:pt x="8" y="2"/>
                  </a:moveTo>
                  <a:cubicBezTo>
                    <a:pt x="5" y="2"/>
                    <a:pt x="3" y="0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2" y="4"/>
                    <a:pt x="4" y="5"/>
                    <a:pt x="6" y="7"/>
                  </a:cubicBezTo>
                  <a:cubicBezTo>
                    <a:pt x="7" y="7"/>
                    <a:pt x="9" y="8"/>
                    <a:pt x="10" y="7"/>
                  </a:cubicBezTo>
                  <a:cubicBezTo>
                    <a:pt x="11" y="7"/>
                    <a:pt x="10" y="5"/>
                    <a:pt x="10" y="4"/>
                  </a:cubicBezTo>
                  <a:cubicBezTo>
                    <a:pt x="10" y="4"/>
                    <a:pt x="9" y="3"/>
                    <a:pt x="8" y="3"/>
                  </a:cubicBezTo>
                  <a:lnTo>
                    <a:pt x="8" y="2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6" name="Freeform 300"/>
            <p:cNvSpPr>
              <a:spLocks/>
            </p:cNvSpPr>
            <p:nvPr/>
          </p:nvSpPr>
          <p:spPr bwMode="auto">
            <a:xfrm>
              <a:off x="7521715" y="3213160"/>
              <a:ext cx="12291" cy="6219"/>
            </a:xfrm>
            <a:custGeom>
              <a:avLst/>
              <a:gdLst>
                <a:gd name="T0" fmla="*/ 11820412 w 26"/>
                <a:gd name="T1" fmla="*/ 0 h 13"/>
                <a:gd name="T2" fmla="*/ 5811039 w 26"/>
                <a:gd name="T3" fmla="*/ 642025 h 13"/>
                <a:gd name="T4" fmla="*/ 784235 w 26"/>
                <a:gd name="T5" fmla="*/ 4467808 h 13"/>
                <a:gd name="T6" fmla="*/ 0 w 26"/>
                <a:gd name="T7" fmla="*/ 5843110 h 13"/>
                <a:gd name="T8" fmla="*/ 2476837 w 26"/>
                <a:gd name="T9" fmla="*/ 8374537 h 13"/>
                <a:gd name="T10" fmla="*/ 5038211 w 26"/>
                <a:gd name="T11" fmla="*/ 8374537 h 13"/>
                <a:gd name="T12" fmla="*/ 7503662 w 26"/>
                <a:gd name="T13" fmla="*/ 7045625 h 13"/>
                <a:gd name="T14" fmla="*/ 10127813 w 26"/>
                <a:gd name="T15" fmla="*/ 7045625 h 13"/>
                <a:gd name="T16" fmla="*/ 12522682 w 26"/>
                <a:gd name="T17" fmla="*/ 7045625 h 13"/>
                <a:gd name="T18" fmla="*/ 13633585 w 26"/>
                <a:gd name="T19" fmla="*/ 6432919 h 13"/>
                <a:gd name="T20" fmla="*/ 19444641 w 26"/>
                <a:gd name="T21" fmla="*/ 5109822 h 13"/>
                <a:gd name="T22" fmla="*/ 21137273 w 26"/>
                <a:gd name="T23" fmla="*/ 4467808 h 13"/>
                <a:gd name="T24" fmla="*/ 21137273 w 26"/>
                <a:gd name="T25" fmla="*/ 3419068 h 13"/>
                <a:gd name="T26" fmla="*/ 19444641 w 26"/>
                <a:gd name="T27" fmla="*/ 2532014 h 13"/>
                <a:gd name="T28" fmla="*/ 17604740 w 26"/>
                <a:gd name="T29" fmla="*/ 1481596 h 13"/>
                <a:gd name="T30" fmla="*/ 16241531 w 26"/>
                <a:gd name="T31" fmla="*/ 1481596 h 13"/>
                <a:gd name="T32" fmla="*/ 13633585 w 26"/>
                <a:gd name="T33" fmla="*/ 0 h 13"/>
                <a:gd name="T34" fmla="*/ 11820412 w 26"/>
                <a:gd name="T35" fmla="*/ 0 h 1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6"/>
                <a:gd name="T55" fmla="*/ 0 h 13"/>
                <a:gd name="T56" fmla="*/ 26 w 26"/>
                <a:gd name="T57" fmla="*/ 13 h 1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6" h="13">
                  <a:moveTo>
                    <a:pt x="14" y="0"/>
                  </a:moveTo>
                  <a:cubicBezTo>
                    <a:pt x="12" y="0"/>
                    <a:pt x="9" y="1"/>
                    <a:pt x="7" y="1"/>
                  </a:cubicBezTo>
                  <a:cubicBezTo>
                    <a:pt x="5" y="4"/>
                    <a:pt x="2" y="4"/>
                    <a:pt x="1" y="7"/>
                  </a:cubicBezTo>
                  <a:cubicBezTo>
                    <a:pt x="0" y="7"/>
                    <a:pt x="0" y="9"/>
                    <a:pt x="0" y="9"/>
                  </a:cubicBezTo>
                  <a:cubicBezTo>
                    <a:pt x="1" y="11"/>
                    <a:pt x="2" y="12"/>
                    <a:pt x="3" y="13"/>
                  </a:cubicBezTo>
                  <a:cubicBezTo>
                    <a:pt x="4" y="13"/>
                    <a:pt x="6" y="13"/>
                    <a:pt x="6" y="13"/>
                  </a:cubicBezTo>
                  <a:cubicBezTo>
                    <a:pt x="7" y="12"/>
                    <a:pt x="8" y="11"/>
                    <a:pt x="9" y="11"/>
                  </a:cubicBezTo>
                  <a:cubicBezTo>
                    <a:pt x="10" y="10"/>
                    <a:pt x="11" y="11"/>
                    <a:pt x="12" y="11"/>
                  </a:cubicBezTo>
                  <a:cubicBezTo>
                    <a:pt x="13" y="11"/>
                    <a:pt x="14" y="11"/>
                    <a:pt x="15" y="11"/>
                  </a:cubicBezTo>
                  <a:cubicBezTo>
                    <a:pt x="15" y="11"/>
                    <a:pt x="16" y="10"/>
                    <a:pt x="16" y="10"/>
                  </a:cubicBezTo>
                  <a:cubicBezTo>
                    <a:pt x="19" y="9"/>
                    <a:pt x="21" y="10"/>
                    <a:pt x="23" y="8"/>
                  </a:cubicBezTo>
                  <a:cubicBezTo>
                    <a:pt x="24" y="7"/>
                    <a:pt x="25" y="7"/>
                    <a:pt x="25" y="7"/>
                  </a:cubicBezTo>
                  <a:cubicBezTo>
                    <a:pt x="25" y="6"/>
                    <a:pt x="26" y="5"/>
                    <a:pt x="25" y="5"/>
                  </a:cubicBezTo>
                  <a:cubicBezTo>
                    <a:pt x="24" y="5"/>
                    <a:pt x="24" y="4"/>
                    <a:pt x="23" y="4"/>
                  </a:cubicBezTo>
                  <a:cubicBezTo>
                    <a:pt x="22" y="4"/>
                    <a:pt x="22" y="3"/>
                    <a:pt x="21" y="2"/>
                  </a:cubicBezTo>
                  <a:cubicBezTo>
                    <a:pt x="20" y="2"/>
                    <a:pt x="20" y="2"/>
                    <a:pt x="19" y="2"/>
                  </a:cubicBezTo>
                  <a:cubicBezTo>
                    <a:pt x="18" y="1"/>
                    <a:pt x="17" y="0"/>
                    <a:pt x="16" y="0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7" name="Freeform 301"/>
            <p:cNvSpPr>
              <a:spLocks/>
            </p:cNvSpPr>
            <p:nvPr/>
          </p:nvSpPr>
          <p:spPr bwMode="auto">
            <a:xfrm>
              <a:off x="7501649" y="3290759"/>
              <a:ext cx="3512" cy="3785"/>
            </a:xfrm>
            <a:custGeom>
              <a:avLst/>
              <a:gdLst>
                <a:gd name="T0" fmla="*/ 4210842 w 7"/>
                <a:gd name="T1" fmla="*/ 0 h 8"/>
                <a:gd name="T2" fmla="*/ 0 w 7"/>
                <a:gd name="T3" fmla="*/ 941139 h 8"/>
                <a:gd name="T4" fmla="*/ 0 w 7"/>
                <a:gd name="T5" fmla="*/ 3394577 h 8"/>
                <a:gd name="T6" fmla="*/ 1213713 w 7"/>
                <a:gd name="T7" fmla="*/ 3394577 h 8"/>
                <a:gd name="T8" fmla="*/ 5930334 w 7"/>
                <a:gd name="T9" fmla="*/ 1699274 h 8"/>
                <a:gd name="T10" fmla="*/ 8872004 w 7"/>
                <a:gd name="T11" fmla="*/ 941139 h 8"/>
                <a:gd name="T12" fmla="*/ 8872004 w 7"/>
                <a:gd name="T13" fmla="*/ 0 h 8"/>
                <a:gd name="T14" fmla="*/ 7158428 w 7"/>
                <a:gd name="T15" fmla="*/ 0 h 8"/>
                <a:gd name="T16" fmla="*/ 4210842 w 7"/>
                <a:gd name="T17" fmla="*/ 0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8"/>
                <a:gd name="T29" fmla="*/ 7 w 7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8">
                  <a:moveTo>
                    <a:pt x="3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2" y="7"/>
                    <a:pt x="2" y="5"/>
                    <a:pt x="4" y="4"/>
                  </a:cubicBezTo>
                  <a:cubicBezTo>
                    <a:pt x="5" y="3"/>
                    <a:pt x="6" y="3"/>
                    <a:pt x="6" y="2"/>
                  </a:cubicBezTo>
                  <a:cubicBezTo>
                    <a:pt x="6" y="2"/>
                    <a:pt x="7" y="1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8" name="Freeform 302"/>
            <p:cNvSpPr>
              <a:spLocks/>
            </p:cNvSpPr>
            <p:nvPr/>
          </p:nvSpPr>
          <p:spPr bwMode="auto">
            <a:xfrm>
              <a:off x="7418123" y="3313741"/>
              <a:ext cx="3261" cy="2163"/>
            </a:xfrm>
            <a:custGeom>
              <a:avLst/>
              <a:gdLst>
                <a:gd name="T0" fmla="*/ 8872004 w 7"/>
                <a:gd name="T1" fmla="*/ 0 h 5"/>
                <a:gd name="T2" fmla="*/ 5930334 w 7"/>
                <a:gd name="T3" fmla="*/ 0 h 5"/>
                <a:gd name="T4" fmla="*/ 1213713 w 7"/>
                <a:gd name="T5" fmla="*/ 0 h 5"/>
                <a:gd name="T6" fmla="*/ 1213713 w 7"/>
                <a:gd name="T7" fmla="*/ 1245675 h 5"/>
                <a:gd name="T8" fmla="*/ 1213713 w 7"/>
                <a:gd name="T9" fmla="*/ 1245675 h 5"/>
                <a:gd name="T10" fmla="*/ 8872004 w 7"/>
                <a:gd name="T11" fmla="*/ 1245675 h 5"/>
                <a:gd name="T12" fmla="*/ 10226328 w 7"/>
                <a:gd name="T13" fmla="*/ 257371 h 5"/>
                <a:gd name="T14" fmla="*/ 8872004 w 7"/>
                <a:gd name="T15" fmla="*/ 257371 h 5"/>
                <a:gd name="T16" fmla="*/ 8872004 w 7"/>
                <a:gd name="T17" fmla="*/ 0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5"/>
                <a:gd name="T29" fmla="*/ 7 w 7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5">
                  <a:moveTo>
                    <a:pt x="6" y="0"/>
                  </a:moveTo>
                  <a:cubicBezTo>
                    <a:pt x="5" y="0"/>
                    <a:pt x="5" y="0"/>
                    <a:pt x="4" y="0"/>
                  </a:cubicBezTo>
                  <a:cubicBezTo>
                    <a:pt x="3" y="0"/>
                    <a:pt x="1" y="0"/>
                    <a:pt x="1" y="0"/>
                  </a:cubicBezTo>
                  <a:cubicBezTo>
                    <a:pt x="0" y="1"/>
                    <a:pt x="0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3" y="4"/>
                    <a:pt x="4" y="5"/>
                    <a:pt x="6" y="4"/>
                  </a:cubicBezTo>
                  <a:cubicBezTo>
                    <a:pt x="7" y="4"/>
                    <a:pt x="7" y="2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9" name="Freeform 303"/>
            <p:cNvSpPr>
              <a:spLocks/>
            </p:cNvSpPr>
            <p:nvPr/>
          </p:nvSpPr>
          <p:spPr bwMode="auto">
            <a:xfrm>
              <a:off x="7348141" y="3558164"/>
              <a:ext cx="2508" cy="1893"/>
            </a:xfrm>
            <a:custGeom>
              <a:avLst/>
              <a:gdLst>
                <a:gd name="T0" fmla="*/ 6131150 w 5"/>
                <a:gd name="T1" fmla="*/ 4450654 h 4"/>
                <a:gd name="T2" fmla="*/ 2554647 w 5"/>
                <a:gd name="T3" fmla="*/ 2497529 h 4"/>
                <a:gd name="T4" fmla="*/ 1064436 w 5"/>
                <a:gd name="T5" fmla="*/ 6243820 h 4"/>
                <a:gd name="T6" fmla="*/ 6131150 w 5"/>
                <a:gd name="T7" fmla="*/ 9219213 h 4"/>
                <a:gd name="T8" fmla="*/ 6131150 w 5"/>
                <a:gd name="T9" fmla="*/ 6243820 h 4"/>
                <a:gd name="T10" fmla="*/ 6131150 w 5"/>
                <a:gd name="T11" fmla="*/ 4450654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5" y="2"/>
                  </a:moveTo>
                  <a:cubicBezTo>
                    <a:pt x="3" y="2"/>
                    <a:pt x="3" y="0"/>
                    <a:pt x="2" y="1"/>
                  </a:cubicBezTo>
                  <a:cubicBezTo>
                    <a:pt x="1" y="1"/>
                    <a:pt x="0" y="3"/>
                    <a:pt x="1" y="3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5" y="4"/>
                    <a:pt x="5" y="3"/>
                    <a:pt x="5" y="3"/>
                  </a:cubicBezTo>
                  <a:cubicBezTo>
                    <a:pt x="5" y="3"/>
                    <a:pt x="5" y="2"/>
                    <a:pt x="5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0" name="Freeform 304"/>
            <p:cNvSpPr>
              <a:spLocks/>
            </p:cNvSpPr>
            <p:nvPr/>
          </p:nvSpPr>
          <p:spPr bwMode="auto">
            <a:xfrm>
              <a:off x="7433423" y="3577901"/>
              <a:ext cx="36370" cy="38935"/>
            </a:xfrm>
            <a:custGeom>
              <a:avLst/>
              <a:gdLst>
                <a:gd name="T0" fmla="*/ 69701494 w 78"/>
                <a:gd name="T1" fmla="*/ 75425430 h 80"/>
                <a:gd name="T2" fmla="*/ 63607416 w 78"/>
                <a:gd name="T3" fmla="*/ 67836251 h 80"/>
                <a:gd name="T4" fmla="*/ 55346329 w 78"/>
                <a:gd name="T5" fmla="*/ 66990136 h 80"/>
                <a:gd name="T6" fmla="*/ 48752979 w 78"/>
                <a:gd name="T7" fmla="*/ 64146708 h 80"/>
                <a:gd name="T8" fmla="*/ 49585074 w 78"/>
                <a:gd name="T9" fmla="*/ 60219441 h 80"/>
                <a:gd name="T10" fmla="*/ 53382531 w 78"/>
                <a:gd name="T11" fmla="*/ 53846665 h 80"/>
                <a:gd name="T12" fmla="*/ 49585074 w 78"/>
                <a:gd name="T13" fmla="*/ 44198295 h 80"/>
                <a:gd name="T14" fmla="*/ 44119239 w 78"/>
                <a:gd name="T15" fmla="*/ 39476103 h 80"/>
                <a:gd name="T16" fmla="*/ 37828621 w 78"/>
                <a:gd name="T17" fmla="*/ 37785366 h 80"/>
                <a:gd name="T18" fmla="*/ 33196125 w 78"/>
                <a:gd name="T19" fmla="*/ 35922205 h 80"/>
                <a:gd name="T20" fmla="*/ 21019765 w 78"/>
                <a:gd name="T21" fmla="*/ 28993222 h 80"/>
                <a:gd name="T22" fmla="*/ 18351884 w 78"/>
                <a:gd name="T23" fmla="*/ 22792248 h 80"/>
                <a:gd name="T24" fmla="*/ 16386029 w 78"/>
                <a:gd name="T25" fmla="*/ 26361304 h 80"/>
                <a:gd name="T26" fmla="*/ 15560445 w 78"/>
                <a:gd name="T27" fmla="*/ 30352925 h 80"/>
                <a:gd name="T28" fmla="*/ 12059200 w 78"/>
                <a:gd name="T29" fmla="*/ 31084412 h 80"/>
                <a:gd name="T30" fmla="*/ 10927930 w 78"/>
                <a:gd name="T31" fmla="*/ 25489712 h 80"/>
                <a:gd name="T32" fmla="*/ 6596277 w 78"/>
                <a:gd name="T33" fmla="*/ 21547154 h 80"/>
                <a:gd name="T34" fmla="*/ 12059200 w 78"/>
                <a:gd name="T35" fmla="*/ 20767473 h 80"/>
                <a:gd name="T36" fmla="*/ 13719388 w 78"/>
                <a:gd name="T37" fmla="*/ 18708285 h 80"/>
                <a:gd name="T38" fmla="*/ 18351884 w 78"/>
                <a:gd name="T39" fmla="*/ 19921263 h 80"/>
                <a:gd name="T40" fmla="*/ 19471774 w 78"/>
                <a:gd name="T41" fmla="*/ 17864883 h 80"/>
                <a:gd name="T42" fmla="*/ 12891861 w 78"/>
                <a:gd name="T43" fmla="*/ 15205172 h 80"/>
                <a:gd name="T44" fmla="*/ 6596277 w 78"/>
                <a:gd name="T45" fmla="*/ 11158230 h 80"/>
                <a:gd name="T46" fmla="*/ 0 w 78"/>
                <a:gd name="T47" fmla="*/ 10276394 h 80"/>
                <a:gd name="T48" fmla="*/ 832470 w 78"/>
                <a:gd name="T49" fmla="*/ 7561856 h 80"/>
                <a:gd name="T50" fmla="*/ 1963775 w 78"/>
                <a:gd name="T51" fmla="*/ 3569220 h 80"/>
                <a:gd name="T52" fmla="*/ 9376294 w 78"/>
                <a:gd name="T53" fmla="*/ 846214 h 80"/>
                <a:gd name="T54" fmla="*/ 21019765 w 78"/>
                <a:gd name="T55" fmla="*/ 3569220 h 80"/>
                <a:gd name="T56" fmla="*/ 22982846 w 78"/>
                <a:gd name="T57" fmla="*/ 8432281 h 80"/>
                <a:gd name="T58" fmla="*/ 22118424 w 78"/>
                <a:gd name="T59" fmla="*/ 14001592 h 80"/>
                <a:gd name="T60" fmla="*/ 25778701 w 78"/>
                <a:gd name="T61" fmla="*/ 18708285 h 80"/>
                <a:gd name="T62" fmla="*/ 26398262 w 78"/>
                <a:gd name="T63" fmla="*/ 26361304 h 80"/>
                <a:gd name="T64" fmla="*/ 31243763 w 78"/>
                <a:gd name="T65" fmla="*/ 26361304 h 80"/>
                <a:gd name="T66" fmla="*/ 36706674 w 78"/>
                <a:gd name="T67" fmla="*/ 19921263 h 80"/>
                <a:gd name="T68" fmla="*/ 42459465 w 78"/>
                <a:gd name="T69" fmla="*/ 15993812 h 80"/>
                <a:gd name="T70" fmla="*/ 45933383 w 78"/>
                <a:gd name="T71" fmla="*/ 10276394 h 80"/>
                <a:gd name="T72" fmla="*/ 53382531 w 78"/>
                <a:gd name="T73" fmla="*/ 12272271 h 80"/>
                <a:gd name="T74" fmla="*/ 59689445 w 78"/>
                <a:gd name="T75" fmla="*/ 15205172 h 80"/>
                <a:gd name="T76" fmla="*/ 67106510 w 78"/>
                <a:gd name="T77" fmla="*/ 17864883 h 80"/>
                <a:gd name="T78" fmla="*/ 71740062 w 78"/>
                <a:gd name="T79" fmla="*/ 19921263 h 80"/>
                <a:gd name="T80" fmla="*/ 69701494 w 78"/>
                <a:gd name="T81" fmla="*/ 72554823 h 8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8"/>
                <a:gd name="T124" fmla="*/ 0 h 80"/>
                <a:gd name="T125" fmla="*/ 78 w 78"/>
                <a:gd name="T126" fmla="*/ 80 h 8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8" h="80">
                  <a:moveTo>
                    <a:pt x="77" y="80"/>
                  </a:moveTo>
                  <a:cubicBezTo>
                    <a:pt x="76" y="80"/>
                    <a:pt x="76" y="80"/>
                    <a:pt x="76" y="80"/>
                  </a:cubicBezTo>
                  <a:cubicBezTo>
                    <a:pt x="75" y="80"/>
                    <a:pt x="74" y="79"/>
                    <a:pt x="74" y="78"/>
                  </a:cubicBezTo>
                  <a:cubicBezTo>
                    <a:pt x="72" y="76"/>
                    <a:pt x="71" y="74"/>
                    <a:pt x="69" y="72"/>
                  </a:cubicBezTo>
                  <a:cubicBezTo>
                    <a:pt x="68" y="71"/>
                    <a:pt x="67" y="71"/>
                    <a:pt x="66" y="71"/>
                  </a:cubicBezTo>
                  <a:cubicBezTo>
                    <a:pt x="64" y="70"/>
                    <a:pt x="62" y="70"/>
                    <a:pt x="60" y="71"/>
                  </a:cubicBezTo>
                  <a:cubicBezTo>
                    <a:pt x="57" y="73"/>
                    <a:pt x="54" y="73"/>
                    <a:pt x="51" y="73"/>
                  </a:cubicBezTo>
                  <a:cubicBezTo>
                    <a:pt x="50" y="71"/>
                    <a:pt x="53" y="70"/>
                    <a:pt x="53" y="68"/>
                  </a:cubicBezTo>
                  <a:cubicBezTo>
                    <a:pt x="52" y="67"/>
                    <a:pt x="53" y="66"/>
                    <a:pt x="54" y="66"/>
                  </a:cubicBezTo>
                  <a:cubicBezTo>
                    <a:pt x="54" y="65"/>
                    <a:pt x="54" y="64"/>
                    <a:pt x="54" y="64"/>
                  </a:cubicBezTo>
                  <a:cubicBezTo>
                    <a:pt x="55" y="63"/>
                    <a:pt x="57" y="64"/>
                    <a:pt x="59" y="63"/>
                  </a:cubicBezTo>
                  <a:cubicBezTo>
                    <a:pt x="59" y="61"/>
                    <a:pt x="58" y="59"/>
                    <a:pt x="58" y="57"/>
                  </a:cubicBezTo>
                  <a:cubicBezTo>
                    <a:pt x="57" y="55"/>
                    <a:pt x="57" y="53"/>
                    <a:pt x="56" y="51"/>
                  </a:cubicBezTo>
                  <a:cubicBezTo>
                    <a:pt x="55" y="50"/>
                    <a:pt x="55" y="49"/>
                    <a:pt x="54" y="47"/>
                  </a:cubicBezTo>
                  <a:cubicBezTo>
                    <a:pt x="53" y="46"/>
                    <a:pt x="52" y="45"/>
                    <a:pt x="50" y="44"/>
                  </a:cubicBezTo>
                  <a:cubicBezTo>
                    <a:pt x="50" y="43"/>
                    <a:pt x="49" y="43"/>
                    <a:pt x="48" y="42"/>
                  </a:cubicBezTo>
                  <a:cubicBezTo>
                    <a:pt x="48" y="42"/>
                    <a:pt x="47" y="41"/>
                    <a:pt x="47" y="41"/>
                  </a:cubicBezTo>
                  <a:cubicBezTo>
                    <a:pt x="45" y="40"/>
                    <a:pt x="43" y="41"/>
                    <a:pt x="41" y="40"/>
                  </a:cubicBezTo>
                  <a:cubicBezTo>
                    <a:pt x="40" y="40"/>
                    <a:pt x="40" y="39"/>
                    <a:pt x="39" y="39"/>
                  </a:cubicBezTo>
                  <a:cubicBezTo>
                    <a:pt x="38" y="38"/>
                    <a:pt x="37" y="38"/>
                    <a:pt x="36" y="38"/>
                  </a:cubicBezTo>
                  <a:cubicBezTo>
                    <a:pt x="34" y="37"/>
                    <a:pt x="32" y="37"/>
                    <a:pt x="30" y="36"/>
                  </a:cubicBezTo>
                  <a:cubicBezTo>
                    <a:pt x="28" y="35"/>
                    <a:pt x="25" y="32"/>
                    <a:pt x="23" y="31"/>
                  </a:cubicBezTo>
                  <a:cubicBezTo>
                    <a:pt x="22" y="31"/>
                    <a:pt x="21" y="30"/>
                    <a:pt x="20" y="29"/>
                  </a:cubicBezTo>
                  <a:cubicBezTo>
                    <a:pt x="20" y="28"/>
                    <a:pt x="21" y="26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19" y="26"/>
                    <a:pt x="19" y="27"/>
                    <a:pt x="18" y="28"/>
                  </a:cubicBezTo>
                  <a:cubicBezTo>
                    <a:pt x="17" y="29"/>
                    <a:pt x="18" y="30"/>
                    <a:pt x="17" y="30"/>
                  </a:cubicBezTo>
                  <a:cubicBezTo>
                    <a:pt x="17" y="31"/>
                    <a:pt x="17" y="31"/>
                    <a:pt x="17" y="32"/>
                  </a:cubicBezTo>
                  <a:cubicBezTo>
                    <a:pt x="16" y="32"/>
                    <a:pt x="17" y="34"/>
                    <a:pt x="16" y="34"/>
                  </a:cubicBezTo>
                  <a:cubicBezTo>
                    <a:pt x="15" y="34"/>
                    <a:pt x="13" y="34"/>
                    <a:pt x="13" y="33"/>
                  </a:cubicBezTo>
                  <a:cubicBezTo>
                    <a:pt x="12" y="31"/>
                    <a:pt x="13" y="30"/>
                    <a:pt x="13" y="28"/>
                  </a:cubicBezTo>
                  <a:cubicBezTo>
                    <a:pt x="12" y="28"/>
                    <a:pt x="12" y="27"/>
                    <a:pt x="12" y="27"/>
                  </a:cubicBezTo>
                  <a:cubicBezTo>
                    <a:pt x="11" y="26"/>
                    <a:pt x="12" y="25"/>
                    <a:pt x="11" y="24"/>
                  </a:cubicBezTo>
                  <a:cubicBezTo>
                    <a:pt x="11" y="23"/>
                    <a:pt x="9" y="24"/>
                    <a:pt x="7" y="23"/>
                  </a:cubicBezTo>
                  <a:cubicBezTo>
                    <a:pt x="7" y="23"/>
                    <a:pt x="7" y="23"/>
                    <a:pt x="7" y="22"/>
                  </a:cubicBezTo>
                  <a:cubicBezTo>
                    <a:pt x="9" y="21"/>
                    <a:pt x="11" y="22"/>
                    <a:pt x="13" y="22"/>
                  </a:cubicBezTo>
                  <a:cubicBezTo>
                    <a:pt x="13" y="22"/>
                    <a:pt x="14" y="21"/>
                    <a:pt x="14" y="21"/>
                  </a:cubicBezTo>
                  <a:cubicBezTo>
                    <a:pt x="14" y="21"/>
                    <a:pt x="15" y="20"/>
                    <a:pt x="15" y="20"/>
                  </a:cubicBezTo>
                  <a:cubicBezTo>
                    <a:pt x="16" y="19"/>
                    <a:pt x="17" y="20"/>
                    <a:pt x="17" y="20"/>
                  </a:cubicBezTo>
                  <a:cubicBezTo>
                    <a:pt x="18" y="20"/>
                    <a:pt x="19" y="21"/>
                    <a:pt x="20" y="21"/>
                  </a:cubicBezTo>
                  <a:cubicBezTo>
                    <a:pt x="20" y="21"/>
                    <a:pt x="20" y="20"/>
                    <a:pt x="20" y="20"/>
                  </a:cubicBezTo>
                  <a:cubicBezTo>
                    <a:pt x="20" y="19"/>
                    <a:pt x="21" y="19"/>
                    <a:pt x="21" y="19"/>
                  </a:cubicBezTo>
                  <a:cubicBezTo>
                    <a:pt x="21" y="18"/>
                    <a:pt x="21" y="17"/>
                    <a:pt x="21" y="17"/>
                  </a:cubicBezTo>
                  <a:cubicBezTo>
                    <a:pt x="19" y="16"/>
                    <a:pt x="16" y="17"/>
                    <a:pt x="14" y="16"/>
                  </a:cubicBezTo>
                  <a:cubicBezTo>
                    <a:pt x="12" y="16"/>
                    <a:pt x="10" y="17"/>
                    <a:pt x="8" y="16"/>
                  </a:cubicBezTo>
                  <a:cubicBezTo>
                    <a:pt x="6" y="16"/>
                    <a:pt x="7" y="14"/>
                    <a:pt x="7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4" y="12"/>
                    <a:pt x="2" y="12"/>
                    <a:pt x="0" y="11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0" y="9"/>
                    <a:pt x="1" y="9"/>
                    <a:pt x="1" y="8"/>
                  </a:cubicBezTo>
                  <a:cubicBezTo>
                    <a:pt x="1" y="7"/>
                    <a:pt x="1" y="6"/>
                    <a:pt x="1" y="5"/>
                  </a:cubicBezTo>
                  <a:cubicBezTo>
                    <a:pt x="1" y="5"/>
                    <a:pt x="2" y="4"/>
                    <a:pt x="2" y="4"/>
                  </a:cubicBezTo>
                  <a:cubicBezTo>
                    <a:pt x="3" y="4"/>
                    <a:pt x="5" y="5"/>
                    <a:pt x="6" y="4"/>
                  </a:cubicBezTo>
                  <a:cubicBezTo>
                    <a:pt x="8" y="3"/>
                    <a:pt x="9" y="1"/>
                    <a:pt x="10" y="1"/>
                  </a:cubicBezTo>
                  <a:cubicBezTo>
                    <a:pt x="13" y="0"/>
                    <a:pt x="16" y="2"/>
                    <a:pt x="18" y="4"/>
                  </a:cubicBezTo>
                  <a:cubicBezTo>
                    <a:pt x="20" y="4"/>
                    <a:pt x="22" y="3"/>
                    <a:pt x="23" y="4"/>
                  </a:cubicBezTo>
                  <a:cubicBezTo>
                    <a:pt x="24" y="4"/>
                    <a:pt x="24" y="5"/>
                    <a:pt x="24" y="6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6" y="10"/>
                    <a:pt x="25" y="11"/>
                    <a:pt x="24" y="12"/>
                  </a:cubicBezTo>
                  <a:cubicBezTo>
                    <a:pt x="24" y="13"/>
                    <a:pt x="24" y="14"/>
                    <a:pt x="24" y="15"/>
                  </a:cubicBezTo>
                  <a:cubicBezTo>
                    <a:pt x="25" y="16"/>
                    <a:pt x="25" y="18"/>
                    <a:pt x="26" y="20"/>
                  </a:cubicBezTo>
                  <a:cubicBezTo>
                    <a:pt x="26" y="20"/>
                    <a:pt x="27" y="20"/>
                    <a:pt x="28" y="20"/>
                  </a:cubicBezTo>
                  <a:cubicBezTo>
                    <a:pt x="28" y="20"/>
                    <a:pt x="29" y="21"/>
                    <a:pt x="29" y="21"/>
                  </a:cubicBezTo>
                  <a:cubicBezTo>
                    <a:pt x="29" y="23"/>
                    <a:pt x="28" y="25"/>
                    <a:pt x="29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1" y="28"/>
                    <a:pt x="33" y="28"/>
                    <a:pt x="34" y="28"/>
                  </a:cubicBezTo>
                  <a:cubicBezTo>
                    <a:pt x="35" y="28"/>
                    <a:pt x="35" y="27"/>
                    <a:pt x="35" y="27"/>
                  </a:cubicBezTo>
                  <a:cubicBezTo>
                    <a:pt x="35" y="23"/>
                    <a:pt x="39" y="23"/>
                    <a:pt x="40" y="21"/>
                  </a:cubicBezTo>
                  <a:cubicBezTo>
                    <a:pt x="41" y="20"/>
                    <a:pt x="40" y="18"/>
                    <a:pt x="41" y="17"/>
                  </a:cubicBezTo>
                  <a:cubicBezTo>
                    <a:pt x="43" y="16"/>
                    <a:pt x="45" y="18"/>
                    <a:pt x="46" y="17"/>
                  </a:cubicBezTo>
                  <a:cubicBezTo>
                    <a:pt x="48" y="16"/>
                    <a:pt x="48" y="14"/>
                    <a:pt x="48" y="13"/>
                  </a:cubicBezTo>
                  <a:cubicBezTo>
                    <a:pt x="48" y="11"/>
                    <a:pt x="49" y="11"/>
                    <a:pt x="50" y="11"/>
                  </a:cubicBezTo>
                  <a:cubicBezTo>
                    <a:pt x="52" y="10"/>
                    <a:pt x="55" y="11"/>
                    <a:pt x="57" y="12"/>
                  </a:cubicBezTo>
                  <a:cubicBezTo>
                    <a:pt x="57" y="13"/>
                    <a:pt x="58" y="13"/>
                    <a:pt x="58" y="13"/>
                  </a:cubicBezTo>
                  <a:cubicBezTo>
                    <a:pt x="60" y="14"/>
                    <a:pt x="61" y="16"/>
                    <a:pt x="64" y="16"/>
                  </a:cubicBezTo>
                  <a:cubicBezTo>
                    <a:pt x="65" y="16"/>
                    <a:pt x="65" y="16"/>
                    <a:pt x="65" y="16"/>
                  </a:cubicBezTo>
                  <a:cubicBezTo>
                    <a:pt x="67" y="17"/>
                    <a:pt x="68" y="18"/>
                    <a:pt x="70" y="18"/>
                  </a:cubicBezTo>
                  <a:cubicBezTo>
                    <a:pt x="71" y="19"/>
                    <a:pt x="72" y="19"/>
                    <a:pt x="73" y="19"/>
                  </a:cubicBezTo>
                  <a:cubicBezTo>
                    <a:pt x="74" y="19"/>
                    <a:pt x="75" y="20"/>
                    <a:pt x="76" y="20"/>
                  </a:cubicBezTo>
                  <a:cubicBezTo>
                    <a:pt x="77" y="21"/>
                    <a:pt x="78" y="21"/>
                    <a:pt x="78" y="21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6" y="77"/>
                    <a:pt x="76" y="77"/>
                    <a:pt x="76" y="77"/>
                  </a:cubicBezTo>
                  <a:lnTo>
                    <a:pt x="77" y="8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1" name="Freeform 305"/>
            <p:cNvSpPr>
              <a:spLocks/>
            </p:cNvSpPr>
            <p:nvPr/>
          </p:nvSpPr>
          <p:spPr bwMode="auto">
            <a:xfrm>
              <a:off x="7335349" y="3571142"/>
              <a:ext cx="1254" cy="1352"/>
            </a:xfrm>
            <a:custGeom>
              <a:avLst/>
              <a:gdLst>
                <a:gd name="T0" fmla="*/ 2243220 w 3"/>
                <a:gd name="T1" fmla="*/ 727531 h 3"/>
                <a:gd name="T2" fmla="*/ 0 w 3"/>
                <a:gd name="T3" fmla="*/ 727531 h 3"/>
                <a:gd name="T4" fmla="*/ 0 w 3"/>
                <a:gd name="T5" fmla="*/ 2243220 h 3"/>
                <a:gd name="T6" fmla="*/ 1697572 w 3"/>
                <a:gd name="T7" fmla="*/ 2243220 h 3"/>
                <a:gd name="T8" fmla="*/ 2243220 w 3"/>
                <a:gd name="T9" fmla="*/ 72753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1"/>
                  </a:moveTo>
                  <a:cubicBezTo>
                    <a:pt x="2" y="0"/>
                    <a:pt x="1" y="0"/>
                    <a:pt x="0" y="1"/>
                  </a:cubicBezTo>
                  <a:cubicBezTo>
                    <a:pt x="0" y="1"/>
                    <a:pt x="0" y="3"/>
                    <a:pt x="0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3" y="3"/>
                    <a:pt x="3" y="2"/>
                    <a:pt x="3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2" name="Freeform 306"/>
            <p:cNvSpPr>
              <a:spLocks/>
            </p:cNvSpPr>
            <p:nvPr/>
          </p:nvSpPr>
          <p:spPr bwMode="auto">
            <a:xfrm>
              <a:off x="7300484" y="3551945"/>
              <a:ext cx="40384" cy="50020"/>
            </a:xfrm>
            <a:custGeom>
              <a:avLst/>
              <a:gdLst>
                <a:gd name="T0" fmla="*/ 55165151 w 87"/>
                <a:gd name="T1" fmla="*/ 82851550 h 104"/>
                <a:gd name="T2" fmla="*/ 53351010 w 87"/>
                <a:gd name="T3" fmla="*/ 79146247 h 104"/>
                <a:gd name="T4" fmla="*/ 46052975 w 87"/>
                <a:gd name="T5" fmla="*/ 72945393 h 104"/>
                <a:gd name="T6" fmla="*/ 40672532 w 87"/>
                <a:gd name="T7" fmla="*/ 63716359 h 104"/>
                <a:gd name="T8" fmla="*/ 38728992 w 87"/>
                <a:gd name="T9" fmla="*/ 57726148 h 104"/>
                <a:gd name="T10" fmla="*/ 34514287 w 87"/>
                <a:gd name="T11" fmla="*/ 48440462 h 104"/>
                <a:gd name="T12" fmla="*/ 32523177 w 87"/>
                <a:gd name="T13" fmla="*/ 45076463 h 104"/>
                <a:gd name="T14" fmla="*/ 27948314 w 87"/>
                <a:gd name="T15" fmla="*/ 38617426 h 104"/>
                <a:gd name="T16" fmla="*/ 27188881 w 87"/>
                <a:gd name="T17" fmla="*/ 32428388 h 104"/>
                <a:gd name="T18" fmla="*/ 20003535 w 87"/>
                <a:gd name="T19" fmla="*/ 27046946 h 104"/>
                <a:gd name="T20" fmla="*/ 18078171 w 87"/>
                <a:gd name="T21" fmla="*/ 23340154 h 104"/>
                <a:gd name="T22" fmla="*/ 9259218 w 87"/>
                <a:gd name="T23" fmla="*/ 14580459 h 104"/>
                <a:gd name="T24" fmla="*/ 1941517 w 87"/>
                <a:gd name="T25" fmla="*/ 6189257 h 104"/>
                <a:gd name="T26" fmla="*/ 1941517 w 87"/>
                <a:gd name="T27" fmla="*/ 0 h 104"/>
                <a:gd name="T28" fmla="*/ 7325413 w 87"/>
                <a:gd name="T29" fmla="*/ 3358986 h 104"/>
                <a:gd name="T30" fmla="*/ 13328176 w 87"/>
                <a:gd name="T31" fmla="*/ 4527393 h 104"/>
                <a:gd name="T32" fmla="*/ 17261027 w 87"/>
                <a:gd name="T33" fmla="*/ 3358986 h 104"/>
                <a:gd name="T34" fmla="*/ 22641653 w 87"/>
                <a:gd name="T35" fmla="*/ 10665492 h 104"/>
                <a:gd name="T36" fmla="*/ 24578662 w 87"/>
                <a:gd name="T37" fmla="*/ 13291166 h 104"/>
                <a:gd name="T38" fmla="*/ 34514287 w 87"/>
                <a:gd name="T39" fmla="*/ 22492944 h 104"/>
                <a:gd name="T40" fmla="*/ 38728992 w 87"/>
                <a:gd name="T41" fmla="*/ 25941205 h 104"/>
                <a:gd name="T42" fmla="*/ 39848574 w 87"/>
                <a:gd name="T43" fmla="*/ 27862777 h 104"/>
                <a:gd name="T44" fmla="*/ 41341614 w 87"/>
                <a:gd name="T45" fmla="*/ 29800613 h 104"/>
                <a:gd name="T46" fmla="*/ 42597967 w 87"/>
                <a:gd name="T47" fmla="*/ 25941205 h 104"/>
                <a:gd name="T48" fmla="*/ 45209374 w 87"/>
                <a:gd name="T49" fmla="*/ 28685242 h 104"/>
                <a:gd name="T50" fmla="*/ 53351010 w 87"/>
                <a:gd name="T51" fmla="*/ 32428388 h 104"/>
                <a:gd name="T52" fmla="*/ 55989109 w 87"/>
                <a:gd name="T53" fmla="*/ 37775135 h 104"/>
                <a:gd name="T54" fmla="*/ 55989109 w 87"/>
                <a:gd name="T55" fmla="*/ 43144808 h 104"/>
                <a:gd name="T56" fmla="*/ 57915222 w 87"/>
                <a:gd name="T57" fmla="*/ 43144808 h 104"/>
                <a:gd name="T58" fmla="*/ 63307654 w 87"/>
                <a:gd name="T59" fmla="*/ 47708629 h 104"/>
                <a:gd name="T60" fmla="*/ 61280577 w 87"/>
                <a:gd name="T61" fmla="*/ 50444863 h 104"/>
                <a:gd name="T62" fmla="*/ 62462696 w 87"/>
                <a:gd name="T63" fmla="*/ 53810258 h 104"/>
                <a:gd name="T64" fmla="*/ 66679229 w 87"/>
                <a:gd name="T65" fmla="*/ 56564057 h 104"/>
                <a:gd name="T66" fmla="*/ 68620875 w 87"/>
                <a:gd name="T67" fmla="*/ 61111482 h 104"/>
                <a:gd name="T68" fmla="*/ 69312578 w 87"/>
                <a:gd name="T69" fmla="*/ 63716359 h 104"/>
                <a:gd name="T70" fmla="*/ 71253960 w 87"/>
                <a:gd name="T71" fmla="*/ 67575786 h 104"/>
                <a:gd name="T72" fmla="*/ 75939231 w 87"/>
                <a:gd name="T73" fmla="*/ 67575786 h 104"/>
                <a:gd name="T74" fmla="*/ 77717518 w 87"/>
                <a:gd name="T75" fmla="*/ 71019128 h 104"/>
                <a:gd name="T76" fmla="*/ 78541363 w 87"/>
                <a:gd name="T77" fmla="*/ 73761243 h 104"/>
                <a:gd name="T78" fmla="*/ 76635043 w 87"/>
                <a:gd name="T79" fmla="*/ 90154357 h 104"/>
                <a:gd name="T80" fmla="*/ 75168695 w 87"/>
                <a:gd name="T81" fmla="*/ 93516812 h 104"/>
                <a:gd name="T82" fmla="*/ 66679229 w 87"/>
                <a:gd name="T83" fmla="*/ 93516812 h 104"/>
                <a:gd name="T84" fmla="*/ 57915222 w 87"/>
                <a:gd name="T85" fmla="*/ 84462067 h 10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7"/>
                <a:gd name="T130" fmla="*/ 0 h 104"/>
                <a:gd name="T131" fmla="*/ 87 w 87"/>
                <a:gd name="T132" fmla="*/ 104 h 10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7" h="104">
                  <a:moveTo>
                    <a:pt x="64" y="94"/>
                  </a:moveTo>
                  <a:cubicBezTo>
                    <a:pt x="63" y="93"/>
                    <a:pt x="62" y="93"/>
                    <a:pt x="61" y="92"/>
                  </a:cubicBezTo>
                  <a:cubicBezTo>
                    <a:pt x="61" y="91"/>
                    <a:pt x="60" y="90"/>
                    <a:pt x="60" y="89"/>
                  </a:cubicBezTo>
                  <a:cubicBezTo>
                    <a:pt x="60" y="88"/>
                    <a:pt x="60" y="88"/>
                    <a:pt x="59" y="88"/>
                  </a:cubicBezTo>
                  <a:cubicBezTo>
                    <a:pt x="58" y="86"/>
                    <a:pt x="56" y="86"/>
                    <a:pt x="55" y="84"/>
                  </a:cubicBezTo>
                  <a:cubicBezTo>
                    <a:pt x="53" y="83"/>
                    <a:pt x="52" y="82"/>
                    <a:pt x="51" y="81"/>
                  </a:cubicBezTo>
                  <a:cubicBezTo>
                    <a:pt x="51" y="79"/>
                    <a:pt x="50" y="78"/>
                    <a:pt x="49" y="77"/>
                  </a:cubicBezTo>
                  <a:cubicBezTo>
                    <a:pt x="48" y="75"/>
                    <a:pt x="46" y="73"/>
                    <a:pt x="45" y="71"/>
                  </a:cubicBezTo>
                  <a:cubicBezTo>
                    <a:pt x="44" y="70"/>
                    <a:pt x="45" y="68"/>
                    <a:pt x="44" y="67"/>
                  </a:cubicBezTo>
                  <a:cubicBezTo>
                    <a:pt x="43" y="66"/>
                    <a:pt x="43" y="65"/>
                    <a:pt x="43" y="64"/>
                  </a:cubicBezTo>
                  <a:cubicBezTo>
                    <a:pt x="42" y="62"/>
                    <a:pt x="42" y="60"/>
                    <a:pt x="41" y="58"/>
                  </a:cubicBezTo>
                  <a:cubicBezTo>
                    <a:pt x="40" y="56"/>
                    <a:pt x="39" y="56"/>
                    <a:pt x="38" y="54"/>
                  </a:cubicBezTo>
                  <a:cubicBezTo>
                    <a:pt x="38" y="53"/>
                    <a:pt x="37" y="52"/>
                    <a:pt x="37" y="50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5" y="49"/>
                    <a:pt x="34" y="49"/>
                  </a:cubicBezTo>
                  <a:cubicBezTo>
                    <a:pt x="32" y="48"/>
                    <a:pt x="32" y="46"/>
                    <a:pt x="31" y="43"/>
                  </a:cubicBezTo>
                  <a:cubicBezTo>
                    <a:pt x="31" y="42"/>
                    <a:pt x="30" y="42"/>
                    <a:pt x="30" y="41"/>
                  </a:cubicBezTo>
                  <a:cubicBezTo>
                    <a:pt x="29" y="39"/>
                    <a:pt x="30" y="38"/>
                    <a:pt x="30" y="36"/>
                  </a:cubicBezTo>
                  <a:cubicBezTo>
                    <a:pt x="29" y="35"/>
                    <a:pt x="28" y="33"/>
                    <a:pt x="26" y="33"/>
                  </a:cubicBezTo>
                  <a:cubicBezTo>
                    <a:pt x="25" y="32"/>
                    <a:pt x="24" y="31"/>
                    <a:pt x="22" y="30"/>
                  </a:cubicBezTo>
                  <a:cubicBezTo>
                    <a:pt x="21" y="29"/>
                    <a:pt x="21" y="29"/>
                    <a:pt x="20" y="28"/>
                  </a:cubicBezTo>
                  <a:cubicBezTo>
                    <a:pt x="20" y="27"/>
                    <a:pt x="20" y="26"/>
                    <a:pt x="20" y="26"/>
                  </a:cubicBezTo>
                  <a:cubicBezTo>
                    <a:pt x="18" y="22"/>
                    <a:pt x="15" y="20"/>
                    <a:pt x="12" y="17"/>
                  </a:cubicBezTo>
                  <a:cubicBezTo>
                    <a:pt x="11" y="17"/>
                    <a:pt x="11" y="17"/>
                    <a:pt x="10" y="16"/>
                  </a:cubicBezTo>
                  <a:cubicBezTo>
                    <a:pt x="8" y="15"/>
                    <a:pt x="6" y="12"/>
                    <a:pt x="4" y="10"/>
                  </a:cubicBezTo>
                  <a:cubicBezTo>
                    <a:pt x="3" y="9"/>
                    <a:pt x="2" y="8"/>
                    <a:pt x="2" y="7"/>
                  </a:cubicBezTo>
                  <a:cubicBezTo>
                    <a:pt x="0" y="6"/>
                    <a:pt x="1" y="4"/>
                    <a:pt x="1" y="2"/>
                  </a:cubicBezTo>
                  <a:cubicBezTo>
                    <a:pt x="1" y="1"/>
                    <a:pt x="2" y="1"/>
                    <a:pt x="2" y="0"/>
                  </a:cubicBezTo>
                  <a:cubicBezTo>
                    <a:pt x="3" y="0"/>
                    <a:pt x="4" y="0"/>
                    <a:pt x="5" y="1"/>
                  </a:cubicBezTo>
                  <a:cubicBezTo>
                    <a:pt x="6" y="1"/>
                    <a:pt x="7" y="3"/>
                    <a:pt x="8" y="4"/>
                  </a:cubicBezTo>
                  <a:cubicBezTo>
                    <a:pt x="9" y="5"/>
                    <a:pt x="11" y="4"/>
                    <a:pt x="12" y="5"/>
                  </a:cubicBezTo>
                  <a:cubicBezTo>
                    <a:pt x="13" y="5"/>
                    <a:pt x="14" y="5"/>
                    <a:pt x="15" y="5"/>
                  </a:cubicBezTo>
                  <a:cubicBezTo>
                    <a:pt x="16" y="5"/>
                    <a:pt x="16" y="4"/>
                    <a:pt x="17" y="4"/>
                  </a:cubicBezTo>
                  <a:cubicBezTo>
                    <a:pt x="18" y="4"/>
                    <a:pt x="18" y="4"/>
                    <a:pt x="19" y="4"/>
                  </a:cubicBezTo>
                  <a:cubicBezTo>
                    <a:pt x="20" y="5"/>
                    <a:pt x="21" y="6"/>
                    <a:pt x="21" y="8"/>
                  </a:cubicBezTo>
                  <a:cubicBezTo>
                    <a:pt x="22" y="10"/>
                    <a:pt x="23" y="11"/>
                    <a:pt x="25" y="12"/>
                  </a:cubicBezTo>
                  <a:cubicBezTo>
                    <a:pt x="26" y="12"/>
                    <a:pt x="26" y="12"/>
                    <a:pt x="26" y="13"/>
                  </a:cubicBezTo>
                  <a:cubicBezTo>
                    <a:pt x="26" y="13"/>
                    <a:pt x="27" y="14"/>
                    <a:pt x="27" y="15"/>
                  </a:cubicBezTo>
                  <a:cubicBezTo>
                    <a:pt x="29" y="18"/>
                    <a:pt x="33" y="19"/>
                    <a:pt x="36" y="21"/>
                  </a:cubicBezTo>
                  <a:cubicBezTo>
                    <a:pt x="37" y="22"/>
                    <a:pt x="37" y="24"/>
                    <a:pt x="38" y="25"/>
                  </a:cubicBezTo>
                  <a:cubicBezTo>
                    <a:pt x="39" y="25"/>
                    <a:pt x="39" y="27"/>
                    <a:pt x="40" y="27"/>
                  </a:cubicBezTo>
                  <a:cubicBezTo>
                    <a:pt x="41" y="28"/>
                    <a:pt x="42" y="28"/>
                    <a:pt x="43" y="29"/>
                  </a:cubicBezTo>
                  <a:cubicBezTo>
                    <a:pt x="43" y="30"/>
                    <a:pt x="44" y="30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3"/>
                    <a:pt x="46" y="33"/>
                    <a:pt x="46" y="33"/>
                  </a:cubicBezTo>
                  <a:cubicBezTo>
                    <a:pt x="46" y="31"/>
                    <a:pt x="45" y="30"/>
                    <a:pt x="46" y="29"/>
                  </a:cubicBezTo>
                  <a:cubicBezTo>
                    <a:pt x="46" y="28"/>
                    <a:pt x="47" y="28"/>
                    <a:pt x="47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9" y="30"/>
                    <a:pt x="49" y="31"/>
                    <a:pt x="50" y="32"/>
                  </a:cubicBezTo>
                  <a:cubicBezTo>
                    <a:pt x="51" y="33"/>
                    <a:pt x="51" y="34"/>
                    <a:pt x="51" y="35"/>
                  </a:cubicBezTo>
                  <a:cubicBezTo>
                    <a:pt x="53" y="36"/>
                    <a:pt x="56" y="35"/>
                    <a:pt x="59" y="36"/>
                  </a:cubicBezTo>
                  <a:cubicBezTo>
                    <a:pt x="59" y="36"/>
                    <a:pt x="60" y="37"/>
                    <a:pt x="61" y="38"/>
                  </a:cubicBezTo>
                  <a:cubicBezTo>
                    <a:pt x="62" y="39"/>
                    <a:pt x="61" y="41"/>
                    <a:pt x="62" y="42"/>
                  </a:cubicBezTo>
                  <a:cubicBezTo>
                    <a:pt x="62" y="43"/>
                    <a:pt x="63" y="44"/>
                    <a:pt x="63" y="45"/>
                  </a:cubicBezTo>
                  <a:cubicBezTo>
                    <a:pt x="63" y="46"/>
                    <a:pt x="64" y="47"/>
                    <a:pt x="62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3" y="49"/>
                    <a:pt x="64" y="48"/>
                    <a:pt x="64" y="48"/>
                  </a:cubicBezTo>
                  <a:cubicBezTo>
                    <a:pt x="65" y="47"/>
                    <a:pt x="67" y="47"/>
                    <a:pt x="67" y="48"/>
                  </a:cubicBezTo>
                  <a:cubicBezTo>
                    <a:pt x="68" y="50"/>
                    <a:pt x="71" y="51"/>
                    <a:pt x="70" y="53"/>
                  </a:cubicBezTo>
                  <a:cubicBezTo>
                    <a:pt x="69" y="53"/>
                    <a:pt x="69" y="53"/>
                    <a:pt x="68" y="54"/>
                  </a:cubicBezTo>
                  <a:cubicBezTo>
                    <a:pt x="68" y="55"/>
                    <a:pt x="69" y="56"/>
                    <a:pt x="68" y="56"/>
                  </a:cubicBezTo>
                  <a:cubicBezTo>
                    <a:pt x="67" y="57"/>
                    <a:pt x="67" y="58"/>
                    <a:pt x="67" y="59"/>
                  </a:cubicBezTo>
                  <a:cubicBezTo>
                    <a:pt x="67" y="60"/>
                    <a:pt x="68" y="59"/>
                    <a:pt x="69" y="60"/>
                  </a:cubicBezTo>
                  <a:cubicBezTo>
                    <a:pt x="70" y="61"/>
                    <a:pt x="72" y="61"/>
                    <a:pt x="73" y="61"/>
                  </a:cubicBezTo>
                  <a:cubicBezTo>
                    <a:pt x="74" y="61"/>
                    <a:pt x="74" y="62"/>
                    <a:pt x="74" y="63"/>
                  </a:cubicBezTo>
                  <a:cubicBezTo>
                    <a:pt x="75" y="64"/>
                    <a:pt x="74" y="65"/>
                    <a:pt x="75" y="66"/>
                  </a:cubicBezTo>
                  <a:cubicBezTo>
                    <a:pt x="75" y="67"/>
                    <a:pt x="75" y="67"/>
                    <a:pt x="76" y="68"/>
                  </a:cubicBezTo>
                  <a:cubicBezTo>
                    <a:pt x="76" y="69"/>
                    <a:pt x="76" y="70"/>
                    <a:pt x="77" y="70"/>
                  </a:cubicBezTo>
                  <a:cubicBezTo>
                    <a:pt x="77" y="71"/>
                    <a:pt x="78" y="71"/>
                    <a:pt x="77" y="71"/>
                  </a:cubicBezTo>
                  <a:cubicBezTo>
                    <a:pt x="77" y="72"/>
                    <a:pt x="77" y="74"/>
                    <a:pt x="78" y="75"/>
                  </a:cubicBezTo>
                  <a:cubicBezTo>
                    <a:pt x="78" y="75"/>
                    <a:pt x="79" y="75"/>
                    <a:pt x="79" y="75"/>
                  </a:cubicBezTo>
                  <a:cubicBezTo>
                    <a:pt x="79" y="74"/>
                    <a:pt x="79" y="72"/>
                    <a:pt x="81" y="72"/>
                  </a:cubicBezTo>
                  <a:cubicBezTo>
                    <a:pt x="82" y="73"/>
                    <a:pt x="83" y="74"/>
                    <a:pt x="84" y="75"/>
                  </a:cubicBezTo>
                  <a:cubicBezTo>
                    <a:pt x="84" y="75"/>
                    <a:pt x="84" y="75"/>
                    <a:pt x="84" y="76"/>
                  </a:cubicBezTo>
                  <a:cubicBezTo>
                    <a:pt x="85" y="77"/>
                    <a:pt x="86" y="78"/>
                    <a:pt x="86" y="79"/>
                  </a:cubicBezTo>
                  <a:cubicBezTo>
                    <a:pt x="86" y="79"/>
                    <a:pt x="87" y="80"/>
                    <a:pt x="87" y="80"/>
                  </a:cubicBezTo>
                  <a:cubicBezTo>
                    <a:pt x="87" y="81"/>
                    <a:pt x="87" y="82"/>
                    <a:pt x="87" y="82"/>
                  </a:cubicBezTo>
                  <a:cubicBezTo>
                    <a:pt x="84" y="84"/>
                    <a:pt x="83" y="88"/>
                    <a:pt x="85" y="90"/>
                  </a:cubicBezTo>
                  <a:cubicBezTo>
                    <a:pt x="85" y="93"/>
                    <a:pt x="86" y="97"/>
                    <a:pt x="85" y="100"/>
                  </a:cubicBezTo>
                  <a:cubicBezTo>
                    <a:pt x="85" y="101"/>
                    <a:pt x="85" y="102"/>
                    <a:pt x="84" y="103"/>
                  </a:cubicBezTo>
                  <a:cubicBezTo>
                    <a:pt x="84" y="104"/>
                    <a:pt x="84" y="104"/>
                    <a:pt x="83" y="104"/>
                  </a:cubicBezTo>
                  <a:cubicBezTo>
                    <a:pt x="82" y="103"/>
                    <a:pt x="81" y="103"/>
                    <a:pt x="79" y="103"/>
                  </a:cubicBezTo>
                  <a:cubicBezTo>
                    <a:pt x="78" y="104"/>
                    <a:pt x="76" y="104"/>
                    <a:pt x="74" y="104"/>
                  </a:cubicBezTo>
                  <a:cubicBezTo>
                    <a:pt x="72" y="101"/>
                    <a:pt x="68" y="98"/>
                    <a:pt x="66" y="95"/>
                  </a:cubicBezTo>
                  <a:lnTo>
                    <a:pt x="64" y="94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3" name="Freeform 307"/>
            <p:cNvSpPr>
              <a:spLocks/>
            </p:cNvSpPr>
            <p:nvPr/>
          </p:nvSpPr>
          <p:spPr bwMode="auto">
            <a:xfrm>
              <a:off x="7308008" y="3569790"/>
              <a:ext cx="2508" cy="4867"/>
            </a:xfrm>
            <a:custGeom>
              <a:avLst/>
              <a:gdLst>
                <a:gd name="T0" fmla="*/ 6131150 w 5"/>
                <a:gd name="T1" fmla="*/ 7196548 h 10"/>
                <a:gd name="T2" fmla="*/ 6131150 w 5"/>
                <a:gd name="T3" fmla="*/ 6131150 h 10"/>
                <a:gd name="T4" fmla="*/ 2554647 w 5"/>
                <a:gd name="T5" fmla="*/ 0 h 10"/>
                <a:gd name="T6" fmla="*/ 0 w 5"/>
                <a:gd name="T7" fmla="*/ 1064436 h 10"/>
                <a:gd name="T8" fmla="*/ 0 w 5"/>
                <a:gd name="T9" fmla="*/ 3577445 h 10"/>
                <a:gd name="T10" fmla="*/ 2554647 w 5"/>
                <a:gd name="T11" fmla="*/ 6131150 h 10"/>
                <a:gd name="T12" fmla="*/ 5085394 w 5"/>
                <a:gd name="T13" fmla="*/ 12204941 h 10"/>
                <a:gd name="T14" fmla="*/ 6131150 w 5"/>
                <a:gd name="T15" fmla="*/ 12204941 h 10"/>
                <a:gd name="T16" fmla="*/ 6131150 w 5"/>
                <a:gd name="T17" fmla="*/ 7196548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10"/>
                <a:gd name="T29" fmla="*/ 5 w 5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10">
                  <a:moveTo>
                    <a:pt x="5" y="6"/>
                  </a:moveTo>
                  <a:cubicBezTo>
                    <a:pt x="5" y="6"/>
                    <a:pt x="5" y="5"/>
                    <a:pt x="5" y="5"/>
                  </a:cubicBezTo>
                  <a:cubicBezTo>
                    <a:pt x="5" y="3"/>
                    <a:pt x="4" y="2"/>
                    <a:pt x="2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1" y="4"/>
                    <a:pt x="2" y="5"/>
                  </a:cubicBezTo>
                  <a:cubicBezTo>
                    <a:pt x="2" y="7"/>
                    <a:pt x="3" y="8"/>
                    <a:pt x="4" y="10"/>
                  </a:cubicBezTo>
                  <a:cubicBezTo>
                    <a:pt x="4" y="10"/>
                    <a:pt x="5" y="10"/>
                    <a:pt x="5" y="10"/>
                  </a:cubicBezTo>
                  <a:cubicBezTo>
                    <a:pt x="5" y="9"/>
                    <a:pt x="5" y="7"/>
                    <a:pt x="5" y="6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4" name="Freeform 308"/>
            <p:cNvSpPr>
              <a:spLocks/>
            </p:cNvSpPr>
            <p:nvPr/>
          </p:nvSpPr>
          <p:spPr bwMode="auto">
            <a:xfrm>
              <a:off x="7312523" y="3578712"/>
              <a:ext cx="3261" cy="5948"/>
            </a:xfrm>
            <a:custGeom>
              <a:avLst/>
              <a:gdLst>
                <a:gd name="T0" fmla="*/ 8872004 w 7"/>
                <a:gd name="T1" fmla="*/ 5843110 h 13"/>
                <a:gd name="T2" fmla="*/ 5930334 w 7"/>
                <a:gd name="T3" fmla="*/ 3419068 h 13"/>
                <a:gd name="T4" fmla="*/ 2947589 w 7"/>
                <a:gd name="T5" fmla="*/ 0 h 13"/>
                <a:gd name="T6" fmla="*/ 1213713 w 7"/>
                <a:gd name="T7" fmla="*/ 1936050 h 13"/>
                <a:gd name="T8" fmla="*/ 1213713 w 7"/>
                <a:gd name="T9" fmla="*/ 1936050 h 13"/>
                <a:gd name="T10" fmla="*/ 8872004 w 7"/>
                <a:gd name="T11" fmla="*/ 8374537 h 13"/>
                <a:gd name="T12" fmla="*/ 10226328 w 7"/>
                <a:gd name="T13" fmla="*/ 8374537 h 13"/>
                <a:gd name="T14" fmla="*/ 10226328 w 7"/>
                <a:gd name="T15" fmla="*/ 7045625 h 13"/>
                <a:gd name="T16" fmla="*/ 8872004 w 7"/>
                <a:gd name="T17" fmla="*/ 5843110 h 13"/>
                <a:gd name="T18" fmla="*/ 8872004 w 7"/>
                <a:gd name="T19" fmla="*/ 5843110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6" y="9"/>
                  </a:moveTo>
                  <a:cubicBezTo>
                    <a:pt x="5" y="8"/>
                    <a:pt x="4" y="7"/>
                    <a:pt x="4" y="5"/>
                  </a:cubicBezTo>
                  <a:cubicBezTo>
                    <a:pt x="3" y="4"/>
                    <a:pt x="3" y="2"/>
                    <a:pt x="2" y="0"/>
                  </a:cubicBezTo>
                  <a:cubicBezTo>
                    <a:pt x="0" y="0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7"/>
                    <a:pt x="3" y="10"/>
                    <a:pt x="6" y="13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7" y="13"/>
                    <a:pt x="7" y="12"/>
                    <a:pt x="7" y="11"/>
                  </a:cubicBezTo>
                  <a:cubicBezTo>
                    <a:pt x="7" y="10"/>
                    <a:pt x="6" y="10"/>
                    <a:pt x="6" y="9"/>
                  </a:cubicBezTo>
                  <a:cubicBezTo>
                    <a:pt x="5" y="9"/>
                    <a:pt x="6" y="9"/>
                    <a:pt x="6" y="9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5" name="Freeform 309"/>
            <p:cNvSpPr>
              <a:spLocks/>
            </p:cNvSpPr>
            <p:nvPr/>
          </p:nvSpPr>
          <p:spPr bwMode="auto">
            <a:xfrm>
              <a:off x="7335349" y="3576009"/>
              <a:ext cx="1505" cy="1893"/>
            </a:xfrm>
            <a:custGeom>
              <a:avLst/>
              <a:gdLst>
                <a:gd name="T0" fmla="*/ 941139 w 4"/>
                <a:gd name="T1" fmla="*/ 0 h 4"/>
                <a:gd name="T2" fmla="*/ 0 w 4"/>
                <a:gd name="T3" fmla="*/ 418284 h 4"/>
                <a:gd name="T4" fmla="*/ 0 w 4"/>
                <a:gd name="T5" fmla="*/ 1359459 h 4"/>
                <a:gd name="T6" fmla="*/ 418284 w 4"/>
                <a:gd name="T7" fmla="*/ 1699274 h 4"/>
                <a:gd name="T8" fmla="*/ 941139 w 4"/>
                <a:gd name="T9" fmla="*/ 1699274 h 4"/>
                <a:gd name="T10" fmla="*/ 1699274 w 4"/>
                <a:gd name="T11" fmla="*/ 941139 h 4"/>
                <a:gd name="T12" fmla="*/ 1699274 w 4"/>
                <a:gd name="T13" fmla="*/ 0 h 4"/>
                <a:gd name="T14" fmla="*/ 941139 w 4"/>
                <a:gd name="T15" fmla="*/ 0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4"/>
                <a:gd name="T26" fmla="*/ 4 w 4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4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3" y="4"/>
                    <a:pt x="3" y="3"/>
                    <a:pt x="4" y="2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6" name="Freeform 310"/>
            <p:cNvSpPr>
              <a:spLocks/>
            </p:cNvSpPr>
            <p:nvPr/>
          </p:nvSpPr>
          <p:spPr bwMode="auto">
            <a:xfrm>
              <a:off x="7338108" y="3583309"/>
              <a:ext cx="5518" cy="6760"/>
            </a:xfrm>
            <a:custGeom>
              <a:avLst/>
              <a:gdLst>
                <a:gd name="T0" fmla="*/ 1697572 w 12"/>
                <a:gd name="T1" fmla="*/ 1947959 h 14"/>
                <a:gd name="T2" fmla="*/ 727531 w 12"/>
                <a:gd name="T3" fmla="*/ 4591618 h 14"/>
                <a:gd name="T4" fmla="*/ 727531 w 12"/>
                <a:gd name="T5" fmla="*/ 5415918 h 14"/>
                <a:gd name="T6" fmla="*/ 2970751 w 12"/>
                <a:gd name="T7" fmla="*/ 6527726 h 14"/>
                <a:gd name="T8" fmla="*/ 4688532 w 12"/>
                <a:gd name="T9" fmla="*/ 9297269 h 14"/>
                <a:gd name="T10" fmla="*/ 6253184 w 12"/>
                <a:gd name="T11" fmla="*/ 11919092 h 14"/>
                <a:gd name="T12" fmla="*/ 7659274 w 12"/>
                <a:gd name="T13" fmla="*/ 12766089 h 14"/>
                <a:gd name="T14" fmla="*/ 9242333 w 12"/>
                <a:gd name="T15" fmla="*/ 12766089 h 14"/>
                <a:gd name="T16" fmla="*/ 9242333 w 12"/>
                <a:gd name="T17" fmla="*/ 11919092 h 14"/>
                <a:gd name="T18" fmla="*/ 8614988 w 12"/>
                <a:gd name="T19" fmla="*/ 9297269 h 14"/>
                <a:gd name="T20" fmla="*/ 5234181 w 12"/>
                <a:gd name="T21" fmla="*/ 2769339 h 14"/>
                <a:gd name="T22" fmla="*/ 3961001 w 12"/>
                <a:gd name="T23" fmla="*/ 826407 h 14"/>
                <a:gd name="T24" fmla="*/ 3961001 w 12"/>
                <a:gd name="T25" fmla="*/ 1947959 h 14"/>
                <a:gd name="T26" fmla="*/ 2243220 w 12"/>
                <a:gd name="T27" fmla="*/ 1947959 h 14"/>
                <a:gd name="T28" fmla="*/ 1697572 w 12"/>
                <a:gd name="T29" fmla="*/ 1947959 h 1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"/>
                <a:gd name="T46" fmla="*/ 0 h 14"/>
                <a:gd name="T47" fmla="*/ 12 w 12"/>
                <a:gd name="T48" fmla="*/ 14 h 1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" h="14">
                  <a:moveTo>
                    <a:pt x="2" y="2"/>
                  </a:moveTo>
                  <a:cubicBezTo>
                    <a:pt x="1" y="2"/>
                    <a:pt x="1" y="4"/>
                    <a:pt x="1" y="5"/>
                  </a:cubicBezTo>
                  <a:cubicBezTo>
                    <a:pt x="0" y="5"/>
                    <a:pt x="0" y="6"/>
                    <a:pt x="1" y="6"/>
                  </a:cubicBezTo>
                  <a:cubicBezTo>
                    <a:pt x="2" y="7"/>
                    <a:pt x="3" y="6"/>
                    <a:pt x="4" y="7"/>
                  </a:cubicBezTo>
                  <a:cubicBezTo>
                    <a:pt x="5" y="8"/>
                    <a:pt x="5" y="9"/>
                    <a:pt x="6" y="10"/>
                  </a:cubicBezTo>
                  <a:cubicBezTo>
                    <a:pt x="6" y="11"/>
                    <a:pt x="7" y="12"/>
                    <a:pt x="8" y="13"/>
                  </a:cubicBezTo>
                  <a:cubicBezTo>
                    <a:pt x="9" y="13"/>
                    <a:pt x="10" y="13"/>
                    <a:pt x="10" y="14"/>
                  </a:cubicBezTo>
                  <a:cubicBezTo>
                    <a:pt x="11" y="14"/>
                    <a:pt x="11" y="14"/>
                    <a:pt x="12" y="14"/>
                  </a:cubicBezTo>
                  <a:cubicBezTo>
                    <a:pt x="12" y="14"/>
                    <a:pt x="12" y="13"/>
                    <a:pt x="12" y="13"/>
                  </a:cubicBezTo>
                  <a:cubicBezTo>
                    <a:pt x="11" y="12"/>
                    <a:pt x="12" y="11"/>
                    <a:pt x="11" y="10"/>
                  </a:cubicBezTo>
                  <a:cubicBezTo>
                    <a:pt x="9" y="8"/>
                    <a:pt x="8" y="6"/>
                    <a:pt x="7" y="3"/>
                  </a:cubicBezTo>
                  <a:cubicBezTo>
                    <a:pt x="7" y="2"/>
                    <a:pt x="6" y="0"/>
                    <a:pt x="5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2"/>
                    <a:pt x="4" y="2"/>
                    <a:pt x="3" y="2"/>
                  </a:cubicBezTo>
                  <a:cubicBezTo>
                    <a:pt x="3" y="2"/>
                    <a:pt x="3" y="1"/>
                    <a:pt x="2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7" name="Freeform 311"/>
            <p:cNvSpPr>
              <a:spLocks/>
            </p:cNvSpPr>
            <p:nvPr/>
          </p:nvSpPr>
          <p:spPr bwMode="auto">
            <a:xfrm>
              <a:off x="7346887" y="3588176"/>
              <a:ext cx="2257" cy="3245"/>
            </a:xfrm>
            <a:custGeom>
              <a:avLst/>
              <a:gdLst>
                <a:gd name="T0" fmla="*/ 6131150 w 5"/>
                <a:gd name="T1" fmla="*/ 505778 h 7"/>
                <a:gd name="T2" fmla="*/ 2554647 w 5"/>
                <a:gd name="T3" fmla="*/ 0 h 7"/>
                <a:gd name="T4" fmla="*/ 0 w 5"/>
                <a:gd name="T5" fmla="*/ 1724631 h 7"/>
                <a:gd name="T6" fmla="*/ 0 w 5"/>
                <a:gd name="T7" fmla="*/ 2642432 h 7"/>
                <a:gd name="T8" fmla="*/ 2554647 w 5"/>
                <a:gd name="T9" fmla="*/ 2642432 h 7"/>
                <a:gd name="T10" fmla="*/ 5085394 w 5"/>
                <a:gd name="T11" fmla="*/ 3397424 h 7"/>
                <a:gd name="T12" fmla="*/ 6131150 w 5"/>
                <a:gd name="T13" fmla="*/ 1156064 h 7"/>
                <a:gd name="T14" fmla="*/ 6131150 w 5"/>
                <a:gd name="T15" fmla="*/ 505778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7"/>
                <a:gd name="T26" fmla="*/ 5 w 5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7">
                  <a:moveTo>
                    <a:pt x="5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3" y="6"/>
                    <a:pt x="4" y="7"/>
                    <a:pt x="4" y="6"/>
                  </a:cubicBezTo>
                  <a:cubicBezTo>
                    <a:pt x="5" y="5"/>
                    <a:pt x="5" y="3"/>
                    <a:pt x="5" y="2"/>
                  </a:cubicBezTo>
                  <a:cubicBezTo>
                    <a:pt x="5" y="2"/>
                    <a:pt x="5" y="2"/>
                    <a:pt x="5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8" name="Freeform 312"/>
            <p:cNvSpPr>
              <a:spLocks/>
            </p:cNvSpPr>
            <p:nvPr/>
          </p:nvSpPr>
          <p:spPr bwMode="auto">
            <a:xfrm>
              <a:off x="7338108" y="3601965"/>
              <a:ext cx="33360" cy="13248"/>
            </a:xfrm>
            <a:custGeom>
              <a:avLst/>
              <a:gdLst>
                <a:gd name="T0" fmla="*/ 19784540 w 72"/>
                <a:gd name="T1" fmla="*/ 4911239 h 27"/>
                <a:gd name="T2" fmla="*/ 17710644 w 72"/>
                <a:gd name="T3" fmla="*/ 3739447 h 27"/>
                <a:gd name="T4" fmla="*/ 15040843 w 72"/>
                <a:gd name="T5" fmla="*/ 874095 h 27"/>
                <a:gd name="T6" fmla="*/ 13031094 w 72"/>
                <a:gd name="T7" fmla="*/ 874095 h 27"/>
                <a:gd name="T8" fmla="*/ 11049821 w 72"/>
                <a:gd name="T9" fmla="*/ 2071929 h 27"/>
                <a:gd name="T10" fmla="*/ 8379337 w 72"/>
                <a:gd name="T11" fmla="*/ 2071929 h 27"/>
                <a:gd name="T12" fmla="*/ 7500980 w 72"/>
                <a:gd name="T13" fmla="*/ 874095 h 27"/>
                <a:gd name="T14" fmla="*/ 4679924 w 72"/>
                <a:gd name="T15" fmla="*/ 874095 h 27"/>
                <a:gd name="T16" fmla="*/ 3548896 w 72"/>
                <a:gd name="T17" fmla="*/ 2984029 h 27"/>
                <a:gd name="T18" fmla="*/ 3548896 w 72"/>
                <a:gd name="T19" fmla="*/ 4911239 h 27"/>
                <a:gd name="T20" fmla="*/ 0 w 72"/>
                <a:gd name="T21" fmla="*/ 10072692 h 27"/>
                <a:gd name="T22" fmla="*/ 7500980 w 72"/>
                <a:gd name="T23" fmla="*/ 10951795 h 27"/>
                <a:gd name="T24" fmla="*/ 7500980 w 72"/>
                <a:gd name="T25" fmla="*/ 13820151 h 27"/>
                <a:gd name="T26" fmla="*/ 12191625 w 72"/>
                <a:gd name="T27" fmla="*/ 14972246 h 27"/>
                <a:gd name="T28" fmla="*/ 15040843 w 72"/>
                <a:gd name="T29" fmla="*/ 15887104 h 27"/>
                <a:gd name="T30" fmla="*/ 17710644 w 72"/>
                <a:gd name="T31" fmla="*/ 18064640 h 27"/>
                <a:gd name="T32" fmla="*/ 21259350 w 72"/>
                <a:gd name="T33" fmla="*/ 18064640 h 27"/>
                <a:gd name="T34" fmla="*/ 26089842 w 72"/>
                <a:gd name="T35" fmla="*/ 18064640 h 27"/>
                <a:gd name="T36" fmla="*/ 26929207 w 72"/>
                <a:gd name="T37" fmla="*/ 18064640 h 27"/>
                <a:gd name="T38" fmla="*/ 34316554 w 72"/>
                <a:gd name="T39" fmla="*/ 19605475 h 27"/>
                <a:gd name="T40" fmla="*/ 38334634 w 72"/>
                <a:gd name="T41" fmla="*/ 21766963 h 27"/>
                <a:gd name="T42" fmla="*/ 39118787 w 72"/>
                <a:gd name="T43" fmla="*/ 22964094 h 27"/>
                <a:gd name="T44" fmla="*/ 44639884 w 72"/>
                <a:gd name="T45" fmla="*/ 23876004 h 27"/>
                <a:gd name="T46" fmla="*/ 46713468 w 72"/>
                <a:gd name="T47" fmla="*/ 23876004 h 27"/>
                <a:gd name="T48" fmla="*/ 57762594 w 72"/>
                <a:gd name="T49" fmla="*/ 23876004 h 27"/>
                <a:gd name="T50" fmla="*/ 58891583 w 72"/>
                <a:gd name="T51" fmla="*/ 24755278 h 27"/>
                <a:gd name="T52" fmla="*/ 62435439 w 72"/>
                <a:gd name="T53" fmla="*/ 25959805 h 27"/>
                <a:gd name="T54" fmla="*/ 66403502 w 72"/>
                <a:gd name="T55" fmla="*/ 25959805 h 27"/>
                <a:gd name="T56" fmla="*/ 66403502 w 72"/>
                <a:gd name="T57" fmla="*/ 24755278 h 27"/>
                <a:gd name="T58" fmla="*/ 65283958 w 72"/>
                <a:gd name="T59" fmla="*/ 23876004 h 27"/>
                <a:gd name="T60" fmla="*/ 66403502 w 72"/>
                <a:gd name="T61" fmla="*/ 19605475 h 27"/>
                <a:gd name="T62" fmla="*/ 65283958 w 72"/>
                <a:gd name="T63" fmla="*/ 18064640 h 27"/>
                <a:gd name="T64" fmla="*/ 57762594 w 72"/>
                <a:gd name="T65" fmla="*/ 15887104 h 27"/>
                <a:gd name="T66" fmla="*/ 54848531 w 72"/>
                <a:gd name="T67" fmla="*/ 15887104 h 27"/>
                <a:gd name="T68" fmla="*/ 53372516 w 72"/>
                <a:gd name="T69" fmla="*/ 10951795 h 27"/>
                <a:gd name="T70" fmla="*/ 52225055 w 72"/>
                <a:gd name="T71" fmla="*/ 10072692 h 27"/>
                <a:gd name="T72" fmla="*/ 49404567 w 72"/>
                <a:gd name="T73" fmla="*/ 10072692 h 27"/>
                <a:gd name="T74" fmla="*/ 48542025 w 72"/>
                <a:gd name="T75" fmla="*/ 8863872 h 27"/>
                <a:gd name="T76" fmla="*/ 43014232 w 72"/>
                <a:gd name="T77" fmla="*/ 7991856 h 27"/>
                <a:gd name="T78" fmla="*/ 40316711 w 72"/>
                <a:gd name="T79" fmla="*/ 5830377 h 27"/>
                <a:gd name="T80" fmla="*/ 38334634 w 72"/>
                <a:gd name="T81" fmla="*/ 8863872 h 27"/>
                <a:gd name="T82" fmla="*/ 35513089 w 72"/>
                <a:gd name="T83" fmla="*/ 10072692 h 27"/>
                <a:gd name="T84" fmla="*/ 30767843 w 72"/>
                <a:gd name="T85" fmla="*/ 10072692 h 27"/>
                <a:gd name="T86" fmla="*/ 24107926 w 72"/>
                <a:gd name="T87" fmla="*/ 8863872 h 27"/>
                <a:gd name="T88" fmla="*/ 23229971 w 72"/>
                <a:gd name="T89" fmla="*/ 7073252 h 27"/>
                <a:gd name="T90" fmla="*/ 21259350 w 72"/>
                <a:gd name="T91" fmla="*/ 4911239 h 27"/>
                <a:gd name="T92" fmla="*/ 19784540 w 72"/>
                <a:gd name="T93" fmla="*/ 4911239 h 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2"/>
                <a:gd name="T142" fmla="*/ 0 h 27"/>
                <a:gd name="T143" fmla="*/ 72 w 72"/>
                <a:gd name="T144" fmla="*/ 27 h 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2" h="27">
                  <a:moveTo>
                    <a:pt x="21" y="5"/>
                  </a:moveTo>
                  <a:cubicBezTo>
                    <a:pt x="21" y="5"/>
                    <a:pt x="20" y="5"/>
                    <a:pt x="19" y="4"/>
                  </a:cubicBezTo>
                  <a:cubicBezTo>
                    <a:pt x="18" y="3"/>
                    <a:pt x="17" y="2"/>
                    <a:pt x="16" y="1"/>
                  </a:cubicBezTo>
                  <a:cubicBezTo>
                    <a:pt x="15" y="0"/>
                    <a:pt x="14" y="0"/>
                    <a:pt x="14" y="1"/>
                  </a:cubicBezTo>
                  <a:cubicBezTo>
                    <a:pt x="13" y="1"/>
                    <a:pt x="13" y="2"/>
                    <a:pt x="12" y="2"/>
                  </a:cubicBezTo>
                  <a:cubicBezTo>
                    <a:pt x="11" y="2"/>
                    <a:pt x="10" y="2"/>
                    <a:pt x="9" y="2"/>
                  </a:cubicBezTo>
                  <a:cubicBezTo>
                    <a:pt x="9" y="2"/>
                    <a:pt x="8" y="1"/>
                    <a:pt x="8" y="1"/>
                  </a:cubicBezTo>
                  <a:cubicBezTo>
                    <a:pt x="7" y="1"/>
                    <a:pt x="6" y="0"/>
                    <a:pt x="5" y="1"/>
                  </a:cubicBezTo>
                  <a:cubicBezTo>
                    <a:pt x="5" y="2"/>
                    <a:pt x="4" y="2"/>
                    <a:pt x="4" y="3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3" y="6"/>
                    <a:pt x="0" y="7"/>
                    <a:pt x="0" y="10"/>
                  </a:cubicBezTo>
                  <a:cubicBezTo>
                    <a:pt x="3" y="10"/>
                    <a:pt x="7" y="9"/>
                    <a:pt x="8" y="11"/>
                  </a:cubicBezTo>
                  <a:cubicBezTo>
                    <a:pt x="8" y="12"/>
                    <a:pt x="8" y="13"/>
                    <a:pt x="8" y="14"/>
                  </a:cubicBezTo>
                  <a:cubicBezTo>
                    <a:pt x="10" y="15"/>
                    <a:pt x="11" y="14"/>
                    <a:pt x="13" y="15"/>
                  </a:cubicBezTo>
                  <a:cubicBezTo>
                    <a:pt x="14" y="15"/>
                    <a:pt x="15" y="15"/>
                    <a:pt x="16" y="16"/>
                  </a:cubicBezTo>
                  <a:cubicBezTo>
                    <a:pt x="17" y="17"/>
                    <a:pt x="18" y="17"/>
                    <a:pt x="19" y="18"/>
                  </a:cubicBezTo>
                  <a:cubicBezTo>
                    <a:pt x="20" y="19"/>
                    <a:pt x="22" y="19"/>
                    <a:pt x="23" y="18"/>
                  </a:cubicBezTo>
                  <a:cubicBezTo>
                    <a:pt x="25" y="18"/>
                    <a:pt x="26" y="17"/>
                    <a:pt x="28" y="18"/>
                  </a:cubicBezTo>
                  <a:cubicBezTo>
                    <a:pt x="28" y="18"/>
                    <a:pt x="28" y="18"/>
                    <a:pt x="29" y="18"/>
                  </a:cubicBezTo>
                  <a:cubicBezTo>
                    <a:pt x="32" y="19"/>
                    <a:pt x="35" y="18"/>
                    <a:pt x="37" y="20"/>
                  </a:cubicBezTo>
                  <a:cubicBezTo>
                    <a:pt x="38" y="21"/>
                    <a:pt x="40" y="21"/>
                    <a:pt x="41" y="22"/>
                  </a:cubicBezTo>
                  <a:cubicBezTo>
                    <a:pt x="41" y="23"/>
                    <a:pt x="42" y="23"/>
                    <a:pt x="42" y="23"/>
                  </a:cubicBezTo>
                  <a:cubicBezTo>
                    <a:pt x="44" y="23"/>
                    <a:pt x="46" y="23"/>
                    <a:pt x="48" y="24"/>
                  </a:cubicBezTo>
                  <a:cubicBezTo>
                    <a:pt x="49" y="24"/>
                    <a:pt x="49" y="24"/>
                    <a:pt x="50" y="24"/>
                  </a:cubicBezTo>
                  <a:cubicBezTo>
                    <a:pt x="54" y="25"/>
                    <a:pt x="58" y="24"/>
                    <a:pt x="62" y="24"/>
                  </a:cubicBezTo>
                  <a:cubicBezTo>
                    <a:pt x="63" y="24"/>
                    <a:pt x="63" y="25"/>
                    <a:pt x="63" y="25"/>
                  </a:cubicBezTo>
                  <a:cubicBezTo>
                    <a:pt x="64" y="26"/>
                    <a:pt x="66" y="25"/>
                    <a:pt x="67" y="26"/>
                  </a:cubicBezTo>
                  <a:cubicBezTo>
                    <a:pt x="68" y="26"/>
                    <a:pt x="70" y="27"/>
                    <a:pt x="71" y="26"/>
                  </a:cubicBezTo>
                  <a:cubicBezTo>
                    <a:pt x="72" y="26"/>
                    <a:pt x="72" y="25"/>
                    <a:pt x="71" y="25"/>
                  </a:cubicBezTo>
                  <a:cubicBezTo>
                    <a:pt x="71" y="24"/>
                    <a:pt x="70" y="24"/>
                    <a:pt x="70" y="24"/>
                  </a:cubicBezTo>
                  <a:cubicBezTo>
                    <a:pt x="70" y="23"/>
                    <a:pt x="70" y="22"/>
                    <a:pt x="71" y="20"/>
                  </a:cubicBezTo>
                  <a:cubicBezTo>
                    <a:pt x="71" y="20"/>
                    <a:pt x="71" y="19"/>
                    <a:pt x="70" y="18"/>
                  </a:cubicBezTo>
                  <a:cubicBezTo>
                    <a:pt x="67" y="18"/>
                    <a:pt x="64" y="17"/>
                    <a:pt x="62" y="16"/>
                  </a:cubicBezTo>
                  <a:cubicBezTo>
                    <a:pt x="61" y="16"/>
                    <a:pt x="59" y="16"/>
                    <a:pt x="59" y="16"/>
                  </a:cubicBezTo>
                  <a:cubicBezTo>
                    <a:pt x="57" y="15"/>
                    <a:pt x="57" y="13"/>
                    <a:pt x="57" y="11"/>
                  </a:cubicBezTo>
                  <a:cubicBezTo>
                    <a:pt x="57" y="11"/>
                    <a:pt x="57" y="11"/>
                    <a:pt x="56" y="10"/>
                  </a:cubicBezTo>
                  <a:cubicBezTo>
                    <a:pt x="55" y="10"/>
                    <a:pt x="54" y="10"/>
                    <a:pt x="53" y="10"/>
                  </a:cubicBezTo>
                  <a:cubicBezTo>
                    <a:pt x="52" y="10"/>
                    <a:pt x="52" y="9"/>
                    <a:pt x="52" y="9"/>
                  </a:cubicBezTo>
                  <a:cubicBezTo>
                    <a:pt x="50" y="8"/>
                    <a:pt x="48" y="9"/>
                    <a:pt x="46" y="8"/>
                  </a:cubicBezTo>
                  <a:cubicBezTo>
                    <a:pt x="45" y="7"/>
                    <a:pt x="44" y="5"/>
                    <a:pt x="43" y="6"/>
                  </a:cubicBezTo>
                  <a:cubicBezTo>
                    <a:pt x="42" y="6"/>
                    <a:pt x="42" y="8"/>
                    <a:pt x="41" y="9"/>
                  </a:cubicBezTo>
                  <a:cubicBezTo>
                    <a:pt x="41" y="10"/>
                    <a:pt x="39" y="11"/>
                    <a:pt x="38" y="10"/>
                  </a:cubicBezTo>
                  <a:cubicBezTo>
                    <a:pt x="36" y="9"/>
                    <a:pt x="35" y="9"/>
                    <a:pt x="33" y="10"/>
                  </a:cubicBezTo>
                  <a:cubicBezTo>
                    <a:pt x="31" y="10"/>
                    <a:pt x="28" y="10"/>
                    <a:pt x="26" y="9"/>
                  </a:cubicBezTo>
                  <a:cubicBezTo>
                    <a:pt x="25" y="9"/>
                    <a:pt x="25" y="7"/>
                    <a:pt x="25" y="7"/>
                  </a:cubicBezTo>
                  <a:cubicBezTo>
                    <a:pt x="24" y="6"/>
                    <a:pt x="24" y="5"/>
                    <a:pt x="23" y="5"/>
                  </a:cubicBezTo>
                  <a:cubicBezTo>
                    <a:pt x="23" y="4"/>
                    <a:pt x="22" y="4"/>
                    <a:pt x="21" y="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9" name="Freeform 313"/>
            <p:cNvSpPr>
              <a:spLocks/>
            </p:cNvSpPr>
            <p:nvPr/>
          </p:nvSpPr>
          <p:spPr bwMode="auto">
            <a:xfrm>
              <a:off x="7364947" y="3606832"/>
              <a:ext cx="4264" cy="1893"/>
            </a:xfrm>
            <a:custGeom>
              <a:avLst/>
              <a:gdLst>
                <a:gd name="T0" fmla="*/ 4688532 w 9"/>
                <a:gd name="T1" fmla="*/ 0 h 4"/>
                <a:gd name="T2" fmla="*/ 3961001 w 9"/>
                <a:gd name="T3" fmla="*/ 0 h 4"/>
                <a:gd name="T4" fmla="*/ 727531 w 9"/>
                <a:gd name="T5" fmla="*/ 418284 h 4"/>
                <a:gd name="T6" fmla="*/ 0 w 9"/>
                <a:gd name="T7" fmla="*/ 1359459 h 4"/>
                <a:gd name="T8" fmla="*/ 2243220 w 9"/>
                <a:gd name="T9" fmla="*/ 1699274 h 4"/>
                <a:gd name="T10" fmla="*/ 4688532 w 9"/>
                <a:gd name="T11" fmla="*/ 1699274 h 4"/>
                <a:gd name="T12" fmla="*/ 6253179 w 9"/>
                <a:gd name="T13" fmla="*/ 1359459 h 4"/>
                <a:gd name="T14" fmla="*/ 6931749 w 9"/>
                <a:gd name="T15" fmla="*/ 1359459 h 4"/>
                <a:gd name="T16" fmla="*/ 6931749 w 9"/>
                <a:gd name="T17" fmla="*/ 418284 h 4"/>
                <a:gd name="T18" fmla="*/ 4688532 w 9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4"/>
                <a:gd name="T32" fmla="*/ 9 w 9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4">
                  <a:moveTo>
                    <a:pt x="6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1"/>
                    <a:pt x="0" y="3"/>
                    <a:pt x="0" y="3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4" y="4"/>
                    <a:pt x="5" y="4"/>
                    <a:pt x="6" y="4"/>
                  </a:cubicBezTo>
                  <a:cubicBezTo>
                    <a:pt x="6" y="4"/>
                    <a:pt x="7" y="4"/>
                    <a:pt x="8" y="3"/>
                  </a:cubicBezTo>
                  <a:cubicBezTo>
                    <a:pt x="8" y="3"/>
                    <a:pt x="8" y="3"/>
                    <a:pt x="9" y="3"/>
                  </a:cubicBezTo>
                  <a:cubicBezTo>
                    <a:pt x="9" y="2"/>
                    <a:pt x="9" y="1"/>
                    <a:pt x="9" y="1"/>
                  </a:cubicBezTo>
                  <a:cubicBezTo>
                    <a:pt x="8" y="0"/>
                    <a:pt x="7" y="1"/>
                    <a:pt x="6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0" name="Freeform 314"/>
            <p:cNvSpPr>
              <a:spLocks/>
            </p:cNvSpPr>
            <p:nvPr/>
          </p:nvSpPr>
          <p:spPr bwMode="auto">
            <a:xfrm>
              <a:off x="7372472" y="3612239"/>
              <a:ext cx="2759" cy="2704"/>
            </a:xfrm>
            <a:custGeom>
              <a:avLst/>
              <a:gdLst>
                <a:gd name="T0" fmla="*/ 3961001 w 6"/>
                <a:gd name="T1" fmla="*/ 1064436 h 5"/>
                <a:gd name="T2" fmla="*/ 2243220 w 6"/>
                <a:gd name="T3" fmla="*/ 0 h 5"/>
                <a:gd name="T4" fmla="*/ 727531 w 6"/>
                <a:gd name="T5" fmla="*/ 0 h 5"/>
                <a:gd name="T6" fmla="*/ 727531 w 6"/>
                <a:gd name="T7" fmla="*/ 3577445 h 5"/>
                <a:gd name="T8" fmla="*/ 1697572 w 6"/>
                <a:gd name="T9" fmla="*/ 6131150 h 5"/>
                <a:gd name="T10" fmla="*/ 2970751 w 6"/>
                <a:gd name="T11" fmla="*/ 6131150 h 5"/>
                <a:gd name="T12" fmla="*/ 4688532 w 6"/>
                <a:gd name="T13" fmla="*/ 1064436 h 5"/>
                <a:gd name="T14" fmla="*/ 3961001 w 6"/>
                <a:gd name="T15" fmla="*/ 106443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5"/>
                <a:gd name="T26" fmla="*/ 6 w 6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5">
                  <a:moveTo>
                    <a:pt x="5" y="1"/>
                  </a:moveTo>
                  <a:cubicBezTo>
                    <a:pt x="5" y="1"/>
                    <a:pt x="4" y="0"/>
                    <a:pt x="3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3" y="5"/>
                    <a:pt x="4" y="5"/>
                    <a:pt x="4" y="5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1" name="Freeform 315"/>
            <p:cNvSpPr>
              <a:spLocks/>
            </p:cNvSpPr>
            <p:nvPr/>
          </p:nvSpPr>
          <p:spPr bwMode="auto">
            <a:xfrm>
              <a:off x="7376736" y="3612780"/>
              <a:ext cx="2258" cy="2974"/>
            </a:xfrm>
            <a:custGeom>
              <a:avLst/>
              <a:gdLst>
                <a:gd name="T0" fmla="*/ 2554647 w 5"/>
                <a:gd name="T1" fmla="*/ 2975593 h 6"/>
                <a:gd name="T2" fmla="*/ 1064436 w 5"/>
                <a:gd name="T3" fmla="*/ 7438980 h 6"/>
                <a:gd name="T4" fmla="*/ 0 w 5"/>
                <a:gd name="T5" fmla="*/ 13878121 h 6"/>
                <a:gd name="T6" fmla="*/ 3577445 w 5"/>
                <a:gd name="T7" fmla="*/ 13878121 h 6"/>
                <a:gd name="T8" fmla="*/ 5085394 w 5"/>
                <a:gd name="T9" fmla="*/ 0 h 6"/>
                <a:gd name="T10" fmla="*/ 3577445 w 5"/>
                <a:gd name="T11" fmla="*/ 2975593 h 6"/>
                <a:gd name="T12" fmla="*/ 2554647 w 5"/>
                <a:gd name="T13" fmla="*/ 2975593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2" y="1"/>
                  </a:moveTo>
                  <a:cubicBezTo>
                    <a:pt x="2" y="2"/>
                    <a:pt x="2" y="2"/>
                    <a:pt x="1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5" y="5"/>
                    <a:pt x="4" y="2"/>
                    <a:pt x="4" y="0"/>
                  </a:cubicBezTo>
                  <a:cubicBezTo>
                    <a:pt x="4" y="0"/>
                    <a:pt x="3" y="0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2" name="Freeform 316"/>
            <p:cNvSpPr>
              <a:spLocks/>
            </p:cNvSpPr>
            <p:nvPr/>
          </p:nvSpPr>
          <p:spPr bwMode="auto">
            <a:xfrm>
              <a:off x="7378993" y="3612780"/>
              <a:ext cx="9281" cy="4056"/>
            </a:xfrm>
            <a:custGeom>
              <a:avLst/>
              <a:gdLst>
                <a:gd name="T0" fmla="*/ 5927927 w 20"/>
                <a:gd name="T1" fmla="*/ 2129866 h 8"/>
                <a:gd name="T2" fmla="*/ 2522523 w 20"/>
                <a:gd name="T3" fmla="*/ 2129866 h 8"/>
                <a:gd name="T4" fmla="*/ 795113 w 20"/>
                <a:gd name="T5" fmla="*/ 4351847 h 8"/>
                <a:gd name="T6" fmla="*/ 795113 w 20"/>
                <a:gd name="T7" fmla="*/ 7279645 h 8"/>
                <a:gd name="T8" fmla="*/ 795113 w 20"/>
                <a:gd name="T9" fmla="*/ 8176458 h 8"/>
                <a:gd name="T10" fmla="*/ 5927927 w 20"/>
                <a:gd name="T11" fmla="*/ 7279645 h 8"/>
                <a:gd name="T12" fmla="*/ 7062610 w 20"/>
                <a:gd name="T13" fmla="*/ 5955246 h 8"/>
                <a:gd name="T14" fmla="*/ 7663472 w 20"/>
                <a:gd name="T15" fmla="*/ 5955246 h 8"/>
                <a:gd name="T16" fmla="*/ 10318870 w 20"/>
                <a:gd name="T17" fmla="*/ 5058432 h 8"/>
                <a:gd name="T18" fmla="*/ 12190249 w 20"/>
                <a:gd name="T19" fmla="*/ 5058432 h 8"/>
                <a:gd name="T20" fmla="*/ 13930621 w 20"/>
                <a:gd name="T21" fmla="*/ 4351847 h 8"/>
                <a:gd name="T22" fmla="*/ 14725738 w 20"/>
                <a:gd name="T23" fmla="*/ 4351847 h 8"/>
                <a:gd name="T24" fmla="*/ 16597127 w 20"/>
                <a:gd name="T25" fmla="*/ 4351847 h 8"/>
                <a:gd name="T26" fmla="*/ 16597127 w 20"/>
                <a:gd name="T27" fmla="*/ 2129866 h 8"/>
                <a:gd name="T28" fmla="*/ 12876646 w 20"/>
                <a:gd name="T29" fmla="*/ 0 h 8"/>
                <a:gd name="T30" fmla="*/ 10318870 w 20"/>
                <a:gd name="T31" fmla="*/ 0 h 8"/>
                <a:gd name="T32" fmla="*/ 8799889 w 20"/>
                <a:gd name="T33" fmla="*/ 0 h 8"/>
                <a:gd name="T34" fmla="*/ 7663472 w 20"/>
                <a:gd name="T35" fmla="*/ 2129866 h 8"/>
                <a:gd name="T36" fmla="*/ 5927927 w 20"/>
                <a:gd name="T37" fmla="*/ 2129866 h 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0"/>
                <a:gd name="T58" fmla="*/ 0 h 8"/>
                <a:gd name="T59" fmla="*/ 20 w 20"/>
                <a:gd name="T60" fmla="*/ 8 h 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0" h="8">
                  <a:moveTo>
                    <a:pt x="7" y="2"/>
                  </a:moveTo>
                  <a:cubicBezTo>
                    <a:pt x="6" y="2"/>
                    <a:pt x="4" y="2"/>
                    <a:pt x="3" y="2"/>
                  </a:cubicBezTo>
                  <a:cubicBezTo>
                    <a:pt x="2" y="2"/>
                    <a:pt x="1" y="3"/>
                    <a:pt x="1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3" y="8"/>
                    <a:pt x="6" y="8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10" y="6"/>
                    <a:pt x="11" y="5"/>
                    <a:pt x="12" y="5"/>
                  </a:cubicBezTo>
                  <a:cubicBezTo>
                    <a:pt x="13" y="5"/>
                    <a:pt x="14" y="5"/>
                    <a:pt x="14" y="5"/>
                  </a:cubicBezTo>
                  <a:cubicBezTo>
                    <a:pt x="15" y="6"/>
                    <a:pt x="16" y="5"/>
                    <a:pt x="16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9" y="4"/>
                    <a:pt x="19" y="4"/>
                  </a:cubicBezTo>
                  <a:cubicBezTo>
                    <a:pt x="20" y="3"/>
                    <a:pt x="20" y="2"/>
                    <a:pt x="19" y="2"/>
                  </a:cubicBezTo>
                  <a:cubicBezTo>
                    <a:pt x="18" y="1"/>
                    <a:pt x="17" y="1"/>
                    <a:pt x="15" y="0"/>
                  </a:cubicBezTo>
                  <a:cubicBezTo>
                    <a:pt x="14" y="0"/>
                    <a:pt x="13" y="1"/>
                    <a:pt x="12" y="0"/>
                  </a:cubicBezTo>
                  <a:cubicBezTo>
                    <a:pt x="12" y="0"/>
                    <a:pt x="10" y="0"/>
                    <a:pt x="10" y="0"/>
                  </a:cubicBezTo>
                  <a:cubicBezTo>
                    <a:pt x="10" y="1"/>
                    <a:pt x="10" y="2"/>
                    <a:pt x="9" y="2"/>
                  </a:cubicBezTo>
                  <a:cubicBezTo>
                    <a:pt x="9" y="3"/>
                    <a:pt x="8" y="3"/>
                    <a:pt x="7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3" name="Freeform 317"/>
            <p:cNvSpPr>
              <a:spLocks/>
            </p:cNvSpPr>
            <p:nvPr/>
          </p:nvSpPr>
          <p:spPr bwMode="auto">
            <a:xfrm>
              <a:off x="7389779" y="3612780"/>
              <a:ext cx="9782" cy="3515"/>
            </a:xfrm>
            <a:custGeom>
              <a:avLst/>
              <a:gdLst>
                <a:gd name="T0" fmla="*/ 11680953 w 21"/>
                <a:gd name="T1" fmla="*/ 2947589 h 7"/>
                <a:gd name="T2" fmla="*/ 7499890 w 21"/>
                <a:gd name="T3" fmla="*/ 1213713 h 7"/>
                <a:gd name="T4" fmla="*/ 4514290 w 21"/>
                <a:gd name="T5" fmla="*/ 0 h 7"/>
                <a:gd name="T6" fmla="*/ 3149955 w 21"/>
                <a:gd name="T7" fmla="*/ 2947589 h 7"/>
                <a:gd name="T8" fmla="*/ 2284540 w 21"/>
                <a:gd name="T9" fmla="*/ 4210842 h 7"/>
                <a:gd name="T10" fmla="*/ 959507 w 21"/>
                <a:gd name="T11" fmla="*/ 4210842 h 7"/>
                <a:gd name="T12" fmla="*/ 959507 w 21"/>
                <a:gd name="T13" fmla="*/ 7158428 h 7"/>
                <a:gd name="T14" fmla="*/ 12950905 w 21"/>
                <a:gd name="T15" fmla="*/ 8872004 h 7"/>
                <a:gd name="T16" fmla="*/ 16200323 w 21"/>
                <a:gd name="T17" fmla="*/ 8872004 h 7"/>
                <a:gd name="T18" fmla="*/ 21410687 w 21"/>
                <a:gd name="T19" fmla="*/ 7158428 h 7"/>
                <a:gd name="T20" fmla="*/ 22371868 w 21"/>
                <a:gd name="T21" fmla="*/ 4210842 h 7"/>
                <a:gd name="T22" fmla="*/ 17856874 w 21"/>
                <a:gd name="T23" fmla="*/ 2947589 h 7"/>
                <a:gd name="T24" fmla="*/ 16200323 w 21"/>
                <a:gd name="T25" fmla="*/ 5930334 h 7"/>
                <a:gd name="T26" fmla="*/ 14871980 w 21"/>
                <a:gd name="T27" fmla="*/ 5930334 h 7"/>
                <a:gd name="T28" fmla="*/ 13910476 w 21"/>
                <a:gd name="T29" fmla="*/ 4210842 h 7"/>
                <a:gd name="T30" fmla="*/ 11680953 w 21"/>
                <a:gd name="T31" fmla="*/ 2947589 h 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1"/>
                <a:gd name="T49" fmla="*/ 0 h 7"/>
                <a:gd name="T50" fmla="*/ 21 w 21"/>
                <a:gd name="T51" fmla="*/ 7 h 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1" h="7">
                  <a:moveTo>
                    <a:pt x="11" y="2"/>
                  </a:moveTo>
                  <a:cubicBezTo>
                    <a:pt x="10" y="1"/>
                    <a:pt x="8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3" y="3"/>
                    <a:pt x="2" y="3"/>
                    <a:pt x="2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1" y="4"/>
                    <a:pt x="0" y="5"/>
                    <a:pt x="1" y="5"/>
                  </a:cubicBezTo>
                  <a:cubicBezTo>
                    <a:pt x="4" y="6"/>
                    <a:pt x="8" y="7"/>
                    <a:pt x="12" y="6"/>
                  </a:cubicBezTo>
                  <a:cubicBezTo>
                    <a:pt x="13" y="6"/>
                    <a:pt x="14" y="6"/>
                    <a:pt x="15" y="6"/>
                  </a:cubicBezTo>
                  <a:cubicBezTo>
                    <a:pt x="16" y="5"/>
                    <a:pt x="18" y="6"/>
                    <a:pt x="20" y="5"/>
                  </a:cubicBezTo>
                  <a:cubicBezTo>
                    <a:pt x="21" y="5"/>
                    <a:pt x="21" y="4"/>
                    <a:pt x="21" y="3"/>
                  </a:cubicBezTo>
                  <a:cubicBezTo>
                    <a:pt x="20" y="2"/>
                    <a:pt x="18" y="2"/>
                    <a:pt x="17" y="2"/>
                  </a:cubicBezTo>
                  <a:cubicBezTo>
                    <a:pt x="16" y="2"/>
                    <a:pt x="15" y="3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3" y="3"/>
                    <a:pt x="13" y="3"/>
                  </a:cubicBezTo>
                  <a:cubicBezTo>
                    <a:pt x="12" y="3"/>
                    <a:pt x="12" y="2"/>
                    <a:pt x="11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4" name="Freeform 318"/>
            <p:cNvSpPr>
              <a:spLocks/>
            </p:cNvSpPr>
            <p:nvPr/>
          </p:nvSpPr>
          <p:spPr bwMode="auto">
            <a:xfrm>
              <a:off x="7386518" y="3617647"/>
              <a:ext cx="7274" cy="5137"/>
            </a:xfrm>
            <a:custGeom>
              <a:avLst/>
              <a:gdLst>
                <a:gd name="T0" fmla="*/ 10759007 w 16"/>
                <a:gd name="T1" fmla="*/ 7196548 h 10"/>
                <a:gd name="T2" fmla="*/ 9233070 w 16"/>
                <a:gd name="T3" fmla="*/ 5085394 h 10"/>
                <a:gd name="T4" fmla="*/ 8654090 w 16"/>
                <a:gd name="T5" fmla="*/ 3577445 h 10"/>
                <a:gd name="T6" fmla="*/ 6644038 w 16"/>
                <a:gd name="T7" fmla="*/ 2554647 h 10"/>
                <a:gd name="T8" fmla="*/ 5524414 w 16"/>
                <a:gd name="T9" fmla="*/ 1064436 h 10"/>
                <a:gd name="T10" fmla="*/ 2011912 w 16"/>
                <a:gd name="T11" fmla="*/ 2554647 h 10"/>
                <a:gd name="T12" fmla="*/ 656077 w 16"/>
                <a:gd name="T13" fmla="*/ 2554647 h 10"/>
                <a:gd name="T14" fmla="*/ 2011912 w 16"/>
                <a:gd name="T15" fmla="*/ 5085394 h 10"/>
                <a:gd name="T16" fmla="*/ 4652545 w 16"/>
                <a:gd name="T17" fmla="*/ 7196548 h 10"/>
                <a:gd name="T18" fmla="*/ 8113345 w 16"/>
                <a:gd name="T19" fmla="*/ 12204941 h 10"/>
                <a:gd name="T20" fmla="*/ 9233070 w 16"/>
                <a:gd name="T21" fmla="*/ 12204941 h 10"/>
                <a:gd name="T22" fmla="*/ 10759007 w 16"/>
                <a:gd name="T23" fmla="*/ 9650293 h 10"/>
                <a:gd name="T24" fmla="*/ 10759007 w 16"/>
                <a:gd name="T25" fmla="*/ 7196548 h 1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6"/>
                <a:gd name="T40" fmla="*/ 0 h 10"/>
                <a:gd name="T41" fmla="*/ 16 w 16"/>
                <a:gd name="T42" fmla="*/ 10 h 1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6" h="10">
                  <a:moveTo>
                    <a:pt x="16" y="6"/>
                  </a:moveTo>
                  <a:cubicBezTo>
                    <a:pt x="15" y="6"/>
                    <a:pt x="14" y="5"/>
                    <a:pt x="14" y="4"/>
                  </a:cubicBezTo>
                  <a:cubicBezTo>
                    <a:pt x="14" y="3"/>
                    <a:pt x="14" y="3"/>
                    <a:pt x="13" y="3"/>
                  </a:cubicBezTo>
                  <a:cubicBezTo>
                    <a:pt x="12" y="2"/>
                    <a:pt x="11" y="3"/>
                    <a:pt x="10" y="2"/>
                  </a:cubicBezTo>
                  <a:cubicBezTo>
                    <a:pt x="9" y="2"/>
                    <a:pt x="8" y="1"/>
                    <a:pt x="8" y="1"/>
                  </a:cubicBezTo>
                  <a:cubicBezTo>
                    <a:pt x="6" y="0"/>
                    <a:pt x="5" y="1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4" y="5"/>
                    <a:pt x="6" y="5"/>
                    <a:pt x="7" y="6"/>
                  </a:cubicBezTo>
                  <a:cubicBezTo>
                    <a:pt x="9" y="7"/>
                    <a:pt x="10" y="8"/>
                    <a:pt x="12" y="10"/>
                  </a:cubicBezTo>
                  <a:cubicBezTo>
                    <a:pt x="13" y="10"/>
                    <a:pt x="14" y="10"/>
                    <a:pt x="14" y="10"/>
                  </a:cubicBezTo>
                  <a:cubicBezTo>
                    <a:pt x="15" y="9"/>
                    <a:pt x="16" y="9"/>
                    <a:pt x="16" y="8"/>
                  </a:cubicBezTo>
                  <a:cubicBezTo>
                    <a:pt x="16" y="7"/>
                    <a:pt x="16" y="7"/>
                    <a:pt x="16" y="6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5" name="Freeform 319"/>
            <p:cNvSpPr>
              <a:spLocks/>
            </p:cNvSpPr>
            <p:nvPr/>
          </p:nvSpPr>
          <p:spPr bwMode="auto">
            <a:xfrm>
              <a:off x="7399812" y="3612780"/>
              <a:ext cx="2508" cy="2163"/>
            </a:xfrm>
            <a:custGeom>
              <a:avLst/>
              <a:gdLst>
                <a:gd name="T0" fmla="*/ 3577445 w 5"/>
                <a:gd name="T1" fmla="*/ 0 h 4"/>
                <a:gd name="T2" fmla="*/ 3577445 w 5"/>
                <a:gd name="T3" fmla="*/ 2497529 h 4"/>
                <a:gd name="T4" fmla="*/ 1064436 w 5"/>
                <a:gd name="T5" fmla="*/ 4450654 h 4"/>
                <a:gd name="T6" fmla="*/ 0 w 5"/>
                <a:gd name="T7" fmla="*/ 9219213 h 4"/>
                <a:gd name="T8" fmla="*/ 6131150 w 5"/>
                <a:gd name="T9" fmla="*/ 9219213 h 4"/>
                <a:gd name="T10" fmla="*/ 6131150 w 5"/>
                <a:gd name="T11" fmla="*/ 4450654 h 4"/>
                <a:gd name="T12" fmla="*/ 6131150 w 5"/>
                <a:gd name="T13" fmla="*/ 2497529 h 4"/>
                <a:gd name="T14" fmla="*/ 3577445 w 5"/>
                <a:gd name="T15" fmla="*/ 0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4"/>
                <a:gd name="T26" fmla="*/ 5 w 5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4">
                  <a:moveTo>
                    <a:pt x="3" y="0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5" y="3"/>
                    <a:pt x="5" y="3"/>
                    <a:pt x="5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5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6" name="Freeform 320"/>
            <p:cNvSpPr>
              <a:spLocks/>
            </p:cNvSpPr>
            <p:nvPr/>
          </p:nvSpPr>
          <p:spPr bwMode="auto">
            <a:xfrm>
              <a:off x="7403575" y="3612239"/>
              <a:ext cx="2007" cy="1893"/>
            </a:xfrm>
            <a:custGeom>
              <a:avLst/>
              <a:gdLst>
                <a:gd name="T0" fmla="*/ 418284 w 4"/>
                <a:gd name="T1" fmla="*/ 418284 h 4"/>
                <a:gd name="T2" fmla="*/ 418284 w 4"/>
                <a:gd name="T3" fmla="*/ 941139 h 4"/>
                <a:gd name="T4" fmla="*/ 0 w 4"/>
                <a:gd name="T5" fmla="*/ 1699274 h 4"/>
                <a:gd name="T6" fmla="*/ 1359459 w 4"/>
                <a:gd name="T7" fmla="*/ 1699274 h 4"/>
                <a:gd name="T8" fmla="*/ 1359459 w 4"/>
                <a:gd name="T9" fmla="*/ 418284 h 4"/>
                <a:gd name="T10" fmla="*/ 418284 w 4"/>
                <a:gd name="T11" fmla="*/ 418284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1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4" y="3"/>
                    <a:pt x="3" y="2"/>
                    <a:pt x="3" y="1"/>
                  </a:cubicBezTo>
                  <a:cubicBezTo>
                    <a:pt x="3" y="1"/>
                    <a:pt x="2" y="0"/>
                    <a:pt x="1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7" name="Freeform 321"/>
            <p:cNvSpPr>
              <a:spLocks/>
            </p:cNvSpPr>
            <p:nvPr/>
          </p:nvSpPr>
          <p:spPr bwMode="auto">
            <a:xfrm>
              <a:off x="7406083" y="3612239"/>
              <a:ext cx="1505" cy="1893"/>
            </a:xfrm>
            <a:custGeom>
              <a:avLst/>
              <a:gdLst>
                <a:gd name="T0" fmla="*/ 727531 w 3"/>
                <a:gd name="T1" fmla="*/ 418284 h 4"/>
                <a:gd name="T2" fmla="*/ 0 w 3"/>
                <a:gd name="T3" fmla="*/ 1699274 h 4"/>
                <a:gd name="T4" fmla="*/ 1697572 w 3"/>
                <a:gd name="T5" fmla="*/ 1699274 h 4"/>
                <a:gd name="T6" fmla="*/ 2243220 w 3"/>
                <a:gd name="T7" fmla="*/ 418284 h 4"/>
                <a:gd name="T8" fmla="*/ 727531 w 3"/>
                <a:gd name="T9" fmla="*/ 418284 h 4"/>
                <a:gd name="T10" fmla="*/ 727531 w 3"/>
                <a:gd name="T11" fmla="*/ 418284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1" y="1"/>
                  </a:moveTo>
                  <a:cubicBezTo>
                    <a:pt x="0" y="2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3" y="3"/>
                    <a:pt x="3" y="2"/>
                    <a:pt x="3" y="1"/>
                  </a:cubicBezTo>
                  <a:cubicBezTo>
                    <a:pt x="3" y="0"/>
                    <a:pt x="2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8" name="Freeform 322"/>
            <p:cNvSpPr>
              <a:spLocks/>
            </p:cNvSpPr>
            <p:nvPr/>
          </p:nvSpPr>
          <p:spPr bwMode="auto">
            <a:xfrm>
              <a:off x="7407839" y="3612239"/>
              <a:ext cx="2258" cy="1893"/>
            </a:xfrm>
            <a:custGeom>
              <a:avLst/>
              <a:gdLst>
                <a:gd name="T0" fmla="*/ 3577445 w 5"/>
                <a:gd name="T1" fmla="*/ 0 h 4"/>
                <a:gd name="T2" fmla="*/ 1064436 w 5"/>
                <a:gd name="T3" fmla="*/ 418284 h 4"/>
                <a:gd name="T4" fmla="*/ 0 w 5"/>
                <a:gd name="T5" fmla="*/ 1359459 h 4"/>
                <a:gd name="T6" fmla="*/ 6131150 w 5"/>
                <a:gd name="T7" fmla="*/ 1359459 h 4"/>
                <a:gd name="T8" fmla="*/ 6131150 w 5"/>
                <a:gd name="T9" fmla="*/ 418284 h 4"/>
                <a:gd name="T10" fmla="*/ 3577445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3" y="0"/>
                  </a:moveTo>
                  <a:cubicBezTo>
                    <a:pt x="2" y="0"/>
                    <a:pt x="1" y="0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2" y="3"/>
                    <a:pt x="4" y="4"/>
                    <a:pt x="5" y="3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5" y="0"/>
                    <a:pt x="4" y="1"/>
                    <a:pt x="3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9" name="Freeform 323"/>
            <p:cNvSpPr>
              <a:spLocks/>
            </p:cNvSpPr>
            <p:nvPr/>
          </p:nvSpPr>
          <p:spPr bwMode="auto">
            <a:xfrm>
              <a:off x="7412103" y="3610076"/>
              <a:ext cx="3512" cy="2163"/>
            </a:xfrm>
            <a:custGeom>
              <a:avLst/>
              <a:gdLst>
                <a:gd name="T0" fmla="*/ 1699274 w 8"/>
                <a:gd name="T1" fmla="*/ 1064436 h 5"/>
                <a:gd name="T2" fmla="*/ 418284 w 8"/>
                <a:gd name="T3" fmla="*/ 1064436 h 5"/>
                <a:gd name="T4" fmla="*/ 418284 w 8"/>
                <a:gd name="T5" fmla="*/ 5085394 h 5"/>
                <a:gd name="T6" fmla="*/ 941139 w 8"/>
                <a:gd name="T7" fmla="*/ 5085394 h 5"/>
                <a:gd name="T8" fmla="*/ 1359459 w 8"/>
                <a:gd name="T9" fmla="*/ 5085394 h 5"/>
                <a:gd name="T10" fmla="*/ 2453348 w 8"/>
                <a:gd name="T11" fmla="*/ 5085394 h 5"/>
                <a:gd name="T12" fmla="*/ 3394577 w 8"/>
                <a:gd name="T13" fmla="*/ 0 h 5"/>
                <a:gd name="T14" fmla="*/ 1699274 w 8"/>
                <a:gd name="T15" fmla="*/ 106443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5"/>
                <a:gd name="T26" fmla="*/ 8 w 8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5">
                  <a:moveTo>
                    <a:pt x="4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0" y="1"/>
                    <a:pt x="1" y="3"/>
                    <a:pt x="1" y="4"/>
                  </a:cubicBezTo>
                  <a:cubicBezTo>
                    <a:pt x="1" y="5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5" y="4"/>
                    <a:pt x="6" y="4"/>
                  </a:cubicBezTo>
                  <a:cubicBezTo>
                    <a:pt x="8" y="3"/>
                    <a:pt x="8" y="2"/>
                    <a:pt x="8" y="0"/>
                  </a:cubicBezTo>
                  <a:cubicBezTo>
                    <a:pt x="7" y="0"/>
                    <a:pt x="5" y="0"/>
                    <a:pt x="4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0" name="Freeform 324"/>
            <p:cNvSpPr>
              <a:spLocks/>
            </p:cNvSpPr>
            <p:nvPr/>
          </p:nvSpPr>
          <p:spPr bwMode="auto">
            <a:xfrm>
              <a:off x="7402822" y="3613591"/>
              <a:ext cx="15301" cy="10004"/>
            </a:xfrm>
            <a:custGeom>
              <a:avLst/>
              <a:gdLst>
                <a:gd name="T0" fmla="*/ 20043996 w 33"/>
                <a:gd name="T1" fmla="*/ 1697572 h 21"/>
                <a:gd name="T2" fmla="*/ 15293841 w 33"/>
                <a:gd name="T3" fmla="*/ 2243220 h 21"/>
                <a:gd name="T4" fmla="*/ 10341117 w 33"/>
                <a:gd name="T5" fmla="*/ 6253184 h 21"/>
                <a:gd name="T6" fmla="*/ 6840533 w 33"/>
                <a:gd name="T7" fmla="*/ 6931750 h 21"/>
                <a:gd name="T8" fmla="*/ 3587761 w 33"/>
                <a:gd name="T9" fmla="*/ 9902490 h 21"/>
                <a:gd name="T10" fmla="*/ 3587761 w 33"/>
                <a:gd name="T11" fmla="*/ 9902490 h 21"/>
                <a:gd name="T12" fmla="*/ 2007625 w 33"/>
                <a:gd name="T13" fmla="*/ 11620010 h 21"/>
                <a:gd name="T14" fmla="*/ 2007625 w 33"/>
                <a:gd name="T15" fmla="*/ 13906433 h 21"/>
                <a:gd name="T16" fmla="*/ 849380 w 33"/>
                <a:gd name="T17" fmla="*/ 14590762 h 21"/>
                <a:gd name="T18" fmla="*/ 849380 w 33"/>
                <a:gd name="T19" fmla="*/ 16174077 h 21"/>
                <a:gd name="T20" fmla="*/ 3587761 w 33"/>
                <a:gd name="T21" fmla="*/ 14590762 h 21"/>
                <a:gd name="T22" fmla="*/ 4745294 w 33"/>
                <a:gd name="T23" fmla="*/ 14590762 h 21"/>
                <a:gd name="T24" fmla="*/ 6840533 w 33"/>
                <a:gd name="T25" fmla="*/ 13906433 h 21"/>
                <a:gd name="T26" fmla="*/ 10341117 w 33"/>
                <a:gd name="T27" fmla="*/ 11620010 h 21"/>
                <a:gd name="T28" fmla="*/ 16168527 w 33"/>
                <a:gd name="T29" fmla="*/ 7659274 h 21"/>
                <a:gd name="T30" fmla="*/ 18819581 w 33"/>
                <a:gd name="T31" fmla="*/ 6253184 h 21"/>
                <a:gd name="T32" fmla="*/ 22924719 w 33"/>
                <a:gd name="T33" fmla="*/ 4688532 h 21"/>
                <a:gd name="T34" fmla="*/ 30553758 w 33"/>
                <a:gd name="T35" fmla="*/ 1697572 h 21"/>
                <a:gd name="T36" fmla="*/ 27670974 w 33"/>
                <a:gd name="T37" fmla="*/ 727531 h 21"/>
                <a:gd name="T38" fmla="*/ 24442627 w 33"/>
                <a:gd name="T39" fmla="*/ 1697572 h 21"/>
                <a:gd name="T40" fmla="*/ 20915062 w 33"/>
                <a:gd name="T41" fmla="*/ 727531 h 21"/>
                <a:gd name="T42" fmla="*/ 20043996 w 33"/>
                <a:gd name="T43" fmla="*/ 1697572 h 2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3"/>
                <a:gd name="T67" fmla="*/ 0 h 21"/>
                <a:gd name="T68" fmla="*/ 33 w 33"/>
                <a:gd name="T69" fmla="*/ 21 h 2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3" h="21">
                  <a:moveTo>
                    <a:pt x="21" y="2"/>
                  </a:moveTo>
                  <a:cubicBezTo>
                    <a:pt x="20" y="2"/>
                    <a:pt x="17" y="1"/>
                    <a:pt x="16" y="3"/>
                  </a:cubicBezTo>
                  <a:cubicBezTo>
                    <a:pt x="15" y="5"/>
                    <a:pt x="13" y="7"/>
                    <a:pt x="11" y="8"/>
                  </a:cubicBezTo>
                  <a:cubicBezTo>
                    <a:pt x="10" y="9"/>
                    <a:pt x="8" y="8"/>
                    <a:pt x="7" y="9"/>
                  </a:cubicBezTo>
                  <a:cubicBezTo>
                    <a:pt x="5" y="10"/>
                    <a:pt x="6" y="12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3" y="14"/>
                    <a:pt x="3" y="14"/>
                    <a:pt x="2" y="15"/>
                  </a:cubicBezTo>
                  <a:cubicBezTo>
                    <a:pt x="2" y="16"/>
                    <a:pt x="3" y="17"/>
                    <a:pt x="2" y="18"/>
                  </a:cubicBezTo>
                  <a:cubicBezTo>
                    <a:pt x="2" y="18"/>
                    <a:pt x="1" y="19"/>
                    <a:pt x="1" y="19"/>
                  </a:cubicBezTo>
                  <a:cubicBezTo>
                    <a:pt x="0" y="20"/>
                    <a:pt x="0" y="21"/>
                    <a:pt x="1" y="21"/>
                  </a:cubicBezTo>
                  <a:cubicBezTo>
                    <a:pt x="2" y="21"/>
                    <a:pt x="3" y="21"/>
                    <a:pt x="4" y="19"/>
                  </a:cubicBezTo>
                  <a:cubicBezTo>
                    <a:pt x="4" y="19"/>
                    <a:pt x="5" y="19"/>
                    <a:pt x="5" y="19"/>
                  </a:cubicBezTo>
                  <a:cubicBezTo>
                    <a:pt x="6" y="19"/>
                    <a:pt x="6" y="19"/>
                    <a:pt x="7" y="18"/>
                  </a:cubicBezTo>
                  <a:cubicBezTo>
                    <a:pt x="8" y="17"/>
                    <a:pt x="9" y="16"/>
                    <a:pt x="11" y="15"/>
                  </a:cubicBezTo>
                  <a:cubicBezTo>
                    <a:pt x="14" y="14"/>
                    <a:pt x="15" y="12"/>
                    <a:pt x="17" y="10"/>
                  </a:cubicBezTo>
                  <a:cubicBezTo>
                    <a:pt x="18" y="9"/>
                    <a:pt x="19" y="9"/>
                    <a:pt x="20" y="8"/>
                  </a:cubicBezTo>
                  <a:cubicBezTo>
                    <a:pt x="21" y="7"/>
                    <a:pt x="23" y="7"/>
                    <a:pt x="24" y="6"/>
                  </a:cubicBezTo>
                  <a:cubicBezTo>
                    <a:pt x="27" y="5"/>
                    <a:pt x="29" y="3"/>
                    <a:pt x="32" y="2"/>
                  </a:cubicBezTo>
                  <a:cubicBezTo>
                    <a:pt x="33" y="0"/>
                    <a:pt x="30" y="1"/>
                    <a:pt x="29" y="1"/>
                  </a:cubicBezTo>
                  <a:cubicBezTo>
                    <a:pt x="28" y="1"/>
                    <a:pt x="27" y="2"/>
                    <a:pt x="26" y="2"/>
                  </a:cubicBezTo>
                  <a:cubicBezTo>
                    <a:pt x="24" y="1"/>
                    <a:pt x="23" y="1"/>
                    <a:pt x="22" y="1"/>
                  </a:cubicBezTo>
                  <a:cubicBezTo>
                    <a:pt x="22" y="1"/>
                    <a:pt x="21" y="2"/>
                    <a:pt x="21" y="2"/>
                  </a:cubicBezTo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1" name="Freeform 325"/>
            <p:cNvSpPr>
              <a:spLocks/>
            </p:cNvSpPr>
            <p:nvPr/>
          </p:nvSpPr>
          <p:spPr bwMode="auto">
            <a:xfrm>
              <a:off x="7414109" y="3590068"/>
              <a:ext cx="5017" cy="3515"/>
            </a:xfrm>
            <a:custGeom>
              <a:avLst/>
              <a:gdLst>
                <a:gd name="T0" fmla="*/ 7630664 w 11"/>
                <a:gd name="T1" fmla="*/ 2947589 h 7"/>
                <a:gd name="T2" fmla="*/ 4745295 w 11"/>
                <a:gd name="T3" fmla="*/ 1213713 h 7"/>
                <a:gd name="T4" fmla="*/ 2007625 w 11"/>
                <a:gd name="T5" fmla="*/ 2947589 h 7"/>
                <a:gd name="T6" fmla="*/ 2007625 w 11"/>
                <a:gd name="T7" fmla="*/ 7158428 h 7"/>
                <a:gd name="T8" fmla="*/ 4745295 w 11"/>
                <a:gd name="T9" fmla="*/ 10226328 h 7"/>
                <a:gd name="T10" fmla="*/ 6840539 w 11"/>
                <a:gd name="T11" fmla="*/ 7158428 h 7"/>
                <a:gd name="T12" fmla="*/ 9698926 w 11"/>
                <a:gd name="T13" fmla="*/ 7158428 h 7"/>
                <a:gd name="T14" fmla="*/ 7630664 w 11"/>
                <a:gd name="T15" fmla="*/ 2947589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7"/>
                <a:gd name="T26" fmla="*/ 11 w 11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7">
                  <a:moveTo>
                    <a:pt x="8" y="2"/>
                  </a:moveTo>
                  <a:cubicBezTo>
                    <a:pt x="7" y="1"/>
                    <a:pt x="6" y="0"/>
                    <a:pt x="5" y="1"/>
                  </a:cubicBezTo>
                  <a:cubicBezTo>
                    <a:pt x="4" y="1"/>
                    <a:pt x="2" y="2"/>
                    <a:pt x="2" y="2"/>
                  </a:cubicBezTo>
                  <a:cubicBezTo>
                    <a:pt x="0" y="3"/>
                    <a:pt x="1" y="5"/>
                    <a:pt x="2" y="5"/>
                  </a:cubicBezTo>
                  <a:cubicBezTo>
                    <a:pt x="3" y="6"/>
                    <a:pt x="4" y="7"/>
                    <a:pt x="5" y="7"/>
                  </a:cubicBezTo>
                  <a:cubicBezTo>
                    <a:pt x="6" y="7"/>
                    <a:pt x="6" y="6"/>
                    <a:pt x="7" y="5"/>
                  </a:cubicBezTo>
                  <a:cubicBezTo>
                    <a:pt x="8" y="4"/>
                    <a:pt x="9" y="5"/>
                    <a:pt x="10" y="5"/>
                  </a:cubicBezTo>
                  <a:cubicBezTo>
                    <a:pt x="11" y="3"/>
                    <a:pt x="9" y="2"/>
                    <a:pt x="8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2" name="Freeform 326"/>
            <p:cNvSpPr>
              <a:spLocks/>
            </p:cNvSpPr>
            <p:nvPr/>
          </p:nvSpPr>
          <p:spPr bwMode="auto">
            <a:xfrm>
              <a:off x="7412605" y="3584390"/>
              <a:ext cx="2257" cy="1352"/>
            </a:xfrm>
            <a:custGeom>
              <a:avLst/>
              <a:gdLst>
                <a:gd name="T0" fmla="*/ 2554647 w 5"/>
                <a:gd name="T1" fmla="*/ 727531 h 3"/>
                <a:gd name="T2" fmla="*/ 0 w 5"/>
                <a:gd name="T3" fmla="*/ 727531 h 3"/>
                <a:gd name="T4" fmla="*/ 0 w 5"/>
                <a:gd name="T5" fmla="*/ 1697572 h 3"/>
                <a:gd name="T6" fmla="*/ 6131150 w 5"/>
                <a:gd name="T7" fmla="*/ 727531 h 3"/>
                <a:gd name="T8" fmla="*/ 2554647 w 5"/>
                <a:gd name="T9" fmla="*/ 72753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2" y="1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4" y="3"/>
                    <a:pt x="5" y="1"/>
                  </a:cubicBezTo>
                  <a:cubicBezTo>
                    <a:pt x="4" y="1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3" name="Freeform 327"/>
            <p:cNvSpPr>
              <a:spLocks/>
            </p:cNvSpPr>
            <p:nvPr/>
          </p:nvSpPr>
          <p:spPr bwMode="auto">
            <a:xfrm>
              <a:off x="7407839" y="3584390"/>
              <a:ext cx="3261" cy="1622"/>
            </a:xfrm>
            <a:custGeom>
              <a:avLst/>
              <a:gdLst>
                <a:gd name="T0" fmla="*/ 8872004 w 7"/>
                <a:gd name="T1" fmla="*/ 418284 h 4"/>
                <a:gd name="T2" fmla="*/ 7158428 w 7"/>
                <a:gd name="T3" fmla="*/ 0 h 4"/>
                <a:gd name="T4" fmla="*/ 2947589 w 7"/>
                <a:gd name="T5" fmla="*/ 0 h 4"/>
                <a:gd name="T6" fmla="*/ 0 w 7"/>
                <a:gd name="T7" fmla="*/ 418284 h 4"/>
                <a:gd name="T8" fmla="*/ 1213713 w 7"/>
                <a:gd name="T9" fmla="*/ 1359459 h 4"/>
                <a:gd name="T10" fmla="*/ 4210842 w 7"/>
                <a:gd name="T11" fmla="*/ 1359459 h 4"/>
                <a:gd name="T12" fmla="*/ 10226328 w 7"/>
                <a:gd name="T13" fmla="*/ 941139 h 4"/>
                <a:gd name="T14" fmla="*/ 8872004 w 7"/>
                <a:gd name="T15" fmla="*/ 418284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4"/>
                <a:gd name="T26" fmla="*/ 7 w 7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4">
                  <a:moveTo>
                    <a:pt x="6" y="1"/>
                  </a:moveTo>
                  <a:cubicBezTo>
                    <a:pt x="6" y="1"/>
                    <a:pt x="6" y="0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1" y="1"/>
                    <a:pt x="1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2" y="4"/>
                    <a:pt x="2" y="3"/>
                    <a:pt x="3" y="3"/>
                  </a:cubicBezTo>
                  <a:cubicBezTo>
                    <a:pt x="4" y="2"/>
                    <a:pt x="6" y="3"/>
                    <a:pt x="7" y="2"/>
                  </a:cubicBezTo>
                  <a:cubicBezTo>
                    <a:pt x="7" y="2"/>
                    <a:pt x="7" y="2"/>
                    <a:pt x="6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4" name="Freeform 328"/>
            <p:cNvSpPr>
              <a:spLocks/>
            </p:cNvSpPr>
            <p:nvPr/>
          </p:nvSpPr>
          <p:spPr bwMode="auto">
            <a:xfrm>
              <a:off x="7387271" y="3568708"/>
              <a:ext cx="24832" cy="33257"/>
            </a:xfrm>
            <a:custGeom>
              <a:avLst/>
              <a:gdLst>
                <a:gd name="T0" fmla="*/ 3097986 w 53"/>
                <a:gd name="T1" fmla="*/ 39164075 h 68"/>
                <a:gd name="T2" fmla="*/ 5346599 w 53"/>
                <a:gd name="T3" fmla="*/ 36148244 h 68"/>
                <a:gd name="T4" fmla="*/ 6032472 w 53"/>
                <a:gd name="T5" fmla="*/ 28364712 h 68"/>
                <a:gd name="T6" fmla="*/ 9226932 w 53"/>
                <a:gd name="T7" fmla="*/ 22253230 h 68"/>
                <a:gd name="T8" fmla="*/ 9226932 w 53"/>
                <a:gd name="T9" fmla="*/ 18582503 h 68"/>
                <a:gd name="T10" fmla="*/ 9226932 w 53"/>
                <a:gd name="T11" fmla="*/ 11453738 h 68"/>
                <a:gd name="T12" fmla="*/ 11379171 w 53"/>
                <a:gd name="T13" fmla="*/ 8662405 h 68"/>
                <a:gd name="T14" fmla="*/ 15806619 w 53"/>
                <a:gd name="T15" fmla="*/ 7848512 h 68"/>
                <a:gd name="T16" fmla="*/ 20993144 w 53"/>
                <a:gd name="T17" fmla="*/ 2950784 h 68"/>
                <a:gd name="T18" fmla="*/ 22853379 w 53"/>
                <a:gd name="T19" fmla="*/ 5740275 h 68"/>
                <a:gd name="T20" fmla="*/ 36274933 w 53"/>
                <a:gd name="T21" fmla="*/ 7848512 h 68"/>
                <a:gd name="T22" fmla="*/ 43874823 w 53"/>
                <a:gd name="T23" fmla="*/ 7848512 h 68"/>
                <a:gd name="T24" fmla="*/ 47710699 w 53"/>
                <a:gd name="T25" fmla="*/ 4837606 h 68"/>
                <a:gd name="T26" fmla="*/ 55252135 w 53"/>
                <a:gd name="T27" fmla="*/ 2950784 h 68"/>
                <a:gd name="T28" fmla="*/ 46805440 w 53"/>
                <a:gd name="T29" fmla="*/ 12726017 h 68"/>
                <a:gd name="T30" fmla="*/ 35563742 w 53"/>
                <a:gd name="T31" fmla="*/ 11453738 h 68"/>
                <a:gd name="T32" fmla="*/ 27052363 w 53"/>
                <a:gd name="T33" fmla="*/ 11453738 h 68"/>
                <a:gd name="T34" fmla="*/ 22853379 w 53"/>
                <a:gd name="T35" fmla="*/ 11453738 h 68"/>
                <a:gd name="T36" fmla="*/ 17509302 w 53"/>
                <a:gd name="T37" fmla="*/ 13590937 h 68"/>
                <a:gd name="T38" fmla="*/ 13628066 w 53"/>
                <a:gd name="T39" fmla="*/ 12726017 h 68"/>
                <a:gd name="T40" fmla="*/ 12710776 w 53"/>
                <a:gd name="T41" fmla="*/ 21379550 h 68"/>
                <a:gd name="T42" fmla="*/ 15806619 w 53"/>
                <a:gd name="T43" fmla="*/ 27118402 h 68"/>
                <a:gd name="T44" fmla="*/ 21935719 w 53"/>
                <a:gd name="T45" fmla="*/ 25569109 h 68"/>
                <a:gd name="T46" fmla="*/ 27052363 w 53"/>
                <a:gd name="T47" fmla="*/ 23528293 h 68"/>
                <a:gd name="T48" fmla="*/ 31164089 w 53"/>
                <a:gd name="T49" fmla="*/ 23528293 h 68"/>
                <a:gd name="T50" fmla="*/ 37577991 w 53"/>
                <a:gd name="T51" fmla="*/ 20509506 h 68"/>
                <a:gd name="T52" fmla="*/ 38524047 w 53"/>
                <a:gd name="T53" fmla="*/ 24323102 h 68"/>
                <a:gd name="T54" fmla="*/ 29295695 w 53"/>
                <a:gd name="T55" fmla="*/ 29228050 h 68"/>
                <a:gd name="T56" fmla="*/ 25817393 w 53"/>
                <a:gd name="T57" fmla="*/ 33417931 h 68"/>
                <a:gd name="T58" fmla="*/ 22853379 w 53"/>
                <a:gd name="T59" fmla="*/ 34233367 h 68"/>
                <a:gd name="T60" fmla="*/ 29295695 w 53"/>
                <a:gd name="T61" fmla="*/ 41953456 h 68"/>
                <a:gd name="T62" fmla="*/ 30218072 w 53"/>
                <a:gd name="T63" fmla="*/ 46947560 h 68"/>
                <a:gd name="T64" fmla="*/ 31164089 w 53"/>
                <a:gd name="T65" fmla="*/ 50619192 h 68"/>
                <a:gd name="T66" fmla="*/ 33316055 w 53"/>
                <a:gd name="T67" fmla="*/ 54797197 h 68"/>
                <a:gd name="T68" fmla="*/ 25817393 w 53"/>
                <a:gd name="T69" fmla="*/ 54797197 h 68"/>
                <a:gd name="T70" fmla="*/ 22853379 w 53"/>
                <a:gd name="T71" fmla="*/ 58495232 h 68"/>
                <a:gd name="T72" fmla="*/ 19688008 w 53"/>
                <a:gd name="T73" fmla="*/ 48559264 h 68"/>
                <a:gd name="T74" fmla="*/ 19688008 w 53"/>
                <a:gd name="T75" fmla="*/ 44904376 h 68"/>
                <a:gd name="T76" fmla="*/ 17509302 w 53"/>
                <a:gd name="T77" fmla="*/ 39164075 h 68"/>
                <a:gd name="T78" fmla="*/ 14341349 w 53"/>
                <a:gd name="T79" fmla="*/ 40027063 h 68"/>
                <a:gd name="T80" fmla="*/ 11379171 w 53"/>
                <a:gd name="T81" fmla="*/ 42767206 h 68"/>
                <a:gd name="T82" fmla="*/ 14341349 w 53"/>
                <a:gd name="T83" fmla="*/ 48559264 h 68"/>
                <a:gd name="T84" fmla="*/ 13628066 w 53"/>
                <a:gd name="T85" fmla="*/ 54797197 h 68"/>
                <a:gd name="T86" fmla="*/ 12710776 w 53"/>
                <a:gd name="T87" fmla="*/ 64206790 h 68"/>
                <a:gd name="T88" fmla="*/ 9226932 w 53"/>
                <a:gd name="T89" fmla="*/ 65387923 h 68"/>
                <a:gd name="T90" fmla="*/ 5346599 w 53"/>
                <a:gd name="T91" fmla="*/ 64206790 h 68"/>
                <a:gd name="T92" fmla="*/ 7365024 w 53"/>
                <a:gd name="T93" fmla="*/ 55706676 h 68"/>
                <a:gd name="T94" fmla="*/ 6032472 w 53"/>
                <a:gd name="T95" fmla="*/ 49737026 h 68"/>
                <a:gd name="T96" fmla="*/ 3097986 w 53"/>
                <a:gd name="T97" fmla="*/ 45769381 h 68"/>
                <a:gd name="T98" fmla="*/ 2248967 w 53"/>
                <a:gd name="T99" fmla="*/ 47827264 h 68"/>
                <a:gd name="T100" fmla="*/ 945994 w 53"/>
                <a:gd name="T101" fmla="*/ 43996791 h 6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3"/>
                <a:gd name="T154" fmla="*/ 0 h 68"/>
                <a:gd name="T155" fmla="*/ 53 w 53"/>
                <a:gd name="T156" fmla="*/ 68 h 6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3" h="68">
                  <a:moveTo>
                    <a:pt x="1" y="45"/>
                  </a:moveTo>
                  <a:cubicBezTo>
                    <a:pt x="1" y="43"/>
                    <a:pt x="2" y="42"/>
                    <a:pt x="3" y="40"/>
                  </a:cubicBezTo>
                  <a:cubicBezTo>
                    <a:pt x="3" y="40"/>
                    <a:pt x="3" y="39"/>
                    <a:pt x="3" y="39"/>
                  </a:cubicBezTo>
                  <a:cubicBezTo>
                    <a:pt x="4" y="38"/>
                    <a:pt x="4" y="37"/>
                    <a:pt x="5" y="37"/>
                  </a:cubicBezTo>
                  <a:cubicBezTo>
                    <a:pt x="5" y="35"/>
                    <a:pt x="4" y="34"/>
                    <a:pt x="4" y="33"/>
                  </a:cubicBezTo>
                  <a:cubicBezTo>
                    <a:pt x="5" y="31"/>
                    <a:pt x="5" y="30"/>
                    <a:pt x="6" y="29"/>
                  </a:cubicBezTo>
                  <a:cubicBezTo>
                    <a:pt x="6" y="27"/>
                    <a:pt x="6" y="26"/>
                    <a:pt x="6" y="25"/>
                  </a:cubicBezTo>
                  <a:cubicBezTo>
                    <a:pt x="7" y="24"/>
                    <a:pt x="8" y="24"/>
                    <a:pt x="9" y="23"/>
                  </a:cubicBezTo>
                  <a:cubicBezTo>
                    <a:pt x="10" y="23"/>
                    <a:pt x="9" y="21"/>
                    <a:pt x="9" y="20"/>
                  </a:cubicBezTo>
                  <a:cubicBezTo>
                    <a:pt x="9" y="20"/>
                    <a:pt x="8" y="19"/>
                    <a:pt x="9" y="19"/>
                  </a:cubicBezTo>
                  <a:cubicBezTo>
                    <a:pt x="10" y="17"/>
                    <a:pt x="10" y="16"/>
                    <a:pt x="9" y="15"/>
                  </a:cubicBezTo>
                  <a:cubicBezTo>
                    <a:pt x="8" y="14"/>
                    <a:pt x="8" y="13"/>
                    <a:pt x="9" y="12"/>
                  </a:cubicBezTo>
                  <a:cubicBezTo>
                    <a:pt x="9" y="11"/>
                    <a:pt x="10" y="11"/>
                    <a:pt x="11" y="10"/>
                  </a:cubicBezTo>
                  <a:cubicBezTo>
                    <a:pt x="11" y="10"/>
                    <a:pt x="11" y="10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3" y="9"/>
                    <a:pt x="15" y="10"/>
                    <a:pt x="15" y="8"/>
                  </a:cubicBezTo>
                  <a:cubicBezTo>
                    <a:pt x="16" y="7"/>
                    <a:pt x="16" y="5"/>
                    <a:pt x="18" y="3"/>
                  </a:cubicBezTo>
                  <a:cubicBezTo>
                    <a:pt x="18" y="3"/>
                    <a:pt x="20" y="3"/>
                    <a:pt x="20" y="3"/>
                  </a:cubicBezTo>
                  <a:cubicBezTo>
                    <a:pt x="21" y="4"/>
                    <a:pt x="21" y="5"/>
                    <a:pt x="21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4" y="6"/>
                    <a:pt x="27" y="6"/>
                    <a:pt x="28" y="6"/>
                  </a:cubicBezTo>
                  <a:cubicBezTo>
                    <a:pt x="31" y="7"/>
                    <a:pt x="33" y="8"/>
                    <a:pt x="35" y="8"/>
                  </a:cubicBezTo>
                  <a:cubicBezTo>
                    <a:pt x="36" y="7"/>
                    <a:pt x="37" y="8"/>
                    <a:pt x="38" y="8"/>
                  </a:cubicBezTo>
                  <a:cubicBezTo>
                    <a:pt x="40" y="8"/>
                    <a:pt x="41" y="8"/>
                    <a:pt x="42" y="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4" y="6"/>
                    <a:pt x="45" y="5"/>
                    <a:pt x="46" y="5"/>
                  </a:cubicBezTo>
                  <a:cubicBezTo>
                    <a:pt x="49" y="4"/>
                    <a:pt x="49" y="0"/>
                    <a:pt x="52" y="0"/>
                  </a:cubicBezTo>
                  <a:cubicBezTo>
                    <a:pt x="53" y="1"/>
                    <a:pt x="53" y="2"/>
                    <a:pt x="53" y="3"/>
                  </a:cubicBezTo>
                  <a:cubicBezTo>
                    <a:pt x="51" y="4"/>
                    <a:pt x="51" y="6"/>
                    <a:pt x="49" y="8"/>
                  </a:cubicBezTo>
                  <a:cubicBezTo>
                    <a:pt x="47" y="9"/>
                    <a:pt x="47" y="11"/>
                    <a:pt x="45" y="13"/>
                  </a:cubicBezTo>
                  <a:cubicBezTo>
                    <a:pt x="42" y="14"/>
                    <a:pt x="40" y="14"/>
                    <a:pt x="37" y="13"/>
                  </a:cubicBezTo>
                  <a:cubicBezTo>
                    <a:pt x="36" y="13"/>
                    <a:pt x="35" y="12"/>
                    <a:pt x="34" y="12"/>
                  </a:cubicBezTo>
                  <a:cubicBezTo>
                    <a:pt x="33" y="11"/>
                    <a:pt x="31" y="11"/>
                    <a:pt x="30" y="12"/>
                  </a:cubicBezTo>
                  <a:cubicBezTo>
                    <a:pt x="29" y="13"/>
                    <a:pt x="27" y="13"/>
                    <a:pt x="26" y="12"/>
                  </a:cubicBezTo>
                  <a:cubicBezTo>
                    <a:pt x="25" y="12"/>
                    <a:pt x="23" y="12"/>
                    <a:pt x="22" y="12"/>
                  </a:cubicBezTo>
                  <a:cubicBezTo>
                    <a:pt x="22" y="12"/>
                    <a:pt x="21" y="12"/>
                    <a:pt x="22" y="12"/>
                  </a:cubicBezTo>
                  <a:cubicBezTo>
                    <a:pt x="21" y="13"/>
                    <a:pt x="20" y="13"/>
                    <a:pt x="19" y="13"/>
                  </a:cubicBezTo>
                  <a:cubicBezTo>
                    <a:pt x="19" y="14"/>
                    <a:pt x="18" y="14"/>
                    <a:pt x="17" y="14"/>
                  </a:cubicBezTo>
                  <a:cubicBezTo>
                    <a:pt x="16" y="13"/>
                    <a:pt x="16" y="12"/>
                    <a:pt x="15" y="12"/>
                  </a:cubicBezTo>
                  <a:cubicBezTo>
                    <a:pt x="15" y="11"/>
                    <a:pt x="13" y="12"/>
                    <a:pt x="13" y="13"/>
                  </a:cubicBezTo>
                  <a:cubicBezTo>
                    <a:pt x="11" y="15"/>
                    <a:pt x="12" y="18"/>
                    <a:pt x="12" y="21"/>
                  </a:cubicBezTo>
                  <a:cubicBezTo>
                    <a:pt x="12" y="21"/>
                    <a:pt x="12" y="21"/>
                    <a:pt x="12" y="22"/>
                  </a:cubicBezTo>
                  <a:cubicBezTo>
                    <a:pt x="13" y="23"/>
                    <a:pt x="14" y="24"/>
                    <a:pt x="15" y="26"/>
                  </a:cubicBezTo>
                  <a:cubicBezTo>
                    <a:pt x="16" y="26"/>
                    <a:pt x="15" y="27"/>
                    <a:pt x="15" y="28"/>
                  </a:cubicBezTo>
                  <a:cubicBezTo>
                    <a:pt x="16" y="29"/>
                    <a:pt x="18" y="30"/>
                    <a:pt x="19" y="30"/>
                  </a:cubicBezTo>
                  <a:cubicBezTo>
                    <a:pt x="19" y="28"/>
                    <a:pt x="19" y="27"/>
                    <a:pt x="21" y="26"/>
                  </a:cubicBezTo>
                  <a:cubicBezTo>
                    <a:pt x="21" y="25"/>
                    <a:pt x="22" y="25"/>
                    <a:pt x="23" y="24"/>
                  </a:cubicBezTo>
                  <a:cubicBezTo>
                    <a:pt x="24" y="24"/>
                    <a:pt x="25" y="24"/>
                    <a:pt x="26" y="24"/>
                  </a:cubicBezTo>
                  <a:cubicBezTo>
                    <a:pt x="27" y="25"/>
                    <a:pt x="28" y="25"/>
                    <a:pt x="30" y="24"/>
                  </a:cubicBezTo>
                  <a:cubicBezTo>
                    <a:pt x="29" y="24"/>
                    <a:pt x="30" y="24"/>
                    <a:pt x="30" y="24"/>
                  </a:cubicBezTo>
                  <a:cubicBezTo>
                    <a:pt x="30" y="24"/>
                    <a:pt x="31" y="24"/>
                    <a:pt x="31" y="23"/>
                  </a:cubicBezTo>
                  <a:cubicBezTo>
                    <a:pt x="33" y="22"/>
                    <a:pt x="34" y="21"/>
                    <a:pt x="36" y="21"/>
                  </a:cubicBezTo>
                  <a:cubicBezTo>
                    <a:pt x="36" y="22"/>
                    <a:pt x="37" y="22"/>
                    <a:pt x="37" y="23"/>
                  </a:cubicBezTo>
                  <a:cubicBezTo>
                    <a:pt x="37" y="24"/>
                    <a:pt x="37" y="25"/>
                    <a:pt x="37" y="25"/>
                  </a:cubicBezTo>
                  <a:cubicBezTo>
                    <a:pt x="36" y="26"/>
                    <a:pt x="35" y="25"/>
                    <a:pt x="33" y="25"/>
                  </a:cubicBezTo>
                  <a:cubicBezTo>
                    <a:pt x="32" y="27"/>
                    <a:pt x="30" y="29"/>
                    <a:pt x="28" y="30"/>
                  </a:cubicBezTo>
                  <a:cubicBezTo>
                    <a:pt x="28" y="31"/>
                    <a:pt x="27" y="31"/>
                    <a:pt x="27" y="31"/>
                  </a:cubicBezTo>
                  <a:cubicBezTo>
                    <a:pt x="26" y="32"/>
                    <a:pt x="26" y="33"/>
                    <a:pt x="25" y="34"/>
                  </a:cubicBezTo>
                  <a:cubicBezTo>
                    <a:pt x="24" y="34"/>
                    <a:pt x="23" y="34"/>
                    <a:pt x="22" y="34"/>
                  </a:cubicBezTo>
                  <a:cubicBezTo>
                    <a:pt x="22" y="34"/>
                    <a:pt x="22" y="35"/>
                    <a:pt x="22" y="35"/>
                  </a:cubicBezTo>
                  <a:cubicBezTo>
                    <a:pt x="24" y="36"/>
                    <a:pt x="24" y="38"/>
                    <a:pt x="26" y="39"/>
                  </a:cubicBezTo>
                  <a:cubicBezTo>
                    <a:pt x="27" y="41"/>
                    <a:pt x="28" y="42"/>
                    <a:pt x="28" y="43"/>
                  </a:cubicBezTo>
                  <a:cubicBezTo>
                    <a:pt x="29" y="44"/>
                    <a:pt x="30" y="46"/>
                    <a:pt x="29" y="4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8" y="49"/>
                    <a:pt x="28" y="50"/>
                    <a:pt x="29" y="51"/>
                  </a:cubicBezTo>
                  <a:cubicBezTo>
                    <a:pt x="29" y="51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4"/>
                    <a:pt x="33" y="55"/>
                    <a:pt x="32" y="56"/>
                  </a:cubicBezTo>
                  <a:cubicBezTo>
                    <a:pt x="30" y="56"/>
                    <a:pt x="29" y="56"/>
                    <a:pt x="27" y="56"/>
                  </a:cubicBezTo>
                  <a:cubicBezTo>
                    <a:pt x="27" y="55"/>
                    <a:pt x="26" y="55"/>
                    <a:pt x="25" y="56"/>
                  </a:cubicBezTo>
                  <a:cubicBezTo>
                    <a:pt x="25" y="57"/>
                    <a:pt x="26" y="58"/>
                    <a:pt x="25" y="59"/>
                  </a:cubicBezTo>
                  <a:cubicBezTo>
                    <a:pt x="25" y="60"/>
                    <a:pt x="23" y="60"/>
                    <a:pt x="22" y="60"/>
                  </a:cubicBezTo>
                  <a:cubicBezTo>
                    <a:pt x="22" y="57"/>
                    <a:pt x="23" y="55"/>
                    <a:pt x="22" y="53"/>
                  </a:cubicBezTo>
                  <a:cubicBezTo>
                    <a:pt x="21" y="52"/>
                    <a:pt x="20" y="51"/>
                    <a:pt x="19" y="50"/>
                  </a:cubicBezTo>
                  <a:cubicBezTo>
                    <a:pt x="18" y="50"/>
                    <a:pt x="16" y="48"/>
                    <a:pt x="17" y="47"/>
                  </a:cubicBezTo>
                  <a:cubicBezTo>
                    <a:pt x="17" y="47"/>
                    <a:pt x="19" y="47"/>
                    <a:pt x="19" y="46"/>
                  </a:cubicBezTo>
                  <a:cubicBezTo>
                    <a:pt x="19" y="45"/>
                    <a:pt x="19" y="44"/>
                    <a:pt x="19" y="44"/>
                  </a:cubicBezTo>
                  <a:cubicBezTo>
                    <a:pt x="18" y="43"/>
                    <a:pt x="18" y="41"/>
                    <a:pt x="17" y="40"/>
                  </a:cubicBezTo>
                  <a:cubicBezTo>
                    <a:pt x="17" y="40"/>
                    <a:pt x="16" y="40"/>
                    <a:pt x="16" y="40"/>
                  </a:cubicBezTo>
                  <a:cubicBezTo>
                    <a:pt x="15" y="40"/>
                    <a:pt x="15" y="41"/>
                    <a:pt x="14" y="41"/>
                  </a:cubicBezTo>
                  <a:cubicBezTo>
                    <a:pt x="13" y="41"/>
                    <a:pt x="12" y="41"/>
                    <a:pt x="12" y="42"/>
                  </a:cubicBezTo>
                  <a:cubicBezTo>
                    <a:pt x="11" y="43"/>
                    <a:pt x="11" y="43"/>
                    <a:pt x="11" y="44"/>
                  </a:cubicBezTo>
                  <a:cubicBezTo>
                    <a:pt x="12" y="45"/>
                    <a:pt x="13" y="46"/>
                    <a:pt x="14" y="47"/>
                  </a:cubicBezTo>
                  <a:cubicBezTo>
                    <a:pt x="14" y="48"/>
                    <a:pt x="14" y="49"/>
                    <a:pt x="14" y="50"/>
                  </a:cubicBezTo>
                  <a:cubicBezTo>
                    <a:pt x="13" y="51"/>
                    <a:pt x="12" y="52"/>
                    <a:pt x="13" y="53"/>
                  </a:cubicBezTo>
                  <a:cubicBezTo>
                    <a:pt x="14" y="54"/>
                    <a:pt x="13" y="55"/>
                    <a:pt x="13" y="56"/>
                  </a:cubicBezTo>
                  <a:cubicBezTo>
                    <a:pt x="13" y="56"/>
                    <a:pt x="13" y="56"/>
                    <a:pt x="13" y="57"/>
                  </a:cubicBezTo>
                  <a:cubicBezTo>
                    <a:pt x="13" y="60"/>
                    <a:pt x="13" y="63"/>
                    <a:pt x="12" y="66"/>
                  </a:cubicBezTo>
                  <a:cubicBezTo>
                    <a:pt x="12" y="66"/>
                    <a:pt x="12" y="67"/>
                    <a:pt x="11" y="67"/>
                  </a:cubicBezTo>
                  <a:cubicBezTo>
                    <a:pt x="11" y="67"/>
                    <a:pt x="10" y="67"/>
                    <a:pt x="9" y="67"/>
                  </a:cubicBezTo>
                  <a:cubicBezTo>
                    <a:pt x="8" y="68"/>
                    <a:pt x="7" y="68"/>
                    <a:pt x="6" y="67"/>
                  </a:cubicBezTo>
                  <a:cubicBezTo>
                    <a:pt x="6" y="67"/>
                    <a:pt x="5" y="66"/>
                    <a:pt x="5" y="66"/>
                  </a:cubicBezTo>
                  <a:cubicBezTo>
                    <a:pt x="4" y="64"/>
                    <a:pt x="4" y="62"/>
                    <a:pt x="5" y="60"/>
                  </a:cubicBezTo>
                  <a:cubicBezTo>
                    <a:pt x="5" y="59"/>
                    <a:pt x="7" y="58"/>
                    <a:pt x="7" y="57"/>
                  </a:cubicBezTo>
                  <a:cubicBezTo>
                    <a:pt x="7" y="56"/>
                    <a:pt x="8" y="54"/>
                    <a:pt x="7" y="53"/>
                  </a:cubicBezTo>
                  <a:cubicBezTo>
                    <a:pt x="7" y="52"/>
                    <a:pt x="6" y="52"/>
                    <a:pt x="6" y="51"/>
                  </a:cubicBezTo>
                  <a:cubicBezTo>
                    <a:pt x="6" y="50"/>
                    <a:pt x="6" y="49"/>
                    <a:pt x="6" y="48"/>
                  </a:cubicBezTo>
                  <a:cubicBezTo>
                    <a:pt x="5" y="47"/>
                    <a:pt x="4" y="47"/>
                    <a:pt x="3" y="47"/>
                  </a:cubicBezTo>
                  <a:cubicBezTo>
                    <a:pt x="3" y="48"/>
                    <a:pt x="3" y="48"/>
                    <a:pt x="2" y="49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0" y="47"/>
                    <a:pt x="1" y="46"/>
                    <a:pt x="1" y="4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5" name="Freeform 329"/>
            <p:cNvSpPr>
              <a:spLocks/>
            </p:cNvSpPr>
            <p:nvPr/>
          </p:nvSpPr>
          <p:spPr bwMode="auto">
            <a:xfrm>
              <a:off x="7402070" y="3596557"/>
              <a:ext cx="2007" cy="4867"/>
            </a:xfrm>
            <a:custGeom>
              <a:avLst/>
              <a:gdLst>
                <a:gd name="T0" fmla="*/ 940581 w 5"/>
                <a:gd name="T1" fmla="*/ 7196548 h 10"/>
                <a:gd name="T2" fmla="*/ 940581 w 5"/>
                <a:gd name="T3" fmla="*/ 3577445 h 10"/>
                <a:gd name="T4" fmla="*/ 1245675 w 5"/>
                <a:gd name="T5" fmla="*/ 1064436 h 10"/>
                <a:gd name="T6" fmla="*/ 566216 w 5"/>
                <a:gd name="T7" fmla="*/ 1064436 h 10"/>
                <a:gd name="T8" fmla="*/ 257371 w 5"/>
                <a:gd name="T9" fmla="*/ 5085394 h 10"/>
                <a:gd name="T10" fmla="*/ 0 w 5"/>
                <a:gd name="T11" fmla="*/ 12204941 h 10"/>
                <a:gd name="T12" fmla="*/ 257371 w 5"/>
                <a:gd name="T13" fmla="*/ 12204941 h 10"/>
                <a:gd name="T14" fmla="*/ 940581 w 5"/>
                <a:gd name="T15" fmla="*/ 11140513 h 10"/>
                <a:gd name="T16" fmla="*/ 940581 w 5"/>
                <a:gd name="T17" fmla="*/ 7196548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10"/>
                <a:gd name="T29" fmla="*/ 5 w 5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10">
                  <a:moveTo>
                    <a:pt x="3" y="6"/>
                  </a:moveTo>
                  <a:cubicBezTo>
                    <a:pt x="3" y="5"/>
                    <a:pt x="3" y="4"/>
                    <a:pt x="3" y="3"/>
                  </a:cubicBezTo>
                  <a:cubicBezTo>
                    <a:pt x="4" y="2"/>
                    <a:pt x="5" y="1"/>
                    <a:pt x="4" y="1"/>
                  </a:cubicBezTo>
                  <a:cubicBezTo>
                    <a:pt x="4" y="0"/>
                    <a:pt x="2" y="0"/>
                    <a:pt x="2" y="1"/>
                  </a:cubicBezTo>
                  <a:cubicBezTo>
                    <a:pt x="1" y="1"/>
                    <a:pt x="1" y="3"/>
                    <a:pt x="1" y="4"/>
                  </a:cubicBezTo>
                  <a:cubicBezTo>
                    <a:pt x="0" y="6"/>
                    <a:pt x="0" y="8"/>
                    <a:pt x="0" y="10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1" y="9"/>
                    <a:pt x="2" y="9"/>
                    <a:pt x="3" y="9"/>
                  </a:cubicBezTo>
                  <a:cubicBezTo>
                    <a:pt x="4" y="8"/>
                    <a:pt x="4" y="7"/>
                    <a:pt x="3" y="6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6" name="Freeform 330"/>
            <p:cNvSpPr>
              <a:spLocks/>
            </p:cNvSpPr>
            <p:nvPr/>
          </p:nvSpPr>
          <p:spPr bwMode="auto">
            <a:xfrm>
              <a:off x="7399812" y="3597369"/>
              <a:ext cx="1505" cy="2704"/>
            </a:xfrm>
            <a:custGeom>
              <a:avLst/>
              <a:gdLst>
                <a:gd name="T0" fmla="*/ 727531 w 3"/>
                <a:gd name="T1" fmla="*/ 727531 h 6"/>
                <a:gd name="T2" fmla="*/ 727531 w 3"/>
                <a:gd name="T3" fmla="*/ 727531 h 6"/>
                <a:gd name="T4" fmla="*/ 727531 w 3"/>
                <a:gd name="T5" fmla="*/ 2243220 h 6"/>
                <a:gd name="T6" fmla="*/ 1697572 w 3"/>
                <a:gd name="T7" fmla="*/ 4688532 h 6"/>
                <a:gd name="T8" fmla="*/ 1697572 w 3"/>
                <a:gd name="T9" fmla="*/ 4688532 h 6"/>
                <a:gd name="T10" fmla="*/ 2243220 w 3"/>
                <a:gd name="T11" fmla="*/ 727531 h 6"/>
                <a:gd name="T12" fmla="*/ 727531 w 3"/>
                <a:gd name="T13" fmla="*/ 727531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6"/>
                <a:gd name="T23" fmla="*/ 3 w 3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6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1" y="4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4"/>
                    <a:pt x="3" y="3"/>
                    <a:pt x="3" y="1"/>
                  </a:cubicBezTo>
                  <a:cubicBezTo>
                    <a:pt x="3" y="1"/>
                    <a:pt x="2" y="0"/>
                    <a:pt x="1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7" name="Freeform 331"/>
            <p:cNvSpPr>
              <a:spLocks/>
            </p:cNvSpPr>
            <p:nvPr/>
          </p:nvSpPr>
          <p:spPr bwMode="auto">
            <a:xfrm>
              <a:off x="7433173" y="3608184"/>
              <a:ext cx="1756" cy="3245"/>
            </a:xfrm>
            <a:custGeom>
              <a:avLst/>
              <a:gdLst>
                <a:gd name="T0" fmla="*/ 941139 w 4"/>
                <a:gd name="T1" fmla="*/ 3397424 h 7"/>
                <a:gd name="T2" fmla="*/ 941139 w 4"/>
                <a:gd name="T3" fmla="*/ 3397424 h 7"/>
                <a:gd name="T4" fmla="*/ 1359459 w 4"/>
                <a:gd name="T5" fmla="*/ 505778 h 7"/>
                <a:gd name="T6" fmla="*/ 941139 w 4"/>
                <a:gd name="T7" fmla="*/ 505778 h 7"/>
                <a:gd name="T8" fmla="*/ 418284 w 4"/>
                <a:gd name="T9" fmla="*/ 2234466 h 7"/>
                <a:gd name="T10" fmla="*/ 0 w 4"/>
                <a:gd name="T11" fmla="*/ 2642432 h 7"/>
                <a:gd name="T12" fmla="*/ 0 w 4"/>
                <a:gd name="T13" fmla="*/ 3942014 h 7"/>
                <a:gd name="T14" fmla="*/ 1359459 w 4"/>
                <a:gd name="T15" fmla="*/ 3397424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7"/>
                <a:gd name="T26" fmla="*/ 4 w 4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7">
                  <a:moveTo>
                    <a:pt x="2" y="6"/>
                  </a:move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3" y="3"/>
                    <a:pt x="3" y="1"/>
                  </a:cubicBezTo>
                  <a:cubicBezTo>
                    <a:pt x="3" y="1"/>
                    <a:pt x="2" y="0"/>
                    <a:pt x="2" y="1"/>
                  </a:cubicBezTo>
                  <a:cubicBezTo>
                    <a:pt x="1" y="2"/>
                    <a:pt x="2" y="3"/>
                    <a:pt x="1" y="4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1" y="7"/>
                    <a:pt x="2" y="7"/>
                    <a:pt x="3" y="6"/>
                  </a:cubicBezTo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8" name="Freeform 332"/>
            <p:cNvSpPr>
              <a:spLocks/>
            </p:cNvSpPr>
            <p:nvPr/>
          </p:nvSpPr>
          <p:spPr bwMode="auto">
            <a:xfrm>
              <a:off x="7443707" y="3603587"/>
              <a:ext cx="1505" cy="3245"/>
            </a:xfrm>
            <a:custGeom>
              <a:avLst/>
              <a:gdLst>
                <a:gd name="T0" fmla="*/ 2243220 w 3"/>
                <a:gd name="T1" fmla="*/ 9251750 h 6"/>
                <a:gd name="T2" fmla="*/ 1697572 w 3"/>
                <a:gd name="T3" fmla="*/ 2975593 h 6"/>
                <a:gd name="T4" fmla="*/ 0 w 3"/>
                <a:gd name="T5" fmla="*/ 2975593 h 6"/>
                <a:gd name="T6" fmla="*/ 0 w 3"/>
                <a:gd name="T7" fmla="*/ 11920201 h 6"/>
                <a:gd name="T8" fmla="*/ 1697572 w 3"/>
                <a:gd name="T9" fmla="*/ 13878121 h 6"/>
                <a:gd name="T10" fmla="*/ 1697572 w 3"/>
                <a:gd name="T11" fmla="*/ 11920201 h 6"/>
                <a:gd name="T12" fmla="*/ 2243220 w 3"/>
                <a:gd name="T13" fmla="*/ 925175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6"/>
                <a:gd name="T23" fmla="*/ 3 w 3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6">
                  <a:moveTo>
                    <a:pt x="3" y="4"/>
                  </a:moveTo>
                  <a:cubicBezTo>
                    <a:pt x="3" y="3"/>
                    <a:pt x="3" y="2"/>
                    <a:pt x="2" y="1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4"/>
                    <a:pt x="0" y="5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2" y="6"/>
                    <a:pt x="3" y="5"/>
                    <a:pt x="2" y="5"/>
                  </a:cubicBezTo>
                  <a:cubicBezTo>
                    <a:pt x="3" y="5"/>
                    <a:pt x="2" y="4"/>
                    <a:pt x="3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9" name="Freeform 333"/>
            <p:cNvSpPr>
              <a:spLocks/>
            </p:cNvSpPr>
            <p:nvPr/>
          </p:nvSpPr>
          <p:spPr bwMode="auto">
            <a:xfrm>
              <a:off x="7445212" y="3600613"/>
              <a:ext cx="1254" cy="4597"/>
            </a:xfrm>
            <a:custGeom>
              <a:avLst/>
              <a:gdLst>
                <a:gd name="T0" fmla="*/ 0 w 3"/>
                <a:gd name="T1" fmla="*/ 6550065 h 9"/>
                <a:gd name="T2" fmla="*/ 727531 w 3"/>
                <a:gd name="T3" fmla="*/ 13330806 h 9"/>
                <a:gd name="T4" fmla="*/ 2243220 w 3"/>
                <a:gd name="T5" fmla="*/ 13330806 h 9"/>
                <a:gd name="T6" fmla="*/ 2243220 w 3"/>
                <a:gd name="T7" fmla="*/ 7915496 h 9"/>
                <a:gd name="T8" fmla="*/ 727531 w 3"/>
                <a:gd name="T9" fmla="*/ 0 h 9"/>
                <a:gd name="T10" fmla="*/ 0 w 3"/>
                <a:gd name="T11" fmla="*/ 0 h 9"/>
                <a:gd name="T12" fmla="*/ 0 w 3"/>
                <a:gd name="T13" fmla="*/ 6550065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9"/>
                <a:gd name="T23" fmla="*/ 3 w 3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9">
                  <a:moveTo>
                    <a:pt x="0" y="4"/>
                  </a:moveTo>
                  <a:cubicBezTo>
                    <a:pt x="0" y="6"/>
                    <a:pt x="0" y="7"/>
                    <a:pt x="1" y="8"/>
                  </a:cubicBezTo>
                  <a:cubicBezTo>
                    <a:pt x="1" y="9"/>
                    <a:pt x="3" y="9"/>
                    <a:pt x="3" y="8"/>
                  </a:cubicBezTo>
                  <a:cubicBezTo>
                    <a:pt x="3" y="7"/>
                    <a:pt x="3" y="6"/>
                    <a:pt x="3" y="5"/>
                  </a:cubicBezTo>
                  <a:cubicBezTo>
                    <a:pt x="2" y="4"/>
                    <a:pt x="2" y="2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2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0" name="Freeform 334"/>
            <p:cNvSpPr>
              <a:spLocks/>
            </p:cNvSpPr>
            <p:nvPr/>
          </p:nvSpPr>
          <p:spPr bwMode="auto">
            <a:xfrm>
              <a:off x="7421383" y="3588716"/>
              <a:ext cx="10535" cy="3785"/>
            </a:xfrm>
            <a:custGeom>
              <a:avLst/>
              <a:gdLst>
                <a:gd name="T0" fmla="*/ 18819602 w 22"/>
                <a:gd name="T1" fmla="*/ 3065115 h 8"/>
                <a:gd name="T2" fmla="*/ 17330086 w 22"/>
                <a:gd name="T3" fmla="*/ 2129866 h 8"/>
                <a:gd name="T4" fmla="*/ 13226484 w 22"/>
                <a:gd name="T5" fmla="*/ 896786 h 8"/>
                <a:gd name="T6" fmla="*/ 13226484 w 22"/>
                <a:gd name="T7" fmla="*/ 0 h 8"/>
                <a:gd name="T8" fmla="*/ 11216146 w 22"/>
                <a:gd name="T9" fmla="*/ 0 h 8"/>
                <a:gd name="T10" fmla="*/ 5595820 w 22"/>
                <a:gd name="T11" fmla="*/ 0 h 8"/>
                <a:gd name="T12" fmla="*/ 2894074 w 22"/>
                <a:gd name="T13" fmla="*/ 0 h 8"/>
                <a:gd name="T14" fmla="*/ 0 w 22"/>
                <a:gd name="T15" fmla="*/ 4351847 h 8"/>
                <a:gd name="T16" fmla="*/ 6840539 w 22"/>
                <a:gd name="T17" fmla="*/ 5058432 h 8"/>
                <a:gd name="T18" fmla="*/ 8480159 w 22"/>
                <a:gd name="T19" fmla="*/ 5058432 h 8"/>
                <a:gd name="T20" fmla="*/ 17330086 w 22"/>
                <a:gd name="T21" fmla="*/ 5955246 h 8"/>
                <a:gd name="T22" fmla="*/ 20043998 w 22"/>
                <a:gd name="T23" fmla="*/ 8176458 h 8"/>
                <a:gd name="T24" fmla="*/ 20043998 w 22"/>
                <a:gd name="T25" fmla="*/ 5058432 h 8"/>
                <a:gd name="T26" fmla="*/ 18819602 w 22"/>
                <a:gd name="T27" fmla="*/ 3065115 h 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2"/>
                <a:gd name="T43" fmla="*/ 0 h 8"/>
                <a:gd name="T44" fmla="*/ 22 w 22"/>
                <a:gd name="T45" fmla="*/ 8 h 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2" h="8">
                  <a:moveTo>
                    <a:pt x="20" y="3"/>
                  </a:moveTo>
                  <a:cubicBezTo>
                    <a:pt x="19" y="3"/>
                    <a:pt x="19" y="2"/>
                    <a:pt x="18" y="2"/>
                  </a:cubicBezTo>
                  <a:cubicBezTo>
                    <a:pt x="17" y="1"/>
                    <a:pt x="15" y="2"/>
                    <a:pt x="14" y="1"/>
                  </a:cubicBezTo>
                  <a:cubicBezTo>
                    <a:pt x="14" y="1"/>
                    <a:pt x="14" y="0"/>
                    <a:pt x="14" y="0"/>
                  </a:cubicBezTo>
                  <a:cubicBezTo>
                    <a:pt x="13" y="0"/>
                    <a:pt x="12" y="0"/>
                    <a:pt x="12" y="0"/>
                  </a:cubicBezTo>
                  <a:cubicBezTo>
                    <a:pt x="10" y="1"/>
                    <a:pt x="7" y="2"/>
                    <a:pt x="6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2" y="6"/>
                    <a:pt x="5" y="6"/>
                    <a:pt x="7" y="5"/>
                  </a:cubicBezTo>
                  <a:cubicBezTo>
                    <a:pt x="7" y="4"/>
                    <a:pt x="8" y="4"/>
                    <a:pt x="9" y="5"/>
                  </a:cubicBezTo>
                  <a:cubicBezTo>
                    <a:pt x="12" y="6"/>
                    <a:pt x="15" y="5"/>
                    <a:pt x="18" y="6"/>
                  </a:cubicBezTo>
                  <a:cubicBezTo>
                    <a:pt x="19" y="6"/>
                    <a:pt x="20" y="8"/>
                    <a:pt x="21" y="8"/>
                  </a:cubicBezTo>
                  <a:cubicBezTo>
                    <a:pt x="22" y="7"/>
                    <a:pt x="22" y="6"/>
                    <a:pt x="21" y="5"/>
                  </a:cubicBezTo>
                  <a:cubicBezTo>
                    <a:pt x="21" y="5"/>
                    <a:pt x="20" y="4"/>
                    <a:pt x="20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1" name="Freeform 335"/>
            <p:cNvSpPr>
              <a:spLocks/>
            </p:cNvSpPr>
            <p:nvPr/>
          </p:nvSpPr>
          <p:spPr bwMode="auto">
            <a:xfrm>
              <a:off x="7427905" y="3583850"/>
              <a:ext cx="3010" cy="1622"/>
            </a:xfrm>
            <a:custGeom>
              <a:avLst/>
              <a:gdLst>
                <a:gd name="T0" fmla="*/ 2243220 w 6"/>
                <a:gd name="T1" fmla="*/ 727531 h 3"/>
                <a:gd name="T2" fmla="*/ 727531 w 6"/>
                <a:gd name="T3" fmla="*/ 1697572 h 3"/>
                <a:gd name="T4" fmla="*/ 2243220 w 6"/>
                <a:gd name="T5" fmla="*/ 2243220 h 3"/>
                <a:gd name="T6" fmla="*/ 4688532 w 6"/>
                <a:gd name="T7" fmla="*/ 2243220 h 3"/>
                <a:gd name="T8" fmla="*/ 4688532 w 6"/>
                <a:gd name="T9" fmla="*/ 727531 h 3"/>
                <a:gd name="T10" fmla="*/ 2243220 w 6"/>
                <a:gd name="T11" fmla="*/ 727531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2" y="2"/>
                    <a:pt x="3" y="3"/>
                  </a:cubicBezTo>
                  <a:cubicBezTo>
                    <a:pt x="4" y="3"/>
                    <a:pt x="5" y="3"/>
                    <a:pt x="6" y="3"/>
                  </a:cubicBezTo>
                  <a:cubicBezTo>
                    <a:pt x="6" y="3"/>
                    <a:pt x="6" y="1"/>
                    <a:pt x="6" y="1"/>
                  </a:cubicBezTo>
                  <a:cubicBezTo>
                    <a:pt x="5" y="1"/>
                    <a:pt x="4" y="1"/>
                    <a:pt x="3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2" name="Freeform 336"/>
            <p:cNvSpPr>
              <a:spLocks/>
            </p:cNvSpPr>
            <p:nvPr/>
          </p:nvSpPr>
          <p:spPr bwMode="auto">
            <a:xfrm>
              <a:off x="7419628" y="3582498"/>
              <a:ext cx="2508" cy="1893"/>
            </a:xfrm>
            <a:custGeom>
              <a:avLst/>
              <a:gdLst>
                <a:gd name="T0" fmla="*/ 2970751 w 6"/>
                <a:gd name="T1" fmla="*/ 941139 h 4"/>
                <a:gd name="T2" fmla="*/ 1697572 w 6"/>
                <a:gd name="T3" fmla="*/ 418284 h 4"/>
                <a:gd name="T4" fmla="*/ 727531 w 6"/>
                <a:gd name="T5" fmla="*/ 1359459 h 4"/>
                <a:gd name="T6" fmla="*/ 3961001 w 6"/>
                <a:gd name="T7" fmla="*/ 1359459 h 4"/>
                <a:gd name="T8" fmla="*/ 2970751 w 6"/>
                <a:gd name="T9" fmla="*/ 94113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4"/>
                <a:gd name="T17" fmla="*/ 6 w 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4">
                  <a:moveTo>
                    <a:pt x="4" y="2"/>
                  </a:moveTo>
                  <a:cubicBezTo>
                    <a:pt x="3" y="1"/>
                    <a:pt x="3" y="0"/>
                    <a:pt x="2" y="1"/>
                  </a:cubicBezTo>
                  <a:cubicBezTo>
                    <a:pt x="1" y="1"/>
                    <a:pt x="0" y="3"/>
                    <a:pt x="1" y="3"/>
                  </a:cubicBezTo>
                  <a:cubicBezTo>
                    <a:pt x="2" y="4"/>
                    <a:pt x="4" y="3"/>
                    <a:pt x="5" y="3"/>
                  </a:cubicBezTo>
                  <a:cubicBezTo>
                    <a:pt x="5" y="3"/>
                    <a:pt x="6" y="2"/>
                    <a:pt x="4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3" name="Freeform 337"/>
            <p:cNvSpPr>
              <a:spLocks/>
            </p:cNvSpPr>
            <p:nvPr/>
          </p:nvSpPr>
          <p:spPr bwMode="auto">
            <a:xfrm>
              <a:off x="7430915" y="3576009"/>
              <a:ext cx="4013" cy="2704"/>
            </a:xfrm>
            <a:custGeom>
              <a:avLst/>
              <a:gdLst>
                <a:gd name="T0" fmla="*/ 4688532 w 9"/>
                <a:gd name="T1" fmla="*/ 1064436 h 5"/>
                <a:gd name="T2" fmla="*/ 1697572 w 9"/>
                <a:gd name="T3" fmla="*/ 1064436 h 5"/>
                <a:gd name="T4" fmla="*/ 0 w 9"/>
                <a:gd name="T5" fmla="*/ 1064436 h 5"/>
                <a:gd name="T6" fmla="*/ 0 w 9"/>
                <a:gd name="T7" fmla="*/ 5085394 h 5"/>
                <a:gd name="T8" fmla="*/ 727531 w 9"/>
                <a:gd name="T9" fmla="*/ 5085394 h 5"/>
                <a:gd name="T10" fmla="*/ 1697572 w 9"/>
                <a:gd name="T11" fmla="*/ 6131150 h 5"/>
                <a:gd name="T12" fmla="*/ 2243220 w 9"/>
                <a:gd name="T13" fmla="*/ 6131150 h 5"/>
                <a:gd name="T14" fmla="*/ 6253179 w 9"/>
                <a:gd name="T15" fmla="*/ 5085394 h 5"/>
                <a:gd name="T16" fmla="*/ 6253179 w 9"/>
                <a:gd name="T17" fmla="*/ 2554647 h 5"/>
                <a:gd name="T18" fmla="*/ 4688532 w 9"/>
                <a:gd name="T19" fmla="*/ 1064436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5"/>
                <a:gd name="T32" fmla="*/ 9 w 9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5">
                  <a:moveTo>
                    <a:pt x="6" y="1"/>
                  </a:moveTo>
                  <a:cubicBezTo>
                    <a:pt x="5" y="1"/>
                    <a:pt x="3" y="1"/>
                    <a:pt x="2" y="1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4"/>
                    <a:pt x="1" y="3"/>
                    <a:pt x="1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3" y="5"/>
                    <a:pt x="3" y="5"/>
                  </a:cubicBezTo>
                  <a:cubicBezTo>
                    <a:pt x="4" y="3"/>
                    <a:pt x="7" y="5"/>
                    <a:pt x="8" y="4"/>
                  </a:cubicBezTo>
                  <a:cubicBezTo>
                    <a:pt x="9" y="4"/>
                    <a:pt x="8" y="2"/>
                    <a:pt x="8" y="2"/>
                  </a:cubicBezTo>
                  <a:cubicBezTo>
                    <a:pt x="8" y="1"/>
                    <a:pt x="7" y="1"/>
                    <a:pt x="6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4" name="Freeform 338"/>
            <p:cNvSpPr>
              <a:spLocks/>
            </p:cNvSpPr>
            <p:nvPr/>
          </p:nvSpPr>
          <p:spPr bwMode="auto">
            <a:xfrm>
              <a:off x="7449476" y="3579253"/>
              <a:ext cx="3261" cy="2704"/>
            </a:xfrm>
            <a:custGeom>
              <a:avLst/>
              <a:gdLst>
                <a:gd name="T0" fmla="*/ 3397424 w 7"/>
                <a:gd name="T1" fmla="*/ 2554647 h 5"/>
                <a:gd name="T2" fmla="*/ 2642432 w 7"/>
                <a:gd name="T3" fmla="*/ 2554647 h 5"/>
                <a:gd name="T4" fmla="*/ 505778 w 7"/>
                <a:gd name="T5" fmla="*/ 0 h 5"/>
                <a:gd name="T6" fmla="*/ 505778 w 7"/>
                <a:gd name="T7" fmla="*/ 1064436 h 5"/>
                <a:gd name="T8" fmla="*/ 1724631 w 7"/>
                <a:gd name="T9" fmla="*/ 5085394 h 5"/>
                <a:gd name="T10" fmla="*/ 3942014 w 7"/>
                <a:gd name="T11" fmla="*/ 6131150 h 5"/>
                <a:gd name="T12" fmla="*/ 3942014 w 7"/>
                <a:gd name="T13" fmla="*/ 3577445 h 5"/>
                <a:gd name="T14" fmla="*/ 3397424 w 7"/>
                <a:gd name="T15" fmla="*/ 2554647 h 5"/>
                <a:gd name="T16" fmla="*/ 3397424 w 7"/>
                <a:gd name="T17" fmla="*/ 2554647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5"/>
                <a:gd name="T29" fmla="*/ 7 w 7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5">
                  <a:moveTo>
                    <a:pt x="6" y="2"/>
                  </a:moveTo>
                  <a:cubicBezTo>
                    <a:pt x="6" y="2"/>
                    <a:pt x="5" y="2"/>
                    <a:pt x="5" y="2"/>
                  </a:cubicBezTo>
                  <a:cubicBezTo>
                    <a:pt x="4" y="1"/>
                    <a:pt x="2" y="0"/>
                    <a:pt x="1" y="0"/>
                  </a:cubicBez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3"/>
                    <a:pt x="3" y="4"/>
                  </a:cubicBezTo>
                  <a:cubicBezTo>
                    <a:pt x="3" y="5"/>
                    <a:pt x="5" y="5"/>
                    <a:pt x="7" y="5"/>
                  </a:cubicBezTo>
                  <a:cubicBezTo>
                    <a:pt x="7" y="4"/>
                    <a:pt x="7" y="3"/>
                    <a:pt x="7" y="3"/>
                  </a:cubicBezTo>
                  <a:cubicBezTo>
                    <a:pt x="7" y="3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5" name="Freeform 339"/>
            <p:cNvSpPr>
              <a:spLocks/>
            </p:cNvSpPr>
            <p:nvPr/>
          </p:nvSpPr>
          <p:spPr bwMode="auto">
            <a:xfrm>
              <a:off x="7450229" y="3583850"/>
              <a:ext cx="4264" cy="811"/>
            </a:xfrm>
            <a:custGeom>
              <a:avLst/>
              <a:gdLst>
                <a:gd name="T0" fmla="*/ 3961001 w 9"/>
                <a:gd name="T1" fmla="*/ 0 h 2"/>
                <a:gd name="T2" fmla="*/ 0 w 9"/>
                <a:gd name="T3" fmla="*/ 0 h 2"/>
                <a:gd name="T4" fmla="*/ 0 w 9"/>
                <a:gd name="T5" fmla="*/ 65536 h 2"/>
                <a:gd name="T6" fmla="*/ 3961001 w 9"/>
                <a:gd name="T7" fmla="*/ 131072 h 2"/>
                <a:gd name="T8" fmla="*/ 6253179 w 9"/>
                <a:gd name="T9" fmla="*/ 131072 h 2"/>
                <a:gd name="T10" fmla="*/ 3961001 w 9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2"/>
                <a:gd name="T20" fmla="*/ 9 w 9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2">
                  <a:moveTo>
                    <a:pt x="5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2" y="2"/>
                    <a:pt x="4" y="1"/>
                    <a:pt x="5" y="2"/>
                  </a:cubicBezTo>
                  <a:cubicBezTo>
                    <a:pt x="6" y="2"/>
                    <a:pt x="7" y="2"/>
                    <a:pt x="8" y="2"/>
                  </a:cubicBezTo>
                  <a:cubicBezTo>
                    <a:pt x="9" y="0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6" name="Freeform 340"/>
            <p:cNvSpPr>
              <a:spLocks/>
            </p:cNvSpPr>
            <p:nvPr/>
          </p:nvSpPr>
          <p:spPr bwMode="auto">
            <a:xfrm>
              <a:off x="7419628" y="3566545"/>
              <a:ext cx="4766" cy="12708"/>
            </a:xfrm>
            <a:custGeom>
              <a:avLst/>
              <a:gdLst>
                <a:gd name="T0" fmla="*/ 2554647 w 10"/>
                <a:gd name="T1" fmla="*/ 1697572 h 27"/>
                <a:gd name="T2" fmla="*/ 0 w 10"/>
                <a:gd name="T3" fmla="*/ 4688532 h 27"/>
                <a:gd name="T4" fmla="*/ 0 w 10"/>
                <a:gd name="T5" fmla="*/ 8614989 h 27"/>
                <a:gd name="T6" fmla="*/ 1064436 w 10"/>
                <a:gd name="T7" fmla="*/ 10939910 h 27"/>
                <a:gd name="T8" fmla="*/ 2554647 w 10"/>
                <a:gd name="T9" fmla="*/ 15628443 h 27"/>
                <a:gd name="T10" fmla="*/ 3577445 w 10"/>
                <a:gd name="T11" fmla="*/ 17871662 h 27"/>
                <a:gd name="T12" fmla="*/ 6131150 w 10"/>
                <a:gd name="T13" fmla="*/ 20101633 h 27"/>
                <a:gd name="T14" fmla="*/ 6131150 w 10"/>
                <a:gd name="T15" fmla="*/ 20837921 h 27"/>
                <a:gd name="T16" fmla="*/ 5085394 w 10"/>
                <a:gd name="T17" fmla="*/ 16901612 h 27"/>
                <a:gd name="T18" fmla="*/ 6131150 w 10"/>
                <a:gd name="T19" fmla="*/ 12213088 h 27"/>
                <a:gd name="T20" fmla="*/ 12204941 w 10"/>
                <a:gd name="T21" fmla="*/ 12213088 h 27"/>
                <a:gd name="T22" fmla="*/ 12204941 w 10"/>
                <a:gd name="T23" fmla="*/ 11620011 h 27"/>
                <a:gd name="T24" fmla="*/ 9650293 w 10"/>
                <a:gd name="T25" fmla="*/ 10939910 h 27"/>
                <a:gd name="T26" fmla="*/ 9650293 w 10"/>
                <a:gd name="T27" fmla="*/ 9242333 h 27"/>
                <a:gd name="T28" fmla="*/ 11140513 w 10"/>
                <a:gd name="T29" fmla="*/ 4688532 h 27"/>
                <a:gd name="T30" fmla="*/ 9650293 w 10"/>
                <a:gd name="T31" fmla="*/ 4688532 h 27"/>
                <a:gd name="T32" fmla="*/ 6131150 w 10"/>
                <a:gd name="T33" fmla="*/ 8614989 h 27"/>
                <a:gd name="T34" fmla="*/ 5085394 w 10"/>
                <a:gd name="T35" fmla="*/ 9242333 h 27"/>
                <a:gd name="T36" fmla="*/ 3577445 w 10"/>
                <a:gd name="T37" fmla="*/ 9902491 h 27"/>
                <a:gd name="T38" fmla="*/ 3577445 w 10"/>
                <a:gd name="T39" fmla="*/ 8614989 h 27"/>
                <a:gd name="T40" fmla="*/ 5085394 w 10"/>
                <a:gd name="T41" fmla="*/ 2970751 h 27"/>
                <a:gd name="T42" fmla="*/ 5085394 w 10"/>
                <a:gd name="T43" fmla="*/ 0 h 27"/>
                <a:gd name="T44" fmla="*/ 2554647 w 10"/>
                <a:gd name="T45" fmla="*/ 1697572 h 2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"/>
                <a:gd name="T70" fmla="*/ 0 h 27"/>
                <a:gd name="T71" fmla="*/ 10 w 10"/>
                <a:gd name="T72" fmla="*/ 27 h 2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" h="27">
                  <a:moveTo>
                    <a:pt x="2" y="2"/>
                  </a:moveTo>
                  <a:cubicBezTo>
                    <a:pt x="1" y="3"/>
                    <a:pt x="1" y="5"/>
                    <a:pt x="0" y="6"/>
                  </a:cubicBezTo>
                  <a:cubicBezTo>
                    <a:pt x="0" y="8"/>
                    <a:pt x="0" y="10"/>
                    <a:pt x="0" y="11"/>
                  </a:cubicBezTo>
                  <a:cubicBezTo>
                    <a:pt x="0" y="12"/>
                    <a:pt x="1" y="13"/>
                    <a:pt x="1" y="14"/>
                  </a:cubicBezTo>
                  <a:cubicBezTo>
                    <a:pt x="2" y="16"/>
                    <a:pt x="1" y="18"/>
                    <a:pt x="2" y="20"/>
                  </a:cubicBezTo>
                  <a:cubicBezTo>
                    <a:pt x="2" y="21"/>
                    <a:pt x="3" y="22"/>
                    <a:pt x="3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5" y="27"/>
                    <a:pt x="5" y="26"/>
                    <a:pt x="5" y="27"/>
                  </a:cubicBezTo>
                  <a:cubicBezTo>
                    <a:pt x="5" y="25"/>
                    <a:pt x="5" y="23"/>
                    <a:pt x="4" y="22"/>
                  </a:cubicBezTo>
                  <a:cubicBezTo>
                    <a:pt x="4" y="20"/>
                    <a:pt x="4" y="18"/>
                    <a:pt x="5" y="16"/>
                  </a:cubicBezTo>
                  <a:cubicBezTo>
                    <a:pt x="6" y="15"/>
                    <a:pt x="8" y="17"/>
                    <a:pt x="10" y="16"/>
                  </a:cubicBezTo>
                  <a:cubicBezTo>
                    <a:pt x="10" y="16"/>
                    <a:pt x="10" y="16"/>
                    <a:pt x="10" y="15"/>
                  </a:cubicBezTo>
                  <a:cubicBezTo>
                    <a:pt x="10" y="15"/>
                    <a:pt x="8" y="15"/>
                    <a:pt x="8" y="14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9" y="10"/>
                    <a:pt x="9" y="8"/>
                    <a:pt x="9" y="6"/>
                  </a:cubicBezTo>
                  <a:cubicBezTo>
                    <a:pt x="9" y="6"/>
                    <a:pt x="8" y="6"/>
                    <a:pt x="8" y="6"/>
                  </a:cubicBezTo>
                  <a:cubicBezTo>
                    <a:pt x="7" y="8"/>
                    <a:pt x="6" y="9"/>
                    <a:pt x="5" y="11"/>
                  </a:cubicBezTo>
                  <a:cubicBezTo>
                    <a:pt x="5" y="11"/>
                    <a:pt x="5" y="12"/>
                    <a:pt x="4" y="12"/>
                  </a:cubicBezTo>
                  <a:cubicBezTo>
                    <a:pt x="4" y="12"/>
                    <a:pt x="4" y="13"/>
                    <a:pt x="3" y="13"/>
                  </a:cubicBezTo>
                  <a:cubicBezTo>
                    <a:pt x="3" y="12"/>
                    <a:pt x="3" y="12"/>
                    <a:pt x="3" y="11"/>
                  </a:cubicBezTo>
                  <a:cubicBezTo>
                    <a:pt x="4" y="9"/>
                    <a:pt x="5" y="6"/>
                    <a:pt x="4" y="4"/>
                  </a:cubicBezTo>
                  <a:cubicBezTo>
                    <a:pt x="3" y="3"/>
                    <a:pt x="4" y="1"/>
                    <a:pt x="4" y="0"/>
                  </a:cubicBezTo>
                  <a:cubicBezTo>
                    <a:pt x="2" y="0"/>
                    <a:pt x="3" y="1"/>
                    <a:pt x="2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7" name="Freeform 341"/>
            <p:cNvSpPr>
              <a:spLocks/>
            </p:cNvSpPr>
            <p:nvPr/>
          </p:nvSpPr>
          <p:spPr bwMode="auto">
            <a:xfrm>
              <a:off x="7422136" y="3564382"/>
              <a:ext cx="2257" cy="2704"/>
            </a:xfrm>
            <a:custGeom>
              <a:avLst/>
              <a:gdLst>
                <a:gd name="T0" fmla="*/ 9219213 w 4"/>
                <a:gd name="T1" fmla="*/ 2243220 h 6"/>
                <a:gd name="T2" fmla="*/ 4450654 w 4"/>
                <a:gd name="T3" fmla="*/ 727531 h 6"/>
                <a:gd name="T4" fmla="*/ 2497529 w 4"/>
                <a:gd name="T5" fmla="*/ 4688532 h 6"/>
                <a:gd name="T6" fmla="*/ 6243820 w 4"/>
                <a:gd name="T7" fmla="*/ 4688532 h 6"/>
                <a:gd name="T8" fmla="*/ 6243820 w 4"/>
                <a:gd name="T9" fmla="*/ 3961001 h 6"/>
                <a:gd name="T10" fmla="*/ 9219213 w 4"/>
                <a:gd name="T11" fmla="*/ 2970751 h 6"/>
                <a:gd name="T12" fmla="*/ 9219213 w 4"/>
                <a:gd name="T13" fmla="*/ 224322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4" y="3"/>
                  </a:moveTo>
                  <a:cubicBezTo>
                    <a:pt x="4" y="1"/>
                    <a:pt x="3" y="0"/>
                    <a:pt x="2" y="1"/>
                  </a:cubicBezTo>
                  <a:cubicBezTo>
                    <a:pt x="1" y="2"/>
                    <a:pt x="0" y="4"/>
                    <a:pt x="1" y="6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3" y="6"/>
                    <a:pt x="3" y="5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3"/>
                    <a:pt x="4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8" name="Freeform 342"/>
            <p:cNvSpPr>
              <a:spLocks/>
            </p:cNvSpPr>
            <p:nvPr/>
          </p:nvSpPr>
          <p:spPr bwMode="auto">
            <a:xfrm>
              <a:off x="7351151" y="3557082"/>
              <a:ext cx="37624" cy="37583"/>
            </a:xfrm>
            <a:custGeom>
              <a:avLst/>
              <a:gdLst>
                <a:gd name="T0" fmla="*/ 7392440 w 81"/>
                <a:gd name="T1" fmla="*/ 22924720 h 77"/>
                <a:gd name="T2" fmla="*/ 10879370 w 81"/>
                <a:gd name="T3" fmla="*/ 29407076 h 77"/>
                <a:gd name="T4" fmla="*/ 15450192 w 81"/>
                <a:gd name="T5" fmla="*/ 28518481 h 77"/>
                <a:gd name="T6" fmla="*/ 24788744 w 81"/>
                <a:gd name="T7" fmla="*/ 24442628 h 77"/>
                <a:gd name="T8" fmla="*/ 32881727 w 81"/>
                <a:gd name="T9" fmla="*/ 23659149 h 77"/>
                <a:gd name="T10" fmla="*/ 36431930 w 81"/>
                <a:gd name="T11" fmla="*/ 24442628 h 77"/>
                <a:gd name="T12" fmla="*/ 43060778 w 81"/>
                <a:gd name="T13" fmla="*/ 18819601 h 77"/>
                <a:gd name="T14" fmla="*/ 45006053 w 81"/>
                <a:gd name="T15" fmla="*/ 13226474 h 77"/>
                <a:gd name="T16" fmla="*/ 47663188 w 81"/>
                <a:gd name="T17" fmla="*/ 12441463 h 77"/>
                <a:gd name="T18" fmla="*/ 49115051 w 81"/>
                <a:gd name="T19" fmla="*/ 2007625 h 77"/>
                <a:gd name="T20" fmla="*/ 61932929 w 81"/>
                <a:gd name="T21" fmla="*/ 849380 h 77"/>
                <a:gd name="T22" fmla="*/ 63889561 w 81"/>
                <a:gd name="T23" fmla="*/ 2894072 h 77"/>
                <a:gd name="T24" fmla="*/ 64742826 w 81"/>
                <a:gd name="T25" fmla="*/ 10341118 h 77"/>
                <a:gd name="T26" fmla="*/ 67375173 w 81"/>
                <a:gd name="T27" fmla="*/ 18819601 h 77"/>
                <a:gd name="T28" fmla="*/ 68502534 w 81"/>
                <a:gd name="T29" fmla="*/ 23659149 h 77"/>
                <a:gd name="T30" fmla="*/ 72136419 w 81"/>
                <a:gd name="T31" fmla="*/ 27670976 h 77"/>
                <a:gd name="T32" fmla="*/ 73939119 w 81"/>
                <a:gd name="T33" fmla="*/ 29407076 h 77"/>
                <a:gd name="T34" fmla="*/ 71282135 w 81"/>
                <a:gd name="T35" fmla="*/ 31262567 h 77"/>
                <a:gd name="T36" fmla="*/ 65935910 w 81"/>
                <a:gd name="T37" fmla="*/ 32133917 h 77"/>
                <a:gd name="T38" fmla="*/ 63064705 w 81"/>
                <a:gd name="T39" fmla="*/ 44482692 h 77"/>
                <a:gd name="T40" fmla="*/ 61932929 w 81"/>
                <a:gd name="T41" fmla="*/ 45332013 h 77"/>
                <a:gd name="T42" fmla="*/ 57685959 w 81"/>
                <a:gd name="T43" fmla="*/ 49435624 h 77"/>
                <a:gd name="T44" fmla="*/ 55878505 w 81"/>
                <a:gd name="T45" fmla="*/ 55921591 h 77"/>
                <a:gd name="T46" fmla="*/ 56507513 w 81"/>
                <a:gd name="T47" fmla="*/ 58931728 h 77"/>
                <a:gd name="T48" fmla="*/ 53875204 w 81"/>
                <a:gd name="T49" fmla="*/ 65404118 h 77"/>
                <a:gd name="T50" fmla="*/ 51920609 w 81"/>
                <a:gd name="T51" fmla="*/ 70999278 h 77"/>
                <a:gd name="T52" fmla="*/ 48501362 w 81"/>
                <a:gd name="T53" fmla="*/ 70357050 h 77"/>
                <a:gd name="T54" fmla="*/ 43676392 w 81"/>
                <a:gd name="T55" fmla="*/ 73006742 h 77"/>
                <a:gd name="T56" fmla="*/ 40279178 w 81"/>
                <a:gd name="T57" fmla="*/ 68254549 h 77"/>
                <a:gd name="T58" fmla="*/ 34838340 w 81"/>
                <a:gd name="T59" fmla="*/ 67407309 h 77"/>
                <a:gd name="T60" fmla="*/ 30229610 w 81"/>
                <a:gd name="T61" fmla="*/ 66254006 h 77"/>
                <a:gd name="T62" fmla="*/ 27456386 w 81"/>
                <a:gd name="T63" fmla="*/ 68254549 h 77"/>
                <a:gd name="T64" fmla="*/ 20828905 w 81"/>
                <a:gd name="T65" fmla="*/ 64773198 h 77"/>
                <a:gd name="T66" fmla="*/ 18261381 w 81"/>
                <a:gd name="T67" fmla="*/ 63396465 h 77"/>
                <a:gd name="T68" fmla="*/ 16230084 w 81"/>
                <a:gd name="T69" fmla="*/ 64773198 h 77"/>
                <a:gd name="T70" fmla="*/ 10879370 w 81"/>
                <a:gd name="T71" fmla="*/ 62662074 h 77"/>
                <a:gd name="T72" fmla="*/ 9337772 w 81"/>
                <a:gd name="T73" fmla="*/ 52962811 h 77"/>
                <a:gd name="T74" fmla="*/ 4613765 w 81"/>
                <a:gd name="T75" fmla="*/ 48586039 h 77"/>
                <a:gd name="T76" fmla="*/ 2778673 w 81"/>
                <a:gd name="T77" fmla="*/ 42630812 h 77"/>
                <a:gd name="T78" fmla="*/ 2778673 w 81"/>
                <a:gd name="T79" fmla="*/ 36149071 h 77"/>
                <a:gd name="T80" fmla="*/ 0 w 81"/>
                <a:gd name="T81" fmla="*/ 31262567 h 77"/>
                <a:gd name="T82" fmla="*/ 829772 w 81"/>
                <a:gd name="T83" fmla="*/ 30553760 h 77"/>
                <a:gd name="T84" fmla="*/ 5436709 w 81"/>
                <a:gd name="T85" fmla="*/ 21764402 h 77"/>
                <a:gd name="T86" fmla="*/ 6552177 w 81"/>
                <a:gd name="T87" fmla="*/ 21764402 h 7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1"/>
                <a:gd name="T133" fmla="*/ 0 h 77"/>
                <a:gd name="T134" fmla="*/ 81 w 81"/>
                <a:gd name="T135" fmla="*/ 77 h 7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1" h="77">
                  <a:moveTo>
                    <a:pt x="7" y="23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7" y="26"/>
                    <a:pt x="9" y="28"/>
                    <a:pt x="11" y="29"/>
                  </a:cubicBezTo>
                  <a:cubicBezTo>
                    <a:pt x="12" y="29"/>
                    <a:pt x="11" y="30"/>
                    <a:pt x="12" y="31"/>
                  </a:cubicBezTo>
                  <a:cubicBezTo>
                    <a:pt x="13" y="31"/>
                    <a:pt x="14" y="31"/>
                    <a:pt x="14" y="31"/>
                  </a:cubicBezTo>
                  <a:cubicBezTo>
                    <a:pt x="15" y="30"/>
                    <a:pt x="16" y="30"/>
                    <a:pt x="17" y="30"/>
                  </a:cubicBezTo>
                  <a:cubicBezTo>
                    <a:pt x="19" y="30"/>
                    <a:pt x="22" y="30"/>
                    <a:pt x="24" y="30"/>
                  </a:cubicBezTo>
                  <a:cubicBezTo>
                    <a:pt x="26" y="29"/>
                    <a:pt x="26" y="27"/>
                    <a:pt x="27" y="26"/>
                  </a:cubicBezTo>
                  <a:cubicBezTo>
                    <a:pt x="30" y="24"/>
                    <a:pt x="33" y="24"/>
                    <a:pt x="35" y="25"/>
                  </a:cubicBezTo>
                  <a:cubicBezTo>
                    <a:pt x="35" y="25"/>
                    <a:pt x="36" y="25"/>
                    <a:pt x="36" y="25"/>
                  </a:cubicBezTo>
                  <a:cubicBezTo>
                    <a:pt x="36" y="26"/>
                    <a:pt x="38" y="28"/>
                    <a:pt x="39" y="27"/>
                  </a:cubicBezTo>
                  <a:cubicBezTo>
                    <a:pt x="40" y="27"/>
                    <a:pt x="40" y="26"/>
                    <a:pt x="40" y="26"/>
                  </a:cubicBezTo>
                  <a:cubicBezTo>
                    <a:pt x="42" y="25"/>
                    <a:pt x="44" y="26"/>
                    <a:pt x="46" y="25"/>
                  </a:cubicBezTo>
                  <a:cubicBezTo>
                    <a:pt x="46" y="23"/>
                    <a:pt x="46" y="21"/>
                    <a:pt x="47" y="20"/>
                  </a:cubicBezTo>
                  <a:cubicBezTo>
                    <a:pt x="48" y="19"/>
                    <a:pt x="48" y="18"/>
                    <a:pt x="49" y="16"/>
                  </a:cubicBezTo>
                  <a:cubicBezTo>
                    <a:pt x="49" y="15"/>
                    <a:pt x="49" y="15"/>
                    <a:pt x="49" y="14"/>
                  </a:cubicBezTo>
                  <a:cubicBezTo>
                    <a:pt x="50" y="14"/>
                    <a:pt x="50" y="14"/>
                    <a:pt x="50" y="13"/>
                  </a:cubicBezTo>
                  <a:cubicBezTo>
                    <a:pt x="51" y="13"/>
                    <a:pt x="51" y="14"/>
                    <a:pt x="52" y="13"/>
                  </a:cubicBezTo>
                  <a:cubicBezTo>
                    <a:pt x="52" y="13"/>
                    <a:pt x="52" y="12"/>
                    <a:pt x="53" y="11"/>
                  </a:cubicBezTo>
                  <a:cubicBezTo>
                    <a:pt x="53" y="8"/>
                    <a:pt x="53" y="5"/>
                    <a:pt x="54" y="2"/>
                  </a:cubicBezTo>
                  <a:cubicBezTo>
                    <a:pt x="54" y="1"/>
                    <a:pt x="54" y="1"/>
                    <a:pt x="55" y="1"/>
                  </a:cubicBezTo>
                  <a:cubicBezTo>
                    <a:pt x="59" y="0"/>
                    <a:pt x="63" y="1"/>
                    <a:pt x="68" y="1"/>
                  </a:cubicBezTo>
                  <a:cubicBezTo>
                    <a:pt x="68" y="1"/>
                    <a:pt x="68" y="2"/>
                    <a:pt x="69" y="2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69" y="4"/>
                    <a:pt x="70" y="5"/>
                    <a:pt x="71" y="6"/>
                  </a:cubicBezTo>
                  <a:cubicBezTo>
                    <a:pt x="71" y="8"/>
                    <a:pt x="71" y="9"/>
                    <a:pt x="71" y="11"/>
                  </a:cubicBezTo>
                  <a:cubicBezTo>
                    <a:pt x="71" y="12"/>
                    <a:pt x="71" y="14"/>
                    <a:pt x="72" y="16"/>
                  </a:cubicBezTo>
                  <a:cubicBezTo>
                    <a:pt x="73" y="17"/>
                    <a:pt x="74" y="18"/>
                    <a:pt x="74" y="20"/>
                  </a:cubicBezTo>
                  <a:cubicBezTo>
                    <a:pt x="74" y="20"/>
                    <a:pt x="72" y="20"/>
                    <a:pt x="72" y="21"/>
                  </a:cubicBezTo>
                  <a:cubicBezTo>
                    <a:pt x="71" y="22"/>
                    <a:pt x="73" y="24"/>
                    <a:pt x="75" y="25"/>
                  </a:cubicBezTo>
                  <a:cubicBezTo>
                    <a:pt x="76" y="26"/>
                    <a:pt x="77" y="27"/>
                    <a:pt x="78" y="28"/>
                  </a:cubicBezTo>
                  <a:cubicBezTo>
                    <a:pt x="78" y="28"/>
                    <a:pt x="79" y="28"/>
                    <a:pt x="79" y="29"/>
                  </a:cubicBezTo>
                  <a:cubicBezTo>
                    <a:pt x="80" y="29"/>
                    <a:pt x="80" y="30"/>
                    <a:pt x="81" y="30"/>
                  </a:cubicBezTo>
                  <a:cubicBezTo>
                    <a:pt x="81" y="30"/>
                    <a:pt x="81" y="31"/>
                    <a:pt x="81" y="31"/>
                  </a:cubicBezTo>
                  <a:cubicBezTo>
                    <a:pt x="80" y="32"/>
                    <a:pt x="79" y="32"/>
                    <a:pt x="79" y="32"/>
                  </a:cubicBezTo>
                  <a:cubicBezTo>
                    <a:pt x="78" y="32"/>
                    <a:pt x="78" y="33"/>
                    <a:pt x="78" y="33"/>
                  </a:cubicBezTo>
                  <a:cubicBezTo>
                    <a:pt x="76" y="33"/>
                    <a:pt x="74" y="32"/>
                    <a:pt x="72" y="33"/>
                  </a:cubicBezTo>
                  <a:cubicBezTo>
                    <a:pt x="72" y="33"/>
                    <a:pt x="72" y="34"/>
                    <a:pt x="72" y="34"/>
                  </a:cubicBezTo>
                  <a:cubicBezTo>
                    <a:pt x="71" y="34"/>
                    <a:pt x="70" y="35"/>
                    <a:pt x="70" y="36"/>
                  </a:cubicBezTo>
                  <a:cubicBezTo>
                    <a:pt x="69" y="40"/>
                    <a:pt x="70" y="43"/>
                    <a:pt x="69" y="47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9"/>
                    <a:pt x="66" y="49"/>
                    <a:pt x="65" y="50"/>
                  </a:cubicBezTo>
                  <a:cubicBezTo>
                    <a:pt x="64" y="50"/>
                    <a:pt x="63" y="52"/>
                    <a:pt x="63" y="52"/>
                  </a:cubicBezTo>
                  <a:cubicBezTo>
                    <a:pt x="62" y="52"/>
                    <a:pt x="61" y="53"/>
                    <a:pt x="61" y="53"/>
                  </a:cubicBezTo>
                  <a:cubicBezTo>
                    <a:pt x="60" y="55"/>
                    <a:pt x="61" y="57"/>
                    <a:pt x="61" y="59"/>
                  </a:cubicBezTo>
                  <a:cubicBezTo>
                    <a:pt x="61" y="59"/>
                    <a:pt x="61" y="60"/>
                    <a:pt x="62" y="60"/>
                  </a:cubicBezTo>
                  <a:cubicBezTo>
                    <a:pt x="62" y="61"/>
                    <a:pt x="62" y="62"/>
                    <a:pt x="62" y="62"/>
                  </a:cubicBezTo>
                  <a:cubicBezTo>
                    <a:pt x="61" y="63"/>
                    <a:pt x="60" y="64"/>
                    <a:pt x="59" y="65"/>
                  </a:cubicBezTo>
                  <a:cubicBezTo>
                    <a:pt x="59" y="67"/>
                    <a:pt x="59" y="68"/>
                    <a:pt x="59" y="69"/>
                  </a:cubicBezTo>
                  <a:cubicBezTo>
                    <a:pt x="58" y="72"/>
                    <a:pt x="59" y="74"/>
                    <a:pt x="58" y="76"/>
                  </a:cubicBezTo>
                  <a:cubicBezTo>
                    <a:pt x="58" y="76"/>
                    <a:pt x="58" y="75"/>
                    <a:pt x="57" y="75"/>
                  </a:cubicBezTo>
                  <a:cubicBezTo>
                    <a:pt x="57" y="75"/>
                    <a:pt x="56" y="74"/>
                    <a:pt x="56" y="74"/>
                  </a:cubicBezTo>
                  <a:cubicBezTo>
                    <a:pt x="55" y="73"/>
                    <a:pt x="54" y="73"/>
                    <a:pt x="53" y="74"/>
                  </a:cubicBezTo>
                  <a:cubicBezTo>
                    <a:pt x="53" y="74"/>
                    <a:pt x="53" y="74"/>
                    <a:pt x="52" y="75"/>
                  </a:cubicBezTo>
                  <a:cubicBezTo>
                    <a:pt x="51" y="75"/>
                    <a:pt x="49" y="76"/>
                    <a:pt x="48" y="77"/>
                  </a:cubicBezTo>
                  <a:cubicBezTo>
                    <a:pt x="47" y="77"/>
                    <a:pt x="47" y="77"/>
                    <a:pt x="46" y="77"/>
                  </a:cubicBezTo>
                  <a:cubicBezTo>
                    <a:pt x="46" y="75"/>
                    <a:pt x="46" y="72"/>
                    <a:pt x="44" y="72"/>
                  </a:cubicBezTo>
                  <a:cubicBezTo>
                    <a:pt x="42" y="71"/>
                    <a:pt x="40" y="72"/>
                    <a:pt x="38" y="72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37" y="70"/>
                    <a:pt x="37" y="70"/>
                    <a:pt x="37" y="69"/>
                  </a:cubicBezTo>
                  <a:cubicBezTo>
                    <a:pt x="35" y="69"/>
                    <a:pt x="34" y="69"/>
                    <a:pt x="33" y="70"/>
                  </a:cubicBezTo>
                  <a:cubicBezTo>
                    <a:pt x="33" y="70"/>
                    <a:pt x="33" y="70"/>
                    <a:pt x="32" y="71"/>
                  </a:cubicBezTo>
                  <a:cubicBezTo>
                    <a:pt x="32" y="71"/>
                    <a:pt x="31" y="71"/>
                    <a:pt x="30" y="72"/>
                  </a:cubicBezTo>
                  <a:cubicBezTo>
                    <a:pt x="28" y="72"/>
                    <a:pt x="25" y="72"/>
                    <a:pt x="23" y="72"/>
                  </a:cubicBezTo>
                  <a:cubicBezTo>
                    <a:pt x="23" y="71"/>
                    <a:pt x="24" y="69"/>
                    <a:pt x="23" y="68"/>
                  </a:cubicBezTo>
                  <a:cubicBezTo>
                    <a:pt x="23" y="68"/>
                    <a:pt x="22" y="68"/>
                    <a:pt x="21" y="68"/>
                  </a:cubicBezTo>
                  <a:cubicBezTo>
                    <a:pt x="21" y="68"/>
                    <a:pt x="20" y="67"/>
                    <a:pt x="20" y="67"/>
                  </a:cubicBezTo>
                  <a:cubicBezTo>
                    <a:pt x="20" y="67"/>
                    <a:pt x="19" y="66"/>
                    <a:pt x="19" y="67"/>
                  </a:cubicBezTo>
                  <a:cubicBezTo>
                    <a:pt x="19" y="67"/>
                    <a:pt x="19" y="68"/>
                    <a:pt x="18" y="68"/>
                  </a:cubicBezTo>
                  <a:cubicBezTo>
                    <a:pt x="17" y="68"/>
                    <a:pt x="16" y="68"/>
                    <a:pt x="15" y="67"/>
                  </a:cubicBezTo>
                  <a:cubicBezTo>
                    <a:pt x="14" y="67"/>
                    <a:pt x="12" y="68"/>
                    <a:pt x="12" y="66"/>
                  </a:cubicBezTo>
                  <a:cubicBezTo>
                    <a:pt x="10" y="64"/>
                    <a:pt x="12" y="61"/>
                    <a:pt x="10" y="59"/>
                  </a:cubicBezTo>
                  <a:cubicBezTo>
                    <a:pt x="10" y="58"/>
                    <a:pt x="10" y="57"/>
                    <a:pt x="10" y="56"/>
                  </a:cubicBezTo>
                  <a:cubicBezTo>
                    <a:pt x="11" y="55"/>
                    <a:pt x="11" y="53"/>
                    <a:pt x="10" y="53"/>
                  </a:cubicBezTo>
                  <a:cubicBezTo>
                    <a:pt x="8" y="52"/>
                    <a:pt x="6" y="53"/>
                    <a:pt x="5" y="51"/>
                  </a:cubicBezTo>
                  <a:cubicBezTo>
                    <a:pt x="5" y="50"/>
                    <a:pt x="5" y="49"/>
                    <a:pt x="5" y="47"/>
                  </a:cubicBezTo>
                  <a:cubicBezTo>
                    <a:pt x="5" y="47"/>
                    <a:pt x="3" y="46"/>
                    <a:pt x="3" y="45"/>
                  </a:cubicBezTo>
                  <a:cubicBezTo>
                    <a:pt x="2" y="43"/>
                    <a:pt x="3" y="41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1" y="37"/>
                    <a:pt x="1" y="36"/>
                    <a:pt x="0" y="36"/>
                  </a:cubicBezTo>
                  <a:cubicBezTo>
                    <a:pt x="0" y="35"/>
                    <a:pt x="0" y="34"/>
                    <a:pt x="0" y="33"/>
                  </a:cubicBezTo>
                  <a:cubicBezTo>
                    <a:pt x="0" y="33"/>
                    <a:pt x="0" y="33"/>
                    <a:pt x="1" y="33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3" y="30"/>
                    <a:pt x="3" y="28"/>
                    <a:pt x="3" y="26"/>
                  </a:cubicBezTo>
                  <a:cubicBezTo>
                    <a:pt x="3" y="24"/>
                    <a:pt x="5" y="24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7" y="23"/>
                    <a:pt x="7" y="23"/>
                    <a:pt x="7" y="2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9" name="Freeform 343"/>
            <p:cNvSpPr>
              <a:spLocks/>
            </p:cNvSpPr>
            <p:nvPr/>
          </p:nvSpPr>
          <p:spPr bwMode="auto">
            <a:xfrm>
              <a:off x="7407588" y="3613591"/>
              <a:ext cx="10535" cy="6489"/>
            </a:xfrm>
            <a:custGeom>
              <a:avLst/>
              <a:gdLst>
                <a:gd name="T0" fmla="*/ 9424793 w 23"/>
                <a:gd name="T1" fmla="*/ 1947959 h 14"/>
                <a:gd name="T2" fmla="*/ 5078724 w 23"/>
                <a:gd name="T3" fmla="*/ 2769339 h 14"/>
                <a:gd name="T4" fmla="*/ 789222 w 23"/>
                <a:gd name="T5" fmla="*/ 7350477 h 14"/>
                <a:gd name="T6" fmla="*/ 3227747 w 23"/>
                <a:gd name="T7" fmla="*/ 11919092 h 14"/>
                <a:gd name="T8" fmla="*/ 5868462 w 23"/>
                <a:gd name="T9" fmla="*/ 9297269 h 14"/>
                <a:gd name="T10" fmla="*/ 8361068 w 23"/>
                <a:gd name="T11" fmla="*/ 7350477 h 14"/>
                <a:gd name="T12" fmla="*/ 11923961 w 23"/>
                <a:gd name="T13" fmla="*/ 6527726 h 14"/>
                <a:gd name="T14" fmla="*/ 18819769 w 23"/>
                <a:gd name="T15" fmla="*/ 1947959 h 14"/>
                <a:gd name="T16" fmla="*/ 16407218 w 23"/>
                <a:gd name="T17" fmla="*/ 826407 h 14"/>
                <a:gd name="T18" fmla="*/ 13778124 w 23"/>
                <a:gd name="T19" fmla="*/ 1947959 h 14"/>
                <a:gd name="T20" fmla="*/ 10214021 w 23"/>
                <a:gd name="T21" fmla="*/ 826407 h 14"/>
                <a:gd name="T22" fmla="*/ 9424793 w 23"/>
                <a:gd name="T23" fmla="*/ 1947959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3"/>
                <a:gd name="T37" fmla="*/ 0 h 14"/>
                <a:gd name="T38" fmla="*/ 23 w 23"/>
                <a:gd name="T39" fmla="*/ 14 h 1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3" h="14">
                  <a:moveTo>
                    <a:pt x="11" y="2"/>
                  </a:moveTo>
                  <a:cubicBezTo>
                    <a:pt x="10" y="2"/>
                    <a:pt x="7" y="2"/>
                    <a:pt x="6" y="3"/>
                  </a:cubicBezTo>
                  <a:cubicBezTo>
                    <a:pt x="5" y="6"/>
                    <a:pt x="3" y="7"/>
                    <a:pt x="1" y="8"/>
                  </a:cubicBezTo>
                  <a:cubicBezTo>
                    <a:pt x="0" y="9"/>
                    <a:pt x="3" y="14"/>
                    <a:pt x="4" y="13"/>
                  </a:cubicBezTo>
                  <a:cubicBezTo>
                    <a:pt x="5" y="12"/>
                    <a:pt x="6" y="11"/>
                    <a:pt x="7" y="10"/>
                  </a:cubicBezTo>
                  <a:cubicBezTo>
                    <a:pt x="8" y="10"/>
                    <a:pt x="9" y="9"/>
                    <a:pt x="10" y="8"/>
                  </a:cubicBezTo>
                  <a:cubicBezTo>
                    <a:pt x="11" y="7"/>
                    <a:pt x="13" y="7"/>
                    <a:pt x="14" y="7"/>
                  </a:cubicBezTo>
                  <a:cubicBezTo>
                    <a:pt x="17" y="5"/>
                    <a:pt x="19" y="3"/>
                    <a:pt x="22" y="2"/>
                  </a:cubicBezTo>
                  <a:cubicBezTo>
                    <a:pt x="23" y="0"/>
                    <a:pt x="20" y="1"/>
                    <a:pt x="19" y="1"/>
                  </a:cubicBezTo>
                  <a:cubicBezTo>
                    <a:pt x="18" y="1"/>
                    <a:pt x="17" y="3"/>
                    <a:pt x="16" y="2"/>
                  </a:cubicBezTo>
                  <a:cubicBezTo>
                    <a:pt x="14" y="1"/>
                    <a:pt x="13" y="1"/>
                    <a:pt x="12" y="1"/>
                  </a:cubicBezTo>
                  <a:cubicBezTo>
                    <a:pt x="12" y="1"/>
                    <a:pt x="11" y="2"/>
                    <a:pt x="11" y="2"/>
                  </a:cubicBezTo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0" name="Freeform 344"/>
            <p:cNvSpPr>
              <a:spLocks/>
            </p:cNvSpPr>
            <p:nvPr/>
          </p:nvSpPr>
          <p:spPr bwMode="auto">
            <a:xfrm>
              <a:off x="7407588" y="3613591"/>
              <a:ext cx="10535" cy="6489"/>
            </a:xfrm>
            <a:custGeom>
              <a:avLst/>
              <a:gdLst>
                <a:gd name="T0" fmla="*/ 9424793 w 23"/>
                <a:gd name="T1" fmla="*/ 1947959 h 14"/>
                <a:gd name="T2" fmla="*/ 5078724 w 23"/>
                <a:gd name="T3" fmla="*/ 2769339 h 14"/>
                <a:gd name="T4" fmla="*/ 789222 w 23"/>
                <a:gd name="T5" fmla="*/ 7350477 h 14"/>
                <a:gd name="T6" fmla="*/ 3227747 w 23"/>
                <a:gd name="T7" fmla="*/ 11919092 h 14"/>
                <a:gd name="T8" fmla="*/ 5868462 w 23"/>
                <a:gd name="T9" fmla="*/ 9297269 h 14"/>
                <a:gd name="T10" fmla="*/ 8361068 w 23"/>
                <a:gd name="T11" fmla="*/ 7350477 h 14"/>
                <a:gd name="T12" fmla="*/ 11923961 w 23"/>
                <a:gd name="T13" fmla="*/ 6527726 h 14"/>
                <a:gd name="T14" fmla="*/ 18819769 w 23"/>
                <a:gd name="T15" fmla="*/ 1947959 h 14"/>
                <a:gd name="T16" fmla="*/ 16407218 w 23"/>
                <a:gd name="T17" fmla="*/ 826407 h 14"/>
                <a:gd name="T18" fmla="*/ 13778124 w 23"/>
                <a:gd name="T19" fmla="*/ 1947959 h 14"/>
                <a:gd name="T20" fmla="*/ 10214021 w 23"/>
                <a:gd name="T21" fmla="*/ 826407 h 14"/>
                <a:gd name="T22" fmla="*/ 9424793 w 23"/>
                <a:gd name="T23" fmla="*/ 1947959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3"/>
                <a:gd name="T37" fmla="*/ 0 h 14"/>
                <a:gd name="T38" fmla="*/ 23 w 23"/>
                <a:gd name="T39" fmla="*/ 14 h 1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3" h="14">
                  <a:moveTo>
                    <a:pt x="11" y="2"/>
                  </a:moveTo>
                  <a:cubicBezTo>
                    <a:pt x="10" y="2"/>
                    <a:pt x="7" y="2"/>
                    <a:pt x="6" y="3"/>
                  </a:cubicBezTo>
                  <a:cubicBezTo>
                    <a:pt x="5" y="6"/>
                    <a:pt x="3" y="7"/>
                    <a:pt x="1" y="8"/>
                  </a:cubicBezTo>
                  <a:cubicBezTo>
                    <a:pt x="0" y="9"/>
                    <a:pt x="3" y="14"/>
                    <a:pt x="4" y="13"/>
                  </a:cubicBezTo>
                  <a:cubicBezTo>
                    <a:pt x="5" y="12"/>
                    <a:pt x="6" y="11"/>
                    <a:pt x="7" y="10"/>
                  </a:cubicBezTo>
                  <a:cubicBezTo>
                    <a:pt x="8" y="10"/>
                    <a:pt x="9" y="9"/>
                    <a:pt x="10" y="8"/>
                  </a:cubicBezTo>
                  <a:cubicBezTo>
                    <a:pt x="11" y="7"/>
                    <a:pt x="13" y="7"/>
                    <a:pt x="14" y="7"/>
                  </a:cubicBezTo>
                  <a:cubicBezTo>
                    <a:pt x="17" y="5"/>
                    <a:pt x="19" y="3"/>
                    <a:pt x="22" y="2"/>
                  </a:cubicBezTo>
                  <a:cubicBezTo>
                    <a:pt x="23" y="0"/>
                    <a:pt x="20" y="1"/>
                    <a:pt x="19" y="1"/>
                  </a:cubicBezTo>
                  <a:cubicBezTo>
                    <a:pt x="18" y="1"/>
                    <a:pt x="17" y="3"/>
                    <a:pt x="16" y="2"/>
                  </a:cubicBezTo>
                  <a:cubicBezTo>
                    <a:pt x="14" y="1"/>
                    <a:pt x="13" y="1"/>
                    <a:pt x="12" y="1"/>
                  </a:cubicBezTo>
                  <a:cubicBezTo>
                    <a:pt x="12" y="1"/>
                    <a:pt x="11" y="2"/>
                    <a:pt x="11" y="2"/>
                  </a:cubicBezTo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1" name="Freeform 346"/>
            <p:cNvSpPr>
              <a:spLocks/>
            </p:cNvSpPr>
            <p:nvPr/>
          </p:nvSpPr>
          <p:spPr bwMode="auto">
            <a:xfrm>
              <a:off x="7037865" y="3434330"/>
              <a:ext cx="41136" cy="47316"/>
            </a:xfrm>
            <a:custGeom>
              <a:avLst/>
              <a:gdLst>
                <a:gd name="T0" fmla="*/ 151317 w 88"/>
                <a:gd name="T1" fmla="*/ 39671 h 97"/>
                <a:gd name="T2" fmla="*/ 648645 w 88"/>
                <a:gd name="T3" fmla="*/ 116179 h 97"/>
                <a:gd name="T4" fmla="*/ 756461 w 88"/>
                <a:gd name="T5" fmla="*/ 223974 h 97"/>
                <a:gd name="T6" fmla="*/ 1090904 w 88"/>
                <a:gd name="T7" fmla="*/ 284238 h 97"/>
                <a:gd name="T8" fmla="*/ 1253064 w 88"/>
                <a:gd name="T9" fmla="*/ 360846 h 97"/>
                <a:gd name="T10" fmla="*/ 1569139 w 88"/>
                <a:gd name="T11" fmla="*/ 187177 h 97"/>
                <a:gd name="T12" fmla="*/ 2107428 w 88"/>
                <a:gd name="T13" fmla="*/ 223974 h 97"/>
                <a:gd name="T14" fmla="*/ 2672514 w 88"/>
                <a:gd name="T15" fmla="*/ 223974 h 97"/>
                <a:gd name="T16" fmla="*/ 2739208 w 88"/>
                <a:gd name="T17" fmla="*/ 244552 h 97"/>
                <a:gd name="T18" fmla="*/ 2985418 w 88"/>
                <a:gd name="T19" fmla="*/ 832410 h 97"/>
                <a:gd name="T20" fmla="*/ 2902140 w 88"/>
                <a:gd name="T21" fmla="*/ 1016893 h 97"/>
                <a:gd name="T22" fmla="*/ 2866447 w 88"/>
                <a:gd name="T23" fmla="*/ 1243616 h 97"/>
                <a:gd name="T24" fmla="*/ 2714402 w 88"/>
                <a:gd name="T25" fmla="*/ 1423111 h 97"/>
                <a:gd name="T26" fmla="*/ 2488004 w 88"/>
                <a:gd name="T27" fmla="*/ 1096069 h 97"/>
                <a:gd name="T28" fmla="*/ 2420692 w 88"/>
                <a:gd name="T29" fmla="*/ 940149 h 97"/>
                <a:gd name="T30" fmla="*/ 2217803 w 88"/>
                <a:gd name="T31" fmla="*/ 624499 h 97"/>
                <a:gd name="T32" fmla="*/ 2177524 w 88"/>
                <a:gd name="T33" fmla="*/ 389226 h 97"/>
                <a:gd name="T34" fmla="*/ 2258342 w 88"/>
                <a:gd name="T35" fmla="*/ 874969 h 97"/>
                <a:gd name="T36" fmla="*/ 2553249 w 88"/>
                <a:gd name="T37" fmla="*/ 1380374 h 97"/>
                <a:gd name="T38" fmla="*/ 2588461 w 88"/>
                <a:gd name="T39" fmla="*/ 1565076 h 97"/>
                <a:gd name="T40" fmla="*/ 2739208 w 88"/>
                <a:gd name="T41" fmla="*/ 1849359 h 97"/>
                <a:gd name="T42" fmla="*/ 2944813 w 88"/>
                <a:gd name="T43" fmla="*/ 2261281 h 97"/>
                <a:gd name="T44" fmla="*/ 3031291 w 88"/>
                <a:gd name="T45" fmla="*/ 2437160 h 97"/>
                <a:gd name="T46" fmla="*/ 3235606 w 88"/>
                <a:gd name="T47" fmla="*/ 2703845 h 97"/>
                <a:gd name="T48" fmla="*/ 3235606 w 88"/>
                <a:gd name="T49" fmla="*/ 2911712 h 97"/>
                <a:gd name="T50" fmla="*/ 3308706 w 88"/>
                <a:gd name="T51" fmla="*/ 3133366 h 97"/>
                <a:gd name="T52" fmla="*/ 3157613 w 88"/>
                <a:gd name="T53" fmla="*/ 3209870 h 97"/>
                <a:gd name="T54" fmla="*/ 2985418 w 88"/>
                <a:gd name="T55" fmla="*/ 3339849 h 97"/>
                <a:gd name="T56" fmla="*/ 2782659 w 88"/>
                <a:gd name="T57" fmla="*/ 3536102 h 97"/>
                <a:gd name="T58" fmla="*/ 2588461 w 88"/>
                <a:gd name="T59" fmla="*/ 3417625 h 97"/>
                <a:gd name="T60" fmla="*/ 40547 w 88"/>
                <a:gd name="T61" fmla="*/ 547964 h 97"/>
                <a:gd name="T62" fmla="*/ 78329 w 88"/>
                <a:gd name="T63" fmla="*/ 244552 h 97"/>
                <a:gd name="T64" fmla="*/ 118645 w 88"/>
                <a:gd name="T65" fmla="*/ 0 h 9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8"/>
                <a:gd name="T100" fmla="*/ 0 h 97"/>
                <a:gd name="T101" fmla="*/ 88 w 88"/>
                <a:gd name="T102" fmla="*/ 97 h 9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8" h="97">
                  <a:moveTo>
                    <a:pt x="3" y="0"/>
                  </a:moveTo>
                  <a:cubicBezTo>
                    <a:pt x="3" y="1"/>
                    <a:pt x="4" y="1"/>
                    <a:pt x="4" y="1"/>
                  </a:cubicBezTo>
                  <a:cubicBezTo>
                    <a:pt x="7" y="2"/>
                    <a:pt x="9" y="1"/>
                    <a:pt x="12" y="2"/>
                  </a:cubicBezTo>
                  <a:cubicBezTo>
                    <a:pt x="13" y="2"/>
                    <a:pt x="15" y="3"/>
                    <a:pt x="17" y="3"/>
                  </a:cubicBezTo>
                  <a:cubicBezTo>
                    <a:pt x="17" y="4"/>
                    <a:pt x="18" y="4"/>
                    <a:pt x="18" y="4"/>
                  </a:cubicBezTo>
                  <a:cubicBezTo>
                    <a:pt x="19" y="5"/>
                    <a:pt x="20" y="5"/>
                    <a:pt x="20" y="6"/>
                  </a:cubicBezTo>
                  <a:cubicBezTo>
                    <a:pt x="22" y="6"/>
                    <a:pt x="25" y="5"/>
                    <a:pt x="27" y="6"/>
                  </a:cubicBezTo>
                  <a:cubicBezTo>
                    <a:pt x="27" y="7"/>
                    <a:pt x="28" y="7"/>
                    <a:pt x="29" y="8"/>
                  </a:cubicBezTo>
                  <a:cubicBezTo>
                    <a:pt x="29" y="9"/>
                    <a:pt x="30" y="8"/>
                    <a:pt x="31" y="9"/>
                  </a:cubicBezTo>
                  <a:cubicBezTo>
                    <a:pt x="32" y="9"/>
                    <a:pt x="32" y="10"/>
                    <a:pt x="33" y="10"/>
                  </a:cubicBezTo>
                  <a:cubicBezTo>
                    <a:pt x="35" y="10"/>
                    <a:pt x="37" y="11"/>
                    <a:pt x="38" y="10"/>
                  </a:cubicBezTo>
                  <a:cubicBezTo>
                    <a:pt x="40" y="8"/>
                    <a:pt x="41" y="7"/>
                    <a:pt x="42" y="5"/>
                  </a:cubicBezTo>
                  <a:cubicBezTo>
                    <a:pt x="45" y="6"/>
                    <a:pt x="48" y="4"/>
                    <a:pt x="50" y="5"/>
                  </a:cubicBezTo>
                  <a:cubicBezTo>
                    <a:pt x="52" y="5"/>
                    <a:pt x="54" y="6"/>
                    <a:pt x="56" y="6"/>
                  </a:cubicBezTo>
                  <a:cubicBezTo>
                    <a:pt x="58" y="7"/>
                    <a:pt x="60" y="6"/>
                    <a:pt x="62" y="6"/>
                  </a:cubicBezTo>
                  <a:cubicBezTo>
                    <a:pt x="65" y="6"/>
                    <a:pt x="68" y="6"/>
                    <a:pt x="71" y="6"/>
                  </a:cubicBezTo>
                  <a:cubicBezTo>
                    <a:pt x="71" y="6"/>
                    <a:pt x="72" y="6"/>
                    <a:pt x="73" y="6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4"/>
                    <a:pt x="78" y="24"/>
                    <a:pt x="78" y="24"/>
                  </a:cubicBezTo>
                  <a:cubicBezTo>
                    <a:pt x="78" y="25"/>
                    <a:pt x="77" y="27"/>
                    <a:pt x="77" y="28"/>
                  </a:cubicBezTo>
                  <a:cubicBezTo>
                    <a:pt x="77" y="29"/>
                    <a:pt x="76" y="29"/>
                    <a:pt x="75" y="31"/>
                  </a:cubicBezTo>
                  <a:cubicBezTo>
                    <a:pt x="75" y="32"/>
                    <a:pt x="75" y="33"/>
                    <a:pt x="76" y="34"/>
                  </a:cubicBezTo>
                  <a:cubicBezTo>
                    <a:pt x="76" y="36"/>
                    <a:pt x="76" y="38"/>
                    <a:pt x="75" y="40"/>
                  </a:cubicBezTo>
                  <a:cubicBezTo>
                    <a:pt x="74" y="40"/>
                    <a:pt x="73" y="40"/>
                    <a:pt x="72" y="39"/>
                  </a:cubicBezTo>
                  <a:cubicBezTo>
                    <a:pt x="70" y="38"/>
                    <a:pt x="69" y="35"/>
                    <a:pt x="68" y="33"/>
                  </a:cubicBezTo>
                  <a:cubicBezTo>
                    <a:pt x="68" y="32"/>
                    <a:pt x="67" y="31"/>
                    <a:pt x="66" y="30"/>
                  </a:cubicBezTo>
                  <a:cubicBezTo>
                    <a:pt x="66" y="29"/>
                    <a:pt x="65" y="29"/>
                    <a:pt x="65" y="28"/>
                  </a:cubicBezTo>
                  <a:cubicBezTo>
                    <a:pt x="65" y="28"/>
                    <a:pt x="64" y="27"/>
                    <a:pt x="64" y="26"/>
                  </a:cubicBezTo>
                  <a:cubicBezTo>
                    <a:pt x="63" y="25"/>
                    <a:pt x="62" y="25"/>
                    <a:pt x="62" y="24"/>
                  </a:cubicBezTo>
                  <a:cubicBezTo>
                    <a:pt x="61" y="21"/>
                    <a:pt x="60" y="19"/>
                    <a:pt x="59" y="17"/>
                  </a:cubicBezTo>
                  <a:cubicBezTo>
                    <a:pt x="59" y="15"/>
                    <a:pt x="59" y="13"/>
                    <a:pt x="59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8" y="14"/>
                    <a:pt x="58" y="17"/>
                    <a:pt x="59" y="19"/>
                  </a:cubicBezTo>
                  <a:cubicBezTo>
                    <a:pt x="59" y="21"/>
                    <a:pt x="60" y="23"/>
                    <a:pt x="60" y="24"/>
                  </a:cubicBezTo>
                  <a:cubicBezTo>
                    <a:pt x="61" y="26"/>
                    <a:pt x="60" y="27"/>
                    <a:pt x="61" y="29"/>
                  </a:cubicBezTo>
                  <a:cubicBezTo>
                    <a:pt x="63" y="32"/>
                    <a:pt x="65" y="35"/>
                    <a:pt x="68" y="38"/>
                  </a:cubicBezTo>
                  <a:cubicBezTo>
                    <a:pt x="68" y="38"/>
                    <a:pt x="69" y="39"/>
                    <a:pt x="69" y="39"/>
                  </a:cubicBezTo>
                  <a:cubicBezTo>
                    <a:pt x="69" y="41"/>
                    <a:pt x="69" y="42"/>
                    <a:pt x="69" y="43"/>
                  </a:cubicBezTo>
                  <a:cubicBezTo>
                    <a:pt x="70" y="45"/>
                    <a:pt x="71" y="46"/>
                    <a:pt x="71" y="47"/>
                  </a:cubicBezTo>
                  <a:cubicBezTo>
                    <a:pt x="72" y="49"/>
                    <a:pt x="72" y="50"/>
                    <a:pt x="73" y="51"/>
                  </a:cubicBezTo>
                  <a:cubicBezTo>
                    <a:pt x="74" y="54"/>
                    <a:pt x="76" y="57"/>
                    <a:pt x="77" y="60"/>
                  </a:cubicBezTo>
                  <a:cubicBezTo>
                    <a:pt x="77" y="61"/>
                    <a:pt x="78" y="62"/>
                    <a:pt x="78" y="62"/>
                  </a:cubicBezTo>
                  <a:cubicBezTo>
                    <a:pt x="79" y="63"/>
                    <a:pt x="79" y="64"/>
                    <a:pt x="80" y="65"/>
                  </a:cubicBezTo>
                  <a:cubicBezTo>
                    <a:pt x="80" y="66"/>
                    <a:pt x="81" y="67"/>
                    <a:pt x="81" y="67"/>
                  </a:cubicBezTo>
                  <a:cubicBezTo>
                    <a:pt x="81" y="68"/>
                    <a:pt x="82" y="69"/>
                    <a:pt x="82" y="70"/>
                  </a:cubicBezTo>
                  <a:cubicBezTo>
                    <a:pt x="83" y="71"/>
                    <a:pt x="84" y="72"/>
                    <a:pt x="86" y="74"/>
                  </a:cubicBezTo>
                  <a:cubicBezTo>
                    <a:pt x="87" y="75"/>
                    <a:pt x="87" y="76"/>
                    <a:pt x="87" y="77"/>
                  </a:cubicBezTo>
                  <a:cubicBezTo>
                    <a:pt x="86" y="78"/>
                    <a:pt x="86" y="79"/>
                    <a:pt x="86" y="80"/>
                  </a:cubicBezTo>
                  <a:cubicBezTo>
                    <a:pt x="86" y="80"/>
                    <a:pt x="87" y="81"/>
                    <a:pt x="87" y="82"/>
                  </a:cubicBezTo>
                  <a:cubicBezTo>
                    <a:pt x="88" y="83"/>
                    <a:pt x="87" y="84"/>
                    <a:pt x="88" y="86"/>
                  </a:cubicBezTo>
                  <a:cubicBezTo>
                    <a:pt x="87" y="87"/>
                    <a:pt x="87" y="87"/>
                    <a:pt x="87" y="87"/>
                  </a:cubicBezTo>
                  <a:cubicBezTo>
                    <a:pt x="84" y="88"/>
                    <a:pt x="84" y="88"/>
                    <a:pt x="84" y="88"/>
                  </a:cubicBezTo>
                  <a:cubicBezTo>
                    <a:pt x="80" y="88"/>
                    <a:pt x="80" y="88"/>
                    <a:pt x="80" y="88"/>
                  </a:cubicBezTo>
                  <a:cubicBezTo>
                    <a:pt x="79" y="92"/>
                    <a:pt x="79" y="92"/>
                    <a:pt x="79" y="92"/>
                  </a:cubicBezTo>
                  <a:cubicBezTo>
                    <a:pt x="76" y="93"/>
                    <a:pt x="76" y="93"/>
                    <a:pt x="76" y="93"/>
                  </a:cubicBezTo>
                  <a:cubicBezTo>
                    <a:pt x="74" y="97"/>
                    <a:pt x="74" y="97"/>
                    <a:pt x="74" y="97"/>
                  </a:cubicBezTo>
                  <a:cubicBezTo>
                    <a:pt x="70" y="97"/>
                    <a:pt x="70" y="97"/>
                    <a:pt x="70" y="97"/>
                  </a:cubicBezTo>
                  <a:cubicBezTo>
                    <a:pt x="69" y="94"/>
                    <a:pt x="69" y="94"/>
                    <a:pt x="69" y="94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4"/>
                    <a:pt x="1" y="12"/>
                    <a:pt x="1" y="11"/>
                  </a:cubicBezTo>
                  <a:cubicBezTo>
                    <a:pt x="1" y="10"/>
                    <a:pt x="1" y="9"/>
                    <a:pt x="2" y="7"/>
                  </a:cubicBezTo>
                  <a:cubicBezTo>
                    <a:pt x="2" y="5"/>
                    <a:pt x="3" y="3"/>
                    <a:pt x="3" y="1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2" name="Freeform 347"/>
            <p:cNvSpPr>
              <a:spLocks/>
            </p:cNvSpPr>
            <p:nvPr/>
          </p:nvSpPr>
          <p:spPr bwMode="auto">
            <a:xfrm>
              <a:off x="6982181" y="3428111"/>
              <a:ext cx="57189" cy="62458"/>
            </a:xfrm>
            <a:custGeom>
              <a:avLst/>
              <a:gdLst>
                <a:gd name="T0" fmla="*/ 617585 w 123"/>
                <a:gd name="T1" fmla="*/ 40037 h 129"/>
                <a:gd name="T2" fmla="*/ 1108281 w 123"/>
                <a:gd name="T3" fmla="*/ 189595 h 129"/>
                <a:gd name="T4" fmla="*/ 1514055 w 123"/>
                <a:gd name="T5" fmla="*/ 331044 h 129"/>
                <a:gd name="T6" fmla="*/ 1547847 w 123"/>
                <a:gd name="T7" fmla="*/ 555778 h 129"/>
                <a:gd name="T8" fmla="*/ 1758185 w 123"/>
                <a:gd name="T9" fmla="*/ 706392 h 129"/>
                <a:gd name="T10" fmla="*/ 2197701 w 123"/>
                <a:gd name="T11" fmla="*/ 784832 h 129"/>
                <a:gd name="T12" fmla="*/ 2282214 w 123"/>
                <a:gd name="T13" fmla="*/ 888088 h 129"/>
                <a:gd name="T14" fmla="*/ 2465519 w 123"/>
                <a:gd name="T15" fmla="*/ 1038077 h 129"/>
                <a:gd name="T16" fmla="*/ 2793415 w 123"/>
                <a:gd name="T17" fmla="*/ 784832 h 129"/>
                <a:gd name="T18" fmla="*/ 2760830 w 123"/>
                <a:gd name="T19" fmla="*/ 517059 h 129"/>
                <a:gd name="T20" fmla="*/ 2931840 w 123"/>
                <a:gd name="T21" fmla="*/ 227617 h 129"/>
                <a:gd name="T22" fmla="*/ 3161997 w 123"/>
                <a:gd name="T23" fmla="*/ 117922 h 129"/>
                <a:gd name="T24" fmla="*/ 3443231 w 123"/>
                <a:gd name="T25" fmla="*/ 189595 h 129"/>
                <a:gd name="T26" fmla="*/ 3601347 w 123"/>
                <a:gd name="T27" fmla="*/ 365962 h 129"/>
                <a:gd name="T28" fmla="*/ 3940070 w 123"/>
                <a:gd name="T29" fmla="*/ 439354 h 129"/>
                <a:gd name="T30" fmla="*/ 4149123 w 123"/>
                <a:gd name="T31" fmla="*/ 481000 h 129"/>
                <a:gd name="T32" fmla="*/ 4112748 w 123"/>
                <a:gd name="T33" fmla="*/ 748017 h 129"/>
                <a:gd name="T34" fmla="*/ 4080034 w 123"/>
                <a:gd name="T35" fmla="*/ 1038077 h 129"/>
                <a:gd name="T36" fmla="*/ 4149123 w 123"/>
                <a:gd name="T37" fmla="*/ 4713330 h 129"/>
                <a:gd name="T38" fmla="*/ 3888273 w 123"/>
                <a:gd name="T39" fmla="*/ 4790717 h 129"/>
                <a:gd name="T40" fmla="*/ 1856967 w 123"/>
                <a:gd name="T41" fmla="*/ 3479923 h 129"/>
                <a:gd name="T42" fmla="*/ 1585498 w 123"/>
                <a:gd name="T43" fmla="*/ 3514256 h 129"/>
                <a:gd name="T44" fmla="*/ 1455890 w 123"/>
                <a:gd name="T45" fmla="*/ 3675309 h 129"/>
                <a:gd name="T46" fmla="*/ 1419316 w 123"/>
                <a:gd name="T47" fmla="*/ 3675309 h 129"/>
                <a:gd name="T48" fmla="*/ 1207608 w 123"/>
                <a:gd name="T49" fmla="*/ 3718509 h 129"/>
                <a:gd name="T50" fmla="*/ 956053 w 123"/>
                <a:gd name="T51" fmla="*/ 3479923 h 129"/>
                <a:gd name="T52" fmla="*/ 629389 w 123"/>
                <a:gd name="T53" fmla="*/ 3459186 h 129"/>
                <a:gd name="T54" fmla="*/ 368653 w 123"/>
                <a:gd name="T55" fmla="*/ 3119647 h 129"/>
                <a:gd name="T56" fmla="*/ 208994 w 123"/>
                <a:gd name="T57" fmla="*/ 3041751 h 129"/>
                <a:gd name="T58" fmla="*/ 37620 w 123"/>
                <a:gd name="T59" fmla="*/ 2631874 h 129"/>
                <a:gd name="T60" fmla="*/ 108925 w 123"/>
                <a:gd name="T61" fmla="*/ 2481939 h 129"/>
                <a:gd name="T62" fmla="*/ 108925 w 123"/>
                <a:gd name="T63" fmla="*/ 1960481 h 129"/>
                <a:gd name="T64" fmla="*/ 37620 w 123"/>
                <a:gd name="T65" fmla="*/ 1593799 h 129"/>
                <a:gd name="T66" fmla="*/ 72181 w 123"/>
                <a:gd name="T67" fmla="*/ 1325940 h 129"/>
                <a:gd name="T68" fmla="*/ 37620 w 123"/>
                <a:gd name="T69" fmla="*/ 1072781 h 129"/>
                <a:gd name="T70" fmla="*/ 229776 w 123"/>
                <a:gd name="T71" fmla="*/ 965574 h 129"/>
                <a:gd name="T72" fmla="*/ 229776 w 123"/>
                <a:gd name="T73" fmla="*/ 517059 h 129"/>
                <a:gd name="T74" fmla="*/ 265728 w 123"/>
                <a:gd name="T75" fmla="*/ 439354 h 129"/>
                <a:gd name="T76" fmla="*/ 509852 w 123"/>
                <a:gd name="T77" fmla="*/ 331044 h 129"/>
                <a:gd name="T78" fmla="*/ 539661 w 123"/>
                <a:gd name="T79" fmla="*/ 149170 h 129"/>
                <a:gd name="T80" fmla="*/ 539661 w 123"/>
                <a:gd name="T81" fmla="*/ 0 h 12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23"/>
                <a:gd name="T124" fmla="*/ 0 h 129"/>
                <a:gd name="T125" fmla="*/ 123 w 123"/>
                <a:gd name="T126" fmla="*/ 129 h 129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23" h="129">
                  <a:moveTo>
                    <a:pt x="16" y="0"/>
                  </a:moveTo>
                  <a:cubicBezTo>
                    <a:pt x="17" y="0"/>
                    <a:pt x="17" y="0"/>
                    <a:pt x="18" y="1"/>
                  </a:cubicBezTo>
                  <a:cubicBezTo>
                    <a:pt x="20" y="2"/>
                    <a:pt x="22" y="3"/>
                    <a:pt x="25" y="4"/>
                  </a:cubicBezTo>
                  <a:cubicBezTo>
                    <a:pt x="27" y="5"/>
                    <a:pt x="31" y="4"/>
                    <a:pt x="33" y="5"/>
                  </a:cubicBezTo>
                  <a:cubicBezTo>
                    <a:pt x="36" y="5"/>
                    <a:pt x="37" y="7"/>
                    <a:pt x="39" y="8"/>
                  </a:cubicBezTo>
                  <a:cubicBezTo>
                    <a:pt x="41" y="8"/>
                    <a:pt x="43" y="8"/>
                    <a:pt x="45" y="9"/>
                  </a:cubicBezTo>
                  <a:cubicBezTo>
                    <a:pt x="45" y="10"/>
                    <a:pt x="46" y="11"/>
                    <a:pt x="46" y="11"/>
                  </a:cubicBezTo>
                  <a:cubicBezTo>
                    <a:pt x="46" y="12"/>
                    <a:pt x="46" y="14"/>
                    <a:pt x="46" y="15"/>
                  </a:cubicBezTo>
                  <a:cubicBezTo>
                    <a:pt x="47" y="15"/>
                    <a:pt x="47" y="16"/>
                    <a:pt x="48" y="17"/>
                  </a:cubicBezTo>
                  <a:cubicBezTo>
                    <a:pt x="49" y="18"/>
                    <a:pt x="50" y="19"/>
                    <a:pt x="52" y="19"/>
                  </a:cubicBezTo>
                  <a:cubicBezTo>
                    <a:pt x="54" y="20"/>
                    <a:pt x="57" y="18"/>
                    <a:pt x="60" y="20"/>
                  </a:cubicBezTo>
                  <a:cubicBezTo>
                    <a:pt x="62" y="21"/>
                    <a:pt x="63" y="21"/>
                    <a:pt x="65" y="21"/>
                  </a:cubicBezTo>
                  <a:cubicBezTo>
                    <a:pt x="66" y="22"/>
                    <a:pt x="67" y="23"/>
                    <a:pt x="68" y="24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9" y="25"/>
                    <a:pt x="70" y="25"/>
                    <a:pt x="70" y="26"/>
                  </a:cubicBezTo>
                  <a:cubicBezTo>
                    <a:pt x="71" y="27"/>
                    <a:pt x="72" y="27"/>
                    <a:pt x="73" y="28"/>
                  </a:cubicBezTo>
                  <a:cubicBezTo>
                    <a:pt x="77" y="29"/>
                    <a:pt x="81" y="27"/>
                    <a:pt x="82" y="23"/>
                  </a:cubicBezTo>
                  <a:cubicBezTo>
                    <a:pt x="83" y="22"/>
                    <a:pt x="83" y="22"/>
                    <a:pt x="83" y="21"/>
                  </a:cubicBezTo>
                  <a:cubicBezTo>
                    <a:pt x="84" y="19"/>
                    <a:pt x="82" y="17"/>
                    <a:pt x="82" y="15"/>
                  </a:cubicBezTo>
                  <a:cubicBezTo>
                    <a:pt x="82" y="15"/>
                    <a:pt x="82" y="14"/>
                    <a:pt x="82" y="14"/>
                  </a:cubicBezTo>
                  <a:cubicBezTo>
                    <a:pt x="81" y="12"/>
                    <a:pt x="82" y="10"/>
                    <a:pt x="85" y="8"/>
                  </a:cubicBezTo>
                  <a:cubicBezTo>
                    <a:pt x="86" y="8"/>
                    <a:pt x="86" y="6"/>
                    <a:pt x="87" y="6"/>
                  </a:cubicBezTo>
                  <a:cubicBezTo>
                    <a:pt x="89" y="5"/>
                    <a:pt x="90" y="4"/>
                    <a:pt x="92" y="4"/>
                  </a:cubicBezTo>
                  <a:cubicBezTo>
                    <a:pt x="93" y="4"/>
                    <a:pt x="93" y="3"/>
                    <a:pt x="94" y="3"/>
                  </a:cubicBezTo>
                  <a:cubicBezTo>
                    <a:pt x="95" y="3"/>
                    <a:pt x="96" y="3"/>
                    <a:pt x="98" y="3"/>
                  </a:cubicBezTo>
                  <a:cubicBezTo>
                    <a:pt x="99" y="4"/>
                    <a:pt x="101" y="5"/>
                    <a:pt x="102" y="5"/>
                  </a:cubicBezTo>
                  <a:cubicBezTo>
                    <a:pt x="104" y="5"/>
                    <a:pt x="104" y="6"/>
                    <a:pt x="105" y="6"/>
                  </a:cubicBezTo>
                  <a:cubicBezTo>
                    <a:pt x="106" y="7"/>
                    <a:pt x="106" y="9"/>
                    <a:pt x="107" y="10"/>
                  </a:cubicBezTo>
                  <a:cubicBezTo>
                    <a:pt x="109" y="11"/>
                    <a:pt x="112" y="11"/>
                    <a:pt x="114" y="12"/>
                  </a:cubicBezTo>
                  <a:cubicBezTo>
                    <a:pt x="115" y="13"/>
                    <a:pt x="116" y="13"/>
                    <a:pt x="117" y="12"/>
                  </a:cubicBezTo>
                  <a:cubicBezTo>
                    <a:pt x="118" y="12"/>
                    <a:pt x="120" y="11"/>
                    <a:pt x="122" y="12"/>
                  </a:cubicBezTo>
                  <a:cubicBezTo>
                    <a:pt x="122" y="12"/>
                    <a:pt x="122" y="13"/>
                    <a:pt x="123" y="13"/>
                  </a:cubicBezTo>
                  <a:cubicBezTo>
                    <a:pt x="123" y="14"/>
                    <a:pt x="123" y="14"/>
                    <a:pt x="123" y="14"/>
                  </a:cubicBezTo>
                  <a:cubicBezTo>
                    <a:pt x="123" y="16"/>
                    <a:pt x="122" y="18"/>
                    <a:pt x="122" y="20"/>
                  </a:cubicBezTo>
                  <a:cubicBezTo>
                    <a:pt x="121" y="22"/>
                    <a:pt x="121" y="23"/>
                    <a:pt x="121" y="24"/>
                  </a:cubicBezTo>
                  <a:cubicBezTo>
                    <a:pt x="121" y="25"/>
                    <a:pt x="120" y="27"/>
                    <a:pt x="121" y="28"/>
                  </a:cubicBezTo>
                  <a:cubicBezTo>
                    <a:pt x="123" y="108"/>
                    <a:pt x="123" y="108"/>
                    <a:pt x="123" y="108"/>
                  </a:cubicBezTo>
                  <a:cubicBezTo>
                    <a:pt x="123" y="127"/>
                    <a:pt x="123" y="127"/>
                    <a:pt x="123" y="127"/>
                  </a:cubicBezTo>
                  <a:cubicBezTo>
                    <a:pt x="115" y="126"/>
                    <a:pt x="115" y="126"/>
                    <a:pt x="115" y="126"/>
                  </a:cubicBezTo>
                  <a:cubicBezTo>
                    <a:pt x="115" y="129"/>
                    <a:pt x="115" y="129"/>
                    <a:pt x="115" y="129"/>
                  </a:cubicBezTo>
                  <a:cubicBezTo>
                    <a:pt x="57" y="96"/>
                    <a:pt x="57" y="96"/>
                    <a:pt x="57" y="96"/>
                  </a:cubicBezTo>
                  <a:cubicBezTo>
                    <a:pt x="57" y="96"/>
                    <a:pt x="55" y="95"/>
                    <a:pt x="55" y="94"/>
                  </a:cubicBezTo>
                  <a:cubicBezTo>
                    <a:pt x="52" y="93"/>
                    <a:pt x="53" y="92"/>
                    <a:pt x="51" y="93"/>
                  </a:cubicBezTo>
                  <a:cubicBezTo>
                    <a:pt x="49" y="93"/>
                    <a:pt x="49" y="94"/>
                    <a:pt x="47" y="95"/>
                  </a:cubicBezTo>
                  <a:cubicBezTo>
                    <a:pt x="47" y="95"/>
                    <a:pt x="46" y="95"/>
                    <a:pt x="45" y="96"/>
                  </a:cubicBezTo>
                  <a:cubicBezTo>
                    <a:pt x="44" y="96"/>
                    <a:pt x="43" y="97"/>
                    <a:pt x="43" y="99"/>
                  </a:cubicBezTo>
                  <a:cubicBezTo>
                    <a:pt x="43" y="99"/>
                    <a:pt x="43" y="99"/>
                    <a:pt x="43" y="99"/>
                  </a:cubicBezTo>
                  <a:cubicBezTo>
                    <a:pt x="43" y="99"/>
                    <a:pt x="43" y="99"/>
                    <a:pt x="42" y="99"/>
                  </a:cubicBezTo>
                  <a:cubicBezTo>
                    <a:pt x="41" y="101"/>
                    <a:pt x="39" y="101"/>
                    <a:pt x="37" y="101"/>
                  </a:cubicBezTo>
                  <a:cubicBezTo>
                    <a:pt x="37" y="101"/>
                    <a:pt x="36" y="101"/>
                    <a:pt x="36" y="100"/>
                  </a:cubicBezTo>
                  <a:cubicBezTo>
                    <a:pt x="35" y="99"/>
                    <a:pt x="34" y="97"/>
                    <a:pt x="33" y="97"/>
                  </a:cubicBezTo>
                  <a:cubicBezTo>
                    <a:pt x="31" y="96"/>
                    <a:pt x="30" y="95"/>
                    <a:pt x="28" y="94"/>
                  </a:cubicBezTo>
                  <a:cubicBezTo>
                    <a:pt x="25" y="93"/>
                    <a:pt x="22" y="93"/>
                    <a:pt x="19" y="93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0" y="90"/>
                    <a:pt x="17" y="86"/>
                    <a:pt x="14" y="85"/>
                  </a:cubicBezTo>
                  <a:cubicBezTo>
                    <a:pt x="13" y="84"/>
                    <a:pt x="12" y="84"/>
                    <a:pt x="11" y="84"/>
                  </a:cubicBezTo>
                  <a:cubicBezTo>
                    <a:pt x="10" y="83"/>
                    <a:pt x="9" y="84"/>
                    <a:pt x="8" y="83"/>
                  </a:cubicBezTo>
                  <a:cubicBezTo>
                    <a:pt x="7" y="83"/>
                    <a:pt x="6" y="82"/>
                    <a:pt x="6" y="82"/>
                  </a:cubicBezTo>
                  <a:cubicBezTo>
                    <a:pt x="5" y="80"/>
                    <a:pt x="6" y="78"/>
                    <a:pt x="5" y="76"/>
                  </a:cubicBezTo>
                  <a:cubicBezTo>
                    <a:pt x="4" y="75"/>
                    <a:pt x="3" y="72"/>
                    <a:pt x="1" y="71"/>
                  </a:cubicBezTo>
                  <a:cubicBezTo>
                    <a:pt x="0" y="71"/>
                    <a:pt x="0" y="68"/>
                    <a:pt x="1" y="67"/>
                  </a:cubicBezTo>
                  <a:cubicBezTo>
                    <a:pt x="2" y="67"/>
                    <a:pt x="3" y="67"/>
                    <a:pt x="3" y="67"/>
                  </a:cubicBezTo>
                  <a:cubicBezTo>
                    <a:pt x="4" y="64"/>
                    <a:pt x="4" y="60"/>
                    <a:pt x="3" y="57"/>
                  </a:cubicBezTo>
                  <a:cubicBezTo>
                    <a:pt x="3" y="56"/>
                    <a:pt x="3" y="55"/>
                    <a:pt x="3" y="53"/>
                  </a:cubicBezTo>
                  <a:cubicBezTo>
                    <a:pt x="4" y="51"/>
                    <a:pt x="4" y="49"/>
                    <a:pt x="3" y="47"/>
                  </a:cubicBezTo>
                  <a:cubicBezTo>
                    <a:pt x="3" y="45"/>
                    <a:pt x="1" y="44"/>
                    <a:pt x="1" y="43"/>
                  </a:cubicBezTo>
                  <a:cubicBezTo>
                    <a:pt x="1" y="41"/>
                    <a:pt x="1" y="39"/>
                    <a:pt x="1" y="37"/>
                  </a:cubicBezTo>
                  <a:cubicBezTo>
                    <a:pt x="1" y="37"/>
                    <a:pt x="1" y="36"/>
                    <a:pt x="2" y="36"/>
                  </a:cubicBezTo>
                  <a:cubicBezTo>
                    <a:pt x="2" y="35"/>
                    <a:pt x="2" y="33"/>
                    <a:pt x="1" y="33"/>
                  </a:cubicBezTo>
                  <a:cubicBezTo>
                    <a:pt x="1" y="31"/>
                    <a:pt x="1" y="30"/>
                    <a:pt x="1" y="29"/>
                  </a:cubicBezTo>
                  <a:cubicBezTo>
                    <a:pt x="1" y="30"/>
                    <a:pt x="2" y="30"/>
                    <a:pt x="3" y="29"/>
                  </a:cubicBezTo>
                  <a:cubicBezTo>
                    <a:pt x="4" y="28"/>
                    <a:pt x="6" y="27"/>
                    <a:pt x="7" y="26"/>
                  </a:cubicBezTo>
                  <a:cubicBezTo>
                    <a:pt x="9" y="25"/>
                    <a:pt x="9" y="22"/>
                    <a:pt x="7" y="19"/>
                  </a:cubicBezTo>
                  <a:cubicBezTo>
                    <a:pt x="6" y="18"/>
                    <a:pt x="7" y="16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10" y="11"/>
                    <a:pt x="11" y="11"/>
                    <a:pt x="12" y="10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5" y="8"/>
                    <a:pt x="16" y="8"/>
                    <a:pt x="16" y="7"/>
                  </a:cubicBezTo>
                  <a:cubicBezTo>
                    <a:pt x="17" y="6"/>
                    <a:pt x="17" y="5"/>
                    <a:pt x="16" y="4"/>
                  </a:cubicBezTo>
                  <a:cubicBezTo>
                    <a:pt x="16" y="3"/>
                    <a:pt x="16" y="2"/>
                    <a:pt x="16" y="1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3" name="Freeform 348"/>
            <p:cNvSpPr>
              <a:spLocks/>
            </p:cNvSpPr>
            <p:nvPr/>
          </p:nvSpPr>
          <p:spPr bwMode="auto">
            <a:xfrm>
              <a:off x="6974154" y="3408644"/>
              <a:ext cx="15551" cy="34068"/>
            </a:xfrm>
            <a:custGeom>
              <a:avLst/>
              <a:gdLst>
                <a:gd name="T0" fmla="*/ 1043502 w 34"/>
                <a:gd name="T1" fmla="*/ 1456326 h 70"/>
                <a:gd name="T2" fmla="*/ 1043502 w 34"/>
                <a:gd name="T3" fmla="*/ 1456326 h 70"/>
                <a:gd name="T4" fmla="*/ 984754 w 34"/>
                <a:gd name="T5" fmla="*/ 1429328 h 70"/>
                <a:gd name="T6" fmla="*/ 949141 w 34"/>
                <a:gd name="T7" fmla="*/ 1348222 h 70"/>
                <a:gd name="T8" fmla="*/ 765419 w 34"/>
                <a:gd name="T9" fmla="*/ 1291792 h 70"/>
                <a:gd name="T10" fmla="*/ 695890 w 34"/>
                <a:gd name="T11" fmla="*/ 1209523 h 70"/>
                <a:gd name="T12" fmla="*/ 695890 w 34"/>
                <a:gd name="T13" fmla="*/ 1061183 h 70"/>
                <a:gd name="T14" fmla="*/ 839184 w 34"/>
                <a:gd name="T15" fmla="*/ 984266 h 70"/>
                <a:gd name="T16" fmla="*/ 914869 w 34"/>
                <a:gd name="T17" fmla="*/ 796537 h 70"/>
                <a:gd name="T18" fmla="*/ 914869 w 34"/>
                <a:gd name="T19" fmla="*/ 699078 h 70"/>
                <a:gd name="T20" fmla="*/ 914869 w 34"/>
                <a:gd name="T21" fmla="*/ 592685 h 70"/>
                <a:gd name="T22" fmla="*/ 914869 w 34"/>
                <a:gd name="T23" fmla="*/ 550243 h 70"/>
                <a:gd name="T24" fmla="*/ 860269 w 34"/>
                <a:gd name="T25" fmla="*/ 510360 h 70"/>
                <a:gd name="T26" fmla="*/ 800232 w 34"/>
                <a:gd name="T27" fmla="*/ 433250 h 70"/>
                <a:gd name="T28" fmla="*/ 765419 w 34"/>
                <a:gd name="T29" fmla="*/ 362485 h 70"/>
                <a:gd name="T30" fmla="*/ 898594 w 34"/>
                <a:gd name="T31" fmla="*/ 187955 h 70"/>
                <a:gd name="T32" fmla="*/ 949141 w 34"/>
                <a:gd name="T33" fmla="*/ 116484 h 70"/>
                <a:gd name="T34" fmla="*/ 860269 w 34"/>
                <a:gd name="T35" fmla="*/ 116484 h 70"/>
                <a:gd name="T36" fmla="*/ 765419 w 34"/>
                <a:gd name="T37" fmla="*/ 147939 h 70"/>
                <a:gd name="T38" fmla="*/ 734465 w 34"/>
                <a:gd name="T39" fmla="*/ 76709 h 70"/>
                <a:gd name="T40" fmla="*/ 695890 w 34"/>
                <a:gd name="T41" fmla="*/ 76709 h 70"/>
                <a:gd name="T42" fmla="*/ 660696 w 34"/>
                <a:gd name="T43" fmla="*/ 39775 h 70"/>
                <a:gd name="T44" fmla="*/ 600787 w 34"/>
                <a:gd name="T45" fmla="*/ 0 h 70"/>
                <a:gd name="T46" fmla="*/ 515102 w 34"/>
                <a:gd name="T47" fmla="*/ 0 h 70"/>
                <a:gd name="T48" fmla="*/ 314258 w 34"/>
                <a:gd name="T49" fmla="*/ 116484 h 70"/>
                <a:gd name="T50" fmla="*/ 250317 w 34"/>
                <a:gd name="T51" fmla="*/ 147939 h 70"/>
                <a:gd name="T52" fmla="*/ 218951 w 34"/>
                <a:gd name="T53" fmla="*/ 147939 h 70"/>
                <a:gd name="T54" fmla="*/ 218951 w 34"/>
                <a:gd name="T55" fmla="*/ 285311 h 70"/>
                <a:gd name="T56" fmla="*/ 218951 w 34"/>
                <a:gd name="T57" fmla="*/ 391550 h 70"/>
                <a:gd name="T58" fmla="*/ 250317 w 34"/>
                <a:gd name="T59" fmla="*/ 473009 h 70"/>
                <a:gd name="T60" fmla="*/ 250317 w 34"/>
                <a:gd name="T61" fmla="*/ 627160 h 70"/>
                <a:gd name="T62" fmla="*/ 218951 w 34"/>
                <a:gd name="T63" fmla="*/ 755132 h 70"/>
                <a:gd name="T64" fmla="*/ 250317 w 34"/>
                <a:gd name="T65" fmla="*/ 912231 h 70"/>
                <a:gd name="T66" fmla="*/ 180773 w 34"/>
                <a:gd name="T67" fmla="*/ 944383 h 70"/>
                <a:gd name="T68" fmla="*/ 180773 w 34"/>
                <a:gd name="T69" fmla="*/ 984266 h 70"/>
                <a:gd name="T70" fmla="*/ 94558 w 34"/>
                <a:gd name="T71" fmla="*/ 1027161 h 70"/>
                <a:gd name="T72" fmla="*/ 94558 w 34"/>
                <a:gd name="T73" fmla="*/ 1429328 h 70"/>
                <a:gd name="T74" fmla="*/ 180773 w 34"/>
                <a:gd name="T75" fmla="*/ 1496216 h 70"/>
                <a:gd name="T76" fmla="*/ 218951 w 34"/>
                <a:gd name="T77" fmla="*/ 1496216 h 70"/>
                <a:gd name="T78" fmla="*/ 250317 w 34"/>
                <a:gd name="T79" fmla="*/ 1611423 h 70"/>
                <a:gd name="T80" fmla="*/ 285512 w 34"/>
                <a:gd name="T81" fmla="*/ 1721072 h 70"/>
                <a:gd name="T82" fmla="*/ 418583 w 34"/>
                <a:gd name="T83" fmla="*/ 1781519 h 70"/>
                <a:gd name="T84" fmla="*/ 515102 w 34"/>
                <a:gd name="T85" fmla="*/ 2046567 h 70"/>
                <a:gd name="T86" fmla="*/ 545832 w 34"/>
                <a:gd name="T87" fmla="*/ 2204425 h 70"/>
                <a:gd name="T88" fmla="*/ 545832 w 34"/>
                <a:gd name="T89" fmla="*/ 2272029 h 70"/>
                <a:gd name="T90" fmla="*/ 564959 w 34"/>
                <a:gd name="T91" fmla="*/ 2534179 h 70"/>
                <a:gd name="T92" fmla="*/ 638589 w 34"/>
                <a:gd name="T93" fmla="*/ 2534179 h 70"/>
                <a:gd name="T94" fmla="*/ 765419 w 34"/>
                <a:gd name="T95" fmla="*/ 2409453 h 70"/>
                <a:gd name="T96" fmla="*/ 765419 w 34"/>
                <a:gd name="T97" fmla="*/ 2166143 h 70"/>
                <a:gd name="T98" fmla="*/ 765419 w 34"/>
                <a:gd name="T99" fmla="*/ 1980953 h 70"/>
                <a:gd name="T100" fmla="*/ 765419 w 34"/>
                <a:gd name="T101" fmla="*/ 1980953 h 70"/>
                <a:gd name="T102" fmla="*/ 800232 w 34"/>
                <a:gd name="T103" fmla="*/ 1898227 h 70"/>
                <a:gd name="T104" fmla="*/ 914869 w 34"/>
                <a:gd name="T105" fmla="*/ 1821310 h 70"/>
                <a:gd name="T106" fmla="*/ 1019984 w 34"/>
                <a:gd name="T107" fmla="*/ 1781519 h 70"/>
                <a:gd name="T108" fmla="*/ 1043502 w 34"/>
                <a:gd name="T109" fmla="*/ 1721072 h 70"/>
                <a:gd name="T110" fmla="*/ 1043502 w 34"/>
                <a:gd name="T111" fmla="*/ 1611423 h 70"/>
                <a:gd name="T112" fmla="*/ 1043502 w 34"/>
                <a:gd name="T113" fmla="*/ 1496216 h 70"/>
                <a:gd name="T114" fmla="*/ 1043502 w 34"/>
                <a:gd name="T115" fmla="*/ 1456326 h 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4"/>
                <a:gd name="T175" fmla="*/ 0 h 70"/>
                <a:gd name="T176" fmla="*/ 34 w 34"/>
                <a:gd name="T177" fmla="*/ 70 h 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4" h="70">
                  <a:moveTo>
                    <a:pt x="33" y="40"/>
                  </a:moveTo>
                  <a:cubicBezTo>
                    <a:pt x="33" y="40"/>
                    <a:pt x="33" y="40"/>
                    <a:pt x="33" y="40"/>
                  </a:cubicBezTo>
                  <a:cubicBezTo>
                    <a:pt x="32" y="39"/>
                    <a:pt x="31" y="39"/>
                    <a:pt x="31" y="39"/>
                  </a:cubicBezTo>
                  <a:cubicBezTo>
                    <a:pt x="30" y="38"/>
                    <a:pt x="30" y="38"/>
                    <a:pt x="30" y="37"/>
                  </a:cubicBezTo>
                  <a:cubicBezTo>
                    <a:pt x="29" y="35"/>
                    <a:pt x="26" y="36"/>
                    <a:pt x="24" y="35"/>
                  </a:cubicBezTo>
                  <a:cubicBezTo>
                    <a:pt x="23" y="35"/>
                    <a:pt x="22" y="34"/>
                    <a:pt x="22" y="33"/>
                  </a:cubicBezTo>
                  <a:cubicBezTo>
                    <a:pt x="22" y="32"/>
                    <a:pt x="22" y="30"/>
                    <a:pt x="22" y="29"/>
                  </a:cubicBezTo>
                  <a:cubicBezTo>
                    <a:pt x="23" y="28"/>
                    <a:pt x="25" y="28"/>
                    <a:pt x="26" y="27"/>
                  </a:cubicBezTo>
                  <a:cubicBezTo>
                    <a:pt x="27" y="25"/>
                    <a:pt x="28" y="24"/>
                    <a:pt x="29" y="22"/>
                  </a:cubicBezTo>
                  <a:cubicBezTo>
                    <a:pt x="29" y="21"/>
                    <a:pt x="28" y="20"/>
                    <a:pt x="29" y="19"/>
                  </a:cubicBezTo>
                  <a:cubicBezTo>
                    <a:pt x="30" y="18"/>
                    <a:pt x="30" y="17"/>
                    <a:pt x="29" y="16"/>
                  </a:cubicBezTo>
                  <a:cubicBezTo>
                    <a:pt x="29" y="16"/>
                    <a:pt x="29" y="15"/>
                    <a:pt x="29" y="15"/>
                  </a:cubicBezTo>
                  <a:cubicBezTo>
                    <a:pt x="28" y="15"/>
                    <a:pt x="27" y="14"/>
                    <a:pt x="27" y="14"/>
                  </a:cubicBezTo>
                  <a:cubicBezTo>
                    <a:pt x="26" y="13"/>
                    <a:pt x="25" y="12"/>
                    <a:pt x="25" y="12"/>
                  </a:cubicBezTo>
                  <a:cubicBezTo>
                    <a:pt x="24" y="11"/>
                    <a:pt x="24" y="10"/>
                    <a:pt x="24" y="10"/>
                  </a:cubicBezTo>
                  <a:cubicBezTo>
                    <a:pt x="26" y="8"/>
                    <a:pt x="28" y="7"/>
                    <a:pt x="28" y="5"/>
                  </a:cubicBezTo>
                  <a:cubicBezTo>
                    <a:pt x="29" y="5"/>
                    <a:pt x="30" y="4"/>
                    <a:pt x="30" y="3"/>
                  </a:cubicBezTo>
                  <a:cubicBezTo>
                    <a:pt x="29" y="3"/>
                    <a:pt x="28" y="3"/>
                    <a:pt x="27" y="3"/>
                  </a:cubicBezTo>
                  <a:cubicBezTo>
                    <a:pt x="26" y="4"/>
                    <a:pt x="24" y="4"/>
                    <a:pt x="24" y="4"/>
                  </a:cubicBezTo>
                  <a:cubicBezTo>
                    <a:pt x="23" y="3"/>
                    <a:pt x="23" y="3"/>
                    <a:pt x="23" y="2"/>
                  </a:cubicBezTo>
                  <a:cubicBezTo>
                    <a:pt x="23" y="2"/>
                    <a:pt x="22" y="2"/>
                    <a:pt x="22" y="2"/>
                  </a:cubicBezTo>
                  <a:cubicBezTo>
                    <a:pt x="22" y="2"/>
                    <a:pt x="21" y="1"/>
                    <a:pt x="21" y="1"/>
                  </a:cubicBezTo>
                  <a:cubicBezTo>
                    <a:pt x="20" y="1"/>
                    <a:pt x="20" y="1"/>
                    <a:pt x="19" y="0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3" y="1"/>
                    <a:pt x="12" y="3"/>
                    <a:pt x="10" y="3"/>
                  </a:cubicBezTo>
                  <a:cubicBezTo>
                    <a:pt x="9" y="4"/>
                    <a:pt x="8" y="4"/>
                    <a:pt x="8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6"/>
                    <a:pt x="7" y="7"/>
                    <a:pt x="7" y="8"/>
                  </a:cubicBezTo>
                  <a:cubicBezTo>
                    <a:pt x="6" y="9"/>
                    <a:pt x="6" y="10"/>
                    <a:pt x="7" y="11"/>
                  </a:cubicBezTo>
                  <a:cubicBezTo>
                    <a:pt x="7" y="12"/>
                    <a:pt x="8" y="12"/>
                    <a:pt x="8" y="13"/>
                  </a:cubicBezTo>
                  <a:cubicBezTo>
                    <a:pt x="8" y="14"/>
                    <a:pt x="8" y="16"/>
                    <a:pt x="8" y="17"/>
                  </a:cubicBezTo>
                  <a:cubicBezTo>
                    <a:pt x="7" y="18"/>
                    <a:pt x="8" y="19"/>
                    <a:pt x="7" y="21"/>
                  </a:cubicBezTo>
                  <a:cubicBezTo>
                    <a:pt x="7" y="22"/>
                    <a:pt x="8" y="23"/>
                    <a:pt x="8" y="25"/>
                  </a:cubicBezTo>
                  <a:cubicBezTo>
                    <a:pt x="8" y="25"/>
                    <a:pt x="7" y="25"/>
                    <a:pt x="6" y="26"/>
                  </a:cubicBezTo>
                  <a:cubicBezTo>
                    <a:pt x="6" y="26"/>
                    <a:pt x="6" y="27"/>
                    <a:pt x="6" y="27"/>
                  </a:cubicBezTo>
                  <a:cubicBezTo>
                    <a:pt x="5" y="28"/>
                    <a:pt x="4" y="28"/>
                    <a:pt x="3" y="28"/>
                  </a:cubicBezTo>
                  <a:cubicBezTo>
                    <a:pt x="0" y="31"/>
                    <a:pt x="2" y="36"/>
                    <a:pt x="3" y="39"/>
                  </a:cubicBezTo>
                  <a:cubicBezTo>
                    <a:pt x="3" y="40"/>
                    <a:pt x="5" y="40"/>
                    <a:pt x="6" y="41"/>
                  </a:cubicBezTo>
                  <a:cubicBezTo>
                    <a:pt x="6" y="41"/>
                    <a:pt x="7" y="41"/>
                    <a:pt x="7" y="41"/>
                  </a:cubicBezTo>
                  <a:cubicBezTo>
                    <a:pt x="7" y="43"/>
                    <a:pt x="8" y="44"/>
                    <a:pt x="8" y="44"/>
                  </a:cubicBezTo>
                  <a:cubicBezTo>
                    <a:pt x="9" y="45"/>
                    <a:pt x="8" y="47"/>
                    <a:pt x="9" y="47"/>
                  </a:cubicBezTo>
                  <a:cubicBezTo>
                    <a:pt x="10" y="48"/>
                    <a:pt x="12" y="48"/>
                    <a:pt x="13" y="49"/>
                  </a:cubicBezTo>
                  <a:cubicBezTo>
                    <a:pt x="15" y="50"/>
                    <a:pt x="16" y="53"/>
                    <a:pt x="16" y="56"/>
                  </a:cubicBezTo>
                  <a:cubicBezTo>
                    <a:pt x="16" y="56"/>
                    <a:pt x="16" y="60"/>
                    <a:pt x="17" y="60"/>
                  </a:cubicBezTo>
                  <a:cubicBezTo>
                    <a:pt x="16" y="60"/>
                    <a:pt x="16" y="61"/>
                    <a:pt x="17" y="62"/>
                  </a:cubicBezTo>
                  <a:cubicBezTo>
                    <a:pt x="17" y="65"/>
                    <a:pt x="17" y="67"/>
                    <a:pt x="18" y="69"/>
                  </a:cubicBezTo>
                  <a:cubicBezTo>
                    <a:pt x="18" y="70"/>
                    <a:pt x="19" y="70"/>
                    <a:pt x="20" y="69"/>
                  </a:cubicBezTo>
                  <a:cubicBezTo>
                    <a:pt x="21" y="68"/>
                    <a:pt x="23" y="67"/>
                    <a:pt x="24" y="66"/>
                  </a:cubicBezTo>
                  <a:cubicBezTo>
                    <a:pt x="26" y="65"/>
                    <a:pt x="26" y="62"/>
                    <a:pt x="24" y="59"/>
                  </a:cubicBezTo>
                  <a:cubicBezTo>
                    <a:pt x="23" y="58"/>
                    <a:pt x="24" y="56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5" y="53"/>
                    <a:pt x="25" y="52"/>
                    <a:pt x="25" y="52"/>
                  </a:cubicBezTo>
                  <a:cubicBezTo>
                    <a:pt x="27" y="51"/>
                    <a:pt x="28" y="51"/>
                    <a:pt x="29" y="50"/>
                  </a:cubicBezTo>
                  <a:cubicBezTo>
                    <a:pt x="30" y="49"/>
                    <a:pt x="31" y="49"/>
                    <a:pt x="32" y="49"/>
                  </a:cubicBezTo>
                  <a:cubicBezTo>
                    <a:pt x="32" y="48"/>
                    <a:pt x="33" y="48"/>
                    <a:pt x="33" y="47"/>
                  </a:cubicBezTo>
                  <a:cubicBezTo>
                    <a:pt x="34" y="46"/>
                    <a:pt x="34" y="45"/>
                    <a:pt x="33" y="44"/>
                  </a:cubicBezTo>
                  <a:cubicBezTo>
                    <a:pt x="33" y="43"/>
                    <a:pt x="33" y="42"/>
                    <a:pt x="33" y="41"/>
                  </a:cubicBezTo>
                  <a:lnTo>
                    <a:pt x="33" y="4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4" name="Freeform 349"/>
            <p:cNvSpPr>
              <a:spLocks/>
            </p:cNvSpPr>
            <p:nvPr/>
          </p:nvSpPr>
          <p:spPr bwMode="auto">
            <a:xfrm>
              <a:off x="6916213" y="3409726"/>
              <a:ext cx="74998" cy="83817"/>
            </a:xfrm>
            <a:custGeom>
              <a:avLst/>
              <a:gdLst>
                <a:gd name="T0" fmla="*/ 1885452 w 161"/>
                <a:gd name="T1" fmla="*/ 640858 h 173"/>
                <a:gd name="T2" fmla="*/ 2118954 w 161"/>
                <a:gd name="T3" fmla="*/ 458050 h 173"/>
                <a:gd name="T4" fmla="*/ 2280481 w 161"/>
                <a:gd name="T5" fmla="*/ 424386 h 173"/>
                <a:gd name="T6" fmla="*/ 2464144 w 161"/>
                <a:gd name="T7" fmla="*/ 354924 h 173"/>
                <a:gd name="T8" fmla="*/ 2665018 w 161"/>
                <a:gd name="T9" fmla="*/ 237966 h 173"/>
                <a:gd name="T10" fmla="*/ 2889795 w 161"/>
                <a:gd name="T11" fmla="*/ 145117 h 173"/>
                <a:gd name="T12" fmla="*/ 3246641 w 161"/>
                <a:gd name="T13" fmla="*/ 114542 h 173"/>
                <a:gd name="T14" fmla="*/ 3745075 w 161"/>
                <a:gd name="T15" fmla="*/ 75391 h 173"/>
                <a:gd name="T16" fmla="*/ 4079974 w 161"/>
                <a:gd name="T17" fmla="*/ 75391 h 173"/>
                <a:gd name="T18" fmla="*/ 4349593 w 161"/>
                <a:gd name="T19" fmla="*/ 39167 h 173"/>
                <a:gd name="T20" fmla="*/ 4599183 w 161"/>
                <a:gd name="T21" fmla="*/ 75391 h 173"/>
                <a:gd name="T22" fmla="*/ 4668839 w 161"/>
                <a:gd name="T23" fmla="*/ 75391 h 173"/>
                <a:gd name="T24" fmla="*/ 4668839 w 161"/>
                <a:gd name="T25" fmla="*/ 318481 h 173"/>
                <a:gd name="T26" fmla="*/ 4711134 w 161"/>
                <a:gd name="T27" fmla="*/ 537668 h 173"/>
                <a:gd name="T28" fmla="*/ 4711134 w 161"/>
                <a:gd name="T29" fmla="*/ 816882 h 173"/>
                <a:gd name="T30" fmla="*/ 4629602 w 161"/>
                <a:gd name="T31" fmla="*/ 881680 h 173"/>
                <a:gd name="T32" fmla="*/ 4544908 w 161"/>
                <a:gd name="T33" fmla="*/ 1315017 h 173"/>
                <a:gd name="T34" fmla="*/ 4668839 w 161"/>
                <a:gd name="T35" fmla="*/ 1379067 h 173"/>
                <a:gd name="T36" fmla="*/ 4744625 w 161"/>
                <a:gd name="T37" fmla="*/ 1599707 h 173"/>
                <a:gd name="T38" fmla="*/ 5003231 w 161"/>
                <a:gd name="T39" fmla="*/ 1916705 h 173"/>
                <a:gd name="T40" fmla="*/ 5024646 w 161"/>
                <a:gd name="T41" fmla="*/ 2116818 h 173"/>
                <a:gd name="T42" fmla="*/ 5063871 w 161"/>
                <a:gd name="T43" fmla="*/ 2531218 h 173"/>
                <a:gd name="T44" fmla="*/ 5063871 w 161"/>
                <a:gd name="T45" fmla="*/ 2654505 h 173"/>
                <a:gd name="T46" fmla="*/ 5131401 w 161"/>
                <a:gd name="T47" fmla="*/ 3026604 h 173"/>
                <a:gd name="T48" fmla="*/ 5131401 w 161"/>
                <a:gd name="T49" fmla="*/ 3376029 h 173"/>
                <a:gd name="T50" fmla="*/ 5063871 w 161"/>
                <a:gd name="T51" fmla="*/ 3730637 h 173"/>
                <a:gd name="T52" fmla="*/ 5208404 w 161"/>
                <a:gd name="T53" fmla="*/ 4043995 h 173"/>
                <a:gd name="T54" fmla="*/ 5325962 w 161"/>
                <a:gd name="T55" fmla="*/ 4291077 h 173"/>
                <a:gd name="T56" fmla="*/ 5525663 w 161"/>
                <a:gd name="T57" fmla="*/ 4371959 h 173"/>
                <a:gd name="T58" fmla="*/ 5668702 w 161"/>
                <a:gd name="T59" fmla="*/ 4726779 h 173"/>
                <a:gd name="T60" fmla="*/ 4045427 w 161"/>
                <a:gd name="T61" fmla="*/ 5960299 h 173"/>
                <a:gd name="T62" fmla="*/ 3360336 w 161"/>
                <a:gd name="T63" fmla="*/ 6144262 h 173"/>
                <a:gd name="T64" fmla="*/ 3284814 w 161"/>
                <a:gd name="T65" fmla="*/ 5927023 h 173"/>
                <a:gd name="T66" fmla="*/ 3111362 w 161"/>
                <a:gd name="T67" fmla="*/ 5792394 h 173"/>
                <a:gd name="T68" fmla="*/ 2780590 w 161"/>
                <a:gd name="T69" fmla="*/ 5533151 h 173"/>
                <a:gd name="T70" fmla="*/ 0 w 161"/>
                <a:gd name="T71" fmla="*/ 3412141 h 173"/>
                <a:gd name="T72" fmla="*/ 1745207 w 161"/>
                <a:gd name="T73" fmla="*/ 2195950 h 173"/>
                <a:gd name="T74" fmla="*/ 1664201 w 161"/>
                <a:gd name="T75" fmla="*/ 1841345 h 173"/>
                <a:gd name="T76" fmla="*/ 1924799 w 161"/>
                <a:gd name="T77" fmla="*/ 1772674 h 173"/>
                <a:gd name="T78" fmla="*/ 2079707 w 161"/>
                <a:gd name="T79" fmla="*/ 1533228 h 173"/>
                <a:gd name="T80" fmla="*/ 1966066 w 161"/>
                <a:gd name="T81" fmla="*/ 881680 h 173"/>
                <a:gd name="T82" fmla="*/ 1779115 w 161"/>
                <a:gd name="T83" fmla="*/ 683177 h 17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61"/>
                <a:gd name="T127" fmla="*/ 0 h 173"/>
                <a:gd name="T128" fmla="*/ 161 w 161"/>
                <a:gd name="T129" fmla="*/ 173 h 17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61" h="173">
                  <a:moveTo>
                    <a:pt x="50" y="18"/>
                  </a:moveTo>
                  <a:cubicBezTo>
                    <a:pt x="51" y="18"/>
                    <a:pt x="52" y="18"/>
                    <a:pt x="53" y="18"/>
                  </a:cubicBezTo>
                  <a:cubicBezTo>
                    <a:pt x="55" y="18"/>
                    <a:pt x="56" y="16"/>
                    <a:pt x="57" y="15"/>
                  </a:cubicBezTo>
                  <a:cubicBezTo>
                    <a:pt x="58" y="15"/>
                    <a:pt x="58" y="13"/>
                    <a:pt x="59" y="13"/>
                  </a:cubicBezTo>
                  <a:cubicBezTo>
                    <a:pt x="61" y="13"/>
                    <a:pt x="62" y="13"/>
                    <a:pt x="63" y="13"/>
                  </a:cubicBezTo>
                  <a:cubicBezTo>
                    <a:pt x="63" y="12"/>
                    <a:pt x="63" y="12"/>
                    <a:pt x="64" y="12"/>
                  </a:cubicBezTo>
                  <a:cubicBezTo>
                    <a:pt x="65" y="11"/>
                    <a:pt x="67" y="12"/>
                    <a:pt x="68" y="11"/>
                  </a:cubicBezTo>
                  <a:cubicBezTo>
                    <a:pt x="68" y="10"/>
                    <a:pt x="69" y="10"/>
                    <a:pt x="69" y="10"/>
                  </a:cubicBezTo>
                  <a:cubicBezTo>
                    <a:pt x="70" y="9"/>
                    <a:pt x="70" y="9"/>
                    <a:pt x="70" y="8"/>
                  </a:cubicBezTo>
                  <a:cubicBezTo>
                    <a:pt x="72" y="7"/>
                    <a:pt x="73" y="8"/>
                    <a:pt x="75" y="7"/>
                  </a:cubicBezTo>
                  <a:cubicBezTo>
                    <a:pt x="75" y="6"/>
                    <a:pt x="76" y="6"/>
                    <a:pt x="77" y="6"/>
                  </a:cubicBezTo>
                  <a:cubicBezTo>
                    <a:pt x="78" y="5"/>
                    <a:pt x="80" y="4"/>
                    <a:pt x="81" y="4"/>
                  </a:cubicBezTo>
                  <a:cubicBezTo>
                    <a:pt x="84" y="4"/>
                    <a:pt x="85" y="4"/>
                    <a:pt x="88" y="4"/>
                  </a:cubicBezTo>
                  <a:cubicBezTo>
                    <a:pt x="89" y="4"/>
                    <a:pt x="90" y="3"/>
                    <a:pt x="91" y="3"/>
                  </a:cubicBezTo>
                  <a:cubicBezTo>
                    <a:pt x="94" y="2"/>
                    <a:pt x="96" y="3"/>
                    <a:pt x="99" y="2"/>
                  </a:cubicBezTo>
                  <a:cubicBezTo>
                    <a:pt x="101" y="2"/>
                    <a:pt x="103" y="1"/>
                    <a:pt x="105" y="2"/>
                  </a:cubicBezTo>
                  <a:cubicBezTo>
                    <a:pt x="106" y="2"/>
                    <a:pt x="108" y="4"/>
                    <a:pt x="109" y="3"/>
                  </a:cubicBezTo>
                  <a:cubicBezTo>
                    <a:pt x="111" y="2"/>
                    <a:pt x="113" y="2"/>
                    <a:pt x="114" y="2"/>
                  </a:cubicBezTo>
                  <a:cubicBezTo>
                    <a:pt x="115" y="1"/>
                    <a:pt x="115" y="1"/>
                    <a:pt x="116" y="0"/>
                  </a:cubicBezTo>
                  <a:cubicBezTo>
                    <a:pt x="118" y="0"/>
                    <a:pt x="120" y="1"/>
                    <a:pt x="122" y="1"/>
                  </a:cubicBezTo>
                  <a:cubicBezTo>
                    <a:pt x="123" y="2"/>
                    <a:pt x="124" y="1"/>
                    <a:pt x="125" y="1"/>
                  </a:cubicBezTo>
                  <a:cubicBezTo>
                    <a:pt x="127" y="0"/>
                    <a:pt x="128" y="1"/>
                    <a:pt x="129" y="2"/>
                  </a:cubicBezTo>
                  <a:cubicBezTo>
                    <a:pt x="130" y="2"/>
                    <a:pt x="131" y="2"/>
                    <a:pt x="132" y="2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1" y="4"/>
                    <a:pt x="131" y="5"/>
                    <a:pt x="131" y="6"/>
                  </a:cubicBezTo>
                  <a:cubicBezTo>
                    <a:pt x="130" y="7"/>
                    <a:pt x="130" y="8"/>
                    <a:pt x="131" y="9"/>
                  </a:cubicBezTo>
                  <a:cubicBezTo>
                    <a:pt x="131" y="10"/>
                    <a:pt x="132" y="10"/>
                    <a:pt x="132" y="11"/>
                  </a:cubicBezTo>
                  <a:cubicBezTo>
                    <a:pt x="132" y="12"/>
                    <a:pt x="132" y="14"/>
                    <a:pt x="132" y="15"/>
                  </a:cubicBezTo>
                  <a:cubicBezTo>
                    <a:pt x="131" y="16"/>
                    <a:pt x="132" y="17"/>
                    <a:pt x="131" y="19"/>
                  </a:cubicBezTo>
                  <a:cubicBezTo>
                    <a:pt x="131" y="20"/>
                    <a:pt x="132" y="21"/>
                    <a:pt x="132" y="23"/>
                  </a:cubicBezTo>
                  <a:cubicBezTo>
                    <a:pt x="132" y="23"/>
                    <a:pt x="131" y="23"/>
                    <a:pt x="130" y="24"/>
                  </a:cubicBezTo>
                  <a:cubicBezTo>
                    <a:pt x="130" y="24"/>
                    <a:pt x="130" y="25"/>
                    <a:pt x="130" y="25"/>
                  </a:cubicBezTo>
                  <a:cubicBezTo>
                    <a:pt x="129" y="26"/>
                    <a:pt x="128" y="26"/>
                    <a:pt x="127" y="26"/>
                  </a:cubicBezTo>
                  <a:cubicBezTo>
                    <a:pt x="124" y="29"/>
                    <a:pt x="126" y="34"/>
                    <a:pt x="127" y="37"/>
                  </a:cubicBezTo>
                  <a:cubicBezTo>
                    <a:pt x="127" y="38"/>
                    <a:pt x="129" y="38"/>
                    <a:pt x="130" y="39"/>
                  </a:cubicBezTo>
                  <a:cubicBezTo>
                    <a:pt x="130" y="39"/>
                    <a:pt x="131" y="39"/>
                    <a:pt x="131" y="39"/>
                  </a:cubicBezTo>
                  <a:cubicBezTo>
                    <a:pt x="131" y="41"/>
                    <a:pt x="132" y="42"/>
                    <a:pt x="132" y="42"/>
                  </a:cubicBezTo>
                  <a:cubicBezTo>
                    <a:pt x="133" y="43"/>
                    <a:pt x="132" y="45"/>
                    <a:pt x="133" y="45"/>
                  </a:cubicBezTo>
                  <a:cubicBezTo>
                    <a:pt x="134" y="46"/>
                    <a:pt x="136" y="46"/>
                    <a:pt x="137" y="47"/>
                  </a:cubicBezTo>
                  <a:cubicBezTo>
                    <a:pt x="139" y="48"/>
                    <a:pt x="140" y="51"/>
                    <a:pt x="140" y="54"/>
                  </a:cubicBezTo>
                  <a:cubicBezTo>
                    <a:pt x="140" y="54"/>
                    <a:pt x="140" y="58"/>
                    <a:pt x="141" y="58"/>
                  </a:cubicBezTo>
                  <a:cubicBezTo>
                    <a:pt x="140" y="58"/>
                    <a:pt x="140" y="59"/>
                    <a:pt x="141" y="60"/>
                  </a:cubicBezTo>
                  <a:cubicBezTo>
                    <a:pt x="141" y="63"/>
                    <a:pt x="141" y="65"/>
                    <a:pt x="142" y="67"/>
                  </a:cubicBezTo>
                  <a:cubicBezTo>
                    <a:pt x="142" y="68"/>
                    <a:pt x="142" y="69"/>
                    <a:pt x="142" y="71"/>
                  </a:cubicBezTo>
                  <a:cubicBezTo>
                    <a:pt x="143" y="71"/>
                    <a:pt x="143" y="73"/>
                    <a:pt x="143" y="74"/>
                  </a:cubicBezTo>
                  <a:cubicBezTo>
                    <a:pt x="142" y="74"/>
                    <a:pt x="142" y="75"/>
                    <a:pt x="142" y="75"/>
                  </a:cubicBezTo>
                  <a:cubicBezTo>
                    <a:pt x="142" y="77"/>
                    <a:pt x="142" y="79"/>
                    <a:pt x="142" y="81"/>
                  </a:cubicBezTo>
                  <a:cubicBezTo>
                    <a:pt x="142" y="82"/>
                    <a:pt x="144" y="83"/>
                    <a:pt x="144" y="85"/>
                  </a:cubicBezTo>
                  <a:cubicBezTo>
                    <a:pt x="145" y="87"/>
                    <a:pt x="145" y="89"/>
                    <a:pt x="144" y="91"/>
                  </a:cubicBezTo>
                  <a:cubicBezTo>
                    <a:pt x="144" y="93"/>
                    <a:pt x="144" y="94"/>
                    <a:pt x="144" y="95"/>
                  </a:cubicBezTo>
                  <a:cubicBezTo>
                    <a:pt x="145" y="98"/>
                    <a:pt x="145" y="102"/>
                    <a:pt x="144" y="105"/>
                  </a:cubicBezTo>
                  <a:cubicBezTo>
                    <a:pt x="144" y="105"/>
                    <a:pt x="143" y="105"/>
                    <a:pt x="142" y="105"/>
                  </a:cubicBezTo>
                  <a:cubicBezTo>
                    <a:pt x="141" y="106"/>
                    <a:pt x="141" y="109"/>
                    <a:pt x="142" y="109"/>
                  </a:cubicBezTo>
                  <a:cubicBezTo>
                    <a:pt x="144" y="110"/>
                    <a:pt x="145" y="113"/>
                    <a:pt x="146" y="114"/>
                  </a:cubicBezTo>
                  <a:cubicBezTo>
                    <a:pt x="147" y="116"/>
                    <a:pt x="146" y="118"/>
                    <a:pt x="147" y="120"/>
                  </a:cubicBezTo>
                  <a:cubicBezTo>
                    <a:pt x="147" y="120"/>
                    <a:pt x="148" y="121"/>
                    <a:pt x="149" y="121"/>
                  </a:cubicBezTo>
                  <a:cubicBezTo>
                    <a:pt x="150" y="122"/>
                    <a:pt x="151" y="121"/>
                    <a:pt x="152" y="122"/>
                  </a:cubicBezTo>
                  <a:cubicBezTo>
                    <a:pt x="153" y="122"/>
                    <a:pt x="154" y="122"/>
                    <a:pt x="155" y="123"/>
                  </a:cubicBezTo>
                  <a:cubicBezTo>
                    <a:pt x="158" y="124"/>
                    <a:pt x="161" y="128"/>
                    <a:pt x="160" y="131"/>
                  </a:cubicBezTo>
                  <a:cubicBezTo>
                    <a:pt x="160" y="132"/>
                    <a:pt x="159" y="132"/>
                    <a:pt x="159" y="133"/>
                  </a:cubicBezTo>
                  <a:cubicBezTo>
                    <a:pt x="158" y="133"/>
                    <a:pt x="157" y="134"/>
                    <a:pt x="156" y="134"/>
                  </a:cubicBezTo>
                  <a:cubicBezTo>
                    <a:pt x="113" y="168"/>
                    <a:pt x="113" y="168"/>
                    <a:pt x="113" y="168"/>
                  </a:cubicBezTo>
                  <a:cubicBezTo>
                    <a:pt x="100" y="172"/>
                    <a:pt x="100" y="172"/>
                    <a:pt x="100" y="172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3" y="173"/>
                    <a:pt x="92" y="173"/>
                    <a:pt x="92" y="172"/>
                  </a:cubicBezTo>
                  <a:cubicBezTo>
                    <a:pt x="91" y="171"/>
                    <a:pt x="93" y="169"/>
                    <a:pt x="92" y="167"/>
                  </a:cubicBezTo>
                  <a:cubicBezTo>
                    <a:pt x="92" y="166"/>
                    <a:pt x="90" y="166"/>
                    <a:pt x="90" y="166"/>
                  </a:cubicBezTo>
                  <a:cubicBezTo>
                    <a:pt x="89" y="165"/>
                    <a:pt x="88" y="164"/>
                    <a:pt x="87" y="163"/>
                  </a:cubicBezTo>
                  <a:cubicBezTo>
                    <a:pt x="86" y="163"/>
                    <a:pt x="85" y="163"/>
                    <a:pt x="84" y="163"/>
                  </a:cubicBezTo>
                  <a:cubicBezTo>
                    <a:pt x="80" y="160"/>
                    <a:pt x="79" y="157"/>
                    <a:pt x="78" y="156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48" y="60"/>
                    <a:pt x="47" y="58"/>
                    <a:pt x="46" y="56"/>
                  </a:cubicBezTo>
                  <a:cubicBezTo>
                    <a:pt x="46" y="55"/>
                    <a:pt x="45" y="53"/>
                    <a:pt x="47" y="52"/>
                  </a:cubicBezTo>
                  <a:cubicBezTo>
                    <a:pt x="48" y="52"/>
                    <a:pt x="49" y="52"/>
                    <a:pt x="50" y="52"/>
                  </a:cubicBezTo>
                  <a:cubicBezTo>
                    <a:pt x="51" y="51"/>
                    <a:pt x="52" y="50"/>
                    <a:pt x="54" y="50"/>
                  </a:cubicBezTo>
                  <a:cubicBezTo>
                    <a:pt x="55" y="49"/>
                    <a:pt x="56" y="49"/>
                    <a:pt x="56" y="48"/>
                  </a:cubicBezTo>
                  <a:cubicBezTo>
                    <a:pt x="58" y="47"/>
                    <a:pt x="59" y="45"/>
                    <a:pt x="58" y="43"/>
                  </a:cubicBezTo>
                  <a:cubicBezTo>
                    <a:pt x="56" y="41"/>
                    <a:pt x="55" y="39"/>
                    <a:pt x="55" y="37"/>
                  </a:cubicBezTo>
                  <a:cubicBezTo>
                    <a:pt x="55" y="33"/>
                    <a:pt x="55" y="29"/>
                    <a:pt x="55" y="25"/>
                  </a:cubicBezTo>
                  <a:cubicBezTo>
                    <a:pt x="54" y="23"/>
                    <a:pt x="51" y="22"/>
                    <a:pt x="50" y="21"/>
                  </a:cubicBezTo>
                  <a:cubicBezTo>
                    <a:pt x="50" y="20"/>
                    <a:pt x="50" y="19"/>
                    <a:pt x="50" y="19"/>
                  </a:cubicBezTo>
                  <a:lnTo>
                    <a:pt x="50" y="18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5" name="Freeform 350"/>
            <p:cNvSpPr>
              <a:spLocks/>
            </p:cNvSpPr>
            <p:nvPr/>
          </p:nvSpPr>
          <p:spPr bwMode="auto">
            <a:xfrm>
              <a:off x="6900159" y="3415133"/>
              <a:ext cx="43895" cy="38394"/>
            </a:xfrm>
            <a:custGeom>
              <a:avLst/>
              <a:gdLst>
                <a:gd name="T0" fmla="*/ 0 w 93"/>
                <a:gd name="T1" fmla="*/ 4904094 h 80"/>
                <a:gd name="T2" fmla="*/ 298744 w 93"/>
                <a:gd name="T3" fmla="*/ 4702245 h 80"/>
                <a:gd name="T4" fmla="*/ 578214 w 93"/>
                <a:gd name="T5" fmla="*/ 4642579 h 80"/>
                <a:gd name="T6" fmla="*/ 897621 w 93"/>
                <a:gd name="T7" fmla="*/ 4492509 h 80"/>
                <a:gd name="T8" fmla="*/ 1042527 w 93"/>
                <a:gd name="T9" fmla="*/ 4356036 h 80"/>
                <a:gd name="T10" fmla="*/ 1583303 w 93"/>
                <a:gd name="T11" fmla="*/ 4039101 h 80"/>
                <a:gd name="T12" fmla="*/ 1583303 w 93"/>
                <a:gd name="T13" fmla="*/ 3965268 h 80"/>
                <a:gd name="T14" fmla="*/ 1781392 w 93"/>
                <a:gd name="T15" fmla="*/ 3749898 h 80"/>
                <a:gd name="T16" fmla="*/ 2017794 w 93"/>
                <a:gd name="T17" fmla="*/ 3548284 h 80"/>
                <a:gd name="T18" fmla="*/ 2103221 w 93"/>
                <a:gd name="T19" fmla="*/ 3361798 h 80"/>
                <a:gd name="T20" fmla="*/ 2017794 w 93"/>
                <a:gd name="T21" fmla="*/ 3232794 h 80"/>
                <a:gd name="T22" fmla="*/ 1863503 w 93"/>
                <a:gd name="T23" fmla="*/ 3160083 h 80"/>
                <a:gd name="T24" fmla="*/ 1863503 w 93"/>
                <a:gd name="T25" fmla="*/ 2810956 h 80"/>
                <a:gd name="T26" fmla="*/ 2103221 w 93"/>
                <a:gd name="T27" fmla="*/ 2349024 h 80"/>
                <a:gd name="T28" fmla="*/ 2166047 w 93"/>
                <a:gd name="T29" fmla="*/ 2073343 h 80"/>
                <a:gd name="T30" fmla="*/ 2327387 w 93"/>
                <a:gd name="T31" fmla="*/ 1960731 h 80"/>
                <a:gd name="T32" fmla="*/ 2401343 w 93"/>
                <a:gd name="T33" fmla="*/ 1821666 h 80"/>
                <a:gd name="T34" fmla="*/ 2641912 w 93"/>
                <a:gd name="T35" fmla="*/ 1652331 h 80"/>
                <a:gd name="T36" fmla="*/ 3606780 w 93"/>
                <a:gd name="T37" fmla="*/ 1084101 h 80"/>
                <a:gd name="T38" fmla="*/ 3686524 w 93"/>
                <a:gd name="T39" fmla="*/ 863964 h 80"/>
                <a:gd name="T40" fmla="*/ 3984954 w 93"/>
                <a:gd name="T41" fmla="*/ 480582 h 80"/>
                <a:gd name="T42" fmla="*/ 4192348 w 93"/>
                <a:gd name="T43" fmla="*/ 315585 h 80"/>
                <a:gd name="T44" fmla="*/ 4192348 w 93"/>
                <a:gd name="T45" fmla="*/ 183780 h 80"/>
                <a:gd name="T46" fmla="*/ 4430904 w 93"/>
                <a:gd name="T47" fmla="*/ 68701 h 80"/>
                <a:gd name="T48" fmla="*/ 4814412 w 93"/>
                <a:gd name="T49" fmla="*/ 315585 h 80"/>
                <a:gd name="T50" fmla="*/ 4888789 w 93"/>
                <a:gd name="T51" fmla="*/ 351479 h 80"/>
                <a:gd name="T52" fmla="*/ 5187639 w 93"/>
                <a:gd name="T53" fmla="*/ 422452 h 80"/>
                <a:gd name="T54" fmla="*/ 5311471 w 93"/>
                <a:gd name="T55" fmla="*/ 422452 h 80"/>
                <a:gd name="T56" fmla="*/ 5931205 w 93"/>
                <a:gd name="T57" fmla="*/ 351479 h 80"/>
                <a:gd name="T58" fmla="*/ 6253552 w 93"/>
                <a:gd name="T59" fmla="*/ 422452 h 80"/>
                <a:gd name="T60" fmla="*/ 6318596 w 93"/>
                <a:gd name="T61" fmla="*/ 422452 h 80"/>
                <a:gd name="T62" fmla="*/ 6318596 w 93"/>
                <a:gd name="T63" fmla="*/ 480582 h 80"/>
                <a:gd name="T64" fmla="*/ 6318596 w 93"/>
                <a:gd name="T65" fmla="*/ 603556 h 80"/>
                <a:gd name="T66" fmla="*/ 6673266 w 93"/>
                <a:gd name="T67" fmla="*/ 863964 h 80"/>
                <a:gd name="T68" fmla="*/ 6673266 w 93"/>
                <a:gd name="T69" fmla="*/ 1611189 h 80"/>
                <a:gd name="T70" fmla="*/ 6917659 w 93"/>
                <a:gd name="T71" fmla="*/ 1960731 h 80"/>
                <a:gd name="T72" fmla="*/ 6750971 w 93"/>
                <a:gd name="T73" fmla="*/ 2277667 h 80"/>
                <a:gd name="T74" fmla="*/ 6593686 w 93"/>
                <a:gd name="T75" fmla="*/ 2390275 h 80"/>
                <a:gd name="T76" fmla="*/ 6318596 w 93"/>
                <a:gd name="T77" fmla="*/ 2495375 h 80"/>
                <a:gd name="T78" fmla="*/ 6088494 w 93"/>
                <a:gd name="T79" fmla="*/ 2495375 h 80"/>
                <a:gd name="T80" fmla="*/ 6017106 w 93"/>
                <a:gd name="T81" fmla="*/ 2750754 h 80"/>
                <a:gd name="T82" fmla="*/ 6253552 w 93"/>
                <a:gd name="T83" fmla="*/ 3136494 h 80"/>
                <a:gd name="T84" fmla="*/ 2567007 w 93"/>
                <a:gd name="T85" fmla="*/ 4904094 h 80"/>
                <a:gd name="T86" fmla="*/ 154351 w 93"/>
                <a:gd name="T87" fmla="*/ 4904094 h 80"/>
                <a:gd name="T88" fmla="*/ 0 w 93"/>
                <a:gd name="T89" fmla="*/ 4904094 h 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3"/>
                <a:gd name="T136" fmla="*/ 0 h 80"/>
                <a:gd name="T137" fmla="*/ 93 w 93"/>
                <a:gd name="T138" fmla="*/ 80 h 8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3" h="80">
                  <a:moveTo>
                    <a:pt x="0" y="80"/>
                  </a:moveTo>
                  <a:cubicBezTo>
                    <a:pt x="1" y="79"/>
                    <a:pt x="2" y="78"/>
                    <a:pt x="4" y="77"/>
                  </a:cubicBezTo>
                  <a:cubicBezTo>
                    <a:pt x="5" y="76"/>
                    <a:pt x="7" y="76"/>
                    <a:pt x="8" y="76"/>
                  </a:cubicBezTo>
                  <a:cubicBezTo>
                    <a:pt x="9" y="75"/>
                    <a:pt x="11" y="74"/>
                    <a:pt x="12" y="73"/>
                  </a:cubicBezTo>
                  <a:cubicBezTo>
                    <a:pt x="13" y="73"/>
                    <a:pt x="13" y="72"/>
                    <a:pt x="14" y="71"/>
                  </a:cubicBezTo>
                  <a:cubicBezTo>
                    <a:pt x="17" y="69"/>
                    <a:pt x="18" y="67"/>
                    <a:pt x="21" y="66"/>
                  </a:cubicBezTo>
                  <a:cubicBezTo>
                    <a:pt x="21" y="66"/>
                    <a:pt x="21" y="65"/>
                    <a:pt x="21" y="65"/>
                  </a:cubicBezTo>
                  <a:cubicBezTo>
                    <a:pt x="22" y="63"/>
                    <a:pt x="22" y="62"/>
                    <a:pt x="24" y="61"/>
                  </a:cubicBezTo>
                  <a:cubicBezTo>
                    <a:pt x="25" y="61"/>
                    <a:pt x="26" y="59"/>
                    <a:pt x="27" y="58"/>
                  </a:cubicBezTo>
                  <a:cubicBezTo>
                    <a:pt x="28" y="57"/>
                    <a:pt x="28" y="56"/>
                    <a:pt x="28" y="55"/>
                  </a:cubicBezTo>
                  <a:cubicBezTo>
                    <a:pt x="28" y="54"/>
                    <a:pt x="28" y="54"/>
                    <a:pt x="27" y="53"/>
                  </a:cubicBezTo>
                  <a:cubicBezTo>
                    <a:pt x="26" y="53"/>
                    <a:pt x="26" y="52"/>
                    <a:pt x="25" y="52"/>
                  </a:cubicBezTo>
                  <a:cubicBezTo>
                    <a:pt x="25" y="50"/>
                    <a:pt x="25" y="48"/>
                    <a:pt x="25" y="46"/>
                  </a:cubicBezTo>
                  <a:cubicBezTo>
                    <a:pt x="26" y="43"/>
                    <a:pt x="27" y="41"/>
                    <a:pt x="28" y="38"/>
                  </a:cubicBezTo>
                  <a:cubicBezTo>
                    <a:pt x="29" y="37"/>
                    <a:pt x="28" y="35"/>
                    <a:pt x="29" y="34"/>
                  </a:cubicBezTo>
                  <a:cubicBezTo>
                    <a:pt x="29" y="33"/>
                    <a:pt x="30" y="33"/>
                    <a:pt x="31" y="32"/>
                  </a:cubicBezTo>
                  <a:cubicBezTo>
                    <a:pt x="31" y="32"/>
                    <a:pt x="32" y="31"/>
                    <a:pt x="32" y="30"/>
                  </a:cubicBezTo>
                  <a:cubicBezTo>
                    <a:pt x="33" y="30"/>
                    <a:pt x="35" y="27"/>
                    <a:pt x="35" y="27"/>
                  </a:cubicBezTo>
                  <a:cubicBezTo>
                    <a:pt x="40" y="24"/>
                    <a:pt x="44" y="23"/>
                    <a:pt x="48" y="18"/>
                  </a:cubicBezTo>
                  <a:cubicBezTo>
                    <a:pt x="49" y="17"/>
                    <a:pt x="48" y="15"/>
                    <a:pt x="49" y="14"/>
                  </a:cubicBezTo>
                  <a:cubicBezTo>
                    <a:pt x="51" y="12"/>
                    <a:pt x="52" y="10"/>
                    <a:pt x="53" y="8"/>
                  </a:cubicBezTo>
                  <a:cubicBezTo>
                    <a:pt x="54" y="7"/>
                    <a:pt x="55" y="6"/>
                    <a:pt x="56" y="5"/>
                  </a:cubicBezTo>
                  <a:cubicBezTo>
                    <a:pt x="56" y="4"/>
                    <a:pt x="56" y="4"/>
                    <a:pt x="56" y="3"/>
                  </a:cubicBezTo>
                  <a:cubicBezTo>
                    <a:pt x="57" y="2"/>
                    <a:pt x="58" y="1"/>
                    <a:pt x="59" y="1"/>
                  </a:cubicBezTo>
                  <a:cubicBezTo>
                    <a:pt x="62" y="0"/>
                    <a:pt x="63" y="3"/>
                    <a:pt x="64" y="5"/>
                  </a:cubicBezTo>
                  <a:cubicBezTo>
                    <a:pt x="64" y="5"/>
                    <a:pt x="64" y="6"/>
                    <a:pt x="65" y="6"/>
                  </a:cubicBezTo>
                  <a:cubicBezTo>
                    <a:pt x="66" y="7"/>
                    <a:pt x="68" y="6"/>
                    <a:pt x="69" y="7"/>
                  </a:cubicBezTo>
                  <a:cubicBezTo>
                    <a:pt x="70" y="7"/>
                    <a:pt x="71" y="7"/>
                    <a:pt x="71" y="7"/>
                  </a:cubicBezTo>
                  <a:cubicBezTo>
                    <a:pt x="74" y="6"/>
                    <a:pt x="76" y="6"/>
                    <a:pt x="79" y="6"/>
                  </a:cubicBezTo>
                  <a:cubicBezTo>
                    <a:pt x="80" y="6"/>
                    <a:pt x="82" y="6"/>
                    <a:pt x="83" y="7"/>
                  </a:cubicBezTo>
                  <a:cubicBezTo>
                    <a:pt x="83" y="7"/>
                    <a:pt x="84" y="7"/>
                    <a:pt x="84" y="7"/>
                  </a:cubicBezTo>
                  <a:cubicBezTo>
                    <a:pt x="84" y="8"/>
                    <a:pt x="84" y="8"/>
                    <a:pt x="84" y="8"/>
                  </a:cubicBezTo>
                  <a:cubicBezTo>
                    <a:pt x="84" y="8"/>
                    <a:pt x="84" y="9"/>
                    <a:pt x="84" y="10"/>
                  </a:cubicBezTo>
                  <a:cubicBezTo>
                    <a:pt x="85" y="11"/>
                    <a:pt x="88" y="12"/>
                    <a:pt x="89" y="14"/>
                  </a:cubicBezTo>
                  <a:cubicBezTo>
                    <a:pt x="89" y="18"/>
                    <a:pt x="89" y="22"/>
                    <a:pt x="89" y="26"/>
                  </a:cubicBezTo>
                  <a:cubicBezTo>
                    <a:pt x="89" y="28"/>
                    <a:pt x="90" y="30"/>
                    <a:pt x="92" y="32"/>
                  </a:cubicBezTo>
                  <a:cubicBezTo>
                    <a:pt x="93" y="34"/>
                    <a:pt x="92" y="36"/>
                    <a:pt x="90" y="37"/>
                  </a:cubicBezTo>
                  <a:cubicBezTo>
                    <a:pt x="90" y="38"/>
                    <a:pt x="89" y="38"/>
                    <a:pt x="88" y="39"/>
                  </a:cubicBezTo>
                  <a:cubicBezTo>
                    <a:pt x="86" y="39"/>
                    <a:pt x="85" y="40"/>
                    <a:pt x="84" y="41"/>
                  </a:cubicBezTo>
                  <a:cubicBezTo>
                    <a:pt x="83" y="41"/>
                    <a:pt x="82" y="41"/>
                    <a:pt x="81" y="41"/>
                  </a:cubicBezTo>
                  <a:cubicBezTo>
                    <a:pt x="79" y="42"/>
                    <a:pt x="80" y="44"/>
                    <a:pt x="80" y="45"/>
                  </a:cubicBezTo>
                  <a:cubicBezTo>
                    <a:pt x="81" y="47"/>
                    <a:pt x="82" y="49"/>
                    <a:pt x="83" y="51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2" y="80"/>
                    <a:pt x="2" y="80"/>
                    <a:pt x="2" y="80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6" name="Freeform 351"/>
            <p:cNvSpPr>
              <a:spLocks/>
            </p:cNvSpPr>
            <p:nvPr/>
          </p:nvSpPr>
          <p:spPr bwMode="auto">
            <a:xfrm>
              <a:off x="6885611" y="3453527"/>
              <a:ext cx="30601" cy="31364"/>
            </a:xfrm>
            <a:custGeom>
              <a:avLst/>
              <a:gdLst>
                <a:gd name="T0" fmla="*/ 2188287 w 66"/>
                <a:gd name="T1" fmla="*/ 0 h 64"/>
                <a:gd name="T2" fmla="*/ 2060839 w 66"/>
                <a:gd name="T3" fmla="*/ 167807 h 64"/>
                <a:gd name="T4" fmla="*/ 2060839 w 66"/>
                <a:gd name="T5" fmla="*/ 472403 h 64"/>
                <a:gd name="T6" fmla="*/ 1909704 w 66"/>
                <a:gd name="T7" fmla="*/ 752163 h 64"/>
                <a:gd name="T8" fmla="*/ 1631220 w 66"/>
                <a:gd name="T9" fmla="*/ 976461 h 64"/>
                <a:gd name="T10" fmla="*/ 1334960 w 66"/>
                <a:gd name="T11" fmla="*/ 1220493 h 64"/>
                <a:gd name="T12" fmla="*/ 1309707 w 66"/>
                <a:gd name="T13" fmla="*/ 1457316 h 64"/>
                <a:gd name="T14" fmla="*/ 1229162 w 66"/>
                <a:gd name="T15" fmla="*/ 1689722 h 64"/>
                <a:gd name="T16" fmla="*/ 1174840 w 66"/>
                <a:gd name="T17" fmla="*/ 1891893 h 64"/>
                <a:gd name="T18" fmla="*/ 1174840 w 66"/>
                <a:gd name="T19" fmla="*/ 2196898 h 64"/>
                <a:gd name="T20" fmla="*/ 878161 w 66"/>
                <a:gd name="T21" fmla="*/ 2602376 h 64"/>
                <a:gd name="T22" fmla="*/ 610547 w 66"/>
                <a:gd name="T23" fmla="*/ 3193375 h 64"/>
                <a:gd name="T24" fmla="*/ 353716 w 66"/>
                <a:gd name="T25" fmla="*/ 3740469 h 64"/>
                <a:gd name="T26" fmla="*/ 144780 w 66"/>
                <a:gd name="T27" fmla="*/ 4124503 h 64"/>
                <a:gd name="T28" fmla="*/ 144780 w 66"/>
                <a:gd name="T29" fmla="*/ 4336741 h 64"/>
                <a:gd name="T30" fmla="*/ 75240 w 66"/>
                <a:gd name="T31" fmla="*/ 4412172 h 64"/>
                <a:gd name="T32" fmla="*/ 0 w 66"/>
                <a:gd name="T33" fmla="*/ 4886212 h 64"/>
                <a:gd name="T34" fmla="*/ 219866 w 66"/>
                <a:gd name="T35" fmla="*/ 4799191 h 64"/>
                <a:gd name="T36" fmla="*/ 278592 w 66"/>
                <a:gd name="T37" fmla="*/ 4799191 h 64"/>
                <a:gd name="T38" fmla="*/ 2060839 w 66"/>
                <a:gd name="T39" fmla="*/ 4662078 h 64"/>
                <a:gd name="T40" fmla="*/ 2108196 w 66"/>
                <a:gd name="T41" fmla="*/ 3106705 h 64"/>
                <a:gd name="T42" fmla="*/ 2643185 w 66"/>
                <a:gd name="T43" fmla="*/ 3106705 h 64"/>
                <a:gd name="T44" fmla="*/ 2715573 w 66"/>
                <a:gd name="T45" fmla="*/ 1301634 h 64"/>
                <a:gd name="T46" fmla="*/ 4483554 w 66"/>
                <a:gd name="T47" fmla="*/ 1301634 h 64"/>
                <a:gd name="T48" fmla="*/ 4483554 w 66"/>
                <a:gd name="T49" fmla="*/ 388213 h 64"/>
                <a:gd name="T50" fmla="*/ 4483554 w 66"/>
                <a:gd name="T51" fmla="*/ 0 h 64"/>
                <a:gd name="T52" fmla="*/ 2301096 w 66"/>
                <a:gd name="T53" fmla="*/ 0 h 64"/>
                <a:gd name="T54" fmla="*/ 2188287 w 66"/>
                <a:gd name="T55" fmla="*/ 0 h 6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66"/>
                <a:gd name="T85" fmla="*/ 0 h 64"/>
                <a:gd name="T86" fmla="*/ 66 w 66"/>
                <a:gd name="T87" fmla="*/ 64 h 6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66" h="64">
                  <a:moveTo>
                    <a:pt x="32" y="0"/>
                  </a:moveTo>
                  <a:cubicBezTo>
                    <a:pt x="32" y="1"/>
                    <a:pt x="31" y="1"/>
                    <a:pt x="30" y="2"/>
                  </a:cubicBezTo>
                  <a:cubicBezTo>
                    <a:pt x="30" y="3"/>
                    <a:pt x="30" y="5"/>
                    <a:pt x="30" y="6"/>
                  </a:cubicBezTo>
                  <a:cubicBezTo>
                    <a:pt x="29" y="7"/>
                    <a:pt x="29" y="9"/>
                    <a:pt x="28" y="10"/>
                  </a:cubicBezTo>
                  <a:cubicBezTo>
                    <a:pt x="27" y="11"/>
                    <a:pt x="26" y="12"/>
                    <a:pt x="24" y="13"/>
                  </a:cubicBezTo>
                  <a:cubicBezTo>
                    <a:pt x="22" y="14"/>
                    <a:pt x="21" y="14"/>
                    <a:pt x="20" y="16"/>
                  </a:cubicBezTo>
                  <a:cubicBezTo>
                    <a:pt x="19" y="17"/>
                    <a:pt x="19" y="18"/>
                    <a:pt x="19" y="19"/>
                  </a:cubicBezTo>
                  <a:cubicBezTo>
                    <a:pt x="19" y="20"/>
                    <a:pt x="18" y="21"/>
                    <a:pt x="18" y="22"/>
                  </a:cubicBezTo>
                  <a:cubicBezTo>
                    <a:pt x="17" y="23"/>
                    <a:pt x="17" y="24"/>
                    <a:pt x="17" y="25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32"/>
                    <a:pt x="15" y="33"/>
                    <a:pt x="13" y="34"/>
                  </a:cubicBezTo>
                  <a:cubicBezTo>
                    <a:pt x="11" y="36"/>
                    <a:pt x="9" y="38"/>
                    <a:pt x="9" y="42"/>
                  </a:cubicBezTo>
                  <a:cubicBezTo>
                    <a:pt x="8" y="44"/>
                    <a:pt x="6" y="47"/>
                    <a:pt x="5" y="49"/>
                  </a:cubicBezTo>
                  <a:cubicBezTo>
                    <a:pt x="5" y="51"/>
                    <a:pt x="2" y="52"/>
                    <a:pt x="2" y="54"/>
                  </a:cubicBezTo>
                  <a:cubicBezTo>
                    <a:pt x="2" y="55"/>
                    <a:pt x="2" y="56"/>
                    <a:pt x="2" y="57"/>
                  </a:cubicBezTo>
                  <a:cubicBezTo>
                    <a:pt x="1" y="57"/>
                    <a:pt x="1" y="58"/>
                    <a:pt x="1" y="58"/>
                  </a:cubicBezTo>
                  <a:cubicBezTo>
                    <a:pt x="1" y="60"/>
                    <a:pt x="1" y="63"/>
                    <a:pt x="0" y="64"/>
                  </a:cubicBezTo>
                  <a:cubicBezTo>
                    <a:pt x="1" y="64"/>
                    <a:pt x="2" y="63"/>
                    <a:pt x="3" y="63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7" name="Freeform 352"/>
            <p:cNvSpPr>
              <a:spLocks/>
            </p:cNvSpPr>
            <p:nvPr/>
          </p:nvSpPr>
          <p:spPr bwMode="auto">
            <a:xfrm>
              <a:off x="6887116" y="3456231"/>
              <a:ext cx="42139" cy="56780"/>
            </a:xfrm>
            <a:custGeom>
              <a:avLst/>
              <a:gdLst>
                <a:gd name="T0" fmla="*/ 0 w 91"/>
                <a:gd name="T1" fmla="*/ 2031758 h 117"/>
                <a:gd name="T2" fmla="*/ 38894 w 91"/>
                <a:gd name="T3" fmla="*/ 2164423 h 117"/>
                <a:gd name="T4" fmla="*/ 112656 w 91"/>
                <a:gd name="T5" fmla="*/ 2205397 h 117"/>
                <a:gd name="T6" fmla="*/ 112656 w 91"/>
                <a:gd name="T7" fmla="*/ 2308310 h 117"/>
                <a:gd name="T8" fmla="*/ 112656 w 91"/>
                <a:gd name="T9" fmla="*/ 2510556 h 117"/>
                <a:gd name="T10" fmla="*/ 74796 w 91"/>
                <a:gd name="T11" fmla="*/ 2696421 h 117"/>
                <a:gd name="T12" fmla="*/ 112656 w 91"/>
                <a:gd name="T13" fmla="*/ 2724150 h 117"/>
                <a:gd name="T14" fmla="*/ 143838 w 91"/>
                <a:gd name="T15" fmla="*/ 2877904 h 117"/>
                <a:gd name="T16" fmla="*/ 143838 w 91"/>
                <a:gd name="T17" fmla="*/ 3113017 h 117"/>
                <a:gd name="T18" fmla="*/ 74796 w 91"/>
                <a:gd name="T19" fmla="*/ 3405625 h 117"/>
                <a:gd name="T20" fmla="*/ 38894 w 91"/>
                <a:gd name="T21" fmla="*/ 3528262 h 117"/>
                <a:gd name="T22" fmla="*/ 74796 w 91"/>
                <a:gd name="T23" fmla="*/ 3528262 h 117"/>
                <a:gd name="T24" fmla="*/ 416627 w 91"/>
                <a:gd name="T25" fmla="*/ 3492156 h 117"/>
                <a:gd name="T26" fmla="*/ 634123 w 91"/>
                <a:gd name="T27" fmla="*/ 3528262 h 117"/>
                <a:gd name="T28" fmla="*/ 687785 w 91"/>
                <a:gd name="T29" fmla="*/ 3607725 h 117"/>
                <a:gd name="T30" fmla="*/ 944279 w 91"/>
                <a:gd name="T31" fmla="*/ 3875208 h 117"/>
                <a:gd name="T32" fmla="*/ 1125500 w 91"/>
                <a:gd name="T33" fmla="*/ 4060212 h 117"/>
                <a:gd name="T34" fmla="*/ 1181654 w 91"/>
                <a:gd name="T35" fmla="*/ 4098782 h 117"/>
                <a:gd name="T36" fmla="*/ 1258377 w 91"/>
                <a:gd name="T37" fmla="*/ 4019238 h 117"/>
                <a:gd name="T38" fmla="*/ 1363244 w 91"/>
                <a:gd name="T39" fmla="*/ 3822083 h 117"/>
                <a:gd name="T40" fmla="*/ 1402138 w 91"/>
                <a:gd name="T41" fmla="*/ 3822083 h 117"/>
                <a:gd name="T42" fmla="*/ 1438148 w 91"/>
                <a:gd name="T43" fmla="*/ 3863458 h 117"/>
                <a:gd name="T44" fmla="*/ 1599304 w 91"/>
                <a:gd name="T45" fmla="*/ 3986233 h 117"/>
                <a:gd name="T46" fmla="*/ 1637544 w 91"/>
                <a:gd name="T47" fmla="*/ 3986233 h 117"/>
                <a:gd name="T48" fmla="*/ 1673446 w 91"/>
                <a:gd name="T49" fmla="*/ 3863458 h 117"/>
                <a:gd name="T50" fmla="*/ 1815921 w 91"/>
                <a:gd name="T51" fmla="*/ 3863458 h 117"/>
                <a:gd name="T52" fmla="*/ 1854608 w 91"/>
                <a:gd name="T53" fmla="*/ 3875208 h 117"/>
                <a:gd name="T54" fmla="*/ 1893165 w 91"/>
                <a:gd name="T55" fmla="*/ 3875208 h 117"/>
                <a:gd name="T56" fmla="*/ 1928958 w 91"/>
                <a:gd name="T57" fmla="*/ 3822083 h 117"/>
                <a:gd name="T58" fmla="*/ 2051137 w 91"/>
                <a:gd name="T59" fmla="*/ 3863458 h 117"/>
                <a:gd name="T60" fmla="*/ 2419956 w 91"/>
                <a:gd name="T61" fmla="*/ 3875208 h 117"/>
                <a:gd name="T62" fmla="*/ 2583794 w 91"/>
                <a:gd name="T63" fmla="*/ 3875208 h 117"/>
                <a:gd name="T64" fmla="*/ 2765669 w 91"/>
                <a:gd name="T65" fmla="*/ 3875208 h 117"/>
                <a:gd name="T66" fmla="*/ 2877904 w 91"/>
                <a:gd name="T67" fmla="*/ 3875208 h 117"/>
                <a:gd name="T68" fmla="*/ 3000761 w 91"/>
                <a:gd name="T69" fmla="*/ 3863458 h 117"/>
                <a:gd name="T70" fmla="*/ 3075585 w 91"/>
                <a:gd name="T71" fmla="*/ 3566562 h 117"/>
                <a:gd name="T72" fmla="*/ 2963040 w 91"/>
                <a:gd name="T73" fmla="*/ 3492156 h 117"/>
                <a:gd name="T74" fmla="*/ 2840477 w 91"/>
                <a:gd name="T75" fmla="*/ 768065 h 117"/>
                <a:gd name="T76" fmla="*/ 3187817 w 91"/>
                <a:gd name="T77" fmla="*/ 687785 h 117"/>
                <a:gd name="T78" fmla="*/ 2205396 w 91"/>
                <a:gd name="T79" fmla="*/ 0 h 117"/>
                <a:gd name="T80" fmla="*/ 2205396 w 91"/>
                <a:gd name="T81" fmla="*/ 416627 h 117"/>
                <a:gd name="T82" fmla="*/ 1294256 w 91"/>
                <a:gd name="T83" fmla="*/ 416627 h 117"/>
                <a:gd name="T84" fmla="*/ 1258377 w 91"/>
                <a:gd name="T85" fmla="*/ 1258377 h 117"/>
                <a:gd name="T86" fmla="*/ 984446 w 91"/>
                <a:gd name="T87" fmla="*/ 1258377 h 117"/>
                <a:gd name="T88" fmla="*/ 944279 w 91"/>
                <a:gd name="T89" fmla="*/ 1967256 h 117"/>
                <a:gd name="T90" fmla="*/ 38894 w 91"/>
                <a:gd name="T91" fmla="*/ 2031758 h 117"/>
                <a:gd name="T92" fmla="*/ 0 w 91"/>
                <a:gd name="T93" fmla="*/ 2031758 h 1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91"/>
                <a:gd name="T142" fmla="*/ 0 h 117"/>
                <a:gd name="T143" fmla="*/ 91 w 91"/>
                <a:gd name="T144" fmla="*/ 117 h 1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91" h="117">
                  <a:moveTo>
                    <a:pt x="0" y="58"/>
                  </a:moveTo>
                  <a:cubicBezTo>
                    <a:pt x="1" y="59"/>
                    <a:pt x="1" y="61"/>
                    <a:pt x="1" y="62"/>
                  </a:cubicBezTo>
                  <a:cubicBezTo>
                    <a:pt x="1" y="62"/>
                    <a:pt x="2" y="63"/>
                    <a:pt x="3" y="63"/>
                  </a:cubicBezTo>
                  <a:cubicBezTo>
                    <a:pt x="4" y="64"/>
                    <a:pt x="3" y="65"/>
                    <a:pt x="3" y="66"/>
                  </a:cubicBezTo>
                  <a:cubicBezTo>
                    <a:pt x="3" y="68"/>
                    <a:pt x="4" y="70"/>
                    <a:pt x="3" y="72"/>
                  </a:cubicBezTo>
                  <a:cubicBezTo>
                    <a:pt x="3" y="74"/>
                    <a:pt x="2" y="75"/>
                    <a:pt x="2" y="77"/>
                  </a:cubicBezTo>
                  <a:cubicBezTo>
                    <a:pt x="3" y="77"/>
                    <a:pt x="3" y="77"/>
                    <a:pt x="3" y="78"/>
                  </a:cubicBezTo>
                  <a:cubicBezTo>
                    <a:pt x="3" y="79"/>
                    <a:pt x="3" y="80"/>
                    <a:pt x="4" y="82"/>
                  </a:cubicBezTo>
                  <a:cubicBezTo>
                    <a:pt x="5" y="84"/>
                    <a:pt x="4" y="87"/>
                    <a:pt x="4" y="89"/>
                  </a:cubicBezTo>
                  <a:cubicBezTo>
                    <a:pt x="4" y="92"/>
                    <a:pt x="3" y="95"/>
                    <a:pt x="2" y="97"/>
                  </a:cubicBezTo>
                  <a:cubicBezTo>
                    <a:pt x="1" y="98"/>
                    <a:pt x="1" y="100"/>
                    <a:pt x="1" y="101"/>
                  </a:cubicBezTo>
                  <a:cubicBezTo>
                    <a:pt x="2" y="101"/>
                    <a:pt x="2" y="101"/>
                    <a:pt x="2" y="101"/>
                  </a:cubicBezTo>
                  <a:cubicBezTo>
                    <a:pt x="6" y="100"/>
                    <a:pt x="9" y="100"/>
                    <a:pt x="12" y="100"/>
                  </a:cubicBezTo>
                  <a:cubicBezTo>
                    <a:pt x="14" y="99"/>
                    <a:pt x="17" y="99"/>
                    <a:pt x="18" y="101"/>
                  </a:cubicBezTo>
                  <a:cubicBezTo>
                    <a:pt x="19" y="102"/>
                    <a:pt x="19" y="103"/>
                    <a:pt x="20" y="103"/>
                  </a:cubicBezTo>
                  <a:cubicBezTo>
                    <a:pt x="23" y="105"/>
                    <a:pt x="26" y="107"/>
                    <a:pt x="27" y="111"/>
                  </a:cubicBezTo>
                  <a:cubicBezTo>
                    <a:pt x="28" y="113"/>
                    <a:pt x="30" y="114"/>
                    <a:pt x="32" y="116"/>
                  </a:cubicBezTo>
                  <a:cubicBezTo>
                    <a:pt x="33" y="116"/>
                    <a:pt x="33" y="117"/>
                    <a:pt x="34" y="117"/>
                  </a:cubicBezTo>
                  <a:cubicBezTo>
                    <a:pt x="35" y="117"/>
                    <a:pt x="36" y="116"/>
                    <a:pt x="36" y="115"/>
                  </a:cubicBezTo>
                  <a:cubicBezTo>
                    <a:pt x="36" y="113"/>
                    <a:pt x="37" y="110"/>
                    <a:pt x="39" y="109"/>
                  </a:cubicBezTo>
                  <a:cubicBezTo>
                    <a:pt x="39" y="109"/>
                    <a:pt x="40" y="109"/>
                    <a:pt x="40" y="109"/>
                  </a:cubicBezTo>
                  <a:cubicBezTo>
                    <a:pt x="40" y="109"/>
                    <a:pt x="40" y="110"/>
                    <a:pt x="41" y="110"/>
                  </a:cubicBezTo>
                  <a:cubicBezTo>
                    <a:pt x="42" y="112"/>
                    <a:pt x="44" y="113"/>
                    <a:pt x="46" y="114"/>
                  </a:cubicBezTo>
                  <a:cubicBezTo>
                    <a:pt x="46" y="114"/>
                    <a:pt x="47" y="114"/>
                    <a:pt x="47" y="114"/>
                  </a:cubicBezTo>
                  <a:cubicBezTo>
                    <a:pt x="48" y="113"/>
                    <a:pt x="48" y="112"/>
                    <a:pt x="48" y="110"/>
                  </a:cubicBezTo>
                  <a:cubicBezTo>
                    <a:pt x="49" y="109"/>
                    <a:pt x="51" y="110"/>
                    <a:pt x="52" y="110"/>
                  </a:cubicBezTo>
                  <a:cubicBezTo>
                    <a:pt x="52" y="110"/>
                    <a:pt x="53" y="111"/>
                    <a:pt x="53" y="111"/>
                  </a:cubicBezTo>
                  <a:cubicBezTo>
                    <a:pt x="53" y="112"/>
                    <a:pt x="54" y="112"/>
                    <a:pt x="54" y="111"/>
                  </a:cubicBezTo>
                  <a:cubicBezTo>
                    <a:pt x="54" y="111"/>
                    <a:pt x="54" y="110"/>
                    <a:pt x="55" y="109"/>
                  </a:cubicBezTo>
                  <a:cubicBezTo>
                    <a:pt x="56" y="109"/>
                    <a:pt x="58" y="110"/>
                    <a:pt x="59" y="110"/>
                  </a:cubicBezTo>
                  <a:cubicBezTo>
                    <a:pt x="62" y="110"/>
                    <a:pt x="65" y="110"/>
                    <a:pt x="69" y="111"/>
                  </a:cubicBezTo>
                  <a:cubicBezTo>
                    <a:pt x="71" y="111"/>
                    <a:pt x="72" y="111"/>
                    <a:pt x="74" y="111"/>
                  </a:cubicBezTo>
                  <a:cubicBezTo>
                    <a:pt x="76" y="111"/>
                    <a:pt x="77" y="110"/>
                    <a:pt x="79" y="111"/>
                  </a:cubicBezTo>
                  <a:cubicBezTo>
                    <a:pt x="80" y="111"/>
                    <a:pt x="81" y="111"/>
                    <a:pt x="82" y="111"/>
                  </a:cubicBezTo>
                  <a:cubicBezTo>
                    <a:pt x="84" y="111"/>
                    <a:pt x="85" y="110"/>
                    <a:pt x="86" y="110"/>
                  </a:cubicBezTo>
                  <a:cubicBezTo>
                    <a:pt x="88" y="108"/>
                    <a:pt x="89" y="105"/>
                    <a:pt x="88" y="102"/>
                  </a:cubicBezTo>
                  <a:cubicBezTo>
                    <a:pt x="87" y="102"/>
                    <a:pt x="85" y="101"/>
                    <a:pt x="85" y="100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1" y="58"/>
                    <a:pt x="1" y="58"/>
                    <a:pt x="1" y="58"/>
                  </a:cubicBezTo>
                  <a:lnTo>
                    <a:pt x="0" y="58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8" name="Freeform 353"/>
            <p:cNvSpPr>
              <a:spLocks/>
            </p:cNvSpPr>
            <p:nvPr/>
          </p:nvSpPr>
          <p:spPr bwMode="auto">
            <a:xfrm>
              <a:off x="6884608" y="3504088"/>
              <a:ext cx="20819" cy="20008"/>
            </a:xfrm>
            <a:custGeom>
              <a:avLst/>
              <a:gdLst>
                <a:gd name="T0" fmla="*/ 163906 w 45"/>
                <a:gd name="T1" fmla="*/ 1716533 h 41"/>
                <a:gd name="T2" fmla="*/ 448635 w 45"/>
                <a:gd name="T3" fmla="*/ 1716533 h 41"/>
                <a:gd name="T4" fmla="*/ 531490 w 45"/>
                <a:gd name="T5" fmla="*/ 1623102 h 41"/>
                <a:gd name="T6" fmla="*/ 893116 w 45"/>
                <a:gd name="T7" fmla="*/ 1623102 h 41"/>
                <a:gd name="T8" fmla="*/ 911860 w 45"/>
                <a:gd name="T9" fmla="*/ 1623102 h 41"/>
                <a:gd name="T10" fmla="*/ 1075692 w 45"/>
                <a:gd name="T11" fmla="*/ 1716533 h 41"/>
                <a:gd name="T12" fmla="*/ 1110747 w 45"/>
                <a:gd name="T13" fmla="*/ 1767081 h 41"/>
                <a:gd name="T14" fmla="*/ 1398618 w 45"/>
                <a:gd name="T15" fmla="*/ 1767081 h 41"/>
                <a:gd name="T16" fmla="*/ 1398618 w 45"/>
                <a:gd name="T17" fmla="*/ 1668515 h 41"/>
                <a:gd name="T18" fmla="*/ 1398618 w 45"/>
                <a:gd name="T19" fmla="*/ 1668515 h 41"/>
                <a:gd name="T20" fmla="*/ 1398618 w 45"/>
                <a:gd name="T21" fmla="*/ 1401688 h 41"/>
                <a:gd name="T22" fmla="*/ 1360228 w 45"/>
                <a:gd name="T23" fmla="*/ 1354939 h 41"/>
                <a:gd name="T24" fmla="*/ 1294076 w 45"/>
                <a:gd name="T25" fmla="*/ 1331268 h 41"/>
                <a:gd name="T26" fmla="*/ 1294076 w 45"/>
                <a:gd name="T27" fmla="*/ 1024061 h 41"/>
                <a:gd name="T28" fmla="*/ 1239208 w 45"/>
                <a:gd name="T29" fmla="*/ 791278 h 41"/>
                <a:gd name="T30" fmla="*/ 1239208 w 45"/>
                <a:gd name="T31" fmla="*/ 791278 h 41"/>
                <a:gd name="T32" fmla="*/ 1180277 w 45"/>
                <a:gd name="T33" fmla="*/ 743317 h 41"/>
                <a:gd name="T34" fmla="*/ 1015737 w 45"/>
                <a:gd name="T35" fmla="*/ 524831 h 41"/>
                <a:gd name="T36" fmla="*/ 797617 w 45"/>
                <a:gd name="T37" fmla="*/ 182390 h 41"/>
                <a:gd name="T38" fmla="*/ 731835 w 45"/>
                <a:gd name="T39" fmla="*/ 93475 h 41"/>
                <a:gd name="T40" fmla="*/ 531490 w 45"/>
                <a:gd name="T41" fmla="*/ 47906 h 41"/>
                <a:gd name="T42" fmla="*/ 218385 w 45"/>
                <a:gd name="T43" fmla="*/ 93475 h 41"/>
                <a:gd name="T44" fmla="*/ 179881 w 45"/>
                <a:gd name="T45" fmla="*/ 93475 h 41"/>
                <a:gd name="T46" fmla="*/ 179881 w 45"/>
                <a:gd name="T47" fmla="*/ 405530 h 41"/>
                <a:gd name="T48" fmla="*/ 94124 w 45"/>
                <a:gd name="T49" fmla="*/ 659996 h 41"/>
                <a:gd name="T50" fmla="*/ 35768 w 45"/>
                <a:gd name="T51" fmla="*/ 831840 h 41"/>
                <a:gd name="T52" fmla="*/ 130638 w 45"/>
                <a:gd name="T53" fmla="*/ 1069672 h 41"/>
                <a:gd name="T54" fmla="*/ 179881 w 45"/>
                <a:gd name="T55" fmla="*/ 1156500 h 41"/>
                <a:gd name="T56" fmla="*/ 179881 w 45"/>
                <a:gd name="T57" fmla="*/ 1242213 h 41"/>
                <a:gd name="T58" fmla="*/ 163906 w 45"/>
                <a:gd name="T59" fmla="*/ 1287797 h 41"/>
                <a:gd name="T60" fmla="*/ 163906 w 45"/>
                <a:gd name="T61" fmla="*/ 1331268 h 41"/>
                <a:gd name="T62" fmla="*/ 249664 w 45"/>
                <a:gd name="T63" fmla="*/ 1331268 h 41"/>
                <a:gd name="T64" fmla="*/ 417358 w 45"/>
                <a:gd name="T65" fmla="*/ 1194291 h 41"/>
                <a:gd name="T66" fmla="*/ 531490 w 45"/>
                <a:gd name="T67" fmla="*/ 1194291 h 41"/>
                <a:gd name="T68" fmla="*/ 831190 w 45"/>
                <a:gd name="T69" fmla="*/ 1287797 h 41"/>
                <a:gd name="T70" fmla="*/ 831190 w 45"/>
                <a:gd name="T71" fmla="*/ 1354939 h 41"/>
                <a:gd name="T72" fmla="*/ 797617 w 45"/>
                <a:gd name="T73" fmla="*/ 1401688 h 41"/>
                <a:gd name="T74" fmla="*/ 635551 w 45"/>
                <a:gd name="T75" fmla="*/ 1354939 h 41"/>
                <a:gd name="T76" fmla="*/ 448635 w 45"/>
                <a:gd name="T77" fmla="*/ 1354939 h 41"/>
                <a:gd name="T78" fmla="*/ 417358 w 45"/>
                <a:gd name="T79" fmla="*/ 1401688 h 41"/>
                <a:gd name="T80" fmla="*/ 278105 w 45"/>
                <a:gd name="T81" fmla="*/ 1401688 h 41"/>
                <a:gd name="T82" fmla="*/ 130638 w 45"/>
                <a:gd name="T83" fmla="*/ 1450375 h 41"/>
                <a:gd name="T84" fmla="*/ 94124 w 45"/>
                <a:gd name="T85" fmla="*/ 1450375 h 41"/>
                <a:gd name="T86" fmla="*/ 130638 w 45"/>
                <a:gd name="T87" fmla="*/ 1543957 h 41"/>
                <a:gd name="T88" fmla="*/ 130638 w 45"/>
                <a:gd name="T89" fmla="*/ 1668515 h 41"/>
                <a:gd name="T90" fmla="*/ 163906 w 45"/>
                <a:gd name="T91" fmla="*/ 1716533 h 4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"/>
                <a:gd name="T139" fmla="*/ 0 h 41"/>
                <a:gd name="T140" fmla="*/ 45 w 45"/>
                <a:gd name="T141" fmla="*/ 41 h 4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" h="41">
                  <a:moveTo>
                    <a:pt x="5" y="39"/>
                  </a:moveTo>
                  <a:cubicBezTo>
                    <a:pt x="8" y="39"/>
                    <a:pt x="11" y="39"/>
                    <a:pt x="14" y="39"/>
                  </a:cubicBezTo>
                  <a:cubicBezTo>
                    <a:pt x="15" y="39"/>
                    <a:pt x="16" y="37"/>
                    <a:pt x="17" y="37"/>
                  </a:cubicBezTo>
                  <a:cubicBezTo>
                    <a:pt x="21" y="37"/>
                    <a:pt x="24" y="37"/>
                    <a:pt x="28" y="37"/>
                  </a:cubicBezTo>
                  <a:cubicBezTo>
                    <a:pt x="29" y="37"/>
                    <a:pt x="28" y="37"/>
                    <a:pt x="29" y="37"/>
                  </a:cubicBezTo>
                  <a:cubicBezTo>
                    <a:pt x="30" y="38"/>
                    <a:pt x="33" y="38"/>
                    <a:pt x="34" y="39"/>
                  </a:cubicBezTo>
                  <a:cubicBezTo>
                    <a:pt x="34" y="39"/>
                    <a:pt x="34" y="40"/>
                    <a:pt x="35" y="40"/>
                  </a:cubicBezTo>
                  <a:cubicBezTo>
                    <a:pt x="38" y="41"/>
                    <a:pt x="41" y="41"/>
                    <a:pt x="44" y="40"/>
                  </a:cubicBezTo>
                  <a:cubicBezTo>
                    <a:pt x="44" y="40"/>
                    <a:pt x="44" y="39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3" y="36"/>
                    <a:pt x="45" y="34"/>
                    <a:pt x="44" y="32"/>
                  </a:cubicBezTo>
                  <a:cubicBezTo>
                    <a:pt x="44" y="31"/>
                    <a:pt x="43" y="31"/>
                    <a:pt x="43" y="31"/>
                  </a:cubicBezTo>
                  <a:cubicBezTo>
                    <a:pt x="42" y="30"/>
                    <a:pt x="41" y="31"/>
                    <a:pt x="41" y="30"/>
                  </a:cubicBezTo>
                  <a:cubicBezTo>
                    <a:pt x="40" y="28"/>
                    <a:pt x="41" y="25"/>
                    <a:pt x="41" y="23"/>
                  </a:cubicBezTo>
                  <a:cubicBezTo>
                    <a:pt x="40" y="21"/>
                    <a:pt x="39" y="19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8" y="18"/>
                    <a:pt x="38" y="17"/>
                    <a:pt x="37" y="17"/>
                  </a:cubicBezTo>
                  <a:cubicBezTo>
                    <a:pt x="35" y="15"/>
                    <a:pt x="33" y="14"/>
                    <a:pt x="32" y="12"/>
                  </a:cubicBezTo>
                  <a:cubicBezTo>
                    <a:pt x="31" y="8"/>
                    <a:pt x="28" y="6"/>
                    <a:pt x="25" y="4"/>
                  </a:cubicBezTo>
                  <a:cubicBezTo>
                    <a:pt x="24" y="4"/>
                    <a:pt x="24" y="3"/>
                    <a:pt x="23" y="2"/>
                  </a:cubicBezTo>
                  <a:cubicBezTo>
                    <a:pt x="22" y="0"/>
                    <a:pt x="19" y="0"/>
                    <a:pt x="17" y="1"/>
                  </a:cubicBezTo>
                  <a:cubicBezTo>
                    <a:pt x="14" y="1"/>
                    <a:pt x="11" y="1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4"/>
                    <a:pt x="6" y="7"/>
                    <a:pt x="6" y="9"/>
                  </a:cubicBezTo>
                  <a:cubicBezTo>
                    <a:pt x="5" y="11"/>
                    <a:pt x="4" y="13"/>
                    <a:pt x="3" y="15"/>
                  </a:cubicBezTo>
                  <a:cubicBezTo>
                    <a:pt x="2" y="16"/>
                    <a:pt x="0" y="17"/>
                    <a:pt x="1" y="19"/>
                  </a:cubicBezTo>
                  <a:cubicBezTo>
                    <a:pt x="3" y="20"/>
                    <a:pt x="3" y="22"/>
                    <a:pt x="4" y="24"/>
                  </a:cubicBezTo>
                  <a:cubicBezTo>
                    <a:pt x="4" y="24"/>
                    <a:pt x="6" y="25"/>
                    <a:pt x="6" y="26"/>
                  </a:cubicBezTo>
                  <a:cubicBezTo>
                    <a:pt x="6" y="26"/>
                    <a:pt x="6" y="27"/>
                    <a:pt x="6" y="28"/>
                  </a:cubicBezTo>
                  <a:cubicBezTo>
                    <a:pt x="6" y="29"/>
                    <a:pt x="5" y="29"/>
                    <a:pt x="5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7" y="30"/>
                    <a:pt x="8" y="30"/>
                  </a:cubicBezTo>
                  <a:cubicBezTo>
                    <a:pt x="10" y="29"/>
                    <a:pt x="11" y="28"/>
                    <a:pt x="13" y="27"/>
                  </a:cubicBezTo>
                  <a:cubicBezTo>
                    <a:pt x="14" y="26"/>
                    <a:pt x="16" y="26"/>
                    <a:pt x="17" y="27"/>
                  </a:cubicBezTo>
                  <a:cubicBezTo>
                    <a:pt x="20" y="28"/>
                    <a:pt x="23" y="28"/>
                    <a:pt x="26" y="29"/>
                  </a:cubicBezTo>
                  <a:cubicBezTo>
                    <a:pt x="26" y="29"/>
                    <a:pt x="27" y="30"/>
                    <a:pt x="26" y="31"/>
                  </a:cubicBezTo>
                  <a:cubicBezTo>
                    <a:pt x="26" y="32"/>
                    <a:pt x="25" y="32"/>
                    <a:pt x="25" y="32"/>
                  </a:cubicBezTo>
                  <a:cubicBezTo>
                    <a:pt x="23" y="32"/>
                    <a:pt x="21" y="32"/>
                    <a:pt x="20" y="31"/>
                  </a:cubicBezTo>
                  <a:cubicBezTo>
                    <a:pt x="18" y="31"/>
                    <a:pt x="16" y="31"/>
                    <a:pt x="14" y="31"/>
                  </a:cubicBezTo>
                  <a:cubicBezTo>
                    <a:pt x="14" y="31"/>
                    <a:pt x="13" y="32"/>
                    <a:pt x="13" y="32"/>
                  </a:cubicBezTo>
                  <a:cubicBezTo>
                    <a:pt x="12" y="32"/>
                    <a:pt x="10" y="32"/>
                    <a:pt x="9" y="32"/>
                  </a:cubicBezTo>
                  <a:cubicBezTo>
                    <a:pt x="8" y="33"/>
                    <a:pt x="6" y="33"/>
                    <a:pt x="4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4"/>
                    <a:pt x="3" y="34"/>
                    <a:pt x="4" y="35"/>
                  </a:cubicBezTo>
                  <a:cubicBezTo>
                    <a:pt x="4" y="36"/>
                    <a:pt x="3" y="37"/>
                    <a:pt x="4" y="38"/>
                  </a:cubicBezTo>
                  <a:cubicBezTo>
                    <a:pt x="4" y="39"/>
                    <a:pt x="4" y="39"/>
                    <a:pt x="5" y="39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9" name="Freeform 354"/>
            <p:cNvSpPr>
              <a:spLocks/>
            </p:cNvSpPr>
            <p:nvPr/>
          </p:nvSpPr>
          <p:spPr bwMode="auto">
            <a:xfrm>
              <a:off x="6886113" y="3516796"/>
              <a:ext cx="11037" cy="3245"/>
            </a:xfrm>
            <a:custGeom>
              <a:avLst/>
              <a:gdLst>
                <a:gd name="T0" fmla="*/ 0 w 24"/>
                <a:gd name="T1" fmla="*/ 141626 h 7"/>
                <a:gd name="T2" fmla="*/ 37331 w 24"/>
                <a:gd name="T3" fmla="*/ 76260 h 7"/>
                <a:gd name="T4" fmla="*/ 71551 w 24"/>
                <a:gd name="T5" fmla="*/ 62562 h 7"/>
                <a:gd name="T6" fmla="*/ 71551 w 24"/>
                <a:gd name="T7" fmla="*/ 76260 h 7"/>
                <a:gd name="T8" fmla="*/ 169303 w 24"/>
                <a:gd name="T9" fmla="*/ 76260 h 7"/>
                <a:gd name="T10" fmla="*/ 324497 w 24"/>
                <a:gd name="T11" fmla="*/ 22111 h 7"/>
                <a:gd name="T12" fmla="*/ 471515 w 24"/>
                <a:gd name="T13" fmla="*/ 22111 h 7"/>
                <a:gd name="T14" fmla="*/ 759332 w 24"/>
                <a:gd name="T15" fmla="*/ 62562 h 7"/>
                <a:gd name="T16" fmla="*/ 759332 w 24"/>
                <a:gd name="T17" fmla="*/ 99561 h 7"/>
                <a:gd name="T18" fmla="*/ 729964 w 24"/>
                <a:gd name="T19" fmla="*/ 116187 h 7"/>
                <a:gd name="T20" fmla="*/ 570787 w 24"/>
                <a:gd name="T21" fmla="*/ 99561 h 7"/>
                <a:gd name="T22" fmla="*/ 364036 w 24"/>
                <a:gd name="T23" fmla="*/ 99561 h 7"/>
                <a:gd name="T24" fmla="*/ 324497 w 24"/>
                <a:gd name="T25" fmla="*/ 116187 h 7"/>
                <a:gd name="T26" fmla="*/ 206699 w 24"/>
                <a:gd name="T27" fmla="*/ 116187 h 7"/>
                <a:gd name="T28" fmla="*/ 37331 w 24"/>
                <a:gd name="T29" fmla="*/ 141626 h 7"/>
                <a:gd name="T30" fmla="*/ 0 w 24"/>
                <a:gd name="T31" fmla="*/ 141626 h 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4"/>
                <a:gd name="T49" fmla="*/ 0 h 7"/>
                <a:gd name="T50" fmla="*/ 24 w 24"/>
                <a:gd name="T51" fmla="*/ 7 h 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4" h="7">
                  <a:moveTo>
                    <a:pt x="0" y="7"/>
                  </a:moveTo>
                  <a:cubicBezTo>
                    <a:pt x="0" y="6"/>
                    <a:pt x="1" y="5"/>
                    <a:pt x="1" y="4"/>
                  </a:cubicBezTo>
                  <a:cubicBezTo>
                    <a:pt x="1" y="4"/>
                    <a:pt x="2" y="4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4" y="4"/>
                    <a:pt x="5" y="4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1" y="0"/>
                    <a:pt x="13" y="0"/>
                    <a:pt x="14" y="1"/>
                  </a:cubicBezTo>
                  <a:cubicBezTo>
                    <a:pt x="17" y="2"/>
                    <a:pt x="20" y="2"/>
                    <a:pt x="23" y="3"/>
                  </a:cubicBezTo>
                  <a:cubicBezTo>
                    <a:pt x="23" y="3"/>
                    <a:pt x="24" y="4"/>
                    <a:pt x="23" y="5"/>
                  </a:cubicBezTo>
                  <a:cubicBezTo>
                    <a:pt x="23" y="6"/>
                    <a:pt x="22" y="6"/>
                    <a:pt x="22" y="6"/>
                  </a:cubicBezTo>
                  <a:cubicBezTo>
                    <a:pt x="20" y="6"/>
                    <a:pt x="18" y="6"/>
                    <a:pt x="17" y="5"/>
                  </a:cubicBezTo>
                  <a:cubicBezTo>
                    <a:pt x="15" y="5"/>
                    <a:pt x="13" y="5"/>
                    <a:pt x="11" y="5"/>
                  </a:cubicBezTo>
                  <a:cubicBezTo>
                    <a:pt x="11" y="5"/>
                    <a:pt x="10" y="6"/>
                    <a:pt x="10" y="6"/>
                  </a:cubicBezTo>
                  <a:cubicBezTo>
                    <a:pt x="9" y="6"/>
                    <a:pt x="7" y="6"/>
                    <a:pt x="6" y="6"/>
                  </a:cubicBezTo>
                  <a:cubicBezTo>
                    <a:pt x="5" y="7"/>
                    <a:pt x="3" y="7"/>
                    <a:pt x="1" y="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0" name="Freeform 355"/>
            <p:cNvSpPr>
              <a:spLocks/>
            </p:cNvSpPr>
            <p:nvPr/>
          </p:nvSpPr>
          <p:spPr bwMode="auto">
            <a:xfrm>
              <a:off x="6886364" y="3521933"/>
              <a:ext cx="11538" cy="7030"/>
            </a:xfrm>
            <a:custGeom>
              <a:avLst/>
              <a:gdLst>
                <a:gd name="T0" fmla="*/ 444660 w 25"/>
                <a:gd name="T1" fmla="*/ 917504 h 14"/>
                <a:gd name="T2" fmla="*/ 370819 w 25"/>
                <a:gd name="T3" fmla="*/ 786432 h 14"/>
                <a:gd name="T4" fmla="*/ 330799 w 25"/>
                <a:gd name="T5" fmla="*/ 720896 h 14"/>
                <a:gd name="T6" fmla="*/ 330799 w 25"/>
                <a:gd name="T7" fmla="*/ 655360 h 14"/>
                <a:gd name="T8" fmla="*/ 330799 w 25"/>
                <a:gd name="T9" fmla="*/ 589824 h 14"/>
                <a:gd name="T10" fmla="*/ 302870 w 25"/>
                <a:gd name="T11" fmla="*/ 393216 h 14"/>
                <a:gd name="T12" fmla="*/ 109559 w 25"/>
                <a:gd name="T13" fmla="*/ 393216 h 14"/>
                <a:gd name="T14" fmla="*/ 38173 w 25"/>
                <a:gd name="T15" fmla="*/ 327680 h 14"/>
                <a:gd name="T16" fmla="*/ 38173 w 25"/>
                <a:gd name="T17" fmla="*/ 131072 h 14"/>
                <a:gd name="T18" fmla="*/ 38173 w 25"/>
                <a:gd name="T19" fmla="*/ 131072 h 14"/>
                <a:gd name="T20" fmla="*/ 330799 w 25"/>
                <a:gd name="T21" fmla="*/ 131072 h 14"/>
                <a:gd name="T22" fmla="*/ 444660 w 25"/>
                <a:gd name="T23" fmla="*/ 0 h 14"/>
                <a:gd name="T24" fmla="*/ 812763 w 25"/>
                <a:gd name="T25" fmla="*/ 0 h 14"/>
                <a:gd name="T26" fmla="*/ 853747 w 25"/>
                <a:gd name="T27" fmla="*/ 0 h 14"/>
                <a:gd name="T28" fmla="*/ 853747 w 25"/>
                <a:gd name="T29" fmla="*/ 65536 h 14"/>
                <a:gd name="T30" fmla="*/ 775446 w 25"/>
                <a:gd name="T31" fmla="*/ 262144 h 14"/>
                <a:gd name="T32" fmla="*/ 775446 w 25"/>
                <a:gd name="T33" fmla="*/ 524288 h 14"/>
                <a:gd name="T34" fmla="*/ 753143 w 25"/>
                <a:gd name="T35" fmla="*/ 655360 h 14"/>
                <a:gd name="T36" fmla="*/ 581510 w 25"/>
                <a:gd name="T37" fmla="*/ 655360 h 14"/>
                <a:gd name="T38" fmla="*/ 518753 w 25"/>
                <a:gd name="T39" fmla="*/ 786432 h 14"/>
                <a:gd name="T40" fmla="*/ 444660 w 25"/>
                <a:gd name="T41" fmla="*/ 851968 h 14"/>
                <a:gd name="T42" fmla="*/ 444660 w 25"/>
                <a:gd name="T43" fmla="*/ 917504 h 1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5"/>
                <a:gd name="T67" fmla="*/ 0 h 14"/>
                <a:gd name="T68" fmla="*/ 25 w 25"/>
                <a:gd name="T69" fmla="*/ 14 h 1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5" h="14">
                  <a:moveTo>
                    <a:pt x="13" y="14"/>
                  </a:moveTo>
                  <a:cubicBezTo>
                    <a:pt x="12" y="14"/>
                    <a:pt x="12" y="13"/>
                    <a:pt x="11" y="12"/>
                  </a:cubicBezTo>
                  <a:cubicBezTo>
                    <a:pt x="11" y="12"/>
                    <a:pt x="10" y="12"/>
                    <a:pt x="10" y="11"/>
                  </a:cubicBezTo>
                  <a:cubicBezTo>
                    <a:pt x="10" y="11"/>
                    <a:pt x="10" y="10"/>
                    <a:pt x="10" y="10"/>
                  </a:cubicBezTo>
                  <a:cubicBezTo>
                    <a:pt x="10" y="10"/>
                    <a:pt x="10" y="10"/>
                    <a:pt x="10" y="9"/>
                  </a:cubicBezTo>
                  <a:cubicBezTo>
                    <a:pt x="9" y="9"/>
                    <a:pt x="9" y="7"/>
                    <a:pt x="9" y="6"/>
                  </a:cubicBezTo>
                  <a:cubicBezTo>
                    <a:pt x="7" y="6"/>
                    <a:pt x="5" y="6"/>
                    <a:pt x="3" y="6"/>
                  </a:cubicBezTo>
                  <a:cubicBezTo>
                    <a:pt x="2" y="6"/>
                    <a:pt x="1" y="5"/>
                    <a:pt x="1" y="5"/>
                  </a:cubicBezTo>
                  <a:cubicBezTo>
                    <a:pt x="0" y="4"/>
                    <a:pt x="1" y="3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4" y="2"/>
                    <a:pt x="7" y="2"/>
                    <a:pt x="10" y="2"/>
                  </a:cubicBezTo>
                  <a:cubicBezTo>
                    <a:pt x="11" y="2"/>
                    <a:pt x="12" y="0"/>
                    <a:pt x="13" y="0"/>
                  </a:cubicBezTo>
                  <a:cubicBezTo>
                    <a:pt x="17" y="0"/>
                    <a:pt x="20" y="0"/>
                    <a:pt x="24" y="0"/>
                  </a:cubicBezTo>
                  <a:cubicBezTo>
                    <a:pt x="25" y="0"/>
                    <a:pt x="24" y="0"/>
                    <a:pt x="25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5" y="2"/>
                    <a:pt x="23" y="3"/>
                    <a:pt x="23" y="4"/>
                  </a:cubicBezTo>
                  <a:cubicBezTo>
                    <a:pt x="23" y="5"/>
                    <a:pt x="23" y="7"/>
                    <a:pt x="23" y="8"/>
                  </a:cubicBezTo>
                  <a:cubicBezTo>
                    <a:pt x="23" y="9"/>
                    <a:pt x="22" y="10"/>
                    <a:pt x="22" y="10"/>
                  </a:cubicBezTo>
                  <a:cubicBezTo>
                    <a:pt x="20" y="10"/>
                    <a:pt x="19" y="9"/>
                    <a:pt x="17" y="10"/>
                  </a:cubicBezTo>
                  <a:cubicBezTo>
                    <a:pt x="16" y="11"/>
                    <a:pt x="16" y="12"/>
                    <a:pt x="15" y="12"/>
                  </a:cubicBezTo>
                  <a:cubicBezTo>
                    <a:pt x="14" y="13"/>
                    <a:pt x="14" y="14"/>
                    <a:pt x="13" y="13"/>
                  </a:cubicBezTo>
                  <a:lnTo>
                    <a:pt x="13" y="14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1" name="Freeform 356"/>
            <p:cNvSpPr>
              <a:spLocks/>
            </p:cNvSpPr>
            <p:nvPr/>
          </p:nvSpPr>
          <p:spPr bwMode="auto">
            <a:xfrm>
              <a:off x="6902919" y="3465964"/>
              <a:ext cx="61202" cy="67324"/>
            </a:xfrm>
            <a:custGeom>
              <a:avLst/>
              <a:gdLst>
                <a:gd name="T0" fmla="*/ 228785 w 131"/>
                <a:gd name="T1" fmla="*/ 4153610 h 139"/>
                <a:gd name="T2" fmla="*/ 411496 w 131"/>
                <a:gd name="T3" fmla="*/ 4153610 h 139"/>
                <a:gd name="T4" fmla="*/ 485246 w 131"/>
                <a:gd name="T5" fmla="*/ 4153610 h 139"/>
                <a:gd name="T6" fmla="*/ 794721 w 131"/>
                <a:gd name="T7" fmla="*/ 4095661 h 139"/>
                <a:gd name="T8" fmla="*/ 937154 w 131"/>
                <a:gd name="T9" fmla="*/ 4153610 h 139"/>
                <a:gd name="T10" fmla="*/ 1044797 w 131"/>
                <a:gd name="T11" fmla="*/ 4294002 h 139"/>
                <a:gd name="T12" fmla="*/ 1122617 w 131"/>
                <a:gd name="T13" fmla="*/ 4600364 h 139"/>
                <a:gd name="T14" fmla="*/ 1165940 w 131"/>
                <a:gd name="T15" fmla="*/ 4638497 h 139"/>
                <a:gd name="T16" fmla="*/ 1564320 w 131"/>
                <a:gd name="T17" fmla="*/ 4773487 h 139"/>
                <a:gd name="T18" fmla="*/ 1769648 w 131"/>
                <a:gd name="T19" fmla="*/ 4740268 h 139"/>
                <a:gd name="T20" fmla="*/ 1977486 w 131"/>
                <a:gd name="T21" fmla="*/ 4663026 h 139"/>
                <a:gd name="T22" fmla="*/ 2017814 w 131"/>
                <a:gd name="T23" fmla="*/ 4216756 h 139"/>
                <a:gd name="T24" fmla="*/ 2168108 w 131"/>
                <a:gd name="T25" fmla="*/ 4216756 h 139"/>
                <a:gd name="T26" fmla="*/ 2329560 w 131"/>
                <a:gd name="T27" fmla="*/ 3953898 h 139"/>
                <a:gd name="T28" fmla="*/ 2501417 w 131"/>
                <a:gd name="T29" fmla="*/ 3770191 h 139"/>
                <a:gd name="T30" fmla="*/ 2891952 w 131"/>
                <a:gd name="T31" fmla="*/ 3577949 h 139"/>
                <a:gd name="T32" fmla="*/ 3105125 w 131"/>
                <a:gd name="T33" fmla="*/ 3398212 h 139"/>
                <a:gd name="T34" fmla="*/ 3374330 w 131"/>
                <a:gd name="T35" fmla="*/ 3203798 h 139"/>
                <a:gd name="T36" fmla="*/ 3524581 w 131"/>
                <a:gd name="T37" fmla="*/ 3203798 h 139"/>
                <a:gd name="T38" fmla="*/ 3666636 w 131"/>
                <a:gd name="T39" fmla="*/ 3257926 h 139"/>
                <a:gd name="T40" fmla="*/ 3977628 w 131"/>
                <a:gd name="T41" fmla="*/ 3164355 h 139"/>
                <a:gd name="T42" fmla="*/ 4617567 w 131"/>
                <a:gd name="T43" fmla="*/ 3126523 h 139"/>
                <a:gd name="T44" fmla="*/ 4830979 w 131"/>
                <a:gd name="T45" fmla="*/ 2912576 h 139"/>
                <a:gd name="T46" fmla="*/ 4830979 w 131"/>
                <a:gd name="T47" fmla="*/ 2374951 h 139"/>
                <a:gd name="T48" fmla="*/ 4830979 w 131"/>
                <a:gd name="T49" fmla="*/ 1929945 h 139"/>
                <a:gd name="T50" fmla="*/ 4539558 w 131"/>
                <a:gd name="T51" fmla="*/ 1929945 h 139"/>
                <a:gd name="T52" fmla="*/ 4455658 w 131"/>
                <a:gd name="T53" fmla="*/ 1710327 h 139"/>
                <a:gd name="T54" fmla="*/ 4227699 w 131"/>
                <a:gd name="T55" fmla="*/ 1610590 h 139"/>
                <a:gd name="T56" fmla="*/ 2127709 w 131"/>
                <a:gd name="T57" fmla="*/ 0 h 139"/>
                <a:gd name="T58" fmla="*/ 1898535 w 131"/>
                <a:gd name="T59" fmla="*/ 2758778 h 139"/>
                <a:gd name="T60" fmla="*/ 1939034 w 131"/>
                <a:gd name="T61" fmla="*/ 3093723 h 139"/>
                <a:gd name="T62" fmla="*/ 1685845 w 131"/>
                <a:gd name="T63" fmla="*/ 3126523 h 139"/>
                <a:gd name="T64" fmla="*/ 1316162 w 131"/>
                <a:gd name="T65" fmla="*/ 3126523 h 139"/>
                <a:gd name="T66" fmla="*/ 794721 w 131"/>
                <a:gd name="T67" fmla="*/ 3052801 h 139"/>
                <a:gd name="T68" fmla="*/ 714032 w 131"/>
                <a:gd name="T69" fmla="*/ 3126523 h 139"/>
                <a:gd name="T70" fmla="*/ 519861 w 131"/>
                <a:gd name="T71" fmla="*/ 3093723 h 139"/>
                <a:gd name="T72" fmla="*/ 441852 w 131"/>
                <a:gd name="T73" fmla="*/ 3236577 h 139"/>
                <a:gd name="T74" fmla="*/ 228785 w 131"/>
                <a:gd name="T75" fmla="*/ 3052801 h 139"/>
                <a:gd name="T76" fmla="*/ 78160 w 131"/>
                <a:gd name="T77" fmla="*/ 3257926 h 139"/>
                <a:gd name="T78" fmla="*/ 0 w 131"/>
                <a:gd name="T79" fmla="*/ 3326358 h 139"/>
                <a:gd name="T80" fmla="*/ 78160 w 131"/>
                <a:gd name="T81" fmla="*/ 3731662 h 139"/>
                <a:gd name="T82" fmla="*/ 191434 w 131"/>
                <a:gd name="T83" fmla="*/ 3810435 h 139"/>
                <a:gd name="T84" fmla="*/ 191434 w 131"/>
                <a:gd name="T85" fmla="*/ 4022623 h 139"/>
                <a:gd name="T86" fmla="*/ 150950 w 131"/>
                <a:gd name="T87" fmla="*/ 4095661 h 13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31"/>
                <a:gd name="T133" fmla="*/ 0 h 139"/>
                <a:gd name="T134" fmla="*/ 131 w 131"/>
                <a:gd name="T135" fmla="*/ 139 h 13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31" h="139">
                  <a:moveTo>
                    <a:pt x="4" y="119"/>
                  </a:moveTo>
                  <a:cubicBezTo>
                    <a:pt x="5" y="120"/>
                    <a:pt x="6" y="120"/>
                    <a:pt x="6" y="121"/>
                  </a:cubicBezTo>
                  <a:cubicBezTo>
                    <a:pt x="7" y="121"/>
                    <a:pt x="8" y="121"/>
                    <a:pt x="8" y="121"/>
                  </a:cubicBezTo>
                  <a:cubicBezTo>
                    <a:pt x="9" y="120"/>
                    <a:pt x="10" y="121"/>
                    <a:pt x="11" y="121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2" y="122"/>
                    <a:pt x="13" y="122"/>
                    <a:pt x="13" y="121"/>
                  </a:cubicBezTo>
                  <a:cubicBezTo>
                    <a:pt x="15" y="121"/>
                    <a:pt x="17" y="122"/>
                    <a:pt x="18" y="121"/>
                  </a:cubicBezTo>
                  <a:cubicBezTo>
                    <a:pt x="19" y="121"/>
                    <a:pt x="20" y="120"/>
                    <a:pt x="21" y="119"/>
                  </a:cubicBezTo>
                  <a:cubicBezTo>
                    <a:pt x="22" y="119"/>
                    <a:pt x="24" y="118"/>
                    <a:pt x="25" y="120"/>
                  </a:cubicBezTo>
                  <a:cubicBezTo>
                    <a:pt x="25" y="120"/>
                    <a:pt x="25" y="121"/>
                    <a:pt x="25" y="121"/>
                  </a:cubicBezTo>
                  <a:cubicBezTo>
                    <a:pt x="25" y="122"/>
                    <a:pt x="26" y="122"/>
                    <a:pt x="26" y="123"/>
                  </a:cubicBezTo>
                  <a:cubicBezTo>
                    <a:pt x="26" y="124"/>
                    <a:pt x="28" y="124"/>
                    <a:pt x="28" y="125"/>
                  </a:cubicBezTo>
                  <a:cubicBezTo>
                    <a:pt x="29" y="127"/>
                    <a:pt x="28" y="129"/>
                    <a:pt x="28" y="131"/>
                  </a:cubicBezTo>
                  <a:cubicBezTo>
                    <a:pt x="29" y="132"/>
                    <a:pt x="30" y="133"/>
                    <a:pt x="30" y="134"/>
                  </a:cubicBezTo>
                  <a:cubicBezTo>
                    <a:pt x="30" y="134"/>
                    <a:pt x="30" y="134"/>
                    <a:pt x="30" y="134"/>
                  </a:cubicBezTo>
                  <a:cubicBezTo>
                    <a:pt x="30" y="135"/>
                    <a:pt x="31" y="135"/>
                    <a:pt x="31" y="135"/>
                  </a:cubicBezTo>
                  <a:cubicBezTo>
                    <a:pt x="32" y="136"/>
                    <a:pt x="34" y="136"/>
                    <a:pt x="35" y="137"/>
                  </a:cubicBezTo>
                  <a:cubicBezTo>
                    <a:pt x="37" y="138"/>
                    <a:pt x="39" y="139"/>
                    <a:pt x="42" y="139"/>
                  </a:cubicBezTo>
                  <a:cubicBezTo>
                    <a:pt x="43" y="138"/>
                    <a:pt x="43" y="136"/>
                    <a:pt x="45" y="135"/>
                  </a:cubicBezTo>
                  <a:cubicBezTo>
                    <a:pt x="46" y="133"/>
                    <a:pt x="47" y="136"/>
                    <a:pt x="47" y="138"/>
                  </a:cubicBezTo>
                  <a:cubicBezTo>
                    <a:pt x="47" y="139"/>
                    <a:pt x="49" y="139"/>
                    <a:pt x="50" y="138"/>
                  </a:cubicBezTo>
                  <a:cubicBezTo>
                    <a:pt x="51" y="138"/>
                    <a:pt x="52" y="137"/>
                    <a:pt x="53" y="136"/>
                  </a:cubicBezTo>
                  <a:cubicBezTo>
                    <a:pt x="54" y="135"/>
                    <a:pt x="53" y="133"/>
                    <a:pt x="53" y="131"/>
                  </a:cubicBezTo>
                  <a:cubicBezTo>
                    <a:pt x="55" y="129"/>
                    <a:pt x="53" y="126"/>
                    <a:pt x="54" y="123"/>
                  </a:cubicBezTo>
                  <a:cubicBezTo>
                    <a:pt x="55" y="123"/>
                    <a:pt x="55" y="123"/>
                    <a:pt x="55" y="123"/>
                  </a:cubicBezTo>
                  <a:cubicBezTo>
                    <a:pt x="56" y="123"/>
                    <a:pt x="57" y="123"/>
                    <a:pt x="58" y="123"/>
                  </a:cubicBezTo>
                  <a:cubicBezTo>
                    <a:pt x="59" y="122"/>
                    <a:pt x="60" y="121"/>
                    <a:pt x="61" y="120"/>
                  </a:cubicBezTo>
                  <a:cubicBezTo>
                    <a:pt x="61" y="119"/>
                    <a:pt x="61" y="117"/>
                    <a:pt x="62" y="115"/>
                  </a:cubicBezTo>
                  <a:cubicBezTo>
                    <a:pt x="62" y="114"/>
                    <a:pt x="62" y="112"/>
                    <a:pt x="62" y="111"/>
                  </a:cubicBezTo>
                  <a:cubicBezTo>
                    <a:pt x="62" y="109"/>
                    <a:pt x="66" y="110"/>
                    <a:pt x="67" y="110"/>
                  </a:cubicBezTo>
                  <a:cubicBezTo>
                    <a:pt x="68" y="109"/>
                    <a:pt x="70" y="110"/>
                    <a:pt x="70" y="109"/>
                  </a:cubicBezTo>
                  <a:cubicBezTo>
                    <a:pt x="72" y="107"/>
                    <a:pt x="75" y="106"/>
                    <a:pt x="77" y="104"/>
                  </a:cubicBezTo>
                  <a:cubicBezTo>
                    <a:pt x="78" y="103"/>
                    <a:pt x="79" y="101"/>
                    <a:pt x="80" y="100"/>
                  </a:cubicBezTo>
                  <a:cubicBezTo>
                    <a:pt x="81" y="100"/>
                    <a:pt x="82" y="99"/>
                    <a:pt x="83" y="99"/>
                  </a:cubicBezTo>
                  <a:cubicBezTo>
                    <a:pt x="85" y="98"/>
                    <a:pt x="86" y="98"/>
                    <a:pt x="87" y="97"/>
                  </a:cubicBezTo>
                  <a:cubicBezTo>
                    <a:pt x="88" y="95"/>
                    <a:pt x="89" y="94"/>
                    <a:pt x="90" y="93"/>
                  </a:cubicBezTo>
                  <a:cubicBezTo>
                    <a:pt x="91" y="92"/>
                    <a:pt x="92" y="93"/>
                    <a:pt x="93" y="93"/>
                  </a:cubicBezTo>
                  <a:cubicBezTo>
                    <a:pt x="93" y="93"/>
                    <a:pt x="93" y="93"/>
                    <a:pt x="94" y="93"/>
                  </a:cubicBezTo>
                  <a:cubicBezTo>
                    <a:pt x="95" y="94"/>
                    <a:pt x="96" y="94"/>
                    <a:pt x="97" y="94"/>
                  </a:cubicBezTo>
                  <a:cubicBezTo>
                    <a:pt x="97" y="94"/>
                    <a:pt x="98" y="95"/>
                    <a:pt x="98" y="95"/>
                  </a:cubicBezTo>
                  <a:cubicBezTo>
                    <a:pt x="99" y="95"/>
                    <a:pt x="100" y="95"/>
                    <a:pt x="102" y="95"/>
                  </a:cubicBezTo>
                  <a:cubicBezTo>
                    <a:pt x="103" y="94"/>
                    <a:pt x="105" y="92"/>
                    <a:pt x="106" y="92"/>
                  </a:cubicBezTo>
                  <a:cubicBezTo>
                    <a:pt x="109" y="91"/>
                    <a:pt x="111" y="92"/>
                    <a:pt x="114" y="91"/>
                  </a:cubicBezTo>
                  <a:cubicBezTo>
                    <a:pt x="117" y="90"/>
                    <a:pt x="120" y="91"/>
                    <a:pt x="123" y="91"/>
                  </a:cubicBezTo>
                  <a:cubicBezTo>
                    <a:pt x="124" y="90"/>
                    <a:pt x="127" y="89"/>
                    <a:pt x="127" y="87"/>
                  </a:cubicBezTo>
                  <a:cubicBezTo>
                    <a:pt x="128" y="86"/>
                    <a:pt x="129" y="86"/>
                    <a:pt x="129" y="85"/>
                  </a:cubicBezTo>
                  <a:cubicBezTo>
                    <a:pt x="131" y="81"/>
                    <a:pt x="130" y="76"/>
                    <a:pt x="130" y="72"/>
                  </a:cubicBezTo>
                  <a:cubicBezTo>
                    <a:pt x="130" y="71"/>
                    <a:pt x="129" y="70"/>
                    <a:pt x="129" y="69"/>
                  </a:cubicBezTo>
                  <a:cubicBezTo>
                    <a:pt x="129" y="65"/>
                    <a:pt x="129" y="60"/>
                    <a:pt x="129" y="56"/>
                  </a:cubicBezTo>
                  <a:cubicBezTo>
                    <a:pt x="129" y="56"/>
                    <a:pt x="129" y="56"/>
                    <a:pt x="129" y="56"/>
                  </a:cubicBezTo>
                  <a:cubicBezTo>
                    <a:pt x="123" y="57"/>
                    <a:pt x="123" y="57"/>
                    <a:pt x="123" y="57"/>
                  </a:cubicBezTo>
                  <a:cubicBezTo>
                    <a:pt x="122" y="57"/>
                    <a:pt x="121" y="57"/>
                    <a:pt x="121" y="56"/>
                  </a:cubicBezTo>
                  <a:cubicBezTo>
                    <a:pt x="120" y="55"/>
                    <a:pt x="122" y="53"/>
                    <a:pt x="121" y="51"/>
                  </a:cubicBezTo>
                  <a:cubicBezTo>
                    <a:pt x="121" y="50"/>
                    <a:pt x="119" y="50"/>
                    <a:pt x="119" y="50"/>
                  </a:cubicBezTo>
                  <a:cubicBezTo>
                    <a:pt x="118" y="49"/>
                    <a:pt x="117" y="48"/>
                    <a:pt x="116" y="47"/>
                  </a:cubicBezTo>
                  <a:cubicBezTo>
                    <a:pt x="115" y="47"/>
                    <a:pt x="114" y="47"/>
                    <a:pt x="113" y="47"/>
                  </a:cubicBezTo>
                  <a:cubicBezTo>
                    <a:pt x="109" y="44"/>
                    <a:pt x="108" y="41"/>
                    <a:pt x="107" y="4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1" y="81"/>
                    <a:pt x="53" y="82"/>
                    <a:pt x="54" y="82"/>
                  </a:cubicBezTo>
                  <a:cubicBezTo>
                    <a:pt x="55" y="85"/>
                    <a:pt x="54" y="88"/>
                    <a:pt x="52" y="90"/>
                  </a:cubicBezTo>
                  <a:cubicBezTo>
                    <a:pt x="51" y="90"/>
                    <a:pt x="50" y="91"/>
                    <a:pt x="48" y="91"/>
                  </a:cubicBezTo>
                  <a:cubicBezTo>
                    <a:pt x="47" y="91"/>
                    <a:pt x="46" y="91"/>
                    <a:pt x="45" y="91"/>
                  </a:cubicBezTo>
                  <a:cubicBezTo>
                    <a:pt x="43" y="90"/>
                    <a:pt x="42" y="91"/>
                    <a:pt x="40" y="91"/>
                  </a:cubicBezTo>
                  <a:cubicBezTo>
                    <a:pt x="38" y="91"/>
                    <a:pt x="37" y="91"/>
                    <a:pt x="35" y="91"/>
                  </a:cubicBezTo>
                  <a:cubicBezTo>
                    <a:pt x="31" y="90"/>
                    <a:pt x="28" y="90"/>
                    <a:pt x="25" y="90"/>
                  </a:cubicBezTo>
                  <a:cubicBezTo>
                    <a:pt x="24" y="90"/>
                    <a:pt x="22" y="89"/>
                    <a:pt x="21" y="89"/>
                  </a:cubicBezTo>
                  <a:cubicBezTo>
                    <a:pt x="20" y="90"/>
                    <a:pt x="20" y="91"/>
                    <a:pt x="20" y="91"/>
                  </a:cubicBezTo>
                  <a:cubicBezTo>
                    <a:pt x="20" y="92"/>
                    <a:pt x="19" y="92"/>
                    <a:pt x="19" y="91"/>
                  </a:cubicBezTo>
                  <a:cubicBezTo>
                    <a:pt x="19" y="91"/>
                    <a:pt x="18" y="90"/>
                    <a:pt x="18" y="90"/>
                  </a:cubicBezTo>
                  <a:cubicBezTo>
                    <a:pt x="17" y="90"/>
                    <a:pt x="15" y="89"/>
                    <a:pt x="14" y="90"/>
                  </a:cubicBezTo>
                  <a:cubicBezTo>
                    <a:pt x="14" y="92"/>
                    <a:pt x="14" y="93"/>
                    <a:pt x="13" y="94"/>
                  </a:cubicBezTo>
                  <a:cubicBezTo>
                    <a:pt x="13" y="94"/>
                    <a:pt x="12" y="94"/>
                    <a:pt x="12" y="94"/>
                  </a:cubicBezTo>
                  <a:cubicBezTo>
                    <a:pt x="10" y="93"/>
                    <a:pt x="8" y="92"/>
                    <a:pt x="7" y="90"/>
                  </a:cubicBezTo>
                  <a:cubicBezTo>
                    <a:pt x="6" y="90"/>
                    <a:pt x="6" y="89"/>
                    <a:pt x="6" y="89"/>
                  </a:cubicBezTo>
                  <a:cubicBezTo>
                    <a:pt x="6" y="89"/>
                    <a:pt x="5" y="89"/>
                    <a:pt x="5" y="89"/>
                  </a:cubicBezTo>
                  <a:cubicBezTo>
                    <a:pt x="3" y="90"/>
                    <a:pt x="2" y="93"/>
                    <a:pt x="2" y="95"/>
                  </a:cubicBezTo>
                  <a:cubicBezTo>
                    <a:pt x="2" y="96"/>
                    <a:pt x="1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8"/>
                    <a:pt x="1" y="100"/>
                    <a:pt x="2" y="102"/>
                  </a:cubicBezTo>
                  <a:cubicBezTo>
                    <a:pt x="2" y="104"/>
                    <a:pt x="1" y="107"/>
                    <a:pt x="2" y="109"/>
                  </a:cubicBezTo>
                  <a:cubicBezTo>
                    <a:pt x="2" y="110"/>
                    <a:pt x="3" y="109"/>
                    <a:pt x="4" y="110"/>
                  </a:cubicBezTo>
                  <a:cubicBezTo>
                    <a:pt x="4" y="110"/>
                    <a:pt x="5" y="110"/>
                    <a:pt x="5" y="111"/>
                  </a:cubicBezTo>
                  <a:cubicBezTo>
                    <a:pt x="6" y="113"/>
                    <a:pt x="4" y="115"/>
                    <a:pt x="5" y="117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5" y="118"/>
                    <a:pt x="5" y="119"/>
                    <a:pt x="5" y="119"/>
                  </a:cubicBezTo>
                  <a:lnTo>
                    <a:pt x="4" y="119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2" name="Freeform 357"/>
            <p:cNvSpPr>
              <a:spLocks/>
            </p:cNvSpPr>
            <p:nvPr/>
          </p:nvSpPr>
          <p:spPr bwMode="auto">
            <a:xfrm>
              <a:off x="6892635" y="3521933"/>
              <a:ext cx="27341" cy="24875"/>
            </a:xfrm>
            <a:custGeom>
              <a:avLst/>
              <a:gdLst>
                <a:gd name="T0" fmla="*/ 428239 w 59"/>
                <a:gd name="T1" fmla="*/ 1180100 h 51"/>
                <a:gd name="T2" fmla="*/ 261110 w 59"/>
                <a:gd name="T3" fmla="*/ 985454 h 51"/>
                <a:gd name="T4" fmla="*/ 168157 w 59"/>
                <a:gd name="T5" fmla="*/ 778872 h 51"/>
                <a:gd name="T6" fmla="*/ 0 w 59"/>
                <a:gd name="T7" fmla="*/ 560823 h 51"/>
                <a:gd name="T8" fmla="*/ 71182 w 59"/>
                <a:gd name="T9" fmla="*/ 484116 h 51"/>
                <a:gd name="T10" fmla="*/ 294769 w 59"/>
                <a:gd name="T11" fmla="*/ 401237 h 51"/>
                <a:gd name="T12" fmla="*/ 322063 w 59"/>
                <a:gd name="T13" fmla="*/ 170942 h 51"/>
                <a:gd name="T14" fmla="*/ 391840 w 59"/>
                <a:gd name="T15" fmla="*/ 0 h 51"/>
                <a:gd name="T16" fmla="*/ 577786 w 59"/>
                <a:gd name="T17" fmla="*/ 128475 h 51"/>
                <a:gd name="T18" fmla="*/ 857500 w 59"/>
                <a:gd name="T19" fmla="*/ 128475 h 51"/>
                <a:gd name="T20" fmla="*/ 974435 w 59"/>
                <a:gd name="T21" fmla="*/ 206698 h 51"/>
                <a:gd name="T22" fmla="*/ 1081272 w 59"/>
                <a:gd name="T23" fmla="*/ 206698 h 51"/>
                <a:gd name="T24" fmla="*/ 1314943 w 59"/>
                <a:gd name="T25" fmla="*/ 206698 h 51"/>
                <a:gd name="T26" fmla="*/ 1535494 w 59"/>
                <a:gd name="T27" fmla="*/ 170942 h 51"/>
                <a:gd name="T28" fmla="*/ 1570867 w 59"/>
                <a:gd name="T29" fmla="*/ 288909 h 51"/>
                <a:gd name="T30" fmla="*/ 1642331 w 59"/>
                <a:gd name="T31" fmla="*/ 607930 h 51"/>
                <a:gd name="T32" fmla="*/ 1717454 w 59"/>
                <a:gd name="T33" fmla="*/ 733070 h 51"/>
                <a:gd name="T34" fmla="*/ 1834436 w 59"/>
                <a:gd name="T35" fmla="*/ 821133 h 51"/>
                <a:gd name="T36" fmla="*/ 1759466 w 59"/>
                <a:gd name="T37" fmla="*/ 939755 h 51"/>
                <a:gd name="T38" fmla="*/ 1795859 w 59"/>
                <a:gd name="T39" fmla="*/ 1180100 h 51"/>
                <a:gd name="T40" fmla="*/ 1866291 w 59"/>
                <a:gd name="T41" fmla="*/ 1180100 h 51"/>
                <a:gd name="T42" fmla="*/ 1866291 w 59"/>
                <a:gd name="T43" fmla="*/ 1423018 h 51"/>
                <a:gd name="T44" fmla="*/ 1931875 w 59"/>
                <a:gd name="T45" fmla="*/ 1629688 h 51"/>
                <a:gd name="T46" fmla="*/ 1795859 w 59"/>
                <a:gd name="T47" fmla="*/ 1867138 h 51"/>
                <a:gd name="T48" fmla="*/ 1679111 w 59"/>
                <a:gd name="T49" fmla="*/ 1949389 h 51"/>
                <a:gd name="T50" fmla="*/ 1535494 w 59"/>
                <a:gd name="T51" fmla="*/ 2029259 h 51"/>
                <a:gd name="T52" fmla="*/ 1437347 w 59"/>
                <a:gd name="T53" fmla="*/ 1867138 h 51"/>
                <a:gd name="T54" fmla="*/ 1403359 w 59"/>
                <a:gd name="T55" fmla="*/ 1629688 h 51"/>
                <a:gd name="T56" fmla="*/ 1288610 w 59"/>
                <a:gd name="T57" fmla="*/ 1593964 h 51"/>
                <a:gd name="T58" fmla="*/ 1142256 w 59"/>
                <a:gd name="T59" fmla="*/ 1629688 h 51"/>
                <a:gd name="T60" fmla="*/ 1142256 w 59"/>
                <a:gd name="T61" fmla="*/ 1466126 h 51"/>
                <a:gd name="T62" fmla="*/ 1106607 w 59"/>
                <a:gd name="T63" fmla="*/ 1216322 h 51"/>
                <a:gd name="T64" fmla="*/ 957803 w 59"/>
                <a:gd name="T65" fmla="*/ 1021779 h 51"/>
                <a:gd name="T66" fmla="*/ 750473 w 59"/>
                <a:gd name="T67" fmla="*/ 1045376 h 51"/>
                <a:gd name="T68" fmla="*/ 686563 w 59"/>
                <a:gd name="T69" fmla="*/ 1021779 h 51"/>
                <a:gd name="T70" fmla="*/ 526655 w 59"/>
                <a:gd name="T71" fmla="*/ 1250388 h 51"/>
                <a:gd name="T72" fmla="*/ 468201 w 59"/>
                <a:gd name="T73" fmla="*/ 1293196 h 5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9"/>
                <a:gd name="T112" fmla="*/ 0 h 51"/>
                <a:gd name="T113" fmla="*/ 59 w 59"/>
                <a:gd name="T114" fmla="*/ 51 h 5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9" h="51">
                  <a:moveTo>
                    <a:pt x="14" y="32"/>
                  </a:moveTo>
                  <a:cubicBezTo>
                    <a:pt x="14" y="31"/>
                    <a:pt x="13" y="30"/>
                    <a:pt x="13" y="29"/>
                  </a:cubicBezTo>
                  <a:cubicBezTo>
                    <a:pt x="13" y="29"/>
                    <a:pt x="12" y="28"/>
                    <a:pt x="11" y="28"/>
                  </a:cubicBezTo>
                  <a:cubicBezTo>
                    <a:pt x="10" y="27"/>
                    <a:pt x="9" y="25"/>
                    <a:pt x="8" y="24"/>
                  </a:cubicBezTo>
                  <a:cubicBezTo>
                    <a:pt x="8" y="24"/>
                    <a:pt x="9" y="23"/>
                    <a:pt x="9" y="23"/>
                  </a:cubicBezTo>
                  <a:cubicBezTo>
                    <a:pt x="7" y="22"/>
                    <a:pt x="6" y="21"/>
                    <a:pt x="5" y="19"/>
                  </a:cubicBezTo>
                  <a:cubicBezTo>
                    <a:pt x="5" y="19"/>
                    <a:pt x="4" y="18"/>
                    <a:pt x="4" y="17"/>
                  </a:cubicBezTo>
                  <a:cubicBezTo>
                    <a:pt x="3" y="16"/>
                    <a:pt x="1" y="15"/>
                    <a:pt x="0" y="1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4"/>
                    <a:pt x="1" y="13"/>
                    <a:pt x="2" y="12"/>
                  </a:cubicBezTo>
                  <a:cubicBezTo>
                    <a:pt x="3" y="12"/>
                    <a:pt x="3" y="11"/>
                    <a:pt x="4" y="10"/>
                  </a:cubicBezTo>
                  <a:cubicBezTo>
                    <a:pt x="6" y="9"/>
                    <a:pt x="7" y="10"/>
                    <a:pt x="9" y="10"/>
                  </a:cubicBezTo>
                  <a:cubicBezTo>
                    <a:pt x="9" y="10"/>
                    <a:pt x="10" y="9"/>
                    <a:pt x="10" y="8"/>
                  </a:cubicBezTo>
                  <a:cubicBezTo>
                    <a:pt x="10" y="7"/>
                    <a:pt x="10" y="5"/>
                    <a:pt x="10" y="4"/>
                  </a:cubicBezTo>
                  <a:cubicBezTo>
                    <a:pt x="10" y="3"/>
                    <a:pt x="12" y="2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1"/>
                    <a:pt x="16" y="1"/>
                    <a:pt x="17" y="2"/>
                  </a:cubicBezTo>
                  <a:cubicBezTo>
                    <a:pt x="17" y="2"/>
                    <a:pt x="17" y="3"/>
                    <a:pt x="18" y="3"/>
                  </a:cubicBezTo>
                  <a:cubicBezTo>
                    <a:pt x="21" y="4"/>
                    <a:pt x="24" y="4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7" y="4"/>
                    <a:pt x="28" y="4"/>
                    <a:pt x="28" y="5"/>
                  </a:cubicBezTo>
                  <a:cubicBezTo>
                    <a:pt x="29" y="5"/>
                    <a:pt x="30" y="5"/>
                    <a:pt x="30" y="5"/>
                  </a:cubicBezTo>
                  <a:cubicBezTo>
                    <a:pt x="31" y="4"/>
                    <a:pt x="32" y="5"/>
                    <a:pt x="33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4" y="6"/>
                    <a:pt x="35" y="6"/>
                    <a:pt x="35" y="5"/>
                  </a:cubicBezTo>
                  <a:cubicBezTo>
                    <a:pt x="37" y="5"/>
                    <a:pt x="39" y="6"/>
                    <a:pt x="40" y="5"/>
                  </a:cubicBezTo>
                  <a:cubicBezTo>
                    <a:pt x="41" y="5"/>
                    <a:pt x="42" y="4"/>
                    <a:pt x="43" y="3"/>
                  </a:cubicBezTo>
                  <a:cubicBezTo>
                    <a:pt x="44" y="3"/>
                    <a:pt x="46" y="2"/>
                    <a:pt x="47" y="4"/>
                  </a:cubicBezTo>
                  <a:cubicBezTo>
                    <a:pt x="47" y="4"/>
                    <a:pt x="47" y="5"/>
                    <a:pt x="47" y="5"/>
                  </a:cubicBezTo>
                  <a:cubicBezTo>
                    <a:pt x="47" y="6"/>
                    <a:pt x="48" y="6"/>
                    <a:pt x="48" y="7"/>
                  </a:cubicBezTo>
                  <a:cubicBezTo>
                    <a:pt x="48" y="8"/>
                    <a:pt x="50" y="8"/>
                    <a:pt x="50" y="9"/>
                  </a:cubicBezTo>
                  <a:cubicBezTo>
                    <a:pt x="51" y="11"/>
                    <a:pt x="50" y="13"/>
                    <a:pt x="50" y="15"/>
                  </a:cubicBezTo>
                  <a:cubicBezTo>
                    <a:pt x="51" y="16"/>
                    <a:pt x="52" y="17"/>
                    <a:pt x="52" y="18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9"/>
                    <a:pt x="53" y="19"/>
                    <a:pt x="53" y="19"/>
                  </a:cubicBezTo>
                  <a:cubicBezTo>
                    <a:pt x="54" y="19"/>
                    <a:pt x="55" y="20"/>
                    <a:pt x="56" y="20"/>
                  </a:cubicBezTo>
                  <a:cubicBezTo>
                    <a:pt x="55" y="21"/>
                    <a:pt x="56" y="21"/>
                    <a:pt x="55" y="22"/>
                  </a:cubicBezTo>
                  <a:cubicBezTo>
                    <a:pt x="55" y="22"/>
                    <a:pt x="54" y="22"/>
                    <a:pt x="54" y="23"/>
                  </a:cubicBezTo>
                  <a:cubicBezTo>
                    <a:pt x="54" y="24"/>
                    <a:pt x="54" y="25"/>
                    <a:pt x="54" y="26"/>
                  </a:cubicBezTo>
                  <a:cubicBezTo>
                    <a:pt x="55" y="27"/>
                    <a:pt x="54" y="28"/>
                    <a:pt x="55" y="29"/>
                  </a:cubicBezTo>
                  <a:cubicBezTo>
                    <a:pt x="55" y="29"/>
                    <a:pt x="55" y="29"/>
                    <a:pt x="56" y="29"/>
                  </a:cubicBezTo>
                  <a:cubicBezTo>
                    <a:pt x="56" y="29"/>
                    <a:pt x="57" y="29"/>
                    <a:pt x="57" y="29"/>
                  </a:cubicBezTo>
                  <a:cubicBezTo>
                    <a:pt x="57" y="29"/>
                    <a:pt x="58" y="30"/>
                    <a:pt x="58" y="30"/>
                  </a:cubicBezTo>
                  <a:cubicBezTo>
                    <a:pt x="58" y="32"/>
                    <a:pt x="58" y="33"/>
                    <a:pt x="57" y="35"/>
                  </a:cubicBezTo>
                  <a:cubicBezTo>
                    <a:pt x="56" y="36"/>
                    <a:pt x="58" y="37"/>
                    <a:pt x="59" y="39"/>
                  </a:cubicBezTo>
                  <a:cubicBezTo>
                    <a:pt x="59" y="39"/>
                    <a:pt x="59" y="40"/>
                    <a:pt x="59" y="40"/>
                  </a:cubicBezTo>
                  <a:cubicBezTo>
                    <a:pt x="57" y="41"/>
                    <a:pt x="56" y="40"/>
                    <a:pt x="55" y="40"/>
                  </a:cubicBezTo>
                  <a:cubicBezTo>
                    <a:pt x="55" y="42"/>
                    <a:pt x="55" y="44"/>
                    <a:pt x="55" y="46"/>
                  </a:cubicBezTo>
                  <a:cubicBezTo>
                    <a:pt x="55" y="47"/>
                    <a:pt x="54" y="48"/>
                    <a:pt x="53" y="48"/>
                  </a:cubicBezTo>
                  <a:cubicBezTo>
                    <a:pt x="52" y="48"/>
                    <a:pt x="51" y="48"/>
                    <a:pt x="51" y="48"/>
                  </a:cubicBezTo>
                  <a:cubicBezTo>
                    <a:pt x="50" y="49"/>
                    <a:pt x="50" y="50"/>
                    <a:pt x="49" y="50"/>
                  </a:cubicBezTo>
                  <a:cubicBezTo>
                    <a:pt x="48" y="51"/>
                    <a:pt x="47" y="51"/>
                    <a:pt x="47" y="50"/>
                  </a:cubicBezTo>
                  <a:cubicBezTo>
                    <a:pt x="46" y="50"/>
                    <a:pt x="45" y="49"/>
                    <a:pt x="44" y="49"/>
                  </a:cubicBezTo>
                  <a:cubicBezTo>
                    <a:pt x="44" y="48"/>
                    <a:pt x="44" y="47"/>
                    <a:pt x="44" y="46"/>
                  </a:cubicBezTo>
                  <a:cubicBezTo>
                    <a:pt x="44" y="46"/>
                    <a:pt x="43" y="46"/>
                    <a:pt x="43" y="45"/>
                  </a:cubicBezTo>
                  <a:cubicBezTo>
                    <a:pt x="43" y="43"/>
                    <a:pt x="43" y="41"/>
                    <a:pt x="43" y="40"/>
                  </a:cubicBezTo>
                  <a:cubicBezTo>
                    <a:pt x="43" y="39"/>
                    <a:pt x="42" y="39"/>
                    <a:pt x="42" y="38"/>
                  </a:cubicBezTo>
                  <a:cubicBezTo>
                    <a:pt x="41" y="38"/>
                    <a:pt x="40" y="38"/>
                    <a:pt x="39" y="39"/>
                  </a:cubicBezTo>
                  <a:cubicBezTo>
                    <a:pt x="38" y="39"/>
                    <a:pt x="38" y="40"/>
                    <a:pt x="37" y="40"/>
                  </a:cubicBezTo>
                  <a:cubicBezTo>
                    <a:pt x="37" y="41"/>
                    <a:pt x="35" y="41"/>
                    <a:pt x="35" y="40"/>
                  </a:cubicBezTo>
                  <a:cubicBezTo>
                    <a:pt x="34" y="40"/>
                    <a:pt x="35" y="39"/>
                    <a:pt x="35" y="39"/>
                  </a:cubicBezTo>
                  <a:cubicBezTo>
                    <a:pt x="35" y="38"/>
                    <a:pt x="35" y="37"/>
                    <a:pt x="35" y="36"/>
                  </a:cubicBezTo>
                  <a:cubicBezTo>
                    <a:pt x="35" y="34"/>
                    <a:pt x="35" y="33"/>
                    <a:pt x="35" y="32"/>
                  </a:cubicBezTo>
                  <a:cubicBezTo>
                    <a:pt x="35" y="31"/>
                    <a:pt x="34" y="31"/>
                    <a:pt x="34" y="30"/>
                  </a:cubicBezTo>
                  <a:cubicBezTo>
                    <a:pt x="33" y="29"/>
                    <a:pt x="33" y="28"/>
                    <a:pt x="32" y="27"/>
                  </a:cubicBezTo>
                  <a:cubicBezTo>
                    <a:pt x="32" y="25"/>
                    <a:pt x="30" y="26"/>
                    <a:pt x="29" y="25"/>
                  </a:cubicBezTo>
                  <a:cubicBezTo>
                    <a:pt x="29" y="25"/>
                    <a:pt x="28" y="25"/>
                    <a:pt x="28" y="24"/>
                  </a:cubicBezTo>
                  <a:cubicBezTo>
                    <a:pt x="26" y="24"/>
                    <a:pt x="25" y="25"/>
                    <a:pt x="23" y="26"/>
                  </a:cubicBezTo>
                  <a:cubicBezTo>
                    <a:pt x="23" y="26"/>
                    <a:pt x="22" y="26"/>
                    <a:pt x="22" y="26"/>
                  </a:cubicBezTo>
                  <a:cubicBezTo>
                    <a:pt x="22" y="26"/>
                    <a:pt x="21" y="25"/>
                    <a:pt x="21" y="25"/>
                  </a:cubicBezTo>
                  <a:cubicBezTo>
                    <a:pt x="20" y="25"/>
                    <a:pt x="19" y="25"/>
                    <a:pt x="19" y="26"/>
                  </a:cubicBezTo>
                  <a:cubicBezTo>
                    <a:pt x="18" y="28"/>
                    <a:pt x="17" y="29"/>
                    <a:pt x="16" y="31"/>
                  </a:cubicBezTo>
                  <a:cubicBezTo>
                    <a:pt x="16" y="31"/>
                    <a:pt x="15" y="31"/>
                    <a:pt x="15" y="31"/>
                  </a:cubicBezTo>
                  <a:lnTo>
                    <a:pt x="14" y="32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3" name="Freeform 358"/>
            <p:cNvSpPr>
              <a:spLocks/>
            </p:cNvSpPr>
            <p:nvPr/>
          </p:nvSpPr>
          <p:spPr bwMode="auto">
            <a:xfrm>
              <a:off x="6899156" y="3533830"/>
              <a:ext cx="10786" cy="13519"/>
            </a:xfrm>
            <a:custGeom>
              <a:avLst/>
              <a:gdLst>
                <a:gd name="T0" fmla="*/ 0 w 23"/>
                <a:gd name="T1" fmla="*/ 285419 h 28"/>
                <a:gd name="T2" fmla="*/ 36118 w 23"/>
                <a:gd name="T3" fmla="*/ 325194 h 28"/>
                <a:gd name="T4" fmla="*/ 36118 w 23"/>
                <a:gd name="T5" fmla="*/ 550451 h 28"/>
                <a:gd name="T6" fmla="*/ 132182 w 23"/>
                <a:gd name="T7" fmla="*/ 669824 h 28"/>
                <a:gd name="T8" fmla="*/ 132182 w 23"/>
                <a:gd name="T9" fmla="*/ 836327 h 28"/>
                <a:gd name="T10" fmla="*/ 166056 w 23"/>
                <a:gd name="T11" fmla="*/ 878418 h 28"/>
                <a:gd name="T12" fmla="*/ 290228 w 23"/>
                <a:gd name="T13" fmla="*/ 913065 h 28"/>
                <a:gd name="T14" fmla="*/ 386798 w 23"/>
                <a:gd name="T15" fmla="*/ 945974 h 28"/>
                <a:gd name="T16" fmla="*/ 455088 w 23"/>
                <a:gd name="T17" fmla="*/ 1027161 h 28"/>
                <a:gd name="T18" fmla="*/ 455088 w 23"/>
                <a:gd name="T19" fmla="*/ 984443 h 28"/>
                <a:gd name="T20" fmla="*/ 518659 w 23"/>
                <a:gd name="T21" fmla="*/ 878418 h 28"/>
                <a:gd name="T22" fmla="*/ 607720 w 23"/>
                <a:gd name="T23" fmla="*/ 836327 h 28"/>
                <a:gd name="T24" fmla="*/ 644235 w 23"/>
                <a:gd name="T25" fmla="*/ 798027 h 28"/>
                <a:gd name="T26" fmla="*/ 675697 w 23"/>
                <a:gd name="T27" fmla="*/ 699103 h 28"/>
                <a:gd name="T28" fmla="*/ 704520 w 23"/>
                <a:gd name="T29" fmla="*/ 669824 h 28"/>
                <a:gd name="T30" fmla="*/ 739961 w 23"/>
                <a:gd name="T31" fmla="*/ 593117 h 28"/>
                <a:gd name="T32" fmla="*/ 739961 w 23"/>
                <a:gd name="T33" fmla="*/ 593117 h 28"/>
                <a:gd name="T34" fmla="*/ 675697 w 23"/>
                <a:gd name="T35" fmla="*/ 593117 h 28"/>
                <a:gd name="T36" fmla="*/ 675697 w 23"/>
                <a:gd name="T37" fmla="*/ 550451 h 28"/>
                <a:gd name="T38" fmla="*/ 675697 w 23"/>
                <a:gd name="T39" fmla="*/ 433651 h 28"/>
                <a:gd name="T40" fmla="*/ 675697 w 23"/>
                <a:gd name="T41" fmla="*/ 285419 h 28"/>
                <a:gd name="T42" fmla="*/ 644235 w 23"/>
                <a:gd name="T43" fmla="*/ 224856 h 28"/>
                <a:gd name="T44" fmla="*/ 569389 w 23"/>
                <a:gd name="T45" fmla="*/ 116592 h 28"/>
                <a:gd name="T46" fmla="*/ 483751 w 23"/>
                <a:gd name="T47" fmla="*/ 39790 h 28"/>
                <a:gd name="T48" fmla="*/ 455088 w 23"/>
                <a:gd name="T49" fmla="*/ 0 h 28"/>
                <a:gd name="T50" fmla="*/ 290228 w 23"/>
                <a:gd name="T51" fmla="*/ 76738 h 28"/>
                <a:gd name="T52" fmla="*/ 252870 w 23"/>
                <a:gd name="T53" fmla="*/ 76738 h 28"/>
                <a:gd name="T54" fmla="*/ 221414 w 23"/>
                <a:gd name="T55" fmla="*/ 39790 h 28"/>
                <a:gd name="T56" fmla="*/ 166056 w 23"/>
                <a:gd name="T57" fmla="*/ 76738 h 28"/>
                <a:gd name="T58" fmla="*/ 69095 w 23"/>
                <a:gd name="T59" fmla="*/ 264679 h 28"/>
                <a:gd name="T60" fmla="*/ 36118 w 23"/>
                <a:gd name="T61" fmla="*/ 264679 h 28"/>
                <a:gd name="T62" fmla="*/ 0 w 23"/>
                <a:gd name="T63" fmla="*/ 285419 h 2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3"/>
                <a:gd name="T97" fmla="*/ 0 h 28"/>
                <a:gd name="T98" fmla="*/ 23 w 23"/>
                <a:gd name="T99" fmla="*/ 28 h 2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3" h="28">
                  <a:moveTo>
                    <a:pt x="0" y="8"/>
                  </a:moveTo>
                  <a:cubicBezTo>
                    <a:pt x="0" y="8"/>
                    <a:pt x="1" y="9"/>
                    <a:pt x="1" y="9"/>
                  </a:cubicBezTo>
                  <a:cubicBezTo>
                    <a:pt x="2" y="11"/>
                    <a:pt x="1" y="13"/>
                    <a:pt x="1" y="15"/>
                  </a:cubicBezTo>
                  <a:cubicBezTo>
                    <a:pt x="2" y="16"/>
                    <a:pt x="3" y="17"/>
                    <a:pt x="4" y="18"/>
                  </a:cubicBezTo>
                  <a:cubicBezTo>
                    <a:pt x="4" y="20"/>
                    <a:pt x="3" y="22"/>
                    <a:pt x="4" y="23"/>
                  </a:cubicBezTo>
                  <a:cubicBezTo>
                    <a:pt x="4" y="23"/>
                    <a:pt x="4" y="23"/>
                    <a:pt x="5" y="24"/>
                  </a:cubicBezTo>
                  <a:cubicBezTo>
                    <a:pt x="6" y="24"/>
                    <a:pt x="8" y="24"/>
                    <a:pt x="9" y="25"/>
                  </a:cubicBezTo>
                  <a:cubicBezTo>
                    <a:pt x="10" y="26"/>
                    <a:pt x="11" y="26"/>
                    <a:pt x="12" y="26"/>
                  </a:cubicBezTo>
                  <a:cubicBezTo>
                    <a:pt x="12" y="27"/>
                    <a:pt x="13" y="27"/>
                    <a:pt x="14" y="28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5" y="26"/>
                    <a:pt x="15" y="24"/>
                    <a:pt x="16" y="24"/>
                  </a:cubicBezTo>
                  <a:cubicBezTo>
                    <a:pt x="17" y="24"/>
                    <a:pt x="18" y="23"/>
                    <a:pt x="19" y="23"/>
                  </a:cubicBezTo>
                  <a:cubicBezTo>
                    <a:pt x="19" y="23"/>
                    <a:pt x="20" y="22"/>
                    <a:pt x="20" y="22"/>
                  </a:cubicBezTo>
                  <a:cubicBezTo>
                    <a:pt x="20" y="21"/>
                    <a:pt x="20" y="20"/>
                    <a:pt x="21" y="19"/>
                  </a:cubicBezTo>
                  <a:cubicBezTo>
                    <a:pt x="21" y="18"/>
                    <a:pt x="22" y="18"/>
                    <a:pt x="22" y="18"/>
                  </a:cubicBezTo>
                  <a:cubicBezTo>
                    <a:pt x="23" y="17"/>
                    <a:pt x="22" y="17"/>
                    <a:pt x="23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7"/>
                    <a:pt x="21" y="17"/>
                    <a:pt x="21" y="16"/>
                  </a:cubicBezTo>
                  <a:cubicBezTo>
                    <a:pt x="20" y="16"/>
                    <a:pt x="21" y="15"/>
                    <a:pt x="21" y="15"/>
                  </a:cubicBezTo>
                  <a:cubicBezTo>
                    <a:pt x="21" y="14"/>
                    <a:pt x="21" y="13"/>
                    <a:pt x="21" y="12"/>
                  </a:cubicBezTo>
                  <a:cubicBezTo>
                    <a:pt x="21" y="10"/>
                    <a:pt x="21" y="9"/>
                    <a:pt x="21" y="8"/>
                  </a:cubicBezTo>
                  <a:cubicBezTo>
                    <a:pt x="21" y="7"/>
                    <a:pt x="20" y="7"/>
                    <a:pt x="20" y="6"/>
                  </a:cubicBezTo>
                  <a:cubicBezTo>
                    <a:pt x="19" y="5"/>
                    <a:pt x="19" y="4"/>
                    <a:pt x="18" y="3"/>
                  </a:cubicBezTo>
                  <a:cubicBezTo>
                    <a:pt x="18" y="1"/>
                    <a:pt x="16" y="2"/>
                    <a:pt x="15" y="1"/>
                  </a:cubicBezTo>
                  <a:cubicBezTo>
                    <a:pt x="15" y="1"/>
                    <a:pt x="14" y="1"/>
                    <a:pt x="14" y="0"/>
                  </a:cubicBezTo>
                  <a:cubicBezTo>
                    <a:pt x="12" y="0"/>
                    <a:pt x="11" y="1"/>
                    <a:pt x="9" y="2"/>
                  </a:cubicBezTo>
                  <a:cubicBezTo>
                    <a:pt x="9" y="2"/>
                    <a:pt x="8" y="2"/>
                    <a:pt x="8" y="2"/>
                  </a:cubicBezTo>
                  <a:cubicBezTo>
                    <a:pt x="8" y="2"/>
                    <a:pt x="7" y="1"/>
                    <a:pt x="7" y="1"/>
                  </a:cubicBezTo>
                  <a:cubicBezTo>
                    <a:pt x="6" y="1"/>
                    <a:pt x="5" y="1"/>
                    <a:pt x="5" y="2"/>
                  </a:cubicBezTo>
                  <a:cubicBezTo>
                    <a:pt x="4" y="4"/>
                    <a:pt x="3" y="5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4" name="Freeform 359"/>
            <p:cNvSpPr>
              <a:spLocks/>
            </p:cNvSpPr>
            <p:nvPr/>
          </p:nvSpPr>
          <p:spPr bwMode="auto">
            <a:xfrm>
              <a:off x="6905427" y="3540589"/>
              <a:ext cx="15050" cy="18386"/>
            </a:xfrm>
            <a:custGeom>
              <a:avLst/>
              <a:gdLst>
                <a:gd name="T0" fmla="*/ 1220493 w 32"/>
                <a:gd name="T1" fmla="*/ 1306001 h 38"/>
                <a:gd name="T2" fmla="*/ 1018488 w 32"/>
                <a:gd name="T3" fmla="*/ 1242562 h 38"/>
                <a:gd name="T4" fmla="*/ 915281 w 32"/>
                <a:gd name="T5" fmla="*/ 1242562 h 38"/>
                <a:gd name="T6" fmla="*/ 629932 w 32"/>
                <a:gd name="T7" fmla="*/ 970642 h 38"/>
                <a:gd name="T8" fmla="*/ 346741 w 32"/>
                <a:gd name="T9" fmla="*/ 717988 h 38"/>
                <a:gd name="T10" fmla="*/ 243821 w 32"/>
                <a:gd name="T11" fmla="*/ 625645 h 38"/>
                <a:gd name="T12" fmla="*/ 86610 w 32"/>
                <a:gd name="T13" fmla="*/ 558640 h 38"/>
                <a:gd name="T14" fmla="*/ 0 w 32"/>
                <a:gd name="T15" fmla="*/ 485179 h 38"/>
                <a:gd name="T16" fmla="*/ 0 w 32"/>
                <a:gd name="T17" fmla="*/ 446883 h 38"/>
                <a:gd name="T18" fmla="*/ 86610 w 32"/>
                <a:gd name="T19" fmla="*/ 342802 h 38"/>
                <a:gd name="T20" fmla="*/ 200368 w 32"/>
                <a:gd name="T21" fmla="*/ 305276 h 38"/>
                <a:gd name="T22" fmla="*/ 243821 w 32"/>
                <a:gd name="T23" fmla="*/ 272672 h 38"/>
                <a:gd name="T24" fmla="*/ 283162 w 32"/>
                <a:gd name="T25" fmla="*/ 178445 h 38"/>
                <a:gd name="T26" fmla="*/ 325126 w 32"/>
                <a:gd name="T27" fmla="*/ 141939 h 38"/>
                <a:gd name="T28" fmla="*/ 346741 w 32"/>
                <a:gd name="T29" fmla="*/ 73886 h 38"/>
                <a:gd name="T30" fmla="*/ 346741 w 32"/>
                <a:gd name="T31" fmla="*/ 73886 h 38"/>
                <a:gd name="T32" fmla="*/ 427145 w 32"/>
                <a:gd name="T33" fmla="*/ 38461 h 38"/>
                <a:gd name="T34" fmla="*/ 548626 w 32"/>
                <a:gd name="T35" fmla="*/ 0 h 38"/>
                <a:gd name="T36" fmla="*/ 585230 w 32"/>
                <a:gd name="T37" fmla="*/ 73886 h 38"/>
                <a:gd name="T38" fmla="*/ 585230 w 32"/>
                <a:gd name="T39" fmla="*/ 232624 h 38"/>
                <a:gd name="T40" fmla="*/ 629932 w 32"/>
                <a:gd name="T41" fmla="*/ 272672 h 38"/>
                <a:gd name="T42" fmla="*/ 629932 w 32"/>
                <a:gd name="T43" fmla="*/ 373747 h 38"/>
                <a:gd name="T44" fmla="*/ 752163 w 32"/>
                <a:gd name="T45" fmla="*/ 411576 h 38"/>
                <a:gd name="T46" fmla="*/ 827593 w 32"/>
                <a:gd name="T47" fmla="*/ 411576 h 38"/>
                <a:gd name="T48" fmla="*/ 915281 w 32"/>
                <a:gd name="T49" fmla="*/ 342802 h 38"/>
                <a:gd name="T50" fmla="*/ 976461 w 32"/>
                <a:gd name="T51" fmla="*/ 342802 h 38"/>
                <a:gd name="T52" fmla="*/ 976461 w 32"/>
                <a:gd name="T53" fmla="*/ 342802 h 38"/>
                <a:gd name="T54" fmla="*/ 931986 w 32"/>
                <a:gd name="T55" fmla="*/ 373747 h 38"/>
                <a:gd name="T56" fmla="*/ 931986 w 32"/>
                <a:gd name="T57" fmla="*/ 446883 h 38"/>
                <a:gd name="T58" fmla="*/ 915281 w 32"/>
                <a:gd name="T59" fmla="*/ 625645 h 38"/>
                <a:gd name="T60" fmla="*/ 1175355 w 32"/>
                <a:gd name="T61" fmla="*/ 891290 h 38"/>
                <a:gd name="T62" fmla="*/ 1220493 w 32"/>
                <a:gd name="T63" fmla="*/ 1242562 h 38"/>
                <a:gd name="T64" fmla="*/ 1220493 w 32"/>
                <a:gd name="T65" fmla="*/ 1306001 h 3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2"/>
                <a:gd name="T100" fmla="*/ 0 h 38"/>
                <a:gd name="T101" fmla="*/ 32 w 32"/>
                <a:gd name="T102" fmla="*/ 38 h 3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2" h="38">
                  <a:moveTo>
                    <a:pt x="31" y="38"/>
                  </a:moveTo>
                  <a:cubicBezTo>
                    <a:pt x="29" y="38"/>
                    <a:pt x="27" y="37"/>
                    <a:pt x="26" y="36"/>
                  </a:cubicBezTo>
                  <a:cubicBezTo>
                    <a:pt x="25" y="36"/>
                    <a:pt x="24" y="37"/>
                    <a:pt x="23" y="36"/>
                  </a:cubicBezTo>
                  <a:cubicBezTo>
                    <a:pt x="20" y="34"/>
                    <a:pt x="18" y="31"/>
                    <a:pt x="16" y="28"/>
                  </a:cubicBezTo>
                  <a:cubicBezTo>
                    <a:pt x="14" y="26"/>
                    <a:pt x="11" y="24"/>
                    <a:pt x="9" y="21"/>
                  </a:cubicBezTo>
                  <a:cubicBezTo>
                    <a:pt x="8" y="20"/>
                    <a:pt x="7" y="19"/>
                    <a:pt x="6" y="18"/>
                  </a:cubicBezTo>
                  <a:cubicBezTo>
                    <a:pt x="5" y="17"/>
                    <a:pt x="4" y="16"/>
                    <a:pt x="2" y="16"/>
                  </a:cubicBezTo>
                  <a:cubicBezTo>
                    <a:pt x="1" y="15"/>
                    <a:pt x="1" y="14"/>
                    <a:pt x="0" y="1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2"/>
                    <a:pt x="1" y="10"/>
                    <a:pt x="2" y="10"/>
                  </a:cubicBezTo>
                  <a:cubicBezTo>
                    <a:pt x="3" y="10"/>
                    <a:pt x="4" y="9"/>
                    <a:pt x="5" y="9"/>
                  </a:cubicBezTo>
                  <a:cubicBezTo>
                    <a:pt x="5" y="9"/>
                    <a:pt x="6" y="8"/>
                    <a:pt x="6" y="8"/>
                  </a:cubicBezTo>
                  <a:cubicBezTo>
                    <a:pt x="6" y="7"/>
                    <a:pt x="6" y="6"/>
                    <a:pt x="7" y="5"/>
                  </a:cubicBezTo>
                  <a:cubicBezTo>
                    <a:pt x="7" y="4"/>
                    <a:pt x="8" y="4"/>
                    <a:pt x="8" y="4"/>
                  </a:cubicBezTo>
                  <a:cubicBezTo>
                    <a:pt x="9" y="3"/>
                    <a:pt x="8" y="3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1"/>
                    <a:pt x="15" y="1"/>
                    <a:pt x="15" y="2"/>
                  </a:cubicBezTo>
                  <a:cubicBezTo>
                    <a:pt x="15" y="3"/>
                    <a:pt x="15" y="5"/>
                    <a:pt x="15" y="7"/>
                  </a:cubicBezTo>
                  <a:cubicBezTo>
                    <a:pt x="15" y="8"/>
                    <a:pt x="16" y="8"/>
                    <a:pt x="16" y="8"/>
                  </a:cubicBezTo>
                  <a:cubicBezTo>
                    <a:pt x="16" y="9"/>
                    <a:pt x="16" y="10"/>
                    <a:pt x="16" y="11"/>
                  </a:cubicBezTo>
                  <a:cubicBezTo>
                    <a:pt x="17" y="11"/>
                    <a:pt x="18" y="12"/>
                    <a:pt x="19" y="12"/>
                  </a:cubicBezTo>
                  <a:cubicBezTo>
                    <a:pt x="19" y="13"/>
                    <a:pt x="20" y="13"/>
                    <a:pt x="21" y="12"/>
                  </a:cubicBezTo>
                  <a:cubicBezTo>
                    <a:pt x="22" y="12"/>
                    <a:pt x="22" y="11"/>
                    <a:pt x="23" y="10"/>
                  </a:cubicBezTo>
                  <a:cubicBezTo>
                    <a:pt x="23" y="10"/>
                    <a:pt x="24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1"/>
                    <a:pt x="25" y="11"/>
                    <a:pt x="24" y="11"/>
                  </a:cubicBezTo>
                  <a:cubicBezTo>
                    <a:pt x="24" y="12"/>
                    <a:pt x="24" y="13"/>
                    <a:pt x="24" y="13"/>
                  </a:cubicBezTo>
                  <a:cubicBezTo>
                    <a:pt x="24" y="15"/>
                    <a:pt x="23" y="17"/>
                    <a:pt x="23" y="18"/>
                  </a:cubicBezTo>
                  <a:cubicBezTo>
                    <a:pt x="25" y="21"/>
                    <a:pt x="29" y="23"/>
                    <a:pt x="30" y="26"/>
                  </a:cubicBezTo>
                  <a:cubicBezTo>
                    <a:pt x="32" y="30"/>
                    <a:pt x="31" y="33"/>
                    <a:pt x="31" y="36"/>
                  </a:cubicBezTo>
                  <a:lnTo>
                    <a:pt x="31" y="38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5" name="Freeform 360"/>
            <p:cNvSpPr>
              <a:spLocks/>
            </p:cNvSpPr>
            <p:nvPr/>
          </p:nvSpPr>
          <p:spPr bwMode="auto">
            <a:xfrm>
              <a:off x="6916213" y="3530315"/>
              <a:ext cx="22324" cy="29201"/>
            </a:xfrm>
            <a:custGeom>
              <a:avLst/>
              <a:gdLst>
                <a:gd name="T0" fmla="*/ 1745668 w 47"/>
                <a:gd name="T1" fmla="*/ 1793950 h 60"/>
                <a:gd name="T2" fmla="*/ 1548375 w 47"/>
                <a:gd name="T3" fmla="*/ 1732163 h 60"/>
                <a:gd name="T4" fmla="*/ 1446581 w 47"/>
                <a:gd name="T5" fmla="*/ 1696929 h 60"/>
                <a:gd name="T6" fmla="*/ 1246135 w 47"/>
                <a:gd name="T7" fmla="*/ 1732163 h 60"/>
                <a:gd name="T8" fmla="*/ 1209839 w 47"/>
                <a:gd name="T9" fmla="*/ 1732163 h 60"/>
                <a:gd name="T10" fmla="*/ 1010549 w 47"/>
                <a:gd name="T11" fmla="*/ 1772271 h 60"/>
                <a:gd name="T12" fmla="*/ 791545 w 47"/>
                <a:gd name="T13" fmla="*/ 1793950 h 60"/>
                <a:gd name="T14" fmla="*/ 624862 w 47"/>
                <a:gd name="T15" fmla="*/ 1890278 h 60"/>
                <a:gd name="T16" fmla="*/ 299766 w 47"/>
                <a:gd name="T17" fmla="*/ 1959625 h 60"/>
                <a:gd name="T18" fmla="*/ 299766 w 47"/>
                <a:gd name="T19" fmla="*/ 1890278 h 60"/>
                <a:gd name="T20" fmla="*/ 280586 w 47"/>
                <a:gd name="T21" fmla="*/ 1562814 h 60"/>
                <a:gd name="T22" fmla="*/ 0 w 47"/>
                <a:gd name="T23" fmla="*/ 1300018 h 60"/>
                <a:gd name="T24" fmla="*/ 41300 w 47"/>
                <a:gd name="T25" fmla="*/ 1131334 h 60"/>
                <a:gd name="T26" fmla="*/ 41300 w 47"/>
                <a:gd name="T27" fmla="*/ 1054544 h 60"/>
                <a:gd name="T28" fmla="*/ 79964 w 47"/>
                <a:gd name="T29" fmla="*/ 1022413 h 60"/>
                <a:gd name="T30" fmla="*/ 79964 w 47"/>
                <a:gd name="T31" fmla="*/ 1022413 h 60"/>
                <a:gd name="T32" fmla="*/ 154824 w 47"/>
                <a:gd name="T33" fmla="*/ 965609 h 60"/>
                <a:gd name="T34" fmla="*/ 154824 w 47"/>
                <a:gd name="T35" fmla="*/ 759332 h 60"/>
                <a:gd name="T36" fmla="*/ 299766 w 47"/>
                <a:gd name="T37" fmla="*/ 759332 h 60"/>
                <a:gd name="T38" fmla="*/ 299766 w 47"/>
                <a:gd name="T39" fmla="*/ 729972 h 60"/>
                <a:gd name="T40" fmla="*/ 240509 w 47"/>
                <a:gd name="T41" fmla="*/ 602819 h 60"/>
                <a:gd name="T42" fmla="*/ 280586 w 47"/>
                <a:gd name="T43" fmla="*/ 432174 h 60"/>
                <a:gd name="T44" fmla="*/ 240509 w 47"/>
                <a:gd name="T45" fmla="*/ 396173 h 60"/>
                <a:gd name="T46" fmla="*/ 199302 w 47"/>
                <a:gd name="T47" fmla="*/ 396173 h 60"/>
                <a:gd name="T48" fmla="*/ 154824 w 47"/>
                <a:gd name="T49" fmla="*/ 396173 h 60"/>
                <a:gd name="T50" fmla="*/ 124219 w 47"/>
                <a:gd name="T51" fmla="*/ 297802 h 60"/>
                <a:gd name="T52" fmla="*/ 124219 w 47"/>
                <a:gd name="T53" fmla="*/ 206699 h 60"/>
                <a:gd name="T54" fmla="*/ 154824 w 47"/>
                <a:gd name="T55" fmla="*/ 169393 h 60"/>
                <a:gd name="T56" fmla="*/ 199302 w 47"/>
                <a:gd name="T57" fmla="*/ 107843 h 60"/>
                <a:gd name="T58" fmla="*/ 240509 w 47"/>
                <a:gd name="T59" fmla="*/ 137139 h 60"/>
                <a:gd name="T60" fmla="*/ 500432 w 47"/>
                <a:gd name="T61" fmla="*/ 206699 h 60"/>
                <a:gd name="T62" fmla="*/ 624862 w 47"/>
                <a:gd name="T63" fmla="*/ 71551 h 60"/>
                <a:gd name="T64" fmla="*/ 710741 w 47"/>
                <a:gd name="T65" fmla="*/ 169393 h 60"/>
                <a:gd name="T66" fmla="*/ 820985 w 47"/>
                <a:gd name="T67" fmla="*/ 169393 h 60"/>
                <a:gd name="T68" fmla="*/ 924626 w 47"/>
                <a:gd name="T69" fmla="*/ 107843 h 60"/>
                <a:gd name="T70" fmla="*/ 924626 w 47"/>
                <a:gd name="T71" fmla="*/ 107843 h 60"/>
                <a:gd name="T72" fmla="*/ 1010549 w 47"/>
                <a:gd name="T73" fmla="*/ 137139 h 60"/>
                <a:gd name="T74" fmla="*/ 1051848 w 47"/>
                <a:gd name="T75" fmla="*/ 225482 h 60"/>
                <a:gd name="T76" fmla="*/ 1209839 w 47"/>
                <a:gd name="T77" fmla="*/ 297802 h 60"/>
                <a:gd name="T78" fmla="*/ 1246135 w 47"/>
                <a:gd name="T79" fmla="*/ 324670 h 60"/>
                <a:gd name="T80" fmla="*/ 1446581 w 47"/>
                <a:gd name="T81" fmla="*/ 297802 h 60"/>
                <a:gd name="T82" fmla="*/ 1633864 w 47"/>
                <a:gd name="T83" fmla="*/ 297802 h 60"/>
                <a:gd name="T84" fmla="*/ 1716173 w 47"/>
                <a:gd name="T85" fmla="*/ 324670 h 60"/>
                <a:gd name="T86" fmla="*/ 1716173 w 47"/>
                <a:gd name="T87" fmla="*/ 324670 h 60"/>
                <a:gd name="T88" fmla="*/ 1745668 w 47"/>
                <a:gd name="T89" fmla="*/ 432174 h 60"/>
                <a:gd name="T90" fmla="*/ 1745668 w 47"/>
                <a:gd name="T91" fmla="*/ 503796 h 60"/>
                <a:gd name="T92" fmla="*/ 1790233 w 47"/>
                <a:gd name="T93" fmla="*/ 622284 h 60"/>
                <a:gd name="T94" fmla="*/ 1790233 w 47"/>
                <a:gd name="T95" fmla="*/ 759332 h 60"/>
                <a:gd name="T96" fmla="*/ 1745668 w 47"/>
                <a:gd name="T97" fmla="*/ 828334 h 60"/>
                <a:gd name="T98" fmla="*/ 1716173 w 47"/>
                <a:gd name="T99" fmla="*/ 1094009 h 60"/>
                <a:gd name="T100" fmla="*/ 1675490 w 47"/>
                <a:gd name="T101" fmla="*/ 1094009 h 60"/>
                <a:gd name="T102" fmla="*/ 1589567 w 47"/>
                <a:gd name="T103" fmla="*/ 1192711 h 60"/>
                <a:gd name="T104" fmla="*/ 1589567 w 47"/>
                <a:gd name="T105" fmla="*/ 1263227 h 60"/>
                <a:gd name="T106" fmla="*/ 1633864 w 47"/>
                <a:gd name="T107" fmla="*/ 1489745 h 60"/>
                <a:gd name="T108" fmla="*/ 1716173 w 47"/>
                <a:gd name="T109" fmla="*/ 1562814 h 60"/>
                <a:gd name="T110" fmla="*/ 1745668 w 47"/>
                <a:gd name="T111" fmla="*/ 1732163 h 60"/>
                <a:gd name="T112" fmla="*/ 1745668 w 47"/>
                <a:gd name="T113" fmla="*/ 1793950 h 6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7"/>
                <a:gd name="T172" fmla="*/ 0 h 60"/>
                <a:gd name="T173" fmla="*/ 47 w 47"/>
                <a:gd name="T174" fmla="*/ 60 h 6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7" h="60">
                  <a:moveTo>
                    <a:pt x="45" y="54"/>
                  </a:moveTo>
                  <a:cubicBezTo>
                    <a:pt x="43" y="53"/>
                    <a:pt x="41" y="53"/>
                    <a:pt x="40" y="52"/>
                  </a:cubicBezTo>
                  <a:cubicBezTo>
                    <a:pt x="40" y="52"/>
                    <a:pt x="38" y="52"/>
                    <a:pt x="37" y="51"/>
                  </a:cubicBezTo>
                  <a:cubicBezTo>
                    <a:pt x="35" y="51"/>
                    <a:pt x="34" y="52"/>
                    <a:pt x="32" y="52"/>
                  </a:cubicBezTo>
                  <a:cubicBezTo>
                    <a:pt x="32" y="52"/>
                    <a:pt x="32" y="52"/>
                    <a:pt x="31" y="52"/>
                  </a:cubicBezTo>
                  <a:cubicBezTo>
                    <a:pt x="29" y="53"/>
                    <a:pt x="28" y="52"/>
                    <a:pt x="26" y="53"/>
                  </a:cubicBezTo>
                  <a:cubicBezTo>
                    <a:pt x="24" y="54"/>
                    <a:pt x="22" y="53"/>
                    <a:pt x="20" y="54"/>
                  </a:cubicBezTo>
                  <a:cubicBezTo>
                    <a:pt x="19" y="55"/>
                    <a:pt x="17" y="56"/>
                    <a:pt x="16" y="57"/>
                  </a:cubicBezTo>
                  <a:cubicBezTo>
                    <a:pt x="13" y="58"/>
                    <a:pt x="11" y="60"/>
                    <a:pt x="8" y="59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4"/>
                    <a:pt x="9" y="51"/>
                    <a:pt x="7" y="47"/>
                  </a:cubicBezTo>
                  <a:cubicBezTo>
                    <a:pt x="6" y="44"/>
                    <a:pt x="2" y="42"/>
                    <a:pt x="0" y="39"/>
                  </a:cubicBezTo>
                  <a:cubicBezTo>
                    <a:pt x="0" y="38"/>
                    <a:pt x="1" y="36"/>
                    <a:pt x="1" y="34"/>
                  </a:cubicBezTo>
                  <a:cubicBezTo>
                    <a:pt x="1" y="34"/>
                    <a:pt x="1" y="33"/>
                    <a:pt x="1" y="32"/>
                  </a:cubicBezTo>
                  <a:cubicBezTo>
                    <a:pt x="2" y="32"/>
                    <a:pt x="2" y="32"/>
                    <a:pt x="2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3" y="31"/>
                    <a:pt x="4" y="30"/>
                    <a:pt x="4" y="29"/>
                  </a:cubicBezTo>
                  <a:cubicBezTo>
                    <a:pt x="4" y="27"/>
                    <a:pt x="4" y="25"/>
                    <a:pt x="4" y="23"/>
                  </a:cubicBezTo>
                  <a:cubicBezTo>
                    <a:pt x="5" y="23"/>
                    <a:pt x="6" y="24"/>
                    <a:pt x="8" y="23"/>
                  </a:cubicBezTo>
                  <a:cubicBezTo>
                    <a:pt x="8" y="23"/>
                    <a:pt x="8" y="22"/>
                    <a:pt x="8" y="22"/>
                  </a:cubicBezTo>
                  <a:cubicBezTo>
                    <a:pt x="7" y="20"/>
                    <a:pt x="5" y="19"/>
                    <a:pt x="6" y="18"/>
                  </a:cubicBezTo>
                  <a:cubicBezTo>
                    <a:pt x="7" y="16"/>
                    <a:pt x="7" y="15"/>
                    <a:pt x="7" y="13"/>
                  </a:cubicBezTo>
                  <a:cubicBezTo>
                    <a:pt x="7" y="13"/>
                    <a:pt x="6" y="12"/>
                    <a:pt x="6" y="12"/>
                  </a:cubicBezTo>
                  <a:cubicBezTo>
                    <a:pt x="6" y="12"/>
                    <a:pt x="5" y="12"/>
                    <a:pt x="5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1"/>
                    <a:pt x="4" y="10"/>
                    <a:pt x="3" y="9"/>
                  </a:cubicBezTo>
                  <a:cubicBezTo>
                    <a:pt x="3" y="8"/>
                    <a:pt x="3" y="7"/>
                    <a:pt x="3" y="6"/>
                  </a:cubicBezTo>
                  <a:cubicBezTo>
                    <a:pt x="3" y="5"/>
                    <a:pt x="4" y="5"/>
                    <a:pt x="4" y="5"/>
                  </a:cubicBezTo>
                  <a:cubicBezTo>
                    <a:pt x="5" y="4"/>
                    <a:pt x="4" y="4"/>
                    <a:pt x="5" y="3"/>
                  </a:cubicBezTo>
                  <a:cubicBezTo>
                    <a:pt x="5" y="4"/>
                    <a:pt x="5" y="3"/>
                    <a:pt x="6" y="4"/>
                  </a:cubicBezTo>
                  <a:cubicBezTo>
                    <a:pt x="8" y="5"/>
                    <a:pt x="10" y="6"/>
                    <a:pt x="13" y="6"/>
                  </a:cubicBezTo>
                  <a:cubicBezTo>
                    <a:pt x="14" y="5"/>
                    <a:pt x="14" y="3"/>
                    <a:pt x="16" y="2"/>
                  </a:cubicBezTo>
                  <a:cubicBezTo>
                    <a:pt x="17" y="0"/>
                    <a:pt x="18" y="3"/>
                    <a:pt x="18" y="5"/>
                  </a:cubicBezTo>
                  <a:cubicBezTo>
                    <a:pt x="18" y="6"/>
                    <a:pt x="20" y="6"/>
                    <a:pt x="21" y="5"/>
                  </a:cubicBezTo>
                  <a:cubicBezTo>
                    <a:pt x="22" y="5"/>
                    <a:pt x="23" y="4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5" y="3"/>
                    <a:pt x="25" y="4"/>
                    <a:pt x="26" y="4"/>
                  </a:cubicBezTo>
                  <a:cubicBezTo>
                    <a:pt x="26" y="5"/>
                    <a:pt x="27" y="6"/>
                    <a:pt x="27" y="7"/>
                  </a:cubicBezTo>
                  <a:cubicBezTo>
                    <a:pt x="28" y="9"/>
                    <a:pt x="30" y="8"/>
                    <a:pt x="31" y="9"/>
                  </a:cubicBezTo>
                  <a:cubicBezTo>
                    <a:pt x="32" y="9"/>
                    <a:pt x="31" y="10"/>
                    <a:pt x="32" y="10"/>
                  </a:cubicBezTo>
                  <a:cubicBezTo>
                    <a:pt x="34" y="12"/>
                    <a:pt x="37" y="11"/>
                    <a:pt x="37" y="9"/>
                  </a:cubicBezTo>
                  <a:cubicBezTo>
                    <a:pt x="39" y="8"/>
                    <a:pt x="41" y="8"/>
                    <a:pt x="42" y="9"/>
                  </a:cubicBezTo>
                  <a:cubicBezTo>
                    <a:pt x="43" y="9"/>
                    <a:pt x="44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11"/>
                    <a:pt x="44" y="12"/>
                    <a:pt x="45" y="13"/>
                  </a:cubicBezTo>
                  <a:cubicBezTo>
                    <a:pt x="45" y="14"/>
                    <a:pt x="45" y="14"/>
                    <a:pt x="45" y="15"/>
                  </a:cubicBezTo>
                  <a:cubicBezTo>
                    <a:pt x="46" y="16"/>
                    <a:pt x="46" y="18"/>
                    <a:pt x="46" y="19"/>
                  </a:cubicBezTo>
                  <a:cubicBezTo>
                    <a:pt x="47" y="20"/>
                    <a:pt x="47" y="22"/>
                    <a:pt x="46" y="23"/>
                  </a:cubicBezTo>
                  <a:cubicBezTo>
                    <a:pt x="46" y="24"/>
                    <a:pt x="45" y="25"/>
                    <a:pt x="45" y="25"/>
                  </a:cubicBezTo>
                  <a:cubicBezTo>
                    <a:pt x="43" y="27"/>
                    <a:pt x="44" y="30"/>
                    <a:pt x="44" y="33"/>
                  </a:cubicBezTo>
                  <a:cubicBezTo>
                    <a:pt x="44" y="33"/>
                    <a:pt x="43" y="33"/>
                    <a:pt x="43" y="33"/>
                  </a:cubicBezTo>
                  <a:cubicBezTo>
                    <a:pt x="42" y="34"/>
                    <a:pt x="42" y="35"/>
                    <a:pt x="41" y="36"/>
                  </a:cubicBezTo>
                  <a:cubicBezTo>
                    <a:pt x="41" y="37"/>
                    <a:pt x="41" y="38"/>
                    <a:pt x="41" y="38"/>
                  </a:cubicBezTo>
                  <a:cubicBezTo>
                    <a:pt x="43" y="40"/>
                    <a:pt x="42" y="43"/>
                    <a:pt x="42" y="45"/>
                  </a:cubicBezTo>
                  <a:cubicBezTo>
                    <a:pt x="43" y="46"/>
                    <a:pt x="44" y="46"/>
                    <a:pt x="44" y="47"/>
                  </a:cubicBezTo>
                  <a:cubicBezTo>
                    <a:pt x="46" y="48"/>
                    <a:pt x="45" y="50"/>
                    <a:pt x="45" y="52"/>
                  </a:cubicBezTo>
                  <a:lnTo>
                    <a:pt x="45" y="54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6" name="Freeform 361"/>
            <p:cNvSpPr>
              <a:spLocks/>
            </p:cNvSpPr>
            <p:nvPr/>
          </p:nvSpPr>
          <p:spPr bwMode="auto">
            <a:xfrm>
              <a:off x="6935527" y="3529504"/>
              <a:ext cx="16555" cy="27849"/>
            </a:xfrm>
            <a:custGeom>
              <a:avLst/>
              <a:gdLst>
                <a:gd name="T0" fmla="*/ 137111 w 36"/>
                <a:gd name="T1" fmla="*/ 1809817 h 58"/>
                <a:gd name="T2" fmla="*/ 169301 w 36"/>
                <a:gd name="T3" fmla="*/ 1809817 h 58"/>
                <a:gd name="T4" fmla="*/ 225482 w 36"/>
                <a:gd name="T5" fmla="*/ 1849352 h 58"/>
                <a:gd name="T6" fmla="*/ 297802 w 36"/>
                <a:gd name="T7" fmla="*/ 1875787 h 58"/>
                <a:gd name="T8" fmla="*/ 432174 w 36"/>
                <a:gd name="T9" fmla="*/ 1849352 h 58"/>
                <a:gd name="T10" fmla="*/ 503692 w 36"/>
                <a:gd name="T11" fmla="*/ 1778099 h 58"/>
                <a:gd name="T12" fmla="*/ 697736 w 36"/>
                <a:gd name="T13" fmla="*/ 1704374 h 58"/>
                <a:gd name="T14" fmla="*/ 796298 w 36"/>
                <a:gd name="T15" fmla="*/ 1627285 h 58"/>
                <a:gd name="T16" fmla="*/ 965409 w 36"/>
                <a:gd name="T17" fmla="*/ 1587666 h 58"/>
                <a:gd name="T18" fmla="*/ 1130630 w 36"/>
                <a:gd name="T19" fmla="*/ 1587666 h 58"/>
                <a:gd name="T20" fmla="*/ 1130630 w 36"/>
                <a:gd name="T21" fmla="*/ 1556570 h 58"/>
                <a:gd name="T22" fmla="*/ 1192065 w 36"/>
                <a:gd name="T23" fmla="*/ 1521090 h 58"/>
                <a:gd name="T24" fmla="*/ 1155395 w 36"/>
                <a:gd name="T25" fmla="*/ 1487205 h 58"/>
                <a:gd name="T26" fmla="*/ 1094008 w 36"/>
                <a:gd name="T27" fmla="*/ 1273909 h 58"/>
                <a:gd name="T28" fmla="*/ 1022413 w 36"/>
                <a:gd name="T29" fmla="*/ 1202291 h 58"/>
                <a:gd name="T30" fmla="*/ 986232 w 36"/>
                <a:gd name="T31" fmla="*/ 910977 h 58"/>
                <a:gd name="T32" fmla="*/ 1022413 w 36"/>
                <a:gd name="T33" fmla="*/ 742850 h 58"/>
                <a:gd name="T34" fmla="*/ 986232 w 36"/>
                <a:gd name="T35" fmla="*/ 560416 h 58"/>
                <a:gd name="T36" fmla="*/ 986232 w 36"/>
                <a:gd name="T37" fmla="*/ 494134 h 58"/>
                <a:gd name="T38" fmla="*/ 903639 w 36"/>
                <a:gd name="T39" fmla="*/ 461396 h 58"/>
                <a:gd name="T40" fmla="*/ 903639 w 36"/>
                <a:gd name="T41" fmla="*/ 388156 h 58"/>
                <a:gd name="T42" fmla="*/ 928472 w 36"/>
                <a:gd name="T43" fmla="*/ 258196 h 58"/>
                <a:gd name="T44" fmla="*/ 868589 w 36"/>
                <a:gd name="T45" fmla="*/ 185339 h 58"/>
                <a:gd name="T46" fmla="*/ 828333 w 36"/>
                <a:gd name="T47" fmla="*/ 36835 h 58"/>
                <a:gd name="T48" fmla="*/ 759332 w 36"/>
                <a:gd name="T49" fmla="*/ 36835 h 58"/>
                <a:gd name="T50" fmla="*/ 169301 w 36"/>
                <a:gd name="T51" fmla="*/ 36835 h 58"/>
                <a:gd name="T52" fmla="*/ 99095 w 36"/>
                <a:gd name="T53" fmla="*/ 70495 h 58"/>
                <a:gd name="T54" fmla="*/ 99095 w 36"/>
                <a:gd name="T55" fmla="*/ 166622 h 58"/>
                <a:gd name="T56" fmla="*/ 137111 w 36"/>
                <a:gd name="T57" fmla="*/ 292830 h 58"/>
                <a:gd name="T58" fmla="*/ 99095 w 36"/>
                <a:gd name="T59" fmla="*/ 388156 h 58"/>
                <a:gd name="T60" fmla="*/ 99095 w 36"/>
                <a:gd name="T61" fmla="*/ 388156 h 58"/>
                <a:gd name="T62" fmla="*/ 137111 w 36"/>
                <a:gd name="T63" fmla="*/ 494134 h 58"/>
                <a:gd name="T64" fmla="*/ 137111 w 36"/>
                <a:gd name="T65" fmla="*/ 560416 h 58"/>
                <a:gd name="T66" fmla="*/ 169301 w 36"/>
                <a:gd name="T67" fmla="*/ 678824 h 58"/>
                <a:gd name="T68" fmla="*/ 169301 w 36"/>
                <a:gd name="T69" fmla="*/ 813343 h 58"/>
                <a:gd name="T70" fmla="*/ 137111 w 36"/>
                <a:gd name="T71" fmla="*/ 883016 h 58"/>
                <a:gd name="T72" fmla="*/ 99095 w 36"/>
                <a:gd name="T73" fmla="*/ 1132947 h 58"/>
                <a:gd name="T74" fmla="*/ 71536 w 36"/>
                <a:gd name="T75" fmla="*/ 1132947 h 58"/>
                <a:gd name="T76" fmla="*/ 0 w 36"/>
                <a:gd name="T77" fmla="*/ 1238481 h 58"/>
                <a:gd name="T78" fmla="*/ 0 w 36"/>
                <a:gd name="T79" fmla="*/ 1299129 h 58"/>
                <a:gd name="T80" fmla="*/ 37323 w 36"/>
                <a:gd name="T81" fmla="*/ 1521090 h 58"/>
                <a:gd name="T82" fmla="*/ 99095 w 36"/>
                <a:gd name="T83" fmla="*/ 1587666 h 58"/>
                <a:gd name="T84" fmla="*/ 137111 w 36"/>
                <a:gd name="T85" fmla="*/ 1743422 h 58"/>
                <a:gd name="T86" fmla="*/ 137111 w 36"/>
                <a:gd name="T87" fmla="*/ 1809817 h 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6"/>
                <a:gd name="T133" fmla="*/ 0 h 58"/>
                <a:gd name="T134" fmla="*/ 36 w 36"/>
                <a:gd name="T135" fmla="*/ 58 h 5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6" h="58">
                  <a:moveTo>
                    <a:pt x="4" y="56"/>
                  </a:moveTo>
                  <a:cubicBezTo>
                    <a:pt x="4" y="56"/>
                    <a:pt x="5" y="56"/>
                    <a:pt x="5" y="56"/>
                  </a:cubicBezTo>
                  <a:cubicBezTo>
                    <a:pt x="6" y="57"/>
                    <a:pt x="7" y="57"/>
                    <a:pt x="7" y="57"/>
                  </a:cubicBezTo>
                  <a:cubicBezTo>
                    <a:pt x="8" y="58"/>
                    <a:pt x="9" y="58"/>
                    <a:pt x="9" y="58"/>
                  </a:cubicBezTo>
                  <a:cubicBezTo>
                    <a:pt x="11" y="57"/>
                    <a:pt x="12" y="57"/>
                    <a:pt x="13" y="57"/>
                  </a:cubicBezTo>
                  <a:cubicBezTo>
                    <a:pt x="14" y="56"/>
                    <a:pt x="14" y="55"/>
                    <a:pt x="15" y="55"/>
                  </a:cubicBezTo>
                  <a:cubicBezTo>
                    <a:pt x="17" y="54"/>
                    <a:pt x="19" y="54"/>
                    <a:pt x="21" y="53"/>
                  </a:cubicBezTo>
                  <a:cubicBezTo>
                    <a:pt x="22" y="52"/>
                    <a:pt x="22" y="50"/>
                    <a:pt x="24" y="50"/>
                  </a:cubicBezTo>
                  <a:cubicBezTo>
                    <a:pt x="26" y="50"/>
                    <a:pt x="28" y="49"/>
                    <a:pt x="29" y="49"/>
                  </a:cubicBezTo>
                  <a:cubicBezTo>
                    <a:pt x="31" y="49"/>
                    <a:pt x="32" y="49"/>
                    <a:pt x="34" y="49"/>
                  </a:cubicBezTo>
                  <a:cubicBezTo>
                    <a:pt x="34" y="49"/>
                    <a:pt x="34" y="48"/>
                    <a:pt x="34" y="48"/>
                  </a:cubicBezTo>
                  <a:cubicBezTo>
                    <a:pt x="35" y="48"/>
                    <a:pt x="35" y="48"/>
                    <a:pt x="36" y="47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4" y="44"/>
                    <a:pt x="33" y="41"/>
                    <a:pt x="33" y="39"/>
                  </a:cubicBezTo>
                  <a:cubicBezTo>
                    <a:pt x="33" y="38"/>
                    <a:pt x="31" y="37"/>
                    <a:pt x="31" y="37"/>
                  </a:cubicBezTo>
                  <a:cubicBezTo>
                    <a:pt x="30" y="34"/>
                    <a:pt x="31" y="31"/>
                    <a:pt x="30" y="28"/>
                  </a:cubicBezTo>
                  <a:cubicBezTo>
                    <a:pt x="30" y="26"/>
                    <a:pt x="31" y="24"/>
                    <a:pt x="31" y="23"/>
                  </a:cubicBezTo>
                  <a:cubicBezTo>
                    <a:pt x="29" y="21"/>
                    <a:pt x="29" y="19"/>
                    <a:pt x="30" y="17"/>
                  </a:cubicBezTo>
                  <a:cubicBezTo>
                    <a:pt x="31" y="17"/>
                    <a:pt x="31" y="16"/>
                    <a:pt x="30" y="15"/>
                  </a:cubicBezTo>
                  <a:cubicBezTo>
                    <a:pt x="29" y="14"/>
                    <a:pt x="28" y="15"/>
                    <a:pt x="27" y="14"/>
                  </a:cubicBezTo>
                  <a:cubicBezTo>
                    <a:pt x="27" y="13"/>
                    <a:pt x="27" y="12"/>
                    <a:pt x="27" y="12"/>
                  </a:cubicBezTo>
                  <a:cubicBezTo>
                    <a:pt x="28" y="11"/>
                    <a:pt x="29" y="9"/>
                    <a:pt x="28" y="8"/>
                  </a:cubicBezTo>
                  <a:cubicBezTo>
                    <a:pt x="28" y="7"/>
                    <a:pt x="27" y="6"/>
                    <a:pt x="26" y="6"/>
                  </a:cubicBezTo>
                  <a:cubicBezTo>
                    <a:pt x="25" y="4"/>
                    <a:pt x="26" y="2"/>
                    <a:pt x="25" y="1"/>
                  </a:cubicBezTo>
                  <a:cubicBezTo>
                    <a:pt x="25" y="1"/>
                    <a:pt x="24" y="1"/>
                    <a:pt x="23" y="1"/>
                  </a:cubicBezTo>
                  <a:cubicBezTo>
                    <a:pt x="17" y="1"/>
                    <a:pt x="11" y="0"/>
                    <a:pt x="5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3"/>
                    <a:pt x="3" y="4"/>
                    <a:pt x="3" y="5"/>
                  </a:cubicBezTo>
                  <a:cubicBezTo>
                    <a:pt x="4" y="6"/>
                    <a:pt x="5" y="8"/>
                    <a:pt x="4" y="9"/>
                  </a:cubicBezTo>
                  <a:cubicBezTo>
                    <a:pt x="4" y="10"/>
                    <a:pt x="4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3"/>
                    <a:pt x="3" y="14"/>
                    <a:pt x="4" y="15"/>
                  </a:cubicBezTo>
                  <a:cubicBezTo>
                    <a:pt x="4" y="16"/>
                    <a:pt x="4" y="16"/>
                    <a:pt x="4" y="17"/>
                  </a:cubicBezTo>
                  <a:cubicBezTo>
                    <a:pt x="5" y="18"/>
                    <a:pt x="5" y="20"/>
                    <a:pt x="5" y="21"/>
                  </a:cubicBezTo>
                  <a:cubicBezTo>
                    <a:pt x="6" y="22"/>
                    <a:pt x="6" y="24"/>
                    <a:pt x="5" y="25"/>
                  </a:cubicBezTo>
                  <a:cubicBezTo>
                    <a:pt x="5" y="26"/>
                    <a:pt x="4" y="27"/>
                    <a:pt x="4" y="27"/>
                  </a:cubicBezTo>
                  <a:cubicBezTo>
                    <a:pt x="2" y="29"/>
                    <a:pt x="3" y="32"/>
                    <a:pt x="3" y="35"/>
                  </a:cubicBezTo>
                  <a:cubicBezTo>
                    <a:pt x="3" y="35"/>
                    <a:pt x="2" y="35"/>
                    <a:pt x="2" y="35"/>
                  </a:cubicBezTo>
                  <a:cubicBezTo>
                    <a:pt x="1" y="36"/>
                    <a:pt x="1" y="37"/>
                    <a:pt x="0" y="38"/>
                  </a:cubicBezTo>
                  <a:cubicBezTo>
                    <a:pt x="0" y="39"/>
                    <a:pt x="0" y="40"/>
                    <a:pt x="0" y="40"/>
                  </a:cubicBezTo>
                  <a:cubicBezTo>
                    <a:pt x="2" y="42"/>
                    <a:pt x="1" y="45"/>
                    <a:pt x="1" y="47"/>
                  </a:cubicBezTo>
                  <a:cubicBezTo>
                    <a:pt x="2" y="48"/>
                    <a:pt x="3" y="48"/>
                    <a:pt x="3" y="49"/>
                  </a:cubicBezTo>
                  <a:cubicBezTo>
                    <a:pt x="5" y="50"/>
                    <a:pt x="4" y="52"/>
                    <a:pt x="4" y="54"/>
                  </a:cubicBezTo>
                  <a:lnTo>
                    <a:pt x="4" y="5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7" name="Freeform 362"/>
            <p:cNvSpPr>
              <a:spLocks/>
            </p:cNvSpPr>
            <p:nvPr/>
          </p:nvSpPr>
          <p:spPr bwMode="auto">
            <a:xfrm>
              <a:off x="6947065" y="3529774"/>
              <a:ext cx="7023" cy="22442"/>
            </a:xfrm>
            <a:custGeom>
              <a:avLst/>
              <a:gdLst>
                <a:gd name="T0" fmla="*/ 417229 w 15"/>
                <a:gd name="T1" fmla="*/ 1772338 h 46"/>
                <a:gd name="T2" fmla="*/ 447155 w 15"/>
                <a:gd name="T3" fmla="*/ 1730934 h 46"/>
                <a:gd name="T4" fmla="*/ 531651 w 15"/>
                <a:gd name="T5" fmla="*/ 1686765 h 46"/>
                <a:gd name="T6" fmla="*/ 531651 w 15"/>
                <a:gd name="T7" fmla="*/ 1662646 h 46"/>
                <a:gd name="T8" fmla="*/ 531651 w 15"/>
                <a:gd name="T9" fmla="*/ 1357037 h 46"/>
                <a:gd name="T10" fmla="*/ 531651 w 15"/>
                <a:gd name="T11" fmla="*/ 916040 h 46"/>
                <a:gd name="T12" fmla="*/ 531651 w 15"/>
                <a:gd name="T13" fmla="*/ 739263 h 46"/>
                <a:gd name="T14" fmla="*/ 569734 w 15"/>
                <a:gd name="T15" fmla="*/ 659978 h 46"/>
                <a:gd name="T16" fmla="*/ 490860 w 15"/>
                <a:gd name="T17" fmla="*/ 535672 h 46"/>
                <a:gd name="T18" fmla="*/ 447155 w 15"/>
                <a:gd name="T19" fmla="*/ 297057 h 46"/>
                <a:gd name="T20" fmla="*/ 338447 w 15"/>
                <a:gd name="T21" fmla="*/ 276864 h 46"/>
                <a:gd name="T22" fmla="*/ 274992 w 15"/>
                <a:gd name="T23" fmla="*/ 238992 h 46"/>
                <a:gd name="T24" fmla="*/ 294690 w 15"/>
                <a:gd name="T25" fmla="*/ 0 h 46"/>
                <a:gd name="T26" fmla="*/ 294690 w 15"/>
                <a:gd name="T27" fmla="*/ 0 h 46"/>
                <a:gd name="T28" fmla="*/ 0 w 15"/>
                <a:gd name="T29" fmla="*/ 0 h 46"/>
                <a:gd name="T30" fmla="*/ 40780 w 15"/>
                <a:gd name="T31" fmla="*/ 197485 h 46"/>
                <a:gd name="T32" fmla="*/ 119631 w 15"/>
                <a:gd name="T33" fmla="*/ 276864 h 46"/>
                <a:gd name="T34" fmla="*/ 78841 w 15"/>
                <a:gd name="T35" fmla="*/ 421370 h 46"/>
                <a:gd name="T36" fmla="*/ 78841 w 15"/>
                <a:gd name="T37" fmla="*/ 494658 h 46"/>
                <a:gd name="T38" fmla="*/ 196150 w 15"/>
                <a:gd name="T39" fmla="*/ 535672 h 46"/>
                <a:gd name="T40" fmla="*/ 196150 w 15"/>
                <a:gd name="T41" fmla="*/ 615712 h 46"/>
                <a:gd name="T42" fmla="*/ 231287 w 15"/>
                <a:gd name="T43" fmla="*/ 859345 h 46"/>
                <a:gd name="T44" fmla="*/ 196150 w 15"/>
                <a:gd name="T45" fmla="*/ 1036409 h 46"/>
                <a:gd name="T46" fmla="*/ 231287 w 15"/>
                <a:gd name="T47" fmla="*/ 1389298 h 46"/>
                <a:gd name="T48" fmla="*/ 294690 w 15"/>
                <a:gd name="T49" fmla="*/ 1474484 h 46"/>
                <a:gd name="T50" fmla="*/ 379223 w 15"/>
                <a:gd name="T51" fmla="*/ 1730934 h 46"/>
                <a:gd name="T52" fmla="*/ 417229 w 15"/>
                <a:gd name="T53" fmla="*/ 1772338 h 4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5"/>
                <a:gd name="T82" fmla="*/ 0 h 46"/>
                <a:gd name="T83" fmla="*/ 15 w 15"/>
                <a:gd name="T84" fmla="*/ 46 h 4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5" h="46">
                  <a:moveTo>
                    <a:pt x="11" y="46"/>
                  </a:moveTo>
                  <a:cubicBezTo>
                    <a:pt x="11" y="46"/>
                    <a:pt x="12" y="46"/>
                    <a:pt x="12" y="45"/>
                  </a:cubicBezTo>
                  <a:cubicBezTo>
                    <a:pt x="13" y="45"/>
                    <a:pt x="13" y="44"/>
                    <a:pt x="14" y="44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40"/>
                    <a:pt x="13" y="37"/>
                    <a:pt x="14" y="35"/>
                  </a:cubicBezTo>
                  <a:cubicBezTo>
                    <a:pt x="14" y="31"/>
                    <a:pt x="15" y="28"/>
                    <a:pt x="14" y="24"/>
                  </a:cubicBezTo>
                  <a:cubicBezTo>
                    <a:pt x="13" y="23"/>
                    <a:pt x="13" y="20"/>
                    <a:pt x="14" y="19"/>
                  </a:cubicBezTo>
                  <a:cubicBezTo>
                    <a:pt x="15" y="18"/>
                    <a:pt x="15" y="18"/>
                    <a:pt x="15" y="17"/>
                  </a:cubicBezTo>
                  <a:cubicBezTo>
                    <a:pt x="14" y="16"/>
                    <a:pt x="13" y="15"/>
                    <a:pt x="13" y="14"/>
                  </a:cubicBezTo>
                  <a:cubicBezTo>
                    <a:pt x="12" y="12"/>
                    <a:pt x="13" y="10"/>
                    <a:pt x="12" y="8"/>
                  </a:cubicBezTo>
                  <a:cubicBezTo>
                    <a:pt x="11" y="7"/>
                    <a:pt x="10" y="8"/>
                    <a:pt x="9" y="7"/>
                  </a:cubicBezTo>
                  <a:cubicBezTo>
                    <a:pt x="8" y="7"/>
                    <a:pt x="8" y="6"/>
                    <a:pt x="7" y="6"/>
                  </a:cubicBezTo>
                  <a:cubicBezTo>
                    <a:pt x="7" y="4"/>
                    <a:pt x="8" y="2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3" y="0"/>
                    <a:pt x="0" y="0"/>
                  </a:cubicBezTo>
                  <a:cubicBezTo>
                    <a:pt x="1" y="1"/>
                    <a:pt x="0" y="3"/>
                    <a:pt x="1" y="5"/>
                  </a:cubicBezTo>
                  <a:cubicBezTo>
                    <a:pt x="2" y="5"/>
                    <a:pt x="3" y="6"/>
                    <a:pt x="3" y="7"/>
                  </a:cubicBezTo>
                  <a:cubicBezTo>
                    <a:pt x="4" y="8"/>
                    <a:pt x="3" y="10"/>
                    <a:pt x="2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3" y="14"/>
                    <a:pt x="4" y="13"/>
                    <a:pt x="5" y="14"/>
                  </a:cubicBezTo>
                  <a:cubicBezTo>
                    <a:pt x="6" y="15"/>
                    <a:pt x="6" y="16"/>
                    <a:pt x="5" y="16"/>
                  </a:cubicBezTo>
                  <a:cubicBezTo>
                    <a:pt x="4" y="18"/>
                    <a:pt x="4" y="20"/>
                    <a:pt x="6" y="22"/>
                  </a:cubicBezTo>
                  <a:cubicBezTo>
                    <a:pt x="6" y="23"/>
                    <a:pt x="5" y="25"/>
                    <a:pt x="5" y="27"/>
                  </a:cubicBezTo>
                  <a:cubicBezTo>
                    <a:pt x="6" y="30"/>
                    <a:pt x="5" y="33"/>
                    <a:pt x="6" y="36"/>
                  </a:cubicBezTo>
                  <a:cubicBezTo>
                    <a:pt x="6" y="36"/>
                    <a:pt x="8" y="37"/>
                    <a:pt x="8" y="38"/>
                  </a:cubicBezTo>
                  <a:cubicBezTo>
                    <a:pt x="8" y="40"/>
                    <a:pt x="9" y="43"/>
                    <a:pt x="10" y="45"/>
                  </a:cubicBezTo>
                  <a:lnTo>
                    <a:pt x="11" y="4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8" name="Freeform 363"/>
            <p:cNvSpPr>
              <a:spLocks/>
            </p:cNvSpPr>
            <p:nvPr/>
          </p:nvSpPr>
          <p:spPr bwMode="auto">
            <a:xfrm>
              <a:off x="6950075" y="3524096"/>
              <a:ext cx="11287" cy="27038"/>
            </a:xfrm>
            <a:custGeom>
              <a:avLst/>
              <a:gdLst>
                <a:gd name="T0" fmla="*/ 696763 w 24"/>
                <a:gd name="T1" fmla="*/ 1700645 h 56"/>
                <a:gd name="T2" fmla="*/ 330717 w 24"/>
                <a:gd name="T3" fmla="*/ 1763391 h 56"/>
                <a:gd name="T4" fmla="*/ 330717 w 24"/>
                <a:gd name="T5" fmla="*/ 1737615 h 56"/>
                <a:gd name="T6" fmla="*/ 330717 w 24"/>
                <a:gd name="T7" fmla="*/ 1489742 h 56"/>
                <a:gd name="T8" fmla="*/ 330717 w 24"/>
                <a:gd name="T9" fmla="*/ 1138767 h 56"/>
                <a:gd name="T10" fmla="*/ 330717 w 24"/>
                <a:gd name="T11" fmla="*/ 977930 h 56"/>
                <a:gd name="T12" fmla="*/ 378327 w 24"/>
                <a:gd name="T13" fmla="*/ 909406 h 56"/>
                <a:gd name="T14" fmla="*/ 292761 w 24"/>
                <a:gd name="T15" fmla="*/ 828874 h 56"/>
                <a:gd name="T16" fmla="*/ 242269 w 24"/>
                <a:gd name="T17" fmla="*/ 629626 h 56"/>
                <a:gd name="T18" fmla="*/ 98649 w 24"/>
                <a:gd name="T19" fmla="*/ 595990 h 56"/>
                <a:gd name="T20" fmla="*/ 0 w 24"/>
                <a:gd name="T21" fmla="*/ 561775 h 56"/>
                <a:gd name="T22" fmla="*/ 50374 w 24"/>
                <a:gd name="T23" fmla="*/ 381931 h 56"/>
                <a:gd name="T24" fmla="*/ 50374 w 24"/>
                <a:gd name="T25" fmla="*/ 381931 h 56"/>
                <a:gd name="T26" fmla="*/ 193188 w 24"/>
                <a:gd name="T27" fmla="*/ 277619 h 56"/>
                <a:gd name="T28" fmla="*/ 193188 w 24"/>
                <a:gd name="T29" fmla="*/ 249096 h 56"/>
                <a:gd name="T30" fmla="*/ 474443 w 24"/>
                <a:gd name="T31" fmla="*/ 217948 h 56"/>
                <a:gd name="T32" fmla="*/ 598126 w 24"/>
                <a:gd name="T33" fmla="*/ 130368 h 56"/>
                <a:gd name="T34" fmla="*/ 598126 w 24"/>
                <a:gd name="T35" fmla="*/ 68230 h 56"/>
                <a:gd name="T36" fmla="*/ 598126 w 24"/>
                <a:gd name="T37" fmla="*/ 68230 h 56"/>
                <a:gd name="T38" fmla="*/ 740890 w 24"/>
                <a:gd name="T39" fmla="*/ 35709 h 56"/>
                <a:gd name="T40" fmla="*/ 839492 w 24"/>
                <a:gd name="T41" fmla="*/ 0 h 56"/>
                <a:gd name="T42" fmla="*/ 878749 w 24"/>
                <a:gd name="T43" fmla="*/ 0 h 56"/>
                <a:gd name="T44" fmla="*/ 1072665 w 24"/>
                <a:gd name="T45" fmla="*/ 130368 h 56"/>
                <a:gd name="T46" fmla="*/ 1072665 w 24"/>
                <a:gd name="T47" fmla="*/ 179588 h 56"/>
                <a:gd name="T48" fmla="*/ 1072665 w 24"/>
                <a:gd name="T49" fmla="*/ 277619 h 56"/>
                <a:gd name="T50" fmla="*/ 1072665 w 24"/>
                <a:gd name="T51" fmla="*/ 511814 h 56"/>
                <a:gd name="T52" fmla="*/ 976493 w 24"/>
                <a:gd name="T53" fmla="*/ 729761 h 56"/>
                <a:gd name="T54" fmla="*/ 929117 w 24"/>
                <a:gd name="T55" fmla="*/ 854626 h 56"/>
                <a:gd name="T56" fmla="*/ 929117 w 24"/>
                <a:gd name="T57" fmla="*/ 890057 h 56"/>
                <a:gd name="T58" fmla="*/ 792996 w 24"/>
                <a:gd name="T59" fmla="*/ 909406 h 56"/>
                <a:gd name="T60" fmla="*/ 696763 w 24"/>
                <a:gd name="T61" fmla="*/ 1235529 h 56"/>
                <a:gd name="T62" fmla="*/ 696763 w 24"/>
                <a:gd name="T63" fmla="*/ 1669389 h 56"/>
                <a:gd name="T64" fmla="*/ 696763 w 24"/>
                <a:gd name="T65" fmla="*/ 1700645 h 5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4"/>
                <a:gd name="T100" fmla="*/ 0 h 56"/>
                <a:gd name="T101" fmla="*/ 24 w 24"/>
                <a:gd name="T102" fmla="*/ 56 h 5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4" h="56">
                  <a:moveTo>
                    <a:pt x="15" y="54"/>
                  </a:moveTo>
                  <a:cubicBezTo>
                    <a:pt x="12" y="54"/>
                    <a:pt x="10" y="55"/>
                    <a:pt x="7" y="56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2"/>
                    <a:pt x="6" y="49"/>
                    <a:pt x="7" y="47"/>
                  </a:cubicBezTo>
                  <a:cubicBezTo>
                    <a:pt x="7" y="43"/>
                    <a:pt x="8" y="40"/>
                    <a:pt x="7" y="36"/>
                  </a:cubicBezTo>
                  <a:cubicBezTo>
                    <a:pt x="6" y="35"/>
                    <a:pt x="6" y="32"/>
                    <a:pt x="7" y="31"/>
                  </a:cubicBezTo>
                  <a:cubicBezTo>
                    <a:pt x="8" y="30"/>
                    <a:pt x="8" y="30"/>
                    <a:pt x="8" y="29"/>
                  </a:cubicBezTo>
                  <a:cubicBezTo>
                    <a:pt x="7" y="28"/>
                    <a:pt x="6" y="27"/>
                    <a:pt x="6" y="26"/>
                  </a:cubicBezTo>
                  <a:cubicBezTo>
                    <a:pt x="5" y="24"/>
                    <a:pt x="6" y="22"/>
                    <a:pt x="5" y="20"/>
                  </a:cubicBezTo>
                  <a:cubicBezTo>
                    <a:pt x="4" y="19"/>
                    <a:pt x="3" y="20"/>
                    <a:pt x="2" y="19"/>
                  </a:cubicBezTo>
                  <a:cubicBezTo>
                    <a:pt x="1" y="19"/>
                    <a:pt x="1" y="18"/>
                    <a:pt x="0" y="18"/>
                  </a:cubicBezTo>
                  <a:cubicBezTo>
                    <a:pt x="0" y="16"/>
                    <a:pt x="1" y="14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3" y="10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6" y="7"/>
                    <a:pt x="9" y="9"/>
                    <a:pt x="10" y="7"/>
                  </a:cubicBezTo>
                  <a:cubicBezTo>
                    <a:pt x="11" y="5"/>
                    <a:pt x="12" y="5"/>
                    <a:pt x="13" y="4"/>
                  </a:cubicBezTo>
                  <a:cubicBezTo>
                    <a:pt x="13" y="3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2"/>
                    <a:pt x="15" y="2"/>
                    <a:pt x="16" y="1"/>
                  </a:cubicBezTo>
                  <a:cubicBezTo>
                    <a:pt x="17" y="1"/>
                    <a:pt x="18" y="1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2"/>
                    <a:pt x="21" y="3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7"/>
                    <a:pt x="23" y="8"/>
                    <a:pt x="23" y="9"/>
                  </a:cubicBezTo>
                  <a:cubicBezTo>
                    <a:pt x="24" y="12"/>
                    <a:pt x="24" y="14"/>
                    <a:pt x="23" y="16"/>
                  </a:cubicBezTo>
                  <a:cubicBezTo>
                    <a:pt x="23" y="19"/>
                    <a:pt x="22" y="21"/>
                    <a:pt x="21" y="23"/>
                  </a:cubicBezTo>
                  <a:cubicBezTo>
                    <a:pt x="21" y="24"/>
                    <a:pt x="21" y="25"/>
                    <a:pt x="20" y="27"/>
                  </a:cubicBezTo>
                  <a:cubicBezTo>
                    <a:pt x="20" y="27"/>
                    <a:pt x="20" y="28"/>
                    <a:pt x="20" y="28"/>
                  </a:cubicBezTo>
                  <a:cubicBezTo>
                    <a:pt x="19" y="29"/>
                    <a:pt x="17" y="28"/>
                    <a:pt x="17" y="29"/>
                  </a:cubicBezTo>
                  <a:cubicBezTo>
                    <a:pt x="16" y="32"/>
                    <a:pt x="17" y="36"/>
                    <a:pt x="15" y="39"/>
                  </a:cubicBezTo>
                  <a:cubicBezTo>
                    <a:pt x="15" y="44"/>
                    <a:pt x="16" y="48"/>
                    <a:pt x="15" y="53"/>
                  </a:cubicBezTo>
                  <a:lnTo>
                    <a:pt x="15" y="54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9" name="Freeform 364"/>
            <p:cNvSpPr>
              <a:spLocks/>
            </p:cNvSpPr>
            <p:nvPr/>
          </p:nvSpPr>
          <p:spPr bwMode="auto">
            <a:xfrm>
              <a:off x="6927500" y="3510577"/>
              <a:ext cx="28845" cy="25686"/>
            </a:xfrm>
            <a:custGeom>
              <a:avLst/>
              <a:gdLst>
                <a:gd name="T0" fmla="*/ 0 w 62"/>
                <a:gd name="T1" fmla="*/ 1569649 h 53"/>
                <a:gd name="T2" fmla="*/ 0 w 62"/>
                <a:gd name="T3" fmla="*/ 1376632 h 53"/>
                <a:gd name="T4" fmla="*/ 41203 w 62"/>
                <a:gd name="T5" fmla="*/ 1096935 h 53"/>
                <a:gd name="T6" fmla="*/ 79748 w 62"/>
                <a:gd name="T7" fmla="*/ 1096935 h 53"/>
                <a:gd name="T8" fmla="*/ 198497 w 62"/>
                <a:gd name="T9" fmla="*/ 1096935 h 53"/>
                <a:gd name="T10" fmla="*/ 298744 w 62"/>
                <a:gd name="T11" fmla="*/ 993792 h 53"/>
                <a:gd name="T12" fmla="*/ 343072 w 62"/>
                <a:gd name="T13" fmla="*/ 815602 h 53"/>
                <a:gd name="T14" fmla="*/ 343072 w 62"/>
                <a:gd name="T15" fmla="*/ 681645 h 53"/>
                <a:gd name="T16" fmla="*/ 538639 w 62"/>
                <a:gd name="T17" fmla="*/ 639981 h 53"/>
                <a:gd name="T18" fmla="*/ 664010 w 62"/>
                <a:gd name="T19" fmla="*/ 612054 h 53"/>
                <a:gd name="T20" fmla="*/ 920386 w 62"/>
                <a:gd name="T21" fmla="*/ 423793 h 53"/>
                <a:gd name="T22" fmla="*/ 1042527 w 62"/>
                <a:gd name="T23" fmla="*/ 278908 h 53"/>
                <a:gd name="T24" fmla="*/ 1160946 w 62"/>
                <a:gd name="T25" fmla="*/ 237529 h 53"/>
                <a:gd name="T26" fmla="*/ 1326287 w 62"/>
                <a:gd name="T27" fmla="*/ 184039 h 53"/>
                <a:gd name="T28" fmla="*/ 1439207 w 62"/>
                <a:gd name="T29" fmla="*/ 39128 h 53"/>
                <a:gd name="T30" fmla="*/ 1538810 w 62"/>
                <a:gd name="T31" fmla="*/ 39128 h 53"/>
                <a:gd name="T32" fmla="*/ 1583303 w 62"/>
                <a:gd name="T33" fmla="*/ 39128 h 53"/>
                <a:gd name="T34" fmla="*/ 1704797 w 62"/>
                <a:gd name="T35" fmla="*/ 75303 h 53"/>
                <a:gd name="T36" fmla="*/ 1737331 w 62"/>
                <a:gd name="T37" fmla="*/ 114421 h 53"/>
                <a:gd name="T38" fmla="*/ 1781392 w 62"/>
                <a:gd name="T39" fmla="*/ 114421 h 53"/>
                <a:gd name="T40" fmla="*/ 1823874 w 62"/>
                <a:gd name="T41" fmla="*/ 457131 h 53"/>
                <a:gd name="T42" fmla="*/ 1990388 w 62"/>
                <a:gd name="T43" fmla="*/ 612054 h 53"/>
                <a:gd name="T44" fmla="*/ 1990388 w 62"/>
                <a:gd name="T45" fmla="*/ 681645 h 53"/>
                <a:gd name="T46" fmla="*/ 1990388 w 62"/>
                <a:gd name="T47" fmla="*/ 735270 h 53"/>
                <a:gd name="T48" fmla="*/ 2121558 w 62"/>
                <a:gd name="T49" fmla="*/ 848977 h 53"/>
                <a:gd name="T50" fmla="*/ 2327387 w 62"/>
                <a:gd name="T51" fmla="*/ 848977 h 53"/>
                <a:gd name="T52" fmla="*/ 2401344 w 62"/>
                <a:gd name="T53" fmla="*/ 1074917 h 53"/>
                <a:gd name="T54" fmla="*/ 2401344 w 62"/>
                <a:gd name="T55" fmla="*/ 1139103 h 53"/>
                <a:gd name="T56" fmla="*/ 2289300 w 62"/>
                <a:gd name="T57" fmla="*/ 1231662 h 53"/>
                <a:gd name="T58" fmla="*/ 2058908 w 62"/>
                <a:gd name="T59" fmla="*/ 1272777 h 53"/>
                <a:gd name="T60" fmla="*/ 2058908 w 62"/>
                <a:gd name="T61" fmla="*/ 1311845 h 53"/>
                <a:gd name="T62" fmla="*/ 1949193 w 62"/>
                <a:gd name="T63" fmla="*/ 1415048 h 53"/>
                <a:gd name="T64" fmla="*/ 1625290 w 62"/>
                <a:gd name="T65" fmla="*/ 1415048 h 53"/>
                <a:gd name="T66" fmla="*/ 1538810 w 62"/>
                <a:gd name="T67" fmla="*/ 1415048 h 53"/>
                <a:gd name="T68" fmla="*/ 862498 w 62"/>
                <a:gd name="T69" fmla="*/ 1415048 h 53"/>
                <a:gd name="T70" fmla="*/ 776843 w 62"/>
                <a:gd name="T71" fmla="*/ 1455226 h 53"/>
                <a:gd name="T72" fmla="*/ 776843 w 62"/>
                <a:gd name="T73" fmla="*/ 1569649 h 53"/>
                <a:gd name="T74" fmla="*/ 818040 w 62"/>
                <a:gd name="T75" fmla="*/ 1693127 h 53"/>
                <a:gd name="T76" fmla="*/ 776843 w 62"/>
                <a:gd name="T77" fmla="*/ 1809378 h 53"/>
                <a:gd name="T78" fmla="*/ 705244 w 62"/>
                <a:gd name="T79" fmla="*/ 1768428 h 53"/>
                <a:gd name="T80" fmla="*/ 497452 w 62"/>
                <a:gd name="T81" fmla="*/ 1768428 h 53"/>
                <a:gd name="T82" fmla="*/ 298744 w 62"/>
                <a:gd name="T83" fmla="*/ 1809378 h 53"/>
                <a:gd name="T84" fmla="*/ 278297 w 62"/>
                <a:gd name="T85" fmla="*/ 1768428 h 53"/>
                <a:gd name="T86" fmla="*/ 123801 w 62"/>
                <a:gd name="T87" fmla="*/ 1693127 h 53"/>
                <a:gd name="T88" fmla="*/ 79748 w 62"/>
                <a:gd name="T89" fmla="*/ 1594645 h 53"/>
                <a:gd name="T90" fmla="*/ 0 w 62"/>
                <a:gd name="T91" fmla="*/ 1569649 h 5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62"/>
                <a:gd name="T139" fmla="*/ 0 h 53"/>
                <a:gd name="T140" fmla="*/ 62 w 62"/>
                <a:gd name="T141" fmla="*/ 53 h 5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62" h="53">
                  <a:moveTo>
                    <a:pt x="0" y="44"/>
                  </a:moveTo>
                  <a:cubicBezTo>
                    <a:pt x="1" y="43"/>
                    <a:pt x="0" y="41"/>
                    <a:pt x="0" y="39"/>
                  </a:cubicBezTo>
                  <a:cubicBezTo>
                    <a:pt x="2" y="37"/>
                    <a:pt x="0" y="34"/>
                    <a:pt x="1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3" y="31"/>
                    <a:pt x="4" y="31"/>
                    <a:pt x="5" y="31"/>
                  </a:cubicBezTo>
                  <a:cubicBezTo>
                    <a:pt x="6" y="30"/>
                    <a:pt x="7" y="29"/>
                    <a:pt x="8" y="28"/>
                  </a:cubicBezTo>
                  <a:cubicBezTo>
                    <a:pt x="8" y="27"/>
                    <a:pt x="8" y="25"/>
                    <a:pt x="9" y="23"/>
                  </a:cubicBezTo>
                  <a:cubicBezTo>
                    <a:pt x="9" y="22"/>
                    <a:pt x="9" y="20"/>
                    <a:pt x="9" y="19"/>
                  </a:cubicBezTo>
                  <a:cubicBezTo>
                    <a:pt x="9" y="17"/>
                    <a:pt x="13" y="18"/>
                    <a:pt x="14" y="18"/>
                  </a:cubicBezTo>
                  <a:cubicBezTo>
                    <a:pt x="15" y="17"/>
                    <a:pt x="17" y="18"/>
                    <a:pt x="17" y="17"/>
                  </a:cubicBezTo>
                  <a:cubicBezTo>
                    <a:pt x="19" y="15"/>
                    <a:pt x="22" y="14"/>
                    <a:pt x="24" y="12"/>
                  </a:cubicBezTo>
                  <a:cubicBezTo>
                    <a:pt x="25" y="11"/>
                    <a:pt x="26" y="9"/>
                    <a:pt x="27" y="8"/>
                  </a:cubicBezTo>
                  <a:cubicBezTo>
                    <a:pt x="28" y="8"/>
                    <a:pt x="29" y="7"/>
                    <a:pt x="30" y="7"/>
                  </a:cubicBezTo>
                  <a:cubicBezTo>
                    <a:pt x="32" y="6"/>
                    <a:pt x="33" y="6"/>
                    <a:pt x="34" y="5"/>
                  </a:cubicBezTo>
                  <a:cubicBezTo>
                    <a:pt x="35" y="3"/>
                    <a:pt x="36" y="2"/>
                    <a:pt x="37" y="1"/>
                  </a:cubicBezTo>
                  <a:cubicBezTo>
                    <a:pt x="38" y="0"/>
                    <a:pt x="39" y="1"/>
                    <a:pt x="40" y="1"/>
                  </a:cubicBezTo>
                  <a:cubicBezTo>
                    <a:pt x="40" y="1"/>
                    <a:pt x="40" y="1"/>
                    <a:pt x="41" y="1"/>
                  </a:cubicBezTo>
                  <a:cubicBezTo>
                    <a:pt x="42" y="2"/>
                    <a:pt x="43" y="2"/>
                    <a:pt x="44" y="2"/>
                  </a:cubicBezTo>
                  <a:cubicBezTo>
                    <a:pt x="44" y="2"/>
                    <a:pt x="44" y="3"/>
                    <a:pt x="45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6"/>
                    <a:pt x="46" y="9"/>
                    <a:pt x="47" y="13"/>
                  </a:cubicBezTo>
                  <a:cubicBezTo>
                    <a:pt x="47" y="15"/>
                    <a:pt x="50" y="15"/>
                    <a:pt x="51" y="17"/>
                  </a:cubicBezTo>
                  <a:cubicBezTo>
                    <a:pt x="52" y="17"/>
                    <a:pt x="51" y="18"/>
                    <a:pt x="51" y="19"/>
                  </a:cubicBezTo>
                  <a:cubicBezTo>
                    <a:pt x="50" y="20"/>
                    <a:pt x="50" y="21"/>
                    <a:pt x="51" y="21"/>
                  </a:cubicBezTo>
                  <a:cubicBezTo>
                    <a:pt x="53" y="21"/>
                    <a:pt x="54" y="23"/>
                    <a:pt x="55" y="24"/>
                  </a:cubicBezTo>
                  <a:cubicBezTo>
                    <a:pt x="57" y="25"/>
                    <a:pt x="59" y="23"/>
                    <a:pt x="60" y="24"/>
                  </a:cubicBezTo>
                  <a:cubicBezTo>
                    <a:pt x="62" y="26"/>
                    <a:pt x="59" y="29"/>
                    <a:pt x="62" y="30"/>
                  </a:cubicBezTo>
                  <a:cubicBezTo>
                    <a:pt x="62" y="30"/>
                    <a:pt x="62" y="31"/>
                    <a:pt x="62" y="32"/>
                  </a:cubicBezTo>
                  <a:cubicBezTo>
                    <a:pt x="61" y="33"/>
                    <a:pt x="60" y="33"/>
                    <a:pt x="59" y="35"/>
                  </a:cubicBezTo>
                  <a:cubicBezTo>
                    <a:pt x="58" y="37"/>
                    <a:pt x="55" y="35"/>
                    <a:pt x="53" y="36"/>
                  </a:cubicBezTo>
                  <a:cubicBezTo>
                    <a:pt x="53" y="36"/>
                    <a:pt x="53" y="36"/>
                    <a:pt x="53" y="37"/>
                  </a:cubicBezTo>
                  <a:cubicBezTo>
                    <a:pt x="52" y="38"/>
                    <a:pt x="51" y="40"/>
                    <a:pt x="50" y="40"/>
                  </a:cubicBezTo>
                  <a:cubicBezTo>
                    <a:pt x="47" y="40"/>
                    <a:pt x="45" y="40"/>
                    <a:pt x="42" y="40"/>
                  </a:cubicBezTo>
                  <a:cubicBezTo>
                    <a:pt x="42" y="40"/>
                    <a:pt x="41" y="40"/>
                    <a:pt x="40" y="40"/>
                  </a:cubicBezTo>
                  <a:cubicBezTo>
                    <a:pt x="34" y="40"/>
                    <a:pt x="28" y="39"/>
                    <a:pt x="22" y="40"/>
                  </a:cubicBezTo>
                  <a:cubicBezTo>
                    <a:pt x="21" y="40"/>
                    <a:pt x="20" y="40"/>
                    <a:pt x="20" y="41"/>
                  </a:cubicBezTo>
                  <a:cubicBezTo>
                    <a:pt x="20" y="42"/>
                    <a:pt x="20" y="43"/>
                    <a:pt x="20" y="44"/>
                  </a:cubicBezTo>
                  <a:cubicBezTo>
                    <a:pt x="21" y="45"/>
                    <a:pt x="22" y="47"/>
                    <a:pt x="21" y="48"/>
                  </a:cubicBezTo>
                  <a:cubicBezTo>
                    <a:pt x="21" y="49"/>
                    <a:pt x="21" y="50"/>
                    <a:pt x="20" y="51"/>
                  </a:cubicBezTo>
                  <a:cubicBezTo>
                    <a:pt x="20" y="51"/>
                    <a:pt x="19" y="50"/>
                    <a:pt x="18" y="50"/>
                  </a:cubicBezTo>
                  <a:cubicBezTo>
                    <a:pt x="17" y="49"/>
                    <a:pt x="15" y="49"/>
                    <a:pt x="13" y="50"/>
                  </a:cubicBezTo>
                  <a:cubicBezTo>
                    <a:pt x="13" y="52"/>
                    <a:pt x="10" y="53"/>
                    <a:pt x="8" y="51"/>
                  </a:cubicBezTo>
                  <a:cubicBezTo>
                    <a:pt x="7" y="51"/>
                    <a:pt x="8" y="50"/>
                    <a:pt x="7" y="50"/>
                  </a:cubicBezTo>
                  <a:cubicBezTo>
                    <a:pt x="6" y="49"/>
                    <a:pt x="4" y="50"/>
                    <a:pt x="3" y="48"/>
                  </a:cubicBezTo>
                  <a:cubicBezTo>
                    <a:pt x="3" y="47"/>
                    <a:pt x="2" y="46"/>
                    <a:pt x="2" y="45"/>
                  </a:cubicBezTo>
                  <a:cubicBezTo>
                    <a:pt x="1" y="45"/>
                    <a:pt x="1" y="44"/>
                    <a:pt x="0" y="4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0" name="Freeform 365"/>
            <p:cNvSpPr>
              <a:spLocks/>
            </p:cNvSpPr>
            <p:nvPr/>
          </p:nvSpPr>
          <p:spPr bwMode="auto">
            <a:xfrm>
              <a:off x="6949071" y="3472994"/>
              <a:ext cx="56938" cy="52994"/>
            </a:xfrm>
            <a:custGeom>
              <a:avLst/>
              <a:gdLst>
                <a:gd name="T0" fmla="*/ 39430 w 122"/>
                <a:gd name="T1" fmla="*/ 3234686 h 109"/>
                <a:gd name="T2" fmla="*/ 185777 w 122"/>
                <a:gd name="T3" fmla="*/ 3457386 h 109"/>
                <a:gd name="T4" fmla="*/ 321235 w 122"/>
                <a:gd name="T5" fmla="*/ 3649116 h 109"/>
                <a:gd name="T6" fmla="*/ 582197 w 122"/>
                <a:gd name="T7" fmla="*/ 3855199 h 109"/>
                <a:gd name="T8" fmla="*/ 689299 w 122"/>
                <a:gd name="T9" fmla="*/ 3813315 h 109"/>
                <a:gd name="T10" fmla="*/ 782712 w 122"/>
                <a:gd name="T11" fmla="*/ 3773841 h 109"/>
                <a:gd name="T12" fmla="*/ 928982 w 122"/>
                <a:gd name="T13" fmla="*/ 3930988 h 109"/>
                <a:gd name="T14" fmla="*/ 971105 w 122"/>
                <a:gd name="T15" fmla="*/ 3697695 h 109"/>
                <a:gd name="T16" fmla="*/ 1121445 w 122"/>
                <a:gd name="T17" fmla="*/ 3350361 h 109"/>
                <a:gd name="T18" fmla="*/ 1327748 w 122"/>
                <a:gd name="T19" fmla="*/ 3310866 h 109"/>
                <a:gd name="T20" fmla="*/ 1753160 w 122"/>
                <a:gd name="T21" fmla="*/ 3350361 h 109"/>
                <a:gd name="T22" fmla="*/ 2050635 w 122"/>
                <a:gd name="T23" fmla="*/ 3426252 h 109"/>
                <a:gd name="T24" fmla="*/ 2256497 w 122"/>
                <a:gd name="T25" fmla="*/ 3426252 h 109"/>
                <a:gd name="T26" fmla="*/ 2684602 w 122"/>
                <a:gd name="T27" fmla="*/ 3573021 h 109"/>
                <a:gd name="T28" fmla="*/ 2946546 w 122"/>
                <a:gd name="T29" fmla="*/ 3426252 h 109"/>
                <a:gd name="T30" fmla="*/ 3222915 w 122"/>
                <a:gd name="T31" fmla="*/ 3386803 h 109"/>
                <a:gd name="T32" fmla="*/ 3376989 w 122"/>
                <a:gd name="T33" fmla="*/ 3457386 h 109"/>
                <a:gd name="T34" fmla="*/ 3729009 w 122"/>
                <a:gd name="T35" fmla="*/ 3192241 h 109"/>
                <a:gd name="T36" fmla="*/ 3765659 w 122"/>
                <a:gd name="T37" fmla="*/ 2881874 h 109"/>
                <a:gd name="T38" fmla="*/ 4265867 w 122"/>
                <a:gd name="T39" fmla="*/ 2376364 h 109"/>
                <a:gd name="T40" fmla="*/ 4307100 w 122"/>
                <a:gd name="T41" fmla="*/ 1255519 h 109"/>
                <a:gd name="T42" fmla="*/ 4346530 w 122"/>
                <a:gd name="T43" fmla="*/ 1007497 h 109"/>
                <a:gd name="T44" fmla="*/ 4307100 w 122"/>
                <a:gd name="T45" fmla="*/ 860023 h 109"/>
                <a:gd name="T46" fmla="*/ 4190975 w 122"/>
                <a:gd name="T47" fmla="*/ 619909 h 109"/>
                <a:gd name="T48" fmla="*/ 4140524 w 122"/>
                <a:gd name="T49" fmla="*/ 358740 h 109"/>
                <a:gd name="T50" fmla="*/ 4065347 w 122"/>
                <a:gd name="T51" fmla="*/ 222646 h 109"/>
                <a:gd name="T52" fmla="*/ 3846010 w 122"/>
                <a:gd name="T53" fmla="*/ 240309 h 109"/>
                <a:gd name="T54" fmla="*/ 3563835 w 122"/>
                <a:gd name="T55" fmla="*/ 39522 h 109"/>
                <a:gd name="T56" fmla="*/ 3222915 w 122"/>
                <a:gd name="T57" fmla="*/ 0 h 109"/>
                <a:gd name="T58" fmla="*/ 3096102 w 122"/>
                <a:gd name="T59" fmla="*/ 115564 h 109"/>
                <a:gd name="T60" fmla="*/ 1085043 w 122"/>
                <a:gd name="T61" fmla="*/ 1475341 h 109"/>
                <a:gd name="T62" fmla="*/ 1085043 w 122"/>
                <a:gd name="T63" fmla="*/ 1941049 h 109"/>
                <a:gd name="T64" fmla="*/ 1085043 w 122"/>
                <a:gd name="T65" fmla="*/ 2523848 h 109"/>
                <a:gd name="T66" fmla="*/ 858547 w 122"/>
                <a:gd name="T67" fmla="*/ 2726004 h 109"/>
                <a:gd name="T68" fmla="*/ 239952 w 122"/>
                <a:gd name="T69" fmla="*/ 2766182 h 109"/>
                <a:gd name="T70" fmla="*/ 0 w 122"/>
                <a:gd name="T71" fmla="*/ 2881874 h 10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22"/>
                <a:gd name="T109" fmla="*/ 0 h 109"/>
                <a:gd name="T110" fmla="*/ 122 w 122"/>
                <a:gd name="T111" fmla="*/ 109 h 10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22" h="109">
                  <a:moveTo>
                    <a:pt x="0" y="80"/>
                  </a:moveTo>
                  <a:cubicBezTo>
                    <a:pt x="0" y="83"/>
                    <a:pt x="0" y="86"/>
                    <a:pt x="1" y="90"/>
                  </a:cubicBezTo>
                  <a:cubicBezTo>
                    <a:pt x="1" y="92"/>
                    <a:pt x="4" y="92"/>
                    <a:pt x="5" y="94"/>
                  </a:cubicBezTo>
                  <a:cubicBezTo>
                    <a:pt x="6" y="94"/>
                    <a:pt x="5" y="95"/>
                    <a:pt x="5" y="96"/>
                  </a:cubicBezTo>
                  <a:cubicBezTo>
                    <a:pt x="4" y="97"/>
                    <a:pt x="4" y="98"/>
                    <a:pt x="5" y="98"/>
                  </a:cubicBezTo>
                  <a:cubicBezTo>
                    <a:pt x="7" y="98"/>
                    <a:pt x="8" y="100"/>
                    <a:pt x="9" y="101"/>
                  </a:cubicBezTo>
                  <a:cubicBezTo>
                    <a:pt x="11" y="102"/>
                    <a:pt x="13" y="100"/>
                    <a:pt x="14" y="101"/>
                  </a:cubicBezTo>
                  <a:cubicBezTo>
                    <a:pt x="16" y="103"/>
                    <a:pt x="13" y="106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7" y="107"/>
                    <a:pt x="18" y="107"/>
                    <a:pt x="19" y="106"/>
                  </a:cubicBezTo>
                  <a:cubicBezTo>
                    <a:pt x="20" y="106"/>
                    <a:pt x="21" y="106"/>
                    <a:pt x="21" y="105"/>
                  </a:cubicBezTo>
                  <a:cubicBezTo>
                    <a:pt x="22" y="105"/>
                    <a:pt x="22" y="105"/>
                    <a:pt x="22" y="105"/>
                  </a:cubicBezTo>
                  <a:cubicBezTo>
                    <a:pt x="23" y="107"/>
                    <a:pt x="24" y="108"/>
                    <a:pt x="26" y="109"/>
                  </a:cubicBezTo>
                  <a:cubicBezTo>
                    <a:pt x="26" y="109"/>
                    <a:pt x="26" y="109"/>
                    <a:pt x="26" y="109"/>
                  </a:cubicBezTo>
                  <a:cubicBezTo>
                    <a:pt x="26" y="107"/>
                    <a:pt x="26" y="106"/>
                    <a:pt x="27" y="105"/>
                  </a:cubicBezTo>
                  <a:cubicBezTo>
                    <a:pt x="27" y="104"/>
                    <a:pt x="26" y="104"/>
                    <a:pt x="27" y="103"/>
                  </a:cubicBezTo>
                  <a:cubicBezTo>
                    <a:pt x="27" y="102"/>
                    <a:pt x="29" y="101"/>
                    <a:pt x="30" y="100"/>
                  </a:cubicBezTo>
                  <a:cubicBezTo>
                    <a:pt x="31" y="98"/>
                    <a:pt x="30" y="96"/>
                    <a:pt x="31" y="93"/>
                  </a:cubicBezTo>
                  <a:cubicBezTo>
                    <a:pt x="32" y="93"/>
                    <a:pt x="32" y="92"/>
                    <a:pt x="33" y="92"/>
                  </a:cubicBezTo>
                  <a:cubicBezTo>
                    <a:pt x="34" y="91"/>
                    <a:pt x="36" y="92"/>
                    <a:pt x="37" y="92"/>
                  </a:cubicBezTo>
                  <a:cubicBezTo>
                    <a:pt x="39" y="89"/>
                    <a:pt x="42" y="89"/>
                    <a:pt x="45" y="90"/>
                  </a:cubicBezTo>
                  <a:cubicBezTo>
                    <a:pt x="46" y="91"/>
                    <a:pt x="48" y="92"/>
                    <a:pt x="49" y="93"/>
                  </a:cubicBezTo>
                  <a:cubicBezTo>
                    <a:pt x="50" y="95"/>
                    <a:pt x="51" y="98"/>
                    <a:pt x="54" y="97"/>
                  </a:cubicBezTo>
                  <a:cubicBezTo>
                    <a:pt x="55" y="97"/>
                    <a:pt x="56" y="96"/>
                    <a:pt x="57" y="95"/>
                  </a:cubicBezTo>
                  <a:cubicBezTo>
                    <a:pt x="59" y="95"/>
                    <a:pt x="60" y="95"/>
                    <a:pt x="61" y="95"/>
                  </a:cubicBezTo>
                  <a:cubicBezTo>
                    <a:pt x="62" y="95"/>
                    <a:pt x="63" y="95"/>
                    <a:pt x="63" y="95"/>
                  </a:cubicBezTo>
                  <a:cubicBezTo>
                    <a:pt x="65" y="97"/>
                    <a:pt x="67" y="99"/>
                    <a:pt x="69" y="99"/>
                  </a:cubicBezTo>
                  <a:cubicBezTo>
                    <a:pt x="71" y="100"/>
                    <a:pt x="73" y="100"/>
                    <a:pt x="75" y="99"/>
                  </a:cubicBezTo>
                  <a:cubicBezTo>
                    <a:pt x="76" y="98"/>
                    <a:pt x="77" y="97"/>
                    <a:pt x="78" y="96"/>
                  </a:cubicBezTo>
                  <a:cubicBezTo>
                    <a:pt x="79" y="95"/>
                    <a:pt x="81" y="95"/>
                    <a:pt x="82" y="95"/>
                  </a:cubicBezTo>
                  <a:cubicBezTo>
                    <a:pt x="83" y="95"/>
                    <a:pt x="83" y="94"/>
                    <a:pt x="84" y="94"/>
                  </a:cubicBezTo>
                  <a:cubicBezTo>
                    <a:pt x="86" y="94"/>
                    <a:pt x="88" y="94"/>
                    <a:pt x="90" y="94"/>
                  </a:cubicBezTo>
                  <a:cubicBezTo>
                    <a:pt x="92" y="94"/>
                    <a:pt x="92" y="95"/>
                    <a:pt x="93" y="95"/>
                  </a:cubicBezTo>
                  <a:cubicBezTo>
                    <a:pt x="93" y="96"/>
                    <a:pt x="94" y="96"/>
                    <a:pt x="94" y="96"/>
                  </a:cubicBezTo>
                  <a:cubicBezTo>
                    <a:pt x="96" y="95"/>
                    <a:pt x="97" y="93"/>
                    <a:pt x="99" y="92"/>
                  </a:cubicBezTo>
                  <a:cubicBezTo>
                    <a:pt x="100" y="91"/>
                    <a:pt x="102" y="90"/>
                    <a:pt x="104" y="89"/>
                  </a:cubicBezTo>
                  <a:cubicBezTo>
                    <a:pt x="104" y="89"/>
                    <a:pt x="104" y="89"/>
                    <a:pt x="104" y="88"/>
                  </a:cubicBezTo>
                  <a:cubicBezTo>
                    <a:pt x="105" y="85"/>
                    <a:pt x="105" y="83"/>
                    <a:pt x="105" y="80"/>
                  </a:cubicBezTo>
                  <a:cubicBezTo>
                    <a:pt x="105" y="79"/>
                    <a:pt x="106" y="78"/>
                    <a:pt x="107" y="77"/>
                  </a:cubicBezTo>
                  <a:cubicBezTo>
                    <a:pt x="111" y="72"/>
                    <a:pt x="116" y="70"/>
                    <a:pt x="119" y="66"/>
                  </a:cubicBezTo>
                  <a:cubicBezTo>
                    <a:pt x="120" y="65"/>
                    <a:pt x="120" y="65"/>
                    <a:pt x="120" y="64"/>
                  </a:cubicBezTo>
                  <a:cubicBezTo>
                    <a:pt x="120" y="54"/>
                    <a:pt x="119" y="44"/>
                    <a:pt x="120" y="35"/>
                  </a:cubicBezTo>
                  <a:cubicBezTo>
                    <a:pt x="120" y="34"/>
                    <a:pt x="121" y="33"/>
                    <a:pt x="121" y="32"/>
                  </a:cubicBezTo>
                  <a:cubicBezTo>
                    <a:pt x="121" y="30"/>
                    <a:pt x="121" y="29"/>
                    <a:pt x="121" y="28"/>
                  </a:cubicBezTo>
                  <a:cubicBezTo>
                    <a:pt x="121" y="27"/>
                    <a:pt x="122" y="26"/>
                    <a:pt x="121" y="25"/>
                  </a:cubicBezTo>
                  <a:cubicBezTo>
                    <a:pt x="121" y="25"/>
                    <a:pt x="121" y="24"/>
                    <a:pt x="120" y="24"/>
                  </a:cubicBezTo>
                  <a:cubicBezTo>
                    <a:pt x="120" y="22"/>
                    <a:pt x="120" y="21"/>
                    <a:pt x="119" y="20"/>
                  </a:cubicBezTo>
                  <a:cubicBezTo>
                    <a:pt x="119" y="19"/>
                    <a:pt x="118" y="18"/>
                    <a:pt x="117" y="17"/>
                  </a:cubicBezTo>
                  <a:cubicBezTo>
                    <a:pt x="117" y="16"/>
                    <a:pt x="117" y="14"/>
                    <a:pt x="116" y="13"/>
                  </a:cubicBezTo>
                  <a:cubicBezTo>
                    <a:pt x="115" y="12"/>
                    <a:pt x="115" y="11"/>
                    <a:pt x="115" y="10"/>
                  </a:cubicBezTo>
                  <a:cubicBezTo>
                    <a:pt x="114" y="8"/>
                    <a:pt x="115" y="7"/>
                    <a:pt x="114" y="6"/>
                  </a:cubicBezTo>
                  <a:cubicBezTo>
                    <a:pt x="114" y="6"/>
                    <a:pt x="114" y="6"/>
                    <a:pt x="113" y="6"/>
                  </a:cubicBezTo>
                  <a:cubicBezTo>
                    <a:pt x="112" y="8"/>
                    <a:pt x="110" y="8"/>
                    <a:pt x="108" y="8"/>
                  </a:cubicBezTo>
                  <a:cubicBezTo>
                    <a:pt x="108" y="8"/>
                    <a:pt x="107" y="8"/>
                    <a:pt x="107" y="7"/>
                  </a:cubicBezTo>
                  <a:cubicBezTo>
                    <a:pt x="106" y="6"/>
                    <a:pt x="105" y="4"/>
                    <a:pt x="104" y="4"/>
                  </a:cubicBezTo>
                  <a:cubicBezTo>
                    <a:pt x="102" y="3"/>
                    <a:pt x="101" y="2"/>
                    <a:pt x="99" y="1"/>
                  </a:cubicBezTo>
                  <a:cubicBezTo>
                    <a:pt x="96" y="0"/>
                    <a:pt x="93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"/>
                    <a:pt x="89" y="1"/>
                    <a:pt x="89" y="2"/>
                  </a:cubicBezTo>
                  <a:cubicBezTo>
                    <a:pt x="88" y="2"/>
                    <a:pt x="87" y="3"/>
                    <a:pt x="86" y="3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5"/>
                    <a:pt x="30" y="50"/>
                    <a:pt x="30" y="54"/>
                  </a:cubicBezTo>
                  <a:cubicBezTo>
                    <a:pt x="30" y="55"/>
                    <a:pt x="31" y="56"/>
                    <a:pt x="31" y="57"/>
                  </a:cubicBezTo>
                  <a:cubicBezTo>
                    <a:pt x="31" y="61"/>
                    <a:pt x="32" y="66"/>
                    <a:pt x="30" y="70"/>
                  </a:cubicBezTo>
                  <a:cubicBezTo>
                    <a:pt x="30" y="71"/>
                    <a:pt x="29" y="71"/>
                    <a:pt x="28" y="72"/>
                  </a:cubicBezTo>
                  <a:cubicBezTo>
                    <a:pt x="28" y="74"/>
                    <a:pt x="25" y="75"/>
                    <a:pt x="24" y="76"/>
                  </a:cubicBezTo>
                  <a:cubicBezTo>
                    <a:pt x="21" y="76"/>
                    <a:pt x="18" y="75"/>
                    <a:pt x="15" y="76"/>
                  </a:cubicBezTo>
                  <a:cubicBezTo>
                    <a:pt x="12" y="77"/>
                    <a:pt x="10" y="76"/>
                    <a:pt x="7" y="77"/>
                  </a:cubicBezTo>
                  <a:cubicBezTo>
                    <a:pt x="6" y="77"/>
                    <a:pt x="4" y="79"/>
                    <a:pt x="3" y="80"/>
                  </a:cubicBezTo>
                  <a:cubicBezTo>
                    <a:pt x="2" y="80"/>
                    <a:pt x="1" y="80"/>
                    <a:pt x="0" y="8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1" name="Freeform 366"/>
            <p:cNvSpPr>
              <a:spLocks/>
            </p:cNvSpPr>
            <p:nvPr/>
          </p:nvSpPr>
          <p:spPr bwMode="auto">
            <a:xfrm>
              <a:off x="6957098" y="3516255"/>
              <a:ext cx="44146" cy="42720"/>
            </a:xfrm>
            <a:custGeom>
              <a:avLst/>
              <a:gdLst>
                <a:gd name="T0" fmla="*/ 1745668 w 94"/>
                <a:gd name="T1" fmla="*/ 2904102 h 88"/>
                <a:gd name="T2" fmla="*/ 1745668 w 94"/>
                <a:gd name="T3" fmla="*/ 2944692 h 88"/>
                <a:gd name="T4" fmla="*/ 1331944 w 94"/>
                <a:gd name="T5" fmla="*/ 2977240 h 88"/>
                <a:gd name="T6" fmla="*/ 1090637 w 94"/>
                <a:gd name="T7" fmla="*/ 2977240 h 88"/>
                <a:gd name="T8" fmla="*/ 865363 w 94"/>
                <a:gd name="T9" fmla="*/ 2866094 h 88"/>
                <a:gd name="T10" fmla="*/ 820985 w 94"/>
                <a:gd name="T11" fmla="*/ 2710462 h 88"/>
                <a:gd name="T12" fmla="*/ 666565 w 94"/>
                <a:gd name="T13" fmla="*/ 2499199 h 88"/>
                <a:gd name="T14" fmla="*/ 465666 w 94"/>
                <a:gd name="T15" fmla="*/ 2367947 h 88"/>
                <a:gd name="T16" fmla="*/ 0 w 94"/>
                <a:gd name="T17" fmla="*/ 2389251 h 88"/>
                <a:gd name="T18" fmla="*/ 0 w 94"/>
                <a:gd name="T19" fmla="*/ 1894976 h 88"/>
                <a:gd name="T20" fmla="*/ 199302 w 94"/>
                <a:gd name="T21" fmla="*/ 1512195 h 88"/>
                <a:gd name="T22" fmla="*/ 240509 w 94"/>
                <a:gd name="T23" fmla="*/ 1339579 h 88"/>
                <a:gd name="T24" fmla="*/ 299766 w 94"/>
                <a:gd name="T25" fmla="*/ 855553 h 88"/>
                <a:gd name="T26" fmla="*/ 299766 w 94"/>
                <a:gd name="T27" fmla="*/ 677630 h 88"/>
                <a:gd name="T28" fmla="*/ 344270 w 94"/>
                <a:gd name="T29" fmla="*/ 555401 h 88"/>
                <a:gd name="T30" fmla="*/ 465666 w 94"/>
                <a:gd name="T31" fmla="*/ 372094 h 88"/>
                <a:gd name="T32" fmla="*/ 580398 w 94"/>
                <a:gd name="T33" fmla="*/ 111171 h 88"/>
                <a:gd name="T34" fmla="*/ 1051848 w 94"/>
                <a:gd name="T35" fmla="*/ 38321 h 88"/>
                <a:gd name="T36" fmla="*/ 1413259 w 94"/>
                <a:gd name="T37" fmla="*/ 271426 h 88"/>
                <a:gd name="T38" fmla="*/ 1675490 w 94"/>
                <a:gd name="T39" fmla="*/ 213499 h 88"/>
                <a:gd name="T40" fmla="*/ 1998218 w 94"/>
                <a:gd name="T41" fmla="*/ 334318 h 88"/>
                <a:gd name="T42" fmla="*/ 2342454 w 94"/>
                <a:gd name="T43" fmla="*/ 231974 h 88"/>
                <a:gd name="T44" fmla="*/ 2578870 w 94"/>
                <a:gd name="T45" fmla="*/ 174083 h 88"/>
                <a:gd name="T46" fmla="*/ 2922845 w 94"/>
                <a:gd name="T47" fmla="*/ 213499 h 88"/>
                <a:gd name="T48" fmla="*/ 3163439 w 94"/>
                <a:gd name="T49" fmla="*/ 111171 h 88"/>
                <a:gd name="T50" fmla="*/ 3501697 w 94"/>
                <a:gd name="T51" fmla="*/ 334318 h 88"/>
                <a:gd name="T52" fmla="*/ 3501697 w 94"/>
                <a:gd name="T53" fmla="*/ 372094 h 88"/>
                <a:gd name="T54" fmla="*/ 3632247 w 94"/>
                <a:gd name="T55" fmla="*/ 677630 h 88"/>
                <a:gd name="T56" fmla="*/ 3546161 w 94"/>
                <a:gd name="T57" fmla="*/ 817587 h 88"/>
                <a:gd name="T58" fmla="*/ 3421943 w 94"/>
                <a:gd name="T59" fmla="*/ 1087730 h 88"/>
                <a:gd name="T60" fmla="*/ 3288411 w 94"/>
                <a:gd name="T61" fmla="*/ 1301358 h 88"/>
                <a:gd name="T62" fmla="*/ 3201916 w 94"/>
                <a:gd name="T63" fmla="*/ 1474634 h 88"/>
                <a:gd name="T64" fmla="*/ 3036045 w 94"/>
                <a:gd name="T65" fmla="*/ 1785158 h 88"/>
                <a:gd name="T66" fmla="*/ 2967309 w 94"/>
                <a:gd name="T67" fmla="*/ 1894976 h 88"/>
                <a:gd name="T68" fmla="*/ 2881653 w 94"/>
                <a:gd name="T69" fmla="*/ 2048399 h 88"/>
                <a:gd name="T70" fmla="*/ 2736310 w 94"/>
                <a:gd name="T71" fmla="*/ 2299641 h 88"/>
                <a:gd name="T72" fmla="*/ 2342454 w 94"/>
                <a:gd name="T73" fmla="*/ 2189941 h 88"/>
                <a:gd name="T74" fmla="*/ 2036557 w 94"/>
                <a:gd name="T75" fmla="*/ 2420481 h 88"/>
                <a:gd name="T76" fmla="*/ 1912295 w 94"/>
                <a:gd name="T77" fmla="*/ 2572601 h 88"/>
                <a:gd name="T78" fmla="*/ 1875996 w 94"/>
                <a:gd name="T79" fmla="*/ 2904102 h 8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4"/>
                <a:gd name="T121" fmla="*/ 0 h 88"/>
                <a:gd name="T122" fmla="*/ 94 w 94"/>
                <a:gd name="T123" fmla="*/ 88 h 88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4" h="88">
                  <a:moveTo>
                    <a:pt x="48" y="85"/>
                  </a:moveTo>
                  <a:cubicBezTo>
                    <a:pt x="47" y="84"/>
                    <a:pt x="46" y="84"/>
                    <a:pt x="45" y="85"/>
                  </a:cubicBezTo>
                  <a:cubicBezTo>
                    <a:pt x="44" y="85"/>
                    <a:pt x="45" y="85"/>
                    <a:pt x="44" y="86"/>
                  </a:cubicBezTo>
                  <a:cubicBezTo>
                    <a:pt x="44" y="86"/>
                    <a:pt x="45" y="86"/>
                    <a:pt x="45" y="86"/>
                  </a:cubicBezTo>
                  <a:cubicBezTo>
                    <a:pt x="44" y="86"/>
                    <a:pt x="43" y="86"/>
                    <a:pt x="42" y="87"/>
                  </a:cubicBezTo>
                  <a:cubicBezTo>
                    <a:pt x="39" y="87"/>
                    <a:pt x="37" y="87"/>
                    <a:pt x="34" y="87"/>
                  </a:cubicBezTo>
                  <a:cubicBezTo>
                    <a:pt x="32" y="87"/>
                    <a:pt x="31" y="88"/>
                    <a:pt x="29" y="88"/>
                  </a:cubicBezTo>
                  <a:cubicBezTo>
                    <a:pt x="29" y="88"/>
                    <a:pt x="29" y="87"/>
                    <a:pt x="28" y="87"/>
                  </a:cubicBezTo>
                  <a:cubicBezTo>
                    <a:pt x="27" y="86"/>
                    <a:pt x="25" y="87"/>
                    <a:pt x="24" y="86"/>
                  </a:cubicBezTo>
                  <a:cubicBezTo>
                    <a:pt x="23" y="86"/>
                    <a:pt x="22" y="85"/>
                    <a:pt x="22" y="84"/>
                  </a:cubicBezTo>
                  <a:cubicBezTo>
                    <a:pt x="21" y="84"/>
                    <a:pt x="21" y="83"/>
                    <a:pt x="21" y="83"/>
                  </a:cubicBezTo>
                  <a:cubicBezTo>
                    <a:pt x="21" y="82"/>
                    <a:pt x="21" y="80"/>
                    <a:pt x="21" y="79"/>
                  </a:cubicBezTo>
                  <a:cubicBezTo>
                    <a:pt x="20" y="78"/>
                    <a:pt x="19" y="77"/>
                    <a:pt x="19" y="76"/>
                  </a:cubicBezTo>
                  <a:cubicBezTo>
                    <a:pt x="18" y="75"/>
                    <a:pt x="18" y="74"/>
                    <a:pt x="17" y="73"/>
                  </a:cubicBezTo>
                  <a:cubicBezTo>
                    <a:pt x="17" y="72"/>
                    <a:pt x="16" y="71"/>
                    <a:pt x="15" y="70"/>
                  </a:cubicBezTo>
                  <a:cubicBezTo>
                    <a:pt x="14" y="70"/>
                    <a:pt x="13" y="69"/>
                    <a:pt x="12" y="69"/>
                  </a:cubicBezTo>
                  <a:cubicBezTo>
                    <a:pt x="8" y="68"/>
                    <a:pt x="5" y="69"/>
                    <a:pt x="2" y="70"/>
                  </a:cubicBezTo>
                  <a:cubicBezTo>
                    <a:pt x="1" y="70"/>
                    <a:pt x="1" y="70"/>
                    <a:pt x="0" y="70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" y="64"/>
                    <a:pt x="0" y="60"/>
                    <a:pt x="0" y="55"/>
                  </a:cubicBezTo>
                  <a:cubicBezTo>
                    <a:pt x="2" y="52"/>
                    <a:pt x="1" y="48"/>
                    <a:pt x="2" y="45"/>
                  </a:cubicBezTo>
                  <a:cubicBezTo>
                    <a:pt x="2" y="44"/>
                    <a:pt x="4" y="45"/>
                    <a:pt x="5" y="44"/>
                  </a:cubicBezTo>
                  <a:cubicBezTo>
                    <a:pt x="5" y="44"/>
                    <a:pt x="5" y="43"/>
                    <a:pt x="5" y="43"/>
                  </a:cubicBezTo>
                  <a:cubicBezTo>
                    <a:pt x="6" y="41"/>
                    <a:pt x="6" y="40"/>
                    <a:pt x="6" y="39"/>
                  </a:cubicBezTo>
                  <a:cubicBezTo>
                    <a:pt x="7" y="37"/>
                    <a:pt x="8" y="35"/>
                    <a:pt x="8" y="32"/>
                  </a:cubicBezTo>
                  <a:cubicBezTo>
                    <a:pt x="9" y="30"/>
                    <a:pt x="9" y="28"/>
                    <a:pt x="8" y="25"/>
                  </a:cubicBezTo>
                  <a:cubicBezTo>
                    <a:pt x="8" y="24"/>
                    <a:pt x="8" y="23"/>
                    <a:pt x="8" y="2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18"/>
                    <a:pt x="8" y="17"/>
                    <a:pt x="9" y="16"/>
                  </a:cubicBezTo>
                  <a:cubicBezTo>
                    <a:pt x="9" y="15"/>
                    <a:pt x="8" y="15"/>
                    <a:pt x="9" y="14"/>
                  </a:cubicBezTo>
                  <a:cubicBezTo>
                    <a:pt x="9" y="13"/>
                    <a:pt x="11" y="12"/>
                    <a:pt x="12" y="11"/>
                  </a:cubicBezTo>
                  <a:cubicBezTo>
                    <a:pt x="13" y="9"/>
                    <a:pt x="12" y="7"/>
                    <a:pt x="13" y="4"/>
                  </a:cubicBezTo>
                  <a:cubicBezTo>
                    <a:pt x="14" y="4"/>
                    <a:pt x="14" y="3"/>
                    <a:pt x="15" y="3"/>
                  </a:cubicBezTo>
                  <a:cubicBezTo>
                    <a:pt x="16" y="2"/>
                    <a:pt x="18" y="3"/>
                    <a:pt x="19" y="3"/>
                  </a:cubicBezTo>
                  <a:cubicBezTo>
                    <a:pt x="21" y="0"/>
                    <a:pt x="24" y="0"/>
                    <a:pt x="27" y="1"/>
                  </a:cubicBezTo>
                  <a:cubicBezTo>
                    <a:pt x="28" y="2"/>
                    <a:pt x="30" y="3"/>
                    <a:pt x="31" y="4"/>
                  </a:cubicBezTo>
                  <a:cubicBezTo>
                    <a:pt x="32" y="6"/>
                    <a:pt x="33" y="9"/>
                    <a:pt x="36" y="8"/>
                  </a:cubicBezTo>
                  <a:cubicBezTo>
                    <a:pt x="37" y="8"/>
                    <a:pt x="38" y="7"/>
                    <a:pt x="39" y="6"/>
                  </a:cubicBezTo>
                  <a:cubicBezTo>
                    <a:pt x="41" y="6"/>
                    <a:pt x="42" y="6"/>
                    <a:pt x="43" y="6"/>
                  </a:cubicBezTo>
                  <a:cubicBezTo>
                    <a:pt x="44" y="6"/>
                    <a:pt x="45" y="6"/>
                    <a:pt x="45" y="6"/>
                  </a:cubicBezTo>
                  <a:cubicBezTo>
                    <a:pt x="47" y="8"/>
                    <a:pt x="49" y="10"/>
                    <a:pt x="51" y="10"/>
                  </a:cubicBezTo>
                  <a:cubicBezTo>
                    <a:pt x="53" y="11"/>
                    <a:pt x="55" y="11"/>
                    <a:pt x="57" y="10"/>
                  </a:cubicBezTo>
                  <a:cubicBezTo>
                    <a:pt x="58" y="9"/>
                    <a:pt x="59" y="8"/>
                    <a:pt x="60" y="7"/>
                  </a:cubicBezTo>
                  <a:cubicBezTo>
                    <a:pt x="61" y="6"/>
                    <a:pt x="63" y="6"/>
                    <a:pt x="64" y="6"/>
                  </a:cubicBezTo>
                  <a:cubicBezTo>
                    <a:pt x="65" y="6"/>
                    <a:pt x="65" y="5"/>
                    <a:pt x="66" y="5"/>
                  </a:cubicBezTo>
                  <a:cubicBezTo>
                    <a:pt x="68" y="5"/>
                    <a:pt x="70" y="5"/>
                    <a:pt x="72" y="5"/>
                  </a:cubicBezTo>
                  <a:cubicBezTo>
                    <a:pt x="74" y="5"/>
                    <a:pt x="74" y="6"/>
                    <a:pt x="75" y="6"/>
                  </a:cubicBezTo>
                  <a:cubicBezTo>
                    <a:pt x="75" y="7"/>
                    <a:pt x="76" y="7"/>
                    <a:pt x="76" y="7"/>
                  </a:cubicBezTo>
                  <a:cubicBezTo>
                    <a:pt x="78" y="6"/>
                    <a:pt x="79" y="4"/>
                    <a:pt x="81" y="3"/>
                  </a:cubicBezTo>
                  <a:cubicBezTo>
                    <a:pt x="82" y="2"/>
                    <a:pt x="84" y="1"/>
                    <a:pt x="86" y="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11"/>
                    <a:pt x="90" y="11"/>
                  </a:cubicBezTo>
                  <a:cubicBezTo>
                    <a:pt x="91" y="12"/>
                    <a:pt x="92" y="14"/>
                    <a:pt x="93" y="16"/>
                  </a:cubicBezTo>
                  <a:cubicBezTo>
                    <a:pt x="94" y="17"/>
                    <a:pt x="94" y="18"/>
                    <a:pt x="93" y="20"/>
                  </a:cubicBezTo>
                  <a:cubicBezTo>
                    <a:pt x="93" y="20"/>
                    <a:pt x="93" y="20"/>
                    <a:pt x="93" y="21"/>
                  </a:cubicBezTo>
                  <a:cubicBezTo>
                    <a:pt x="92" y="22"/>
                    <a:pt x="92" y="23"/>
                    <a:pt x="91" y="24"/>
                  </a:cubicBezTo>
                  <a:cubicBezTo>
                    <a:pt x="91" y="25"/>
                    <a:pt x="90" y="25"/>
                    <a:pt x="89" y="26"/>
                  </a:cubicBezTo>
                  <a:cubicBezTo>
                    <a:pt x="88" y="28"/>
                    <a:pt x="88" y="30"/>
                    <a:pt x="88" y="32"/>
                  </a:cubicBezTo>
                  <a:cubicBezTo>
                    <a:pt x="87" y="33"/>
                    <a:pt x="85" y="34"/>
                    <a:pt x="85" y="35"/>
                  </a:cubicBezTo>
                  <a:cubicBezTo>
                    <a:pt x="84" y="36"/>
                    <a:pt x="84" y="37"/>
                    <a:pt x="84" y="38"/>
                  </a:cubicBezTo>
                  <a:cubicBezTo>
                    <a:pt x="84" y="38"/>
                    <a:pt x="84" y="39"/>
                    <a:pt x="83" y="39"/>
                  </a:cubicBezTo>
                  <a:cubicBezTo>
                    <a:pt x="83" y="40"/>
                    <a:pt x="82" y="41"/>
                    <a:pt x="82" y="43"/>
                  </a:cubicBezTo>
                  <a:cubicBezTo>
                    <a:pt x="81" y="44"/>
                    <a:pt x="81" y="47"/>
                    <a:pt x="80" y="49"/>
                  </a:cubicBezTo>
                  <a:cubicBezTo>
                    <a:pt x="80" y="50"/>
                    <a:pt x="79" y="51"/>
                    <a:pt x="78" y="52"/>
                  </a:cubicBezTo>
                  <a:cubicBezTo>
                    <a:pt x="77" y="52"/>
                    <a:pt x="77" y="53"/>
                    <a:pt x="76" y="53"/>
                  </a:cubicBezTo>
                  <a:cubicBezTo>
                    <a:pt x="76" y="54"/>
                    <a:pt x="76" y="54"/>
                    <a:pt x="76" y="55"/>
                  </a:cubicBezTo>
                  <a:cubicBezTo>
                    <a:pt x="75" y="56"/>
                    <a:pt x="75" y="57"/>
                    <a:pt x="75" y="58"/>
                  </a:cubicBezTo>
                  <a:cubicBezTo>
                    <a:pt x="75" y="59"/>
                    <a:pt x="74" y="59"/>
                    <a:pt x="74" y="60"/>
                  </a:cubicBezTo>
                  <a:cubicBezTo>
                    <a:pt x="73" y="61"/>
                    <a:pt x="73" y="62"/>
                    <a:pt x="72" y="63"/>
                  </a:cubicBezTo>
                  <a:cubicBezTo>
                    <a:pt x="71" y="64"/>
                    <a:pt x="71" y="67"/>
                    <a:pt x="70" y="67"/>
                  </a:cubicBezTo>
                  <a:cubicBezTo>
                    <a:pt x="67" y="69"/>
                    <a:pt x="66" y="65"/>
                    <a:pt x="64" y="64"/>
                  </a:cubicBezTo>
                  <a:cubicBezTo>
                    <a:pt x="62" y="64"/>
                    <a:pt x="61" y="64"/>
                    <a:pt x="60" y="64"/>
                  </a:cubicBezTo>
                  <a:cubicBezTo>
                    <a:pt x="58" y="65"/>
                    <a:pt x="56" y="65"/>
                    <a:pt x="55" y="67"/>
                  </a:cubicBezTo>
                  <a:cubicBezTo>
                    <a:pt x="55" y="69"/>
                    <a:pt x="53" y="70"/>
                    <a:pt x="52" y="71"/>
                  </a:cubicBezTo>
                  <a:cubicBezTo>
                    <a:pt x="52" y="71"/>
                    <a:pt x="51" y="72"/>
                    <a:pt x="50" y="73"/>
                  </a:cubicBezTo>
                  <a:cubicBezTo>
                    <a:pt x="50" y="73"/>
                    <a:pt x="49" y="74"/>
                    <a:pt x="49" y="75"/>
                  </a:cubicBezTo>
                  <a:cubicBezTo>
                    <a:pt x="49" y="78"/>
                    <a:pt x="49" y="80"/>
                    <a:pt x="48" y="83"/>
                  </a:cubicBezTo>
                  <a:lnTo>
                    <a:pt x="48" y="85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2" name="Freeform 367"/>
            <p:cNvSpPr>
              <a:spLocks/>
            </p:cNvSpPr>
            <p:nvPr/>
          </p:nvSpPr>
          <p:spPr bwMode="auto">
            <a:xfrm>
              <a:off x="6979673" y="3520040"/>
              <a:ext cx="28093" cy="50020"/>
            </a:xfrm>
            <a:custGeom>
              <a:avLst/>
              <a:gdLst>
                <a:gd name="T0" fmla="*/ 40780 w 60"/>
                <a:gd name="T1" fmla="*/ 2681322 h 103"/>
                <a:gd name="T2" fmla="*/ 40780 w 60"/>
                <a:gd name="T3" fmla="*/ 2744745 h 103"/>
                <a:gd name="T4" fmla="*/ 294690 w 60"/>
                <a:gd name="T5" fmla="*/ 2907936 h 103"/>
                <a:gd name="T6" fmla="*/ 379223 w 60"/>
                <a:gd name="T7" fmla="*/ 3058777 h 103"/>
                <a:gd name="T8" fmla="*/ 338447 w 60"/>
                <a:gd name="T9" fmla="*/ 3396473 h 103"/>
                <a:gd name="T10" fmla="*/ 379223 w 60"/>
                <a:gd name="T11" fmla="*/ 3435237 h 103"/>
                <a:gd name="T12" fmla="*/ 1060874 w 60"/>
                <a:gd name="T13" fmla="*/ 3471046 h 103"/>
                <a:gd name="T14" fmla="*/ 1440100 w 60"/>
                <a:gd name="T15" fmla="*/ 3471046 h 103"/>
                <a:gd name="T16" fmla="*/ 2088760 w 60"/>
                <a:gd name="T17" fmla="*/ 3550288 h 103"/>
                <a:gd name="T18" fmla="*/ 2241202 w 60"/>
                <a:gd name="T19" fmla="*/ 3313309 h 103"/>
                <a:gd name="T20" fmla="*/ 2173276 w 60"/>
                <a:gd name="T21" fmla="*/ 3131335 h 103"/>
                <a:gd name="T22" fmla="*/ 1943491 w 60"/>
                <a:gd name="T23" fmla="*/ 2785983 h 103"/>
                <a:gd name="T24" fmla="*/ 1834726 w 60"/>
                <a:gd name="T25" fmla="*/ 2446978 h 103"/>
                <a:gd name="T26" fmla="*/ 1875915 w 60"/>
                <a:gd name="T27" fmla="*/ 2154004 h 103"/>
                <a:gd name="T28" fmla="*/ 1987194 w 60"/>
                <a:gd name="T29" fmla="*/ 1919233 h 103"/>
                <a:gd name="T30" fmla="*/ 2051024 w 60"/>
                <a:gd name="T31" fmla="*/ 1846867 h 103"/>
                <a:gd name="T32" fmla="*/ 1987194 w 60"/>
                <a:gd name="T33" fmla="*/ 1507653 h 103"/>
                <a:gd name="T34" fmla="*/ 1671367 w 60"/>
                <a:gd name="T35" fmla="*/ 1120517 h 103"/>
                <a:gd name="T36" fmla="*/ 1834726 w 60"/>
                <a:gd name="T37" fmla="*/ 1018399 h 103"/>
                <a:gd name="T38" fmla="*/ 1987194 w 60"/>
                <a:gd name="T39" fmla="*/ 1018399 h 103"/>
                <a:gd name="T40" fmla="*/ 2088760 w 60"/>
                <a:gd name="T41" fmla="*/ 939300 h 103"/>
                <a:gd name="T42" fmla="*/ 1914404 w 60"/>
                <a:gd name="T43" fmla="*/ 377455 h 103"/>
                <a:gd name="T44" fmla="*/ 1756277 w 60"/>
                <a:gd name="T45" fmla="*/ 74577 h 103"/>
                <a:gd name="T46" fmla="*/ 1603424 w 60"/>
                <a:gd name="T47" fmla="*/ 74577 h 103"/>
                <a:gd name="T48" fmla="*/ 1603424 w 60"/>
                <a:gd name="T49" fmla="*/ 112224 h 103"/>
                <a:gd name="T50" fmla="*/ 1712369 w 60"/>
                <a:gd name="T51" fmla="*/ 414708 h 103"/>
                <a:gd name="T52" fmla="*/ 1627436 w 60"/>
                <a:gd name="T53" fmla="*/ 563102 h 103"/>
                <a:gd name="T54" fmla="*/ 1518939 w 60"/>
                <a:gd name="T55" fmla="*/ 827736 h 103"/>
                <a:gd name="T56" fmla="*/ 1376677 w 60"/>
                <a:gd name="T57" fmla="*/ 1041228 h 103"/>
                <a:gd name="T58" fmla="*/ 1303102 w 60"/>
                <a:gd name="T59" fmla="*/ 1214874 h 103"/>
                <a:gd name="T60" fmla="*/ 1145409 w 60"/>
                <a:gd name="T61" fmla="*/ 1532493 h 103"/>
                <a:gd name="T62" fmla="*/ 1060874 w 60"/>
                <a:gd name="T63" fmla="*/ 1628927 h 103"/>
                <a:gd name="T64" fmla="*/ 990209 w 60"/>
                <a:gd name="T65" fmla="*/ 1805645 h 103"/>
                <a:gd name="T66" fmla="*/ 841777 w 60"/>
                <a:gd name="T67" fmla="*/ 2042459 h 103"/>
                <a:gd name="T68" fmla="*/ 447155 w 60"/>
                <a:gd name="T69" fmla="*/ 1957699 h 103"/>
                <a:gd name="T70" fmla="*/ 152426 w 60"/>
                <a:gd name="T71" fmla="*/ 2192029 h 103"/>
                <a:gd name="T72" fmla="*/ 40780 w 60"/>
                <a:gd name="T73" fmla="*/ 2335389 h 103"/>
                <a:gd name="T74" fmla="*/ 0 w 60"/>
                <a:gd name="T75" fmla="*/ 2681322 h 10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0"/>
                <a:gd name="T115" fmla="*/ 0 h 103"/>
                <a:gd name="T116" fmla="*/ 60 w 60"/>
                <a:gd name="T117" fmla="*/ 103 h 10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0" h="103">
                  <a:moveTo>
                    <a:pt x="0" y="77"/>
                  </a:moveTo>
                  <a:cubicBezTo>
                    <a:pt x="0" y="77"/>
                    <a:pt x="0" y="77"/>
                    <a:pt x="1" y="77"/>
                  </a:cubicBezTo>
                  <a:cubicBezTo>
                    <a:pt x="1" y="77"/>
                    <a:pt x="0" y="78"/>
                    <a:pt x="1" y="78"/>
                  </a:cubicBezTo>
                  <a:cubicBezTo>
                    <a:pt x="1" y="78"/>
                    <a:pt x="1" y="79"/>
                    <a:pt x="1" y="79"/>
                  </a:cubicBezTo>
                  <a:cubicBezTo>
                    <a:pt x="2" y="80"/>
                    <a:pt x="2" y="82"/>
                    <a:pt x="3" y="83"/>
                  </a:cubicBezTo>
                  <a:cubicBezTo>
                    <a:pt x="5" y="84"/>
                    <a:pt x="7" y="83"/>
                    <a:pt x="8" y="84"/>
                  </a:cubicBezTo>
                  <a:cubicBezTo>
                    <a:pt x="8" y="84"/>
                    <a:pt x="8" y="85"/>
                    <a:pt x="8" y="86"/>
                  </a:cubicBezTo>
                  <a:cubicBezTo>
                    <a:pt x="9" y="87"/>
                    <a:pt x="10" y="87"/>
                    <a:pt x="10" y="88"/>
                  </a:cubicBezTo>
                  <a:cubicBezTo>
                    <a:pt x="11" y="91"/>
                    <a:pt x="10" y="92"/>
                    <a:pt x="10" y="94"/>
                  </a:cubicBezTo>
                  <a:cubicBezTo>
                    <a:pt x="9" y="95"/>
                    <a:pt x="9" y="97"/>
                    <a:pt x="9" y="98"/>
                  </a:cubicBezTo>
                  <a:cubicBezTo>
                    <a:pt x="9" y="98"/>
                    <a:pt x="9" y="99"/>
                    <a:pt x="9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3" y="99"/>
                    <a:pt x="16" y="100"/>
                    <a:pt x="19" y="100"/>
                  </a:cubicBezTo>
                  <a:cubicBezTo>
                    <a:pt x="22" y="100"/>
                    <a:pt x="25" y="100"/>
                    <a:pt x="28" y="100"/>
                  </a:cubicBezTo>
                  <a:cubicBezTo>
                    <a:pt x="31" y="99"/>
                    <a:pt x="34" y="99"/>
                    <a:pt x="38" y="99"/>
                  </a:cubicBezTo>
                  <a:cubicBezTo>
                    <a:pt x="38" y="99"/>
                    <a:pt x="38" y="100"/>
                    <a:pt x="38" y="100"/>
                  </a:cubicBezTo>
                  <a:cubicBezTo>
                    <a:pt x="42" y="100"/>
                    <a:pt x="47" y="100"/>
                    <a:pt x="51" y="101"/>
                  </a:cubicBezTo>
                  <a:cubicBezTo>
                    <a:pt x="52" y="101"/>
                    <a:pt x="53" y="102"/>
                    <a:pt x="55" y="102"/>
                  </a:cubicBezTo>
                  <a:cubicBezTo>
                    <a:pt x="56" y="103"/>
                    <a:pt x="58" y="103"/>
                    <a:pt x="60" y="102"/>
                  </a:cubicBezTo>
                  <a:cubicBezTo>
                    <a:pt x="60" y="100"/>
                    <a:pt x="60" y="98"/>
                    <a:pt x="59" y="95"/>
                  </a:cubicBezTo>
                  <a:cubicBezTo>
                    <a:pt x="59" y="95"/>
                    <a:pt x="59" y="95"/>
                    <a:pt x="59" y="94"/>
                  </a:cubicBezTo>
                  <a:cubicBezTo>
                    <a:pt x="58" y="93"/>
                    <a:pt x="57" y="92"/>
                    <a:pt x="57" y="90"/>
                  </a:cubicBezTo>
                  <a:cubicBezTo>
                    <a:pt x="55" y="88"/>
                    <a:pt x="53" y="87"/>
                    <a:pt x="53" y="85"/>
                  </a:cubicBezTo>
                  <a:cubicBezTo>
                    <a:pt x="52" y="83"/>
                    <a:pt x="52" y="82"/>
                    <a:pt x="51" y="80"/>
                  </a:cubicBezTo>
                  <a:cubicBezTo>
                    <a:pt x="50" y="79"/>
                    <a:pt x="49" y="78"/>
                    <a:pt x="48" y="76"/>
                  </a:cubicBezTo>
                  <a:cubicBezTo>
                    <a:pt x="48" y="74"/>
                    <a:pt x="48" y="72"/>
                    <a:pt x="48" y="70"/>
                  </a:cubicBezTo>
                  <a:cubicBezTo>
                    <a:pt x="48" y="68"/>
                    <a:pt x="47" y="67"/>
                    <a:pt x="48" y="65"/>
                  </a:cubicBezTo>
                  <a:cubicBezTo>
                    <a:pt x="48" y="64"/>
                    <a:pt x="48" y="63"/>
                    <a:pt x="49" y="62"/>
                  </a:cubicBezTo>
                  <a:cubicBezTo>
                    <a:pt x="50" y="60"/>
                    <a:pt x="49" y="59"/>
                    <a:pt x="50" y="58"/>
                  </a:cubicBezTo>
                  <a:cubicBezTo>
                    <a:pt x="50" y="57"/>
                    <a:pt x="51" y="56"/>
                    <a:pt x="52" y="55"/>
                  </a:cubicBezTo>
                  <a:cubicBezTo>
                    <a:pt x="53" y="55"/>
                    <a:pt x="53" y="54"/>
                    <a:pt x="54" y="53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2"/>
                    <a:pt x="54" y="51"/>
                    <a:pt x="54" y="50"/>
                  </a:cubicBezTo>
                  <a:cubicBezTo>
                    <a:pt x="53" y="48"/>
                    <a:pt x="53" y="45"/>
                    <a:pt x="52" y="43"/>
                  </a:cubicBezTo>
                  <a:cubicBezTo>
                    <a:pt x="51" y="42"/>
                    <a:pt x="49" y="41"/>
                    <a:pt x="49" y="39"/>
                  </a:cubicBezTo>
                  <a:cubicBezTo>
                    <a:pt x="47" y="37"/>
                    <a:pt x="46" y="35"/>
                    <a:pt x="44" y="32"/>
                  </a:cubicBezTo>
                  <a:cubicBezTo>
                    <a:pt x="44" y="31"/>
                    <a:pt x="44" y="30"/>
                    <a:pt x="44" y="29"/>
                  </a:cubicBezTo>
                  <a:cubicBezTo>
                    <a:pt x="45" y="28"/>
                    <a:pt x="47" y="28"/>
                    <a:pt x="48" y="29"/>
                  </a:cubicBezTo>
                  <a:cubicBezTo>
                    <a:pt x="49" y="30"/>
                    <a:pt x="50" y="31"/>
                    <a:pt x="51" y="30"/>
                  </a:cubicBezTo>
                  <a:cubicBezTo>
                    <a:pt x="51" y="30"/>
                    <a:pt x="52" y="30"/>
                    <a:pt x="52" y="29"/>
                  </a:cubicBezTo>
                  <a:cubicBezTo>
                    <a:pt x="53" y="29"/>
                    <a:pt x="54" y="29"/>
                    <a:pt x="55" y="29"/>
                  </a:cubicBezTo>
                  <a:cubicBezTo>
                    <a:pt x="55" y="28"/>
                    <a:pt x="55" y="27"/>
                    <a:pt x="55" y="27"/>
                  </a:cubicBezTo>
                  <a:cubicBezTo>
                    <a:pt x="53" y="25"/>
                    <a:pt x="52" y="24"/>
                    <a:pt x="51" y="22"/>
                  </a:cubicBezTo>
                  <a:cubicBezTo>
                    <a:pt x="50" y="18"/>
                    <a:pt x="50" y="15"/>
                    <a:pt x="50" y="11"/>
                  </a:cubicBezTo>
                  <a:cubicBezTo>
                    <a:pt x="49" y="8"/>
                    <a:pt x="48" y="6"/>
                    <a:pt x="47" y="3"/>
                  </a:cubicBezTo>
                  <a:cubicBezTo>
                    <a:pt x="47" y="3"/>
                    <a:pt x="46" y="2"/>
                    <a:pt x="46" y="2"/>
                  </a:cubicBezTo>
                  <a:cubicBezTo>
                    <a:pt x="45" y="1"/>
                    <a:pt x="45" y="1"/>
                    <a:pt x="44" y="0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3"/>
                    <a:pt x="42" y="3"/>
                  </a:cubicBezTo>
                  <a:cubicBezTo>
                    <a:pt x="43" y="4"/>
                    <a:pt x="44" y="6"/>
                    <a:pt x="45" y="8"/>
                  </a:cubicBezTo>
                  <a:cubicBezTo>
                    <a:pt x="46" y="9"/>
                    <a:pt x="46" y="10"/>
                    <a:pt x="45" y="12"/>
                  </a:cubicBezTo>
                  <a:cubicBezTo>
                    <a:pt x="45" y="12"/>
                    <a:pt x="45" y="12"/>
                    <a:pt x="45" y="13"/>
                  </a:cubicBezTo>
                  <a:cubicBezTo>
                    <a:pt x="44" y="14"/>
                    <a:pt x="44" y="15"/>
                    <a:pt x="43" y="16"/>
                  </a:cubicBezTo>
                  <a:cubicBezTo>
                    <a:pt x="43" y="17"/>
                    <a:pt x="42" y="17"/>
                    <a:pt x="41" y="18"/>
                  </a:cubicBezTo>
                  <a:cubicBezTo>
                    <a:pt x="40" y="20"/>
                    <a:pt x="40" y="22"/>
                    <a:pt x="40" y="24"/>
                  </a:cubicBezTo>
                  <a:cubicBezTo>
                    <a:pt x="39" y="25"/>
                    <a:pt x="37" y="26"/>
                    <a:pt x="37" y="27"/>
                  </a:cubicBezTo>
                  <a:cubicBezTo>
                    <a:pt x="36" y="28"/>
                    <a:pt x="36" y="29"/>
                    <a:pt x="36" y="30"/>
                  </a:cubicBezTo>
                  <a:cubicBezTo>
                    <a:pt x="36" y="30"/>
                    <a:pt x="36" y="31"/>
                    <a:pt x="35" y="31"/>
                  </a:cubicBezTo>
                  <a:cubicBezTo>
                    <a:pt x="35" y="32"/>
                    <a:pt x="34" y="33"/>
                    <a:pt x="34" y="35"/>
                  </a:cubicBezTo>
                  <a:cubicBezTo>
                    <a:pt x="33" y="36"/>
                    <a:pt x="33" y="39"/>
                    <a:pt x="32" y="41"/>
                  </a:cubicBezTo>
                  <a:cubicBezTo>
                    <a:pt x="32" y="42"/>
                    <a:pt x="31" y="43"/>
                    <a:pt x="30" y="44"/>
                  </a:cubicBezTo>
                  <a:cubicBezTo>
                    <a:pt x="29" y="44"/>
                    <a:pt x="29" y="45"/>
                    <a:pt x="28" y="45"/>
                  </a:cubicBezTo>
                  <a:cubicBezTo>
                    <a:pt x="28" y="46"/>
                    <a:pt x="28" y="46"/>
                    <a:pt x="28" y="47"/>
                  </a:cubicBezTo>
                  <a:cubicBezTo>
                    <a:pt x="27" y="48"/>
                    <a:pt x="27" y="49"/>
                    <a:pt x="27" y="50"/>
                  </a:cubicBezTo>
                  <a:cubicBezTo>
                    <a:pt x="27" y="51"/>
                    <a:pt x="26" y="51"/>
                    <a:pt x="26" y="52"/>
                  </a:cubicBezTo>
                  <a:cubicBezTo>
                    <a:pt x="25" y="53"/>
                    <a:pt x="25" y="54"/>
                    <a:pt x="24" y="55"/>
                  </a:cubicBezTo>
                  <a:cubicBezTo>
                    <a:pt x="23" y="56"/>
                    <a:pt x="23" y="59"/>
                    <a:pt x="22" y="59"/>
                  </a:cubicBezTo>
                  <a:cubicBezTo>
                    <a:pt x="19" y="61"/>
                    <a:pt x="18" y="57"/>
                    <a:pt x="16" y="56"/>
                  </a:cubicBezTo>
                  <a:cubicBezTo>
                    <a:pt x="14" y="56"/>
                    <a:pt x="13" y="56"/>
                    <a:pt x="12" y="56"/>
                  </a:cubicBezTo>
                  <a:cubicBezTo>
                    <a:pt x="10" y="57"/>
                    <a:pt x="8" y="57"/>
                    <a:pt x="7" y="59"/>
                  </a:cubicBezTo>
                  <a:cubicBezTo>
                    <a:pt x="7" y="61"/>
                    <a:pt x="5" y="62"/>
                    <a:pt x="4" y="63"/>
                  </a:cubicBezTo>
                  <a:cubicBezTo>
                    <a:pt x="4" y="63"/>
                    <a:pt x="3" y="64"/>
                    <a:pt x="2" y="65"/>
                  </a:cubicBezTo>
                  <a:cubicBezTo>
                    <a:pt x="2" y="65"/>
                    <a:pt x="1" y="66"/>
                    <a:pt x="1" y="67"/>
                  </a:cubicBezTo>
                  <a:cubicBezTo>
                    <a:pt x="1" y="70"/>
                    <a:pt x="1" y="72"/>
                    <a:pt x="0" y="75"/>
                  </a:cubicBezTo>
                  <a:lnTo>
                    <a:pt x="0" y="77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3" name="Freeform 368"/>
            <p:cNvSpPr>
              <a:spLocks/>
            </p:cNvSpPr>
            <p:nvPr/>
          </p:nvSpPr>
          <p:spPr bwMode="auto">
            <a:xfrm>
              <a:off x="6997481" y="3472724"/>
              <a:ext cx="38628" cy="73273"/>
            </a:xfrm>
            <a:custGeom>
              <a:avLst/>
              <a:gdLst>
                <a:gd name="T0" fmla="*/ 39659 w 83"/>
                <a:gd name="T1" fmla="*/ 2784564 h 151"/>
                <a:gd name="T2" fmla="*/ 547655 w 83"/>
                <a:gd name="T3" fmla="*/ 2301317 h 151"/>
                <a:gd name="T4" fmla="*/ 590379 w 83"/>
                <a:gd name="T5" fmla="*/ 1233372 h 151"/>
                <a:gd name="T6" fmla="*/ 624106 w 83"/>
                <a:gd name="T7" fmla="*/ 1001281 h 151"/>
                <a:gd name="T8" fmla="*/ 590379 w 83"/>
                <a:gd name="T9" fmla="*/ 855957 h 151"/>
                <a:gd name="T10" fmla="*/ 471163 w 83"/>
                <a:gd name="T11" fmla="*/ 623928 h 151"/>
                <a:gd name="T12" fmla="*/ 389072 w 83"/>
                <a:gd name="T13" fmla="*/ 372193 h 151"/>
                <a:gd name="T14" fmla="*/ 360596 w 83"/>
                <a:gd name="T15" fmla="*/ 232065 h 151"/>
                <a:gd name="T16" fmla="*/ 507971 w 83"/>
                <a:gd name="T17" fmla="*/ 111199 h 151"/>
                <a:gd name="T18" fmla="*/ 792162 w 83"/>
                <a:gd name="T19" fmla="*/ 73599 h 151"/>
                <a:gd name="T20" fmla="*/ 2983387 w 83"/>
                <a:gd name="T21" fmla="*/ 1261511 h 151"/>
                <a:gd name="T22" fmla="*/ 2983387 w 83"/>
                <a:gd name="T23" fmla="*/ 2532716 h 151"/>
                <a:gd name="T24" fmla="*/ 2787119 w 83"/>
                <a:gd name="T25" fmla="*/ 2532716 h 151"/>
                <a:gd name="T26" fmla="*/ 2701947 w 83"/>
                <a:gd name="T27" fmla="*/ 2746991 h 151"/>
                <a:gd name="T28" fmla="*/ 2583133 w 83"/>
                <a:gd name="T29" fmla="*/ 2945584 h 151"/>
                <a:gd name="T30" fmla="*/ 2478094 w 83"/>
                <a:gd name="T31" fmla="*/ 3120519 h 151"/>
                <a:gd name="T32" fmla="*/ 2501546 w 83"/>
                <a:gd name="T33" fmla="*/ 3351299 h 151"/>
                <a:gd name="T34" fmla="*/ 2435757 w 83"/>
                <a:gd name="T35" fmla="*/ 3492287 h 151"/>
                <a:gd name="T36" fmla="*/ 2583133 w 83"/>
                <a:gd name="T37" fmla="*/ 3640621 h 151"/>
                <a:gd name="T38" fmla="*/ 2701947 w 83"/>
                <a:gd name="T39" fmla="*/ 3835472 h 151"/>
                <a:gd name="T40" fmla="*/ 2478094 w 83"/>
                <a:gd name="T41" fmla="*/ 4046115 h 151"/>
                <a:gd name="T42" fmla="*/ 2279563 w 83"/>
                <a:gd name="T43" fmla="*/ 4356830 h 151"/>
                <a:gd name="T44" fmla="*/ 2111902 w 83"/>
                <a:gd name="T45" fmla="*/ 4496982 h 151"/>
                <a:gd name="T46" fmla="*/ 1811155 w 83"/>
                <a:gd name="T47" fmla="*/ 4652998 h 151"/>
                <a:gd name="T48" fmla="*/ 1646051 w 83"/>
                <a:gd name="T49" fmla="*/ 4691328 h 151"/>
                <a:gd name="T50" fmla="*/ 1379661 w 83"/>
                <a:gd name="T51" fmla="*/ 4959634 h 151"/>
                <a:gd name="T52" fmla="*/ 1055721 w 83"/>
                <a:gd name="T53" fmla="*/ 5063519 h 151"/>
                <a:gd name="T54" fmla="*/ 939537 w 83"/>
                <a:gd name="T55" fmla="*/ 5033370 h 151"/>
                <a:gd name="T56" fmla="*/ 737785 w 83"/>
                <a:gd name="T57" fmla="*/ 5174764 h 151"/>
                <a:gd name="T58" fmla="*/ 590379 w 83"/>
                <a:gd name="T59" fmla="*/ 5063519 h 151"/>
                <a:gd name="T60" fmla="*/ 389072 w 83"/>
                <a:gd name="T61" fmla="*/ 4691328 h 151"/>
                <a:gd name="T62" fmla="*/ 223846 w 83"/>
                <a:gd name="T63" fmla="*/ 4356830 h 151"/>
                <a:gd name="T64" fmla="*/ 471163 w 83"/>
                <a:gd name="T65" fmla="*/ 4381316 h 151"/>
                <a:gd name="T66" fmla="*/ 624106 w 83"/>
                <a:gd name="T67" fmla="*/ 4356830 h 151"/>
                <a:gd name="T68" fmla="*/ 471163 w 83"/>
                <a:gd name="T69" fmla="*/ 4106285 h 151"/>
                <a:gd name="T70" fmla="*/ 323755 w 83"/>
                <a:gd name="T71" fmla="*/ 3462521 h 151"/>
                <a:gd name="T72" fmla="*/ 223846 w 83"/>
                <a:gd name="T73" fmla="*/ 3351299 h 151"/>
                <a:gd name="T74" fmla="*/ 0 w 83"/>
                <a:gd name="T75" fmla="*/ 3046697 h 15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83"/>
                <a:gd name="T115" fmla="*/ 0 h 151"/>
                <a:gd name="T116" fmla="*/ 83 w 83"/>
                <a:gd name="T117" fmla="*/ 151 h 15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83" h="151">
                  <a:moveTo>
                    <a:pt x="0" y="89"/>
                  </a:moveTo>
                  <a:cubicBezTo>
                    <a:pt x="1" y="86"/>
                    <a:pt x="1" y="84"/>
                    <a:pt x="1" y="81"/>
                  </a:cubicBezTo>
                  <a:cubicBezTo>
                    <a:pt x="1" y="80"/>
                    <a:pt x="2" y="79"/>
                    <a:pt x="3" y="78"/>
                  </a:cubicBezTo>
                  <a:cubicBezTo>
                    <a:pt x="7" y="73"/>
                    <a:pt x="12" y="71"/>
                    <a:pt x="15" y="67"/>
                  </a:cubicBezTo>
                  <a:cubicBezTo>
                    <a:pt x="16" y="66"/>
                    <a:pt x="16" y="66"/>
                    <a:pt x="16" y="65"/>
                  </a:cubicBezTo>
                  <a:cubicBezTo>
                    <a:pt x="16" y="55"/>
                    <a:pt x="15" y="45"/>
                    <a:pt x="16" y="36"/>
                  </a:cubicBezTo>
                  <a:cubicBezTo>
                    <a:pt x="16" y="35"/>
                    <a:pt x="17" y="34"/>
                    <a:pt x="17" y="33"/>
                  </a:cubicBezTo>
                  <a:cubicBezTo>
                    <a:pt x="17" y="31"/>
                    <a:pt x="17" y="30"/>
                    <a:pt x="17" y="29"/>
                  </a:cubicBezTo>
                  <a:cubicBezTo>
                    <a:pt x="17" y="28"/>
                    <a:pt x="18" y="27"/>
                    <a:pt x="17" y="26"/>
                  </a:cubicBezTo>
                  <a:cubicBezTo>
                    <a:pt x="17" y="26"/>
                    <a:pt x="17" y="25"/>
                    <a:pt x="16" y="25"/>
                  </a:cubicBezTo>
                  <a:cubicBezTo>
                    <a:pt x="16" y="23"/>
                    <a:pt x="16" y="22"/>
                    <a:pt x="15" y="21"/>
                  </a:cubicBezTo>
                  <a:cubicBezTo>
                    <a:pt x="15" y="20"/>
                    <a:pt x="14" y="19"/>
                    <a:pt x="13" y="18"/>
                  </a:cubicBezTo>
                  <a:cubicBezTo>
                    <a:pt x="13" y="17"/>
                    <a:pt x="13" y="15"/>
                    <a:pt x="12" y="14"/>
                  </a:cubicBezTo>
                  <a:cubicBezTo>
                    <a:pt x="11" y="13"/>
                    <a:pt x="11" y="12"/>
                    <a:pt x="11" y="11"/>
                  </a:cubicBezTo>
                  <a:cubicBezTo>
                    <a:pt x="10" y="9"/>
                    <a:pt x="11" y="8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5"/>
                    <a:pt x="11" y="4"/>
                    <a:pt x="12" y="4"/>
                  </a:cubicBezTo>
                  <a:cubicBezTo>
                    <a:pt x="13" y="3"/>
                    <a:pt x="14" y="3"/>
                    <a:pt x="14" y="3"/>
                  </a:cubicBezTo>
                  <a:cubicBezTo>
                    <a:pt x="16" y="2"/>
                    <a:pt x="16" y="1"/>
                    <a:pt x="18" y="1"/>
                  </a:cubicBezTo>
                  <a:cubicBezTo>
                    <a:pt x="20" y="0"/>
                    <a:pt x="19" y="1"/>
                    <a:pt x="22" y="2"/>
                  </a:cubicBezTo>
                  <a:cubicBezTo>
                    <a:pt x="22" y="3"/>
                    <a:pt x="24" y="4"/>
                    <a:pt x="24" y="4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3" y="73"/>
                    <a:pt x="83" y="73"/>
                    <a:pt x="83" y="73"/>
                  </a:cubicBezTo>
                  <a:cubicBezTo>
                    <a:pt x="82" y="73"/>
                    <a:pt x="82" y="74"/>
                    <a:pt x="82" y="74"/>
                  </a:cubicBezTo>
                  <a:cubicBezTo>
                    <a:pt x="81" y="75"/>
                    <a:pt x="80" y="74"/>
                    <a:pt x="80" y="74"/>
                  </a:cubicBezTo>
                  <a:cubicBezTo>
                    <a:pt x="79" y="73"/>
                    <a:pt x="78" y="73"/>
                    <a:pt x="77" y="74"/>
                  </a:cubicBezTo>
                  <a:cubicBezTo>
                    <a:pt x="76" y="74"/>
                    <a:pt x="75" y="75"/>
                    <a:pt x="75" y="76"/>
                  </a:cubicBezTo>
                  <a:cubicBezTo>
                    <a:pt x="74" y="77"/>
                    <a:pt x="75" y="79"/>
                    <a:pt x="74" y="80"/>
                  </a:cubicBezTo>
                  <a:cubicBezTo>
                    <a:pt x="74" y="81"/>
                    <a:pt x="73" y="83"/>
                    <a:pt x="72" y="85"/>
                  </a:cubicBezTo>
                  <a:cubicBezTo>
                    <a:pt x="72" y="85"/>
                    <a:pt x="71" y="86"/>
                    <a:pt x="71" y="86"/>
                  </a:cubicBezTo>
                  <a:cubicBezTo>
                    <a:pt x="70" y="88"/>
                    <a:pt x="71" y="89"/>
                    <a:pt x="70" y="90"/>
                  </a:cubicBezTo>
                  <a:cubicBezTo>
                    <a:pt x="70" y="91"/>
                    <a:pt x="69" y="90"/>
                    <a:pt x="68" y="91"/>
                  </a:cubicBezTo>
                  <a:cubicBezTo>
                    <a:pt x="68" y="92"/>
                    <a:pt x="68" y="93"/>
                    <a:pt x="69" y="94"/>
                  </a:cubicBezTo>
                  <a:cubicBezTo>
                    <a:pt x="70" y="95"/>
                    <a:pt x="70" y="97"/>
                    <a:pt x="69" y="98"/>
                  </a:cubicBezTo>
                  <a:cubicBezTo>
                    <a:pt x="69" y="99"/>
                    <a:pt x="68" y="99"/>
                    <a:pt x="67" y="100"/>
                  </a:cubicBezTo>
                  <a:cubicBezTo>
                    <a:pt x="67" y="101"/>
                    <a:pt x="67" y="101"/>
                    <a:pt x="67" y="102"/>
                  </a:cubicBezTo>
                  <a:cubicBezTo>
                    <a:pt x="68" y="102"/>
                    <a:pt x="69" y="102"/>
                    <a:pt x="70" y="103"/>
                  </a:cubicBezTo>
                  <a:cubicBezTo>
                    <a:pt x="71" y="104"/>
                    <a:pt x="70" y="105"/>
                    <a:pt x="71" y="106"/>
                  </a:cubicBezTo>
                  <a:cubicBezTo>
                    <a:pt x="72" y="107"/>
                    <a:pt x="71" y="109"/>
                    <a:pt x="72" y="110"/>
                  </a:cubicBezTo>
                  <a:cubicBezTo>
                    <a:pt x="72" y="111"/>
                    <a:pt x="73" y="111"/>
                    <a:pt x="74" y="112"/>
                  </a:cubicBezTo>
                  <a:cubicBezTo>
                    <a:pt x="75" y="113"/>
                    <a:pt x="74" y="116"/>
                    <a:pt x="74" y="118"/>
                  </a:cubicBezTo>
                  <a:cubicBezTo>
                    <a:pt x="72" y="119"/>
                    <a:pt x="70" y="118"/>
                    <a:pt x="68" y="118"/>
                  </a:cubicBezTo>
                  <a:cubicBezTo>
                    <a:pt x="68" y="119"/>
                    <a:pt x="68" y="119"/>
                    <a:pt x="68" y="119"/>
                  </a:cubicBezTo>
                  <a:cubicBezTo>
                    <a:pt x="68" y="122"/>
                    <a:pt x="65" y="125"/>
                    <a:pt x="63" y="127"/>
                  </a:cubicBezTo>
                  <a:cubicBezTo>
                    <a:pt x="63" y="127"/>
                    <a:pt x="62" y="127"/>
                    <a:pt x="62" y="127"/>
                  </a:cubicBezTo>
                  <a:cubicBezTo>
                    <a:pt x="60" y="128"/>
                    <a:pt x="60" y="130"/>
                    <a:pt x="58" y="131"/>
                  </a:cubicBezTo>
                  <a:cubicBezTo>
                    <a:pt x="58" y="132"/>
                    <a:pt x="57" y="132"/>
                    <a:pt x="57" y="132"/>
                  </a:cubicBezTo>
                  <a:cubicBezTo>
                    <a:pt x="55" y="134"/>
                    <a:pt x="53" y="136"/>
                    <a:pt x="50" y="136"/>
                  </a:cubicBezTo>
                  <a:cubicBezTo>
                    <a:pt x="49" y="136"/>
                    <a:pt x="47" y="135"/>
                    <a:pt x="45" y="136"/>
                  </a:cubicBezTo>
                  <a:cubicBezTo>
                    <a:pt x="45" y="137"/>
                    <a:pt x="45" y="137"/>
                    <a:pt x="45" y="137"/>
                  </a:cubicBezTo>
                  <a:cubicBezTo>
                    <a:pt x="44" y="139"/>
                    <a:pt x="45" y="141"/>
                    <a:pt x="43" y="142"/>
                  </a:cubicBezTo>
                  <a:cubicBezTo>
                    <a:pt x="41" y="143"/>
                    <a:pt x="39" y="143"/>
                    <a:pt x="38" y="145"/>
                  </a:cubicBezTo>
                  <a:cubicBezTo>
                    <a:pt x="36" y="146"/>
                    <a:pt x="34" y="145"/>
                    <a:pt x="32" y="145"/>
                  </a:cubicBezTo>
                  <a:cubicBezTo>
                    <a:pt x="31" y="146"/>
                    <a:pt x="30" y="147"/>
                    <a:pt x="29" y="148"/>
                  </a:cubicBezTo>
                  <a:cubicBezTo>
                    <a:pt x="28" y="149"/>
                    <a:pt x="28" y="149"/>
                    <a:pt x="27" y="148"/>
                  </a:cubicBezTo>
                  <a:cubicBezTo>
                    <a:pt x="26" y="148"/>
                    <a:pt x="26" y="147"/>
                    <a:pt x="26" y="147"/>
                  </a:cubicBezTo>
                  <a:cubicBezTo>
                    <a:pt x="25" y="147"/>
                    <a:pt x="25" y="147"/>
                    <a:pt x="24" y="147"/>
                  </a:cubicBezTo>
                  <a:cubicBezTo>
                    <a:pt x="23" y="148"/>
                    <a:pt x="22" y="150"/>
                    <a:pt x="20" y="151"/>
                  </a:cubicBezTo>
                  <a:cubicBezTo>
                    <a:pt x="19" y="151"/>
                    <a:pt x="17" y="151"/>
                    <a:pt x="16" y="151"/>
                  </a:cubicBezTo>
                  <a:cubicBezTo>
                    <a:pt x="15" y="150"/>
                    <a:pt x="16" y="149"/>
                    <a:pt x="16" y="148"/>
                  </a:cubicBezTo>
                  <a:cubicBezTo>
                    <a:pt x="15" y="146"/>
                    <a:pt x="15" y="143"/>
                    <a:pt x="14" y="141"/>
                  </a:cubicBezTo>
                  <a:cubicBezTo>
                    <a:pt x="13" y="140"/>
                    <a:pt x="11" y="139"/>
                    <a:pt x="11" y="137"/>
                  </a:cubicBezTo>
                  <a:cubicBezTo>
                    <a:pt x="9" y="135"/>
                    <a:pt x="8" y="133"/>
                    <a:pt x="6" y="130"/>
                  </a:cubicBezTo>
                  <a:cubicBezTo>
                    <a:pt x="6" y="129"/>
                    <a:pt x="6" y="128"/>
                    <a:pt x="6" y="127"/>
                  </a:cubicBezTo>
                  <a:cubicBezTo>
                    <a:pt x="7" y="126"/>
                    <a:pt x="9" y="126"/>
                    <a:pt x="10" y="127"/>
                  </a:cubicBezTo>
                  <a:cubicBezTo>
                    <a:pt x="11" y="128"/>
                    <a:pt x="12" y="129"/>
                    <a:pt x="13" y="128"/>
                  </a:cubicBezTo>
                  <a:cubicBezTo>
                    <a:pt x="13" y="128"/>
                    <a:pt x="14" y="128"/>
                    <a:pt x="14" y="127"/>
                  </a:cubicBezTo>
                  <a:cubicBezTo>
                    <a:pt x="15" y="127"/>
                    <a:pt x="16" y="127"/>
                    <a:pt x="17" y="127"/>
                  </a:cubicBezTo>
                  <a:cubicBezTo>
                    <a:pt x="17" y="126"/>
                    <a:pt x="17" y="125"/>
                    <a:pt x="17" y="125"/>
                  </a:cubicBezTo>
                  <a:cubicBezTo>
                    <a:pt x="15" y="123"/>
                    <a:pt x="14" y="122"/>
                    <a:pt x="13" y="120"/>
                  </a:cubicBezTo>
                  <a:cubicBezTo>
                    <a:pt x="12" y="116"/>
                    <a:pt x="12" y="113"/>
                    <a:pt x="12" y="109"/>
                  </a:cubicBezTo>
                  <a:cubicBezTo>
                    <a:pt x="11" y="106"/>
                    <a:pt x="10" y="104"/>
                    <a:pt x="9" y="101"/>
                  </a:cubicBezTo>
                  <a:cubicBezTo>
                    <a:pt x="9" y="101"/>
                    <a:pt x="8" y="100"/>
                    <a:pt x="8" y="100"/>
                  </a:cubicBezTo>
                  <a:cubicBezTo>
                    <a:pt x="7" y="99"/>
                    <a:pt x="7" y="99"/>
                    <a:pt x="6" y="98"/>
                  </a:cubicBezTo>
                  <a:cubicBezTo>
                    <a:pt x="6" y="98"/>
                    <a:pt x="3" y="96"/>
                    <a:pt x="3" y="96"/>
                  </a:cubicBezTo>
                  <a:lnTo>
                    <a:pt x="0" y="89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4" name="Freeform 369"/>
            <p:cNvSpPr>
              <a:spLocks/>
            </p:cNvSpPr>
            <p:nvPr/>
          </p:nvSpPr>
          <p:spPr bwMode="auto">
            <a:xfrm>
              <a:off x="7028835" y="3476239"/>
              <a:ext cx="60199" cy="86792"/>
            </a:xfrm>
            <a:custGeom>
              <a:avLst/>
              <a:gdLst>
                <a:gd name="T0" fmla="*/ 4241138 w 130"/>
                <a:gd name="T1" fmla="*/ 1377431 h 179"/>
                <a:gd name="T2" fmla="*/ 4201304 w 130"/>
                <a:gd name="T3" fmla="*/ 733715 h 179"/>
                <a:gd name="T4" fmla="*/ 4060212 w 130"/>
                <a:gd name="T5" fmla="*/ 223593 h 179"/>
                <a:gd name="T6" fmla="*/ 3783182 w 130"/>
                <a:gd name="T7" fmla="*/ 0 h 179"/>
                <a:gd name="T8" fmla="*/ 3492155 w 130"/>
                <a:gd name="T9" fmla="*/ 76380 h 179"/>
                <a:gd name="T10" fmla="*/ 3292961 w 130"/>
                <a:gd name="T11" fmla="*/ 388316 h 179"/>
                <a:gd name="T12" fmla="*/ 801206 w 130"/>
                <a:gd name="T13" fmla="*/ 323363 h 179"/>
                <a:gd name="T14" fmla="*/ 531946 w 130"/>
                <a:gd name="T15" fmla="*/ 1093818 h 179"/>
                <a:gd name="T16" fmla="*/ 452500 w 130"/>
                <a:gd name="T17" fmla="*/ 2431217 h 179"/>
                <a:gd name="T18" fmla="*/ 235300 w 130"/>
                <a:gd name="T19" fmla="*/ 2654825 h 179"/>
                <a:gd name="T20" fmla="*/ 112656 w 130"/>
                <a:gd name="T21" fmla="*/ 3009304 h 179"/>
                <a:gd name="T22" fmla="*/ 74796 w 130"/>
                <a:gd name="T23" fmla="*/ 3292871 h 179"/>
                <a:gd name="T24" fmla="*/ 112656 w 130"/>
                <a:gd name="T25" fmla="*/ 3484423 h 179"/>
                <a:gd name="T26" fmla="*/ 235300 w 130"/>
                <a:gd name="T27" fmla="*/ 3800211 h 179"/>
                <a:gd name="T28" fmla="*/ 349967 w 130"/>
                <a:gd name="T29" fmla="*/ 4096985 h 179"/>
                <a:gd name="T30" fmla="*/ 491025 w 130"/>
                <a:gd name="T31" fmla="*/ 4380768 h 179"/>
                <a:gd name="T32" fmla="*/ 531946 w 130"/>
                <a:gd name="T33" fmla="*/ 4746001 h 179"/>
                <a:gd name="T34" fmla="*/ 673013 w 130"/>
                <a:gd name="T35" fmla="*/ 4851352 h 179"/>
                <a:gd name="T36" fmla="*/ 831638 w 130"/>
                <a:gd name="T37" fmla="*/ 5009227 h 179"/>
                <a:gd name="T38" fmla="*/ 944279 w 130"/>
                <a:gd name="T39" fmla="*/ 5074942 h 179"/>
                <a:gd name="T40" fmla="*/ 1258377 w 130"/>
                <a:gd name="T41" fmla="*/ 5621804 h 179"/>
                <a:gd name="T42" fmla="*/ 1438146 w 130"/>
                <a:gd name="T43" fmla="*/ 5757545 h 179"/>
                <a:gd name="T44" fmla="*/ 1673446 w 130"/>
                <a:gd name="T45" fmla="*/ 6061843 h 179"/>
                <a:gd name="T46" fmla="*/ 1854607 w 130"/>
                <a:gd name="T47" fmla="*/ 6169247 h 179"/>
                <a:gd name="T48" fmla="*/ 2243867 w 130"/>
                <a:gd name="T49" fmla="*/ 6208874 h 179"/>
                <a:gd name="T50" fmla="*/ 2488954 w 130"/>
                <a:gd name="T51" fmla="*/ 6451538 h 179"/>
                <a:gd name="T52" fmla="*/ 2798946 w 130"/>
                <a:gd name="T53" fmla="*/ 6411923 h 179"/>
                <a:gd name="T54" fmla="*/ 3257059 w 130"/>
                <a:gd name="T55" fmla="*/ 6377824 h 179"/>
                <a:gd name="T56" fmla="*/ 3672099 w 130"/>
                <a:gd name="T57" fmla="*/ 5865721 h 179"/>
                <a:gd name="T58" fmla="*/ 3640701 w 130"/>
                <a:gd name="T59" fmla="*/ 5701728 h 179"/>
                <a:gd name="T60" fmla="*/ 3453465 w 130"/>
                <a:gd name="T61" fmla="*/ 5358575 h 179"/>
                <a:gd name="T62" fmla="*/ 3113001 w 130"/>
                <a:gd name="T63" fmla="*/ 5045974 h 179"/>
                <a:gd name="T64" fmla="*/ 3113001 w 130"/>
                <a:gd name="T65" fmla="*/ 4893226 h 179"/>
                <a:gd name="T66" fmla="*/ 3405624 w 130"/>
                <a:gd name="T67" fmla="*/ 4811713 h 179"/>
                <a:gd name="T68" fmla="*/ 3422713 w 130"/>
                <a:gd name="T69" fmla="*/ 4643939 h 179"/>
                <a:gd name="T70" fmla="*/ 3422713 w 130"/>
                <a:gd name="T71" fmla="*/ 4219701 h 179"/>
                <a:gd name="T72" fmla="*/ 3607724 w 130"/>
                <a:gd name="T73" fmla="*/ 3873723 h 179"/>
                <a:gd name="T74" fmla="*/ 3709528 w 130"/>
                <a:gd name="T75" fmla="*/ 3671434 h 179"/>
                <a:gd name="T76" fmla="*/ 3944489 w 130"/>
                <a:gd name="T77" fmla="*/ 3408251 h 179"/>
                <a:gd name="T78" fmla="*/ 4019238 w 130"/>
                <a:gd name="T79" fmla="*/ 2896163 h 179"/>
                <a:gd name="T80" fmla="*/ 4019238 w 130"/>
                <a:gd name="T81" fmla="*/ 2578426 h 179"/>
                <a:gd name="T82" fmla="*/ 4162350 w 130"/>
                <a:gd name="T83" fmla="*/ 1989175 h 179"/>
                <a:gd name="T84" fmla="*/ 4370019 w 130"/>
                <a:gd name="T85" fmla="*/ 1923861 h 179"/>
                <a:gd name="T86" fmla="*/ 4551234 w 130"/>
                <a:gd name="T87" fmla="*/ 1682012 h 17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30"/>
                <a:gd name="T133" fmla="*/ 0 h 179"/>
                <a:gd name="T134" fmla="*/ 130 w 130"/>
                <a:gd name="T135" fmla="*/ 179 h 17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30" h="179">
                  <a:moveTo>
                    <a:pt x="130" y="45"/>
                  </a:moveTo>
                  <a:cubicBezTo>
                    <a:pt x="128" y="43"/>
                    <a:pt x="125" y="42"/>
                    <a:pt x="123" y="40"/>
                  </a:cubicBezTo>
                  <a:cubicBezTo>
                    <a:pt x="122" y="40"/>
                    <a:pt x="121" y="39"/>
                    <a:pt x="121" y="38"/>
                  </a:cubicBezTo>
                  <a:cubicBezTo>
                    <a:pt x="120" y="35"/>
                    <a:pt x="121" y="32"/>
                    <a:pt x="120" y="29"/>
                  </a:cubicBezTo>
                  <a:cubicBezTo>
                    <a:pt x="120" y="27"/>
                    <a:pt x="120" y="24"/>
                    <a:pt x="120" y="22"/>
                  </a:cubicBezTo>
                  <a:cubicBezTo>
                    <a:pt x="120" y="21"/>
                    <a:pt x="120" y="21"/>
                    <a:pt x="120" y="20"/>
                  </a:cubicBezTo>
                  <a:cubicBezTo>
                    <a:pt x="119" y="18"/>
                    <a:pt x="118" y="15"/>
                    <a:pt x="118" y="13"/>
                  </a:cubicBezTo>
                  <a:cubicBezTo>
                    <a:pt x="117" y="12"/>
                    <a:pt x="117" y="10"/>
                    <a:pt x="117" y="9"/>
                  </a:cubicBezTo>
                  <a:cubicBezTo>
                    <a:pt x="116" y="8"/>
                    <a:pt x="116" y="7"/>
                    <a:pt x="116" y="6"/>
                  </a:cubicBezTo>
                  <a:cubicBezTo>
                    <a:pt x="115" y="5"/>
                    <a:pt x="113" y="4"/>
                    <a:pt x="112" y="3"/>
                  </a:cubicBezTo>
                  <a:cubicBezTo>
                    <a:pt x="112" y="3"/>
                    <a:pt x="112" y="2"/>
                    <a:pt x="111" y="2"/>
                  </a:cubicBezTo>
                  <a:cubicBezTo>
                    <a:pt x="110" y="2"/>
                    <a:pt x="108" y="1"/>
                    <a:pt x="108" y="0"/>
                  </a:cubicBezTo>
                  <a:cubicBezTo>
                    <a:pt x="107" y="1"/>
                    <a:pt x="107" y="1"/>
                    <a:pt x="107" y="1"/>
                  </a:cubicBezTo>
                  <a:cubicBezTo>
                    <a:pt x="104" y="2"/>
                    <a:pt x="104" y="2"/>
                    <a:pt x="104" y="2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4" y="11"/>
                    <a:pt x="94" y="11"/>
                    <a:pt x="94" y="11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5" y="66"/>
                    <a:pt x="15" y="67"/>
                    <a:pt x="15" y="67"/>
                  </a:cubicBezTo>
                  <a:cubicBezTo>
                    <a:pt x="14" y="68"/>
                    <a:pt x="13" y="67"/>
                    <a:pt x="13" y="67"/>
                  </a:cubicBezTo>
                  <a:cubicBezTo>
                    <a:pt x="12" y="66"/>
                    <a:pt x="11" y="66"/>
                    <a:pt x="10" y="67"/>
                  </a:cubicBezTo>
                  <a:cubicBezTo>
                    <a:pt x="9" y="67"/>
                    <a:pt x="8" y="68"/>
                    <a:pt x="8" y="69"/>
                  </a:cubicBezTo>
                  <a:cubicBezTo>
                    <a:pt x="7" y="70"/>
                    <a:pt x="8" y="72"/>
                    <a:pt x="7" y="73"/>
                  </a:cubicBezTo>
                  <a:cubicBezTo>
                    <a:pt x="7" y="74"/>
                    <a:pt x="6" y="76"/>
                    <a:pt x="5" y="78"/>
                  </a:cubicBezTo>
                  <a:cubicBezTo>
                    <a:pt x="5" y="78"/>
                    <a:pt x="4" y="79"/>
                    <a:pt x="4" y="79"/>
                  </a:cubicBezTo>
                  <a:cubicBezTo>
                    <a:pt x="3" y="81"/>
                    <a:pt x="4" y="82"/>
                    <a:pt x="3" y="83"/>
                  </a:cubicBezTo>
                  <a:cubicBezTo>
                    <a:pt x="3" y="84"/>
                    <a:pt x="2" y="83"/>
                    <a:pt x="1" y="84"/>
                  </a:cubicBezTo>
                  <a:cubicBezTo>
                    <a:pt x="1" y="85"/>
                    <a:pt x="1" y="86"/>
                    <a:pt x="2" y="87"/>
                  </a:cubicBezTo>
                  <a:cubicBezTo>
                    <a:pt x="3" y="88"/>
                    <a:pt x="3" y="90"/>
                    <a:pt x="2" y="91"/>
                  </a:cubicBezTo>
                  <a:cubicBezTo>
                    <a:pt x="2" y="92"/>
                    <a:pt x="1" y="92"/>
                    <a:pt x="0" y="93"/>
                  </a:cubicBezTo>
                  <a:cubicBezTo>
                    <a:pt x="0" y="94"/>
                    <a:pt x="0" y="94"/>
                    <a:pt x="0" y="95"/>
                  </a:cubicBezTo>
                  <a:cubicBezTo>
                    <a:pt x="1" y="95"/>
                    <a:pt x="2" y="95"/>
                    <a:pt x="3" y="96"/>
                  </a:cubicBezTo>
                  <a:cubicBezTo>
                    <a:pt x="4" y="97"/>
                    <a:pt x="3" y="98"/>
                    <a:pt x="4" y="99"/>
                  </a:cubicBezTo>
                  <a:cubicBezTo>
                    <a:pt x="5" y="100"/>
                    <a:pt x="4" y="102"/>
                    <a:pt x="5" y="103"/>
                  </a:cubicBezTo>
                  <a:cubicBezTo>
                    <a:pt x="5" y="104"/>
                    <a:pt x="6" y="104"/>
                    <a:pt x="7" y="105"/>
                  </a:cubicBezTo>
                  <a:cubicBezTo>
                    <a:pt x="8" y="106"/>
                    <a:pt x="7" y="109"/>
                    <a:pt x="7" y="111"/>
                  </a:cubicBezTo>
                  <a:cubicBezTo>
                    <a:pt x="7" y="111"/>
                    <a:pt x="7" y="111"/>
                    <a:pt x="7" y="111"/>
                  </a:cubicBezTo>
                  <a:cubicBezTo>
                    <a:pt x="8" y="112"/>
                    <a:pt x="9" y="112"/>
                    <a:pt x="10" y="113"/>
                  </a:cubicBezTo>
                  <a:cubicBezTo>
                    <a:pt x="11" y="114"/>
                    <a:pt x="12" y="115"/>
                    <a:pt x="13" y="116"/>
                  </a:cubicBezTo>
                  <a:cubicBezTo>
                    <a:pt x="13" y="117"/>
                    <a:pt x="13" y="119"/>
                    <a:pt x="13" y="120"/>
                  </a:cubicBezTo>
                  <a:cubicBezTo>
                    <a:pt x="13" y="120"/>
                    <a:pt x="14" y="121"/>
                    <a:pt x="14" y="121"/>
                  </a:cubicBezTo>
                  <a:cubicBezTo>
                    <a:pt x="14" y="123"/>
                    <a:pt x="15" y="124"/>
                    <a:pt x="13" y="126"/>
                  </a:cubicBezTo>
                  <a:cubicBezTo>
                    <a:pt x="12" y="126"/>
                    <a:pt x="12" y="127"/>
                    <a:pt x="13" y="127"/>
                  </a:cubicBezTo>
                  <a:cubicBezTo>
                    <a:pt x="13" y="129"/>
                    <a:pt x="14" y="130"/>
                    <a:pt x="15" y="131"/>
                  </a:cubicBezTo>
                  <a:cubicBezTo>
                    <a:pt x="15" y="131"/>
                    <a:pt x="16" y="131"/>
                    <a:pt x="17" y="131"/>
                  </a:cubicBezTo>
                  <a:cubicBezTo>
                    <a:pt x="18" y="131"/>
                    <a:pt x="18" y="132"/>
                    <a:pt x="19" y="133"/>
                  </a:cubicBezTo>
                  <a:cubicBezTo>
                    <a:pt x="19" y="133"/>
                    <a:pt x="19" y="133"/>
                    <a:pt x="19" y="134"/>
                  </a:cubicBezTo>
                  <a:cubicBezTo>
                    <a:pt x="20" y="134"/>
                    <a:pt x="20" y="134"/>
                    <a:pt x="21" y="134"/>
                  </a:cubicBezTo>
                  <a:cubicBezTo>
                    <a:pt x="22" y="135"/>
                    <a:pt x="23" y="135"/>
                    <a:pt x="24" y="136"/>
                  </a:cubicBezTo>
                  <a:cubicBezTo>
                    <a:pt x="24" y="136"/>
                    <a:pt x="24" y="137"/>
                    <a:pt x="24" y="138"/>
                  </a:cubicBezTo>
                  <a:cubicBezTo>
                    <a:pt x="25" y="138"/>
                    <a:pt x="26" y="138"/>
                    <a:pt x="26" y="139"/>
                  </a:cubicBezTo>
                  <a:cubicBezTo>
                    <a:pt x="26" y="139"/>
                    <a:pt x="26" y="139"/>
                    <a:pt x="26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28" y="141"/>
                    <a:pt x="27" y="143"/>
                    <a:pt x="28" y="144"/>
                  </a:cubicBezTo>
                  <a:cubicBezTo>
                    <a:pt x="29" y="146"/>
                    <a:pt x="31" y="145"/>
                    <a:pt x="32" y="146"/>
                  </a:cubicBezTo>
                  <a:cubicBezTo>
                    <a:pt x="34" y="149"/>
                    <a:pt x="36" y="151"/>
                    <a:pt x="36" y="155"/>
                  </a:cubicBezTo>
                  <a:cubicBezTo>
                    <a:pt x="36" y="155"/>
                    <a:pt x="37" y="156"/>
                    <a:pt x="37" y="156"/>
                  </a:cubicBezTo>
                  <a:cubicBezTo>
                    <a:pt x="38" y="157"/>
                    <a:pt x="38" y="157"/>
                    <a:pt x="39" y="157"/>
                  </a:cubicBezTo>
                  <a:cubicBezTo>
                    <a:pt x="40" y="158"/>
                    <a:pt x="40" y="158"/>
                    <a:pt x="41" y="159"/>
                  </a:cubicBezTo>
                  <a:cubicBezTo>
                    <a:pt x="43" y="160"/>
                    <a:pt x="44" y="162"/>
                    <a:pt x="44" y="164"/>
                  </a:cubicBezTo>
                  <a:cubicBezTo>
                    <a:pt x="44" y="164"/>
                    <a:pt x="44" y="164"/>
                    <a:pt x="44" y="164"/>
                  </a:cubicBezTo>
                  <a:cubicBezTo>
                    <a:pt x="45" y="165"/>
                    <a:pt x="47" y="165"/>
                    <a:pt x="48" y="167"/>
                  </a:cubicBezTo>
                  <a:cubicBezTo>
                    <a:pt x="48" y="168"/>
                    <a:pt x="48" y="169"/>
                    <a:pt x="49" y="170"/>
                  </a:cubicBezTo>
                  <a:cubicBezTo>
                    <a:pt x="50" y="171"/>
                    <a:pt x="51" y="172"/>
                    <a:pt x="52" y="171"/>
                  </a:cubicBezTo>
                  <a:cubicBezTo>
                    <a:pt x="52" y="171"/>
                    <a:pt x="53" y="170"/>
                    <a:pt x="53" y="170"/>
                  </a:cubicBezTo>
                  <a:cubicBezTo>
                    <a:pt x="55" y="170"/>
                    <a:pt x="57" y="171"/>
                    <a:pt x="59" y="170"/>
                  </a:cubicBezTo>
                  <a:cubicBezTo>
                    <a:pt x="60" y="170"/>
                    <a:pt x="61" y="168"/>
                    <a:pt x="62" y="169"/>
                  </a:cubicBezTo>
                  <a:cubicBezTo>
                    <a:pt x="62" y="170"/>
                    <a:pt x="64" y="170"/>
                    <a:pt x="64" y="171"/>
                  </a:cubicBezTo>
                  <a:cubicBezTo>
                    <a:pt x="66" y="172"/>
                    <a:pt x="67" y="174"/>
                    <a:pt x="68" y="176"/>
                  </a:cubicBezTo>
                  <a:cubicBezTo>
                    <a:pt x="68" y="176"/>
                    <a:pt x="68" y="176"/>
                    <a:pt x="68" y="177"/>
                  </a:cubicBezTo>
                  <a:cubicBezTo>
                    <a:pt x="69" y="177"/>
                    <a:pt x="70" y="177"/>
                    <a:pt x="71" y="178"/>
                  </a:cubicBezTo>
                  <a:cubicBezTo>
                    <a:pt x="72" y="178"/>
                    <a:pt x="72" y="177"/>
                    <a:pt x="74" y="177"/>
                  </a:cubicBezTo>
                  <a:cubicBezTo>
                    <a:pt x="75" y="176"/>
                    <a:pt x="77" y="177"/>
                    <a:pt x="79" y="177"/>
                  </a:cubicBezTo>
                  <a:cubicBezTo>
                    <a:pt x="79" y="177"/>
                    <a:pt x="79" y="177"/>
                    <a:pt x="80" y="177"/>
                  </a:cubicBezTo>
                  <a:cubicBezTo>
                    <a:pt x="81" y="178"/>
                    <a:pt x="82" y="179"/>
                    <a:pt x="83" y="178"/>
                  </a:cubicBezTo>
                  <a:cubicBezTo>
                    <a:pt x="86" y="176"/>
                    <a:pt x="89" y="177"/>
                    <a:pt x="91" y="177"/>
                  </a:cubicBezTo>
                  <a:cubicBezTo>
                    <a:pt x="92" y="177"/>
                    <a:pt x="93" y="176"/>
                    <a:pt x="93" y="176"/>
                  </a:cubicBezTo>
                  <a:cubicBezTo>
                    <a:pt x="94" y="175"/>
                    <a:pt x="95" y="174"/>
                    <a:pt x="96" y="173"/>
                  </a:cubicBezTo>
                  <a:cubicBezTo>
                    <a:pt x="98" y="170"/>
                    <a:pt x="100" y="169"/>
                    <a:pt x="102" y="167"/>
                  </a:cubicBezTo>
                  <a:cubicBezTo>
                    <a:pt x="103" y="165"/>
                    <a:pt x="105" y="164"/>
                    <a:pt x="105" y="162"/>
                  </a:cubicBezTo>
                  <a:cubicBezTo>
                    <a:pt x="106" y="162"/>
                    <a:pt x="106" y="160"/>
                    <a:pt x="106" y="160"/>
                  </a:cubicBezTo>
                  <a:cubicBezTo>
                    <a:pt x="106" y="159"/>
                    <a:pt x="106" y="159"/>
                    <a:pt x="106" y="159"/>
                  </a:cubicBezTo>
                  <a:cubicBezTo>
                    <a:pt x="106" y="158"/>
                    <a:pt x="105" y="158"/>
                    <a:pt x="104" y="157"/>
                  </a:cubicBezTo>
                  <a:cubicBezTo>
                    <a:pt x="102" y="156"/>
                    <a:pt x="104" y="153"/>
                    <a:pt x="103" y="151"/>
                  </a:cubicBezTo>
                  <a:cubicBezTo>
                    <a:pt x="103" y="150"/>
                    <a:pt x="102" y="149"/>
                    <a:pt x="102" y="149"/>
                  </a:cubicBezTo>
                  <a:cubicBezTo>
                    <a:pt x="101" y="149"/>
                    <a:pt x="100" y="149"/>
                    <a:pt x="99" y="148"/>
                  </a:cubicBezTo>
                  <a:cubicBezTo>
                    <a:pt x="99" y="148"/>
                    <a:pt x="99" y="147"/>
                    <a:pt x="99" y="147"/>
                  </a:cubicBezTo>
                  <a:cubicBezTo>
                    <a:pt x="96" y="145"/>
                    <a:pt x="95" y="143"/>
                    <a:pt x="94" y="141"/>
                  </a:cubicBezTo>
                  <a:cubicBezTo>
                    <a:pt x="92" y="139"/>
                    <a:pt x="90" y="140"/>
                    <a:pt x="89" y="139"/>
                  </a:cubicBezTo>
                  <a:cubicBezTo>
                    <a:pt x="88" y="139"/>
                    <a:pt x="87" y="138"/>
                    <a:pt x="88" y="137"/>
                  </a:cubicBezTo>
                  <a:cubicBezTo>
                    <a:pt x="88" y="137"/>
                    <a:pt x="89" y="136"/>
                    <a:pt x="89" y="136"/>
                  </a:cubicBezTo>
                  <a:cubicBezTo>
                    <a:pt x="89" y="136"/>
                    <a:pt x="89" y="135"/>
                    <a:pt x="89" y="135"/>
                  </a:cubicBezTo>
                  <a:cubicBezTo>
                    <a:pt x="90" y="135"/>
                    <a:pt x="90" y="135"/>
                    <a:pt x="90" y="135"/>
                  </a:cubicBezTo>
                  <a:cubicBezTo>
                    <a:pt x="92" y="134"/>
                    <a:pt x="93" y="135"/>
                    <a:pt x="95" y="134"/>
                  </a:cubicBezTo>
                  <a:cubicBezTo>
                    <a:pt x="96" y="134"/>
                    <a:pt x="97" y="134"/>
                    <a:pt x="97" y="133"/>
                  </a:cubicBezTo>
                  <a:cubicBezTo>
                    <a:pt x="98" y="133"/>
                    <a:pt x="98" y="133"/>
                    <a:pt x="98" y="132"/>
                  </a:cubicBezTo>
                  <a:cubicBezTo>
                    <a:pt x="99" y="131"/>
                    <a:pt x="99" y="130"/>
                    <a:pt x="98" y="129"/>
                  </a:cubicBezTo>
                  <a:cubicBezTo>
                    <a:pt x="98" y="128"/>
                    <a:pt x="98" y="128"/>
                    <a:pt x="98" y="128"/>
                  </a:cubicBezTo>
                  <a:cubicBezTo>
                    <a:pt x="97" y="126"/>
                    <a:pt x="97" y="125"/>
                    <a:pt x="98" y="124"/>
                  </a:cubicBezTo>
                  <a:cubicBezTo>
                    <a:pt x="98" y="122"/>
                    <a:pt x="98" y="120"/>
                    <a:pt x="98" y="118"/>
                  </a:cubicBezTo>
                  <a:cubicBezTo>
                    <a:pt x="98" y="118"/>
                    <a:pt x="98" y="117"/>
                    <a:pt x="98" y="116"/>
                  </a:cubicBezTo>
                  <a:cubicBezTo>
                    <a:pt x="97" y="115"/>
                    <a:pt x="97" y="114"/>
                    <a:pt x="98" y="113"/>
                  </a:cubicBezTo>
                  <a:cubicBezTo>
                    <a:pt x="99" y="112"/>
                    <a:pt x="101" y="113"/>
                    <a:pt x="103" y="113"/>
                  </a:cubicBezTo>
                  <a:cubicBezTo>
                    <a:pt x="103" y="111"/>
                    <a:pt x="103" y="109"/>
                    <a:pt x="103" y="107"/>
                  </a:cubicBezTo>
                  <a:cubicBezTo>
                    <a:pt x="104" y="106"/>
                    <a:pt x="104" y="106"/>
                    <a:pt x="104" y="105"/>
                  </a:cubicBezTo>
                  <a:cubicBezTo>
                    <a:pt x="104" y="105"/>
                    <a:pt x="105" y="104"/>
                    <a:pt x="105" y="103"/>
                  </a:cubicBezTo>
                  <a:cubicBezTo>
                    <a:pt x="106" y="102"/>
                    <a:pt x="106" y="102"/>
                    <a:pt x="106" y="101"/>
                  </a:cubicBezTo>
                  <a:cubicBezTo>
                    <a:pt x="107" y="99"/>
                    <a:pt x="107" y="98"/>
                    <a:pt x="108" y="96"/>
                  </a:cubicBezTo>
                  <a:cubicBezTo>
                    <a:pt x="108" y="95"/>
                    <a:pt x="108" y="95"/>
                    <a:pt x="109" y="95"/>
                  </a:cubicBezTo>
                  <a:cubicBezTo>
                    <a:pt x="110" y="94"/>
                    <a:pt x="112" y="95"/>
                    <a:pt x="113" y="94"/>
                  </a:cubicBezTo>
                  <a:cubicBezTo>
                    <a:pt x="115" y="92"/>
                    <a:pt x="113" y="90"/>
                    <a:pt x="114" y="88"/>
                  </a:cubicBezTo>
                  <a:cubicBezTo>
                    <a:pt x="115" y="87"/>
                    <a:pt x="115" y="87"/>
                    <a:pt x="115" y="86"/>
                  </a:cubicBezTo>
                  <a:cubicBezTo>
                    <a:pt x="116" y="84"/>
                    <a:pt x="115" y="82"/>
                    <a:pt x="115" y="80"/>
                  </a:cubicBezTo>
                  <a:cubicBezTo>
                    <a:pt x="115" y="80"/>
                    <a:pt x="115" y="80"/>
                    <a:pt x="115" y="80"/>
                  </a:cubicBezTo>
                  <a:cubicBezTo>
                    <a:pt x="115" y="79"/>
                    <a:pt x="116" y="79"/>
                    <a:pt x="115" y="78"/>
                  </a:cubicBezTo>
                  <a:cubicBezTo>
                    <a:pt x="115" y="76"/>
                    <a:pt x="115" y="73"/>
                    <a:pt x="115" y="71"/>
                  </a:cubicBezTo>
                  <a:cubicBezTo>
                    <a:pt x="116" y="70"/>
                    <a:pt x="118" y="69"/>
                    <a:pt x="118" y="67"/>
                  </a:cubicBezTo>
                  <a:cubicBezTo>
                    <a:pt x="119" y="63"/>
                    <a:pt x="118" y="60"/>
                    <a:pt x="119" y="56"/>
                  </a:cubicBezTo>
                  <a:cubicBezTo>
                    <a:pt x="119" y="56"/>
                    <a:pt x="119" y="55"/>
                    <a:pt x="119" y="55"/>
                  </a:cubicBezTo>
                  <a:cubicBezTo>
                    <a:pt x="120" y="55"/>
                    <a:pt x="120" y="55"/>
                    <a:pt x="121" y="55"/>
                  </a:cubicBezTo>
                  <a:cubicBezTo>
                    <a:pt x="122" y="55"/>
                    <a:pt x="122" y="54"/>
                    <a:pt x="122" y="53"/>
                  </a:cubicBezTo>
                  <a:cubicBezTo>
                    <a:pt x="123" y="53"/>
                    <a:pt x="124" y="53"/>
                    <a:pt x="125" y="53"/>
                  </a:cubicBezTo>
                  <a:cubicBezTo>
                    <a:pt x="125" y="52"/>
                    <a:pt x="126" y="52"/>
                    <a:pt x="126" y="51"/>
                  </a:cubicBezTo>
                  <a:cubicBezTo>
                    <a:pt x="127" y="51"/>
                    <a:pt x="127" y="52"/>
                    <a:pt x="127" y="51"/>
                  </a:cubicBezTo>
                  <a:cubicBezTo>
                    <a:pt x="129" y="50"/>
                    <a:pt x="130" y="48"/>
                    <a:pt x="130" y="46"/>
                  </a:cubicBezTo>
                  <a:lnTo>
                    <a:pt x="130" y="45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5" name="Freeform 370"/>
            <p:cNvSpPr>
              <a:spLocks/>
            </p:cNvSpPr>
            <p:nvPr/>
          </p:nvSpPr>
          <p:spPr bwMode="auto">
            <a:xfrm>
              <a:off x="7082262" y="3497599"/>
              <a:ext cx="24331" cy="25956"/>
            </a:xfrm>
            <a:custGeom>
              <a:avLst/>
              <a:gdLst>
                <a:gd name="T0" fmla="*/ 1815921 w 52"/>
                <a:gd name="T1" fmla="*/ 2070501 h 53"/>
                <a:gd name="T2" fmla="*/ 1779815 w 52"/>
                <a:gd name="T3" fmla="*/ 1941091 h 53"/>
                <a:gd name="T4" fmla="*/ 1752090 w 52"/>
                <a:gd name="T5" fmla="*/ 1894924 h 53"/>
                <a:gd name="T6" fmla="*/ 1752090 w 52"/>
                <a:gd name="T7" fmla="*/ 1848900 h 53"/>
                <a:gd name="T8" fmla="*/ 1513713 w 52"/>
                <a:gd name="T9" fmla="*/ 1578512 h 53"/>
                <a:gd name="T10" fmla="*/ 1402139 w 52"/>
                <a:gd name="T11" fmla="*/ 1448466 h 53"/>
                <a:gd name="T12" fmla="*/ 1402139 w 52"/>
                <a:gd name="T13" fmla="*/ 1405297 h 53"/>
                <a:gd name="T14" fmla="*/ 1322664 w 52"/>
                <a:gd name="T15" fmla="*/ 1313942 h 53"/>
                <a:gd name="T16" fmla="*/ 1086802 w 52"/>
                <a:gd name="T17" fmla="*/ 1242303 h 53"/>
                <a:gd name="T18" fmla="*/ 1056514 w 52"/>
                <a:gd name="T19" fmla="*/ 1196578 h 53"/>
                <a:gd name="T20" fmla="*/ 1056514 w 52"/>
                <a:gd name="T21" fmla="*/ 1149360 h 53"/>
                <a:gd name="T22" fmla="*/ 1022973 w 52"/>
                <a:gd name="T23" fmla="*/ 1044959 h 53"/>
                <a:gd name="T24" fmla="*/ 944279 w 52"/>
                <a:gd name="T25" fmla="*/ 998814 h 53"/>
                <a:gd name="T26" fmla="*/ 911087 w 52"/>
                <a:gd name="T27" fmla="*/ 1105254 h 53"/>
                <a:gd name="T28" fmla="*/ 870192 w 52"/>
                <a:gd name="T29" fmla="*/ 1105254 h 53"/>
                <a:gd name="T30" fmla="*/ 831638 w 52"/>
                <a:gd name="T31" fmla="*/ 1044959 h 53"/>
                <a:gd name="T32" fmla="*/ 801206 w 52"/>
                <a:gd name="T33" fmla="*/ 699145 h 53"/>
                <a:gd name="T34" fmla="*/ 768065 w 52"/>
                <a:gd name="T35" fmla="*/ 658430 h 53"/>
                <a:gd name="T36" fmla="*/ 687785 w 52"/>
                <a:gd name="T37" fmla="*/ 449694 h 53"/>
                <a:gd name="T38" fmla="*/ 673014 w 52"/>
                <a:gd name="T39" fmla="*/ 406529 h 53"/>
                <a:gd name="T40" fmla="*/ 596339 w 52"/>
                <a:gd name="T41" fmla="*/ 89707 h 53"/>
                <a:gd name="T42" fmla="*/ 531946 w 52"/>
                <a:gd name="T43" fmla="*/ 0 h 53"/>
                <a:gd name="T44" fmla="*/ 531946 w 52"/>
                <a:gd name="T45" fmla="*/ 46160 h 53"/>
                <a:gd name="T46" fmla="*/ 416627 w 52"/>
                <a:gd name="T47" fmla="*/ 251901 h 53"/>
                <a:gd name="T48" fmla="*/ 379138 w 52"/>
                <a:gd name="T49" fmla="*/ 251901 h 53"/>
                <a:gd name="T50" fmla="*/ 349967 w 52"/>
                <a:gd name="T51" fmla="*/ 338804 h 53"/>
                <a:gd name="T52" fmla="*/ 235300 w 52"/>
                <a:gd name="T53" fmla="*/ 338804 h 53"/>
                <a:gd name="T54" fmla="*/ 216646 w 52"/>
                <a:gd name="T55" fmla="*/ 406529 h 53"/>
                <a:gd name="T56" fmla="*/ 143838 w 52"/>
                <a:gd name="T57" fmla="*/ 406529 h 53"/>
                <a:gd name="T58" fmla="*/ 143838 w 52"/>
                <a:gd name="T59" fmla="*/ 449694 h 53"/>
                <a:gd name="T60" fmla="*/ 112656 w 52"/>
                <a:gd name="T61" fmla="*/ 919671 h 53"/>
                <a:gd name="T62" fmla="*/ 0 w 52"/>
                <a:gd name="T63" fmla="*/ 1082666 h 53"/>
                <a:gd name="T64" fmla="*/ 0 w 52"/>
                <a:gd name="T65" fmla="*/ 1358716 h 53"/>
                <a:gd name="T66" fmla="*/ 216646 w 52"/>
                <a:gd name="T67" fmla="*/ 1358716 h 53"/>
                <a:gd name="T68" fmla="*/ 349967 w 52"/>
                <a:gd name="T69" fmla="*/ 1313942 h 53"/>
                <a:gd name="T70" fmla="*/ 491025 w 52"/>
                <a:gd name="T71" fmla="*/ 1313942 h 53"/>
                <a:gd name="T72" fmla="*/ 634123 w 52"/>
                <a:gd name="T73" fmla="*/ 1358716 h 53"/>
                <a:gd name="T74" fmla="*/ 870192 w 52"/>
                <a:gd name="T75" fmla="*/ 1405297 h 53"/>
                <a:gd name="T76" fmla="*/ 984446 w 52"/>
                <a:gd name="T77" fmla="*/ 1448466 h 53"/>
                <a:gd name="T78" fmla="*/ 1086802 w 52"/>
                <a:gd name="T79" fmla="*/ 1578512 h 53"/>
                <a:gd name="T80" fmla="*/ 1146806 w 52"/>
                <a:gd name="T81" fmla="*/ 1624246 h 53"/>
                <a:gd name="T82" fmla="*/ 1673446 w 52"/>
                <a:gd name="T83" fmla="*/ 2193793 h 53"/>
                <a:gd name="T84" fmla="*/ 1712340 w 52"/>
                <a:gd name="T85" fmla="*/ 2193793 h 53"/>
                <a:gd name="T86" fmla="*/ 1779815 w 52"/>
                <a:gd name="T87" fmla="*/ 2104049 h 53"/>
                <a:gd name="T88" fmla="*/ 1815921 w 52"/>
                <a:gd name="T89" fmla="*/ 2070501 h 5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2"/>
                <a:gd name="T136" fmla="*/ 0 h 53"/>
                <a:gd name="T137" fmla="*/ 52 w 52"/>
                <a:gd name="T138" fmla="*/ 53 h 5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2" h="53">
                  <a:moveTo>
                    <a:pt x="52" y="50"/>
                  </a:moveTo>
                  <a:cubicBezTo>
                    <a:pt x="51" y="49"/>
                    <a:pt x="51" y="48"/>
                    <a:pt x="51" y="47"/>
                  </a:cubicBezTo>
                  <a:cubicBezTo>
                    <a:pt x="51" y="47"/>
                    <a:pt x="50" y="47"/>
                    <a:pt x="50" y="46"/>
                  </a:cubicBezTo>
                  <a:cubicBezTo>
                    <a:pt x="50" y="46"/>
                    <a:pt x="50" y="45"/>
                    <a:pt x="50" y="45"/>
                  </a:cubicBezTo>
                  <a:cubicBezTo>
                    <a:pt x="48" y="42"/>
                    <a:pt x="45" y="41"/>
                    <a:pt x="43" y="38"/>
                  </a:cubicBezTo>
                  <a:cubicBezTo>
                    <a:pt x="41" y="38"/>
                    <a:pt x="41" y="36"/>
                    <a:pt x="40" y="35"/>
                  </a:cubicBezTo>
                  <a:cubicBezTo>
                    <a:pt x="40" y="35"/>
                    <a:pt x="40" y="34"/>
                    <a:pt x="40" y="34"/>
                  </a:cubicBezTo>
                  <a:cubicBezTo>
                    <a:pt x="40" y="33"/>
                    <a:pt x="39" y="32"/>
                    <a:pt x="38" y="32"/>
                  </a:cubicBezTo>
                  <a:cubicBezTo>
                    <a:pt x="36" y="31"/>
                    <a:pt x="33" y="31"/>
                    <a:pt x="31" y="30"/>
                  </a:cubicBezTo>
                  <a:cubicBezTo>
                    <a:pt x="30" y="30"/>
                    <a:pt x="30" y="29"/>
                    <a:pt x="30" y="29"/>
                  </a:cubicBezTo>
                  <a:cubicBezTo>
                    <a:pt x="30" y="29"/>
                    <a:pt x="30" y="28"/>
                    <a:pt x="30" y="28"/>
                  </a:cubicBezTo>
                  <a:cubicBezTo>
                    <a:pt x="29" y="27"/>
                    <a:pt x="30" y="26"/>
                    <a:pt x="29" y="25"/>
                  </a:cubicBezTo>
                  <a:cubicBezTo>
                    <a:pt x="28" y="25"/>
                    <a:pt x="28" y="24"/>
                    <a:pt x="27" y="24"/>
                  </a:cubicBezTo>
                  <a:cubicBezTo>
                    <a:pt x="26" y="25"/>
                    <a:pt x="27" y="26"/>
                    <a:pt x="26" y="27"/>
                  </a:cubicBezTo>
                  <a:cubicBezTo>
                    <a:pt x="26" y="28"/>
                    <a:pt x="25" y="28"/>
                    <a:pt x="25" y="27"/>
                  </a:cubicBezTo>
                  <a:cubicBezTo>
                    <a:pt x="24" y="27"/>
                    <a:pt x="24" y="26"/>
                    <a:pt x="24" y="25"/>
                  </a:cubicBezTo>
                  <a:cubicBezTo>
                    <a:pt x="22" y="22"/>
                    <a:pt x="23" y="20"/>
                    <a:pt x="23" y="17"/>
                  </a:cubicBezTo>
                  <a:cubicBezTo>
                    <a:pt x="23" y="17"/>
                    <a:pt x="22" y="16"/>
                    <a:pt x="22" y="16"/>
                  </a:cubicBezTo>
                  <a:cubicBezTo>
                    <a:pt x="21" y="14"/>
                    <a:pt x="20" y="13"/>
                    <a:pt x="20" y="11"/>
                  </a:cubicBezTo>
                  <a:cubicBezTo>
                    <a:pt x="20" y="10"/>
                    <a:pt x="20" y="10"/>
                    <a:pt x="19" y="10"/>
                  </a:cubicBezTo>
                  <a:cubicBezTo>
                    <a:pt x="18" y="7"/>
                    <a:pt x="20" y="4"/>
                    <a:pt x="17" y="2"/>
                  </a:cubicBezTo>
                  <a:cubicBezTo>
                    <a:pt x="16" y="1"/>
                    <a:pt x="16" y="0"/>
                    <a:pt x="15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3"/>
                    <a:pt x="14" y="5"/>
                    <a:pt x="12" y="6"/>
                  </a:cubicBezTo>
                  <a:cubicBezTo>
                    <a:pt x="12" y="7"/>
                    <a:pt x="12" y="6"/>
                    <a:pt x="11" y="6"/>
                  </a:cubicBezTo>
                  <a:cubicBezTo>
                    <a:pt x="11" y="7"/>
                    <a:pt x="10" y="7"/>
                    <a:pt x="10" y="8"/>
                  </a:cubicBezTo>
                  <a:cubicBezTo>
                    <a:pt x="9" y="8"/>
                    <a:pt x="8" y="8"/>
                    <a:pt x="7" y="8"/>
                  </a:cubicBezTo>
                  <a:cubicBezTo>
                    <a:pt x="7" y="9"/>
                    <a:pt x="7" y="10"/>
                    <a:pt x="6" y="10"/>
                  </a:cubicBezTo>
                  <a:cubicBezTo>
                    <a:pt x="5" y="10"/>
                    <a:pt x="5" y="10"/>
                    <a:pt x="4" y="10"/>
                  </a:cubicBezTo>
                  <a:cubicBezTo>
                    <a:pt x="4" y="10"/>
                    <a:pt x="4" y="11"/>
                    <a:pt x="4" y="11"/>
                  </a:cubicBezTo>
                  <a:cubicBezTo>
                    <a:pt x="3" y="15"/>
                    <a:pt x="4" y="18"/>
                    <a:pt x="3" y="22"/>
                  </a:cubicBezTo>
                  <a:cubicBezTo>
                    <a:pt x="3" y="24"/>
                    <a:pt x="1" y="25"/>
                    <a:pt x="0" y="26"/>
                  </a:cubicBezTo>
                  <a:cubicBezTo>
                    <a:pt x="0" y="28"/>
                    <a:pt x="0" y="31"/>
                    <a:pt x="0" y="33"/>
                  </a:cubicBezTo>
                  <a:cubicBezTo>
                    <a:pt x="2" y="33"/>
                    <a:pt x="4" y="34"/>
                    <a:pt x="6" y="33"/>
                  </a:cubicBezTo>
                  <a:cubicBezTo>
                    <a:pt x="7" y="33"/>
                    <a:pt x="8" y="32"/>
                    <a:pt x="10" y="32"/>
                  </a:cubicBezTo>
                  <a:cubicBezTo>
                    <a:pt x="11" y="31"/>
                    <a:pt x="12" y="31"/>
                    <a:pt x="14" y="32"/>
                  </a:cubicBezTo>
                  <a:cubicBezTo>
                    <a:pt x="15" y="32"/>
                    <a:pt x="16" y="33"/>
                    <a:pt x="18" y="33"/>
                  </a:cubicBezTo>
                  <a:cubicBezTo>
                    <a:pt x="20" y="34"/>
                    <a:pt x="23" y="33"/>
                    <a:pt x="25" y="34"/>
                  </a:cubicBezTo>
                  <a:cubicBezTo>
                    <a:pt x="26" y="34"/>
                    <a:pt x="27" y="34"/>
                    <a:pt x="28" y="35"/>
                  </a:cubicBezTo>
                  <a:cubicBezTo>
                    <a:pt x="29" y="35"/>
                    <a:pt x="30" y="37"/>
                    <a:pt x="31" y="38"/>
                  </a:cubicBezTo>
                  <a:cubicBezTo>
                    <a:pt x="32" y="38"/>
                    <a:pt x="33" y="38"/>
                    <a:pt x="33" y="39"/>
                  </a:cubicBezTo>
                  <a:cubicBezTo>
                    <a:pt x="39" y="43"/>
                    <a:pt x="43" y="48"/>
                    <a:pt x="48" y="53"/>
                  </a:cubicBezTo>
                  <a:cubicBezTo>
                    <a:pt x="48" y="53"/>
                    <a:pt x="49" y="53"/>
                    <a:pt x="49" y="53"/>
                  </a:cubicBezTo>
                  <a:cubicBezTo>
                    <a:pt x="50" y="52"/>
                    <a:pt x="51" y="51"/>
                    <a:pt x="51" y="51"/>
                  </a:cubicBezTo>
                  <a:lnTo>
                    <a:pt x="52" y="5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6" name="Freeform 371"/>
            <p:cNvSpPr>
              <a:spLocks/>
            </p:cNvSpPr>
            <p:nvPr/>
          </p:nvSpPr>
          <p:spPr bwMode="auto">
            <a:xfrm>
              <a:off x="7101576" y="3521933"/>
              <a:ext cx="7274" cy="8382"/>
            </a:xfrm>
            <a:custGeom>
              <a:avLst/>
              <a:gdLst>
                <a:gd name="T0" fmla="*/ 295914 w 16"/>
                <a:gd name="T1" fmla="*/ 786432 h 17"/>
                <a:gd name="T2" fmla="*/ 237416 w 16"/>
                <a:gd name="T3" fmla="*/ 720896 h 17"/>
                <a:gd name="T4" fmla="*/ 237416 w 16"/>
                <a:gd name="T5" fmla="*/ 655360 h 17"/>
                <a:gd name="T6" fmla="*/ 271785 w 16"/>
                <a:gd name="T7" fmla="*/ 589824 h 17"/>
                <a:gd name="T8" fmla="*/ 371507 w 16"/>
                <a:gd name="T9" fmla="*/ 327680 h 17"/>
                <a:gd name="T10" fmla="*/ 371507 w 16"/>
                <a:gd name="T11" fmla="*/ 262144 h 17"/>
                <a:gd name="T12" fmla="*/ 258919 w 16"/>
                <a:gd name="T13" fmla="*/ 0 h 17"/>
                <a:gd name="T14" fmla="*/ 237416 w 16"/>
                <a:gd name="T15" fmla="*/ 65536 h 17"/>
                <a:gd name="T16" fmla="*/ 182981 w 16"/>
                <a:gd name="T17" fmla="*/ 196608 h 17"/>
                <a:gd name="T18" fmla="*/ 157821 w 16"/>
                <a:gd name="T19" fmla="*/ 196608 h 17"/>
                <a:gd name="T20" fmla="*/ 27759 w 16"/>
                <a:gd name="T21" fmla="*/ 589824 h 17"/>
                <a:gd name="T22" fmla="*/ 27759 w 16"/>
                <a:gd name="T23" fmla="*/ 786432 h 17"/>
                <a:gd name="T24" fmla="*/ 52048 w 16"/>
                <a:gd name="T25" fmla="*/ 1114112 h 17"/>
                <a:gd name="T26" fmla="*/ 112929 w 16"/>
                <a:gd name="T27" fmla="*/ 1048576 h 17"/>
                <a:gd name="T28" fmla="*/ 157821 w 16"/>
                <a:gd name="T29" fmla="*/ 983040 h 17"/>
                <a:gd name="T30" fmla="*/ 211742 w 16"/>
                <a:gd name="T31" fmla="*/ 983040 h 17"/>
                <a:gd name="T32" fmla="*/ 237416 w 16"/>
                <a:gd name="T33" fmla="*/ 983040 h 17"/>
                <a:gd name="T34" fmla="*/ 271785 w 16"/>
                <a:gd name="T35" fmla="*/ 917504 h 17"/>
                <a:gd name="T36" fmla="*/ 295914 w 16"/>
                <a:gd name="T37" fmla="*/ 786432 h 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6"/>
                <a:gd name="T58" fmla="*/ 0 h 17"/>
                <a:gd name="T59" fmla="*/ 16 w 16"/>
                <a:gd name="T60" fmla="*/ 17 h 1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6" h="17">
                  <a:moveTo>
                    <a:pt x="13" y="12"/>
                  </a:moveTo>
                  <a:cubicBezTo>
                    <a:pt x="12" y="12"/>
                    <a:pt x="11" y="12"/>
                    <a:pt x="10" y="11"/>
                  </a:cubicBezTo>
                  <a:cubicBezTo>
                    <a:pt x="10" y="11"/>
                    <a:pt x="10" y="10"/>
                    <a:pt x="10" y="10"/>
                  </a:cubicBezTo>
                  <a:cubicBezTo>
                    <a:pt x="10" y="10"/>
                    <a:pt x="11" y="10"/>
                    <a:pt x="12" y="9"/>
                  </a:cubicBezTo>
                  <a:cubicBezTo>
                    <a:pt x="13" y="8"/>
                    <a:pt x="15" y="7"/>
                    <a:pt x="16" y="5"/>
                  </a:cubicBezTo>
                  <a:cubicBezTo>
                    <a:pt x="16" y="5"/>
                    <a:pt x="16" y="4"/>
                    <a:pt x="16" y="4"/>
                  </a:cubicBezTo>
                  <a:cubicBezTo>
                    <a:pt x="14" y="2"/>
                    <a:pt x="12" y="1"/>
                    <a:pt x="11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5"/>
                    <a:pt x="3" y="7"/>
                    <a:pt x="1" y="9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2" y="14"/>
                    <a:pt x="2" y="15"/>
                    <a:pt x="2" y="17"/>
                  </a:cubicBezTo>
                  <a:cubicBezTo>
                    <a:pt x="3" y="17"/>
                    <a:pt x="4" y="17"/>
                    <a:pt x="5" y="16"/>
                  </a:cubicBezTo>
                  <a:cubicBezTo>
                    <a:pt x="6" y="16"/>
                    <a:pt x="6" y="15"/>
                    <a:pt x="7" y="15"/>
                  </a:cubicBezTo>
                  <a:cubicBezTo>
                    <a:pt x="8" y="15"/>
                    <a:pt x="8" y="14"/>
                    <a:pt x="9" y="15"/>
                  </a:cubicBezTo>
                  <a:cubicBezTo>
                    <a:pt x="9" y="15"/>
                    <a:pt x="10" y="15"/>
                    <a:pt x="10" y="15"/>
                  </a:cubicBezTo>
                  <a:cubicBezTo>
                    <a:pt x="11" y="16"/>
                    <a:pt x="11" y="14"/>
                    <a:pt x="12" y="14"/>
                  </a:cubicBezTo>
                  <a:lnTo>
                    <a:pt x="13" y="12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7" name="Freeform 372"/>
            <p:cNvSpPr>
              <a:spLocks/>
            </p:cNvSpPr>
            <p:nvPr/>
          </p:nvSpPr>
          <p:spPr bwMode="auto">
            <a:xfrm>
              <a:off x="7069219" y="3513010"/>
              <a:ext cx="55684" cy="49479"/>
            </a:xfrm>
            <a:custGeom>
              <a:avLst/>
              <a:gdLst>
                <a:gd name="T0" fmla="*/ 2798238 w 119"/>
                <a:gd name="T1" fmla="*/ 3548263 h 102"/>
                <a:gd name="T2" fmla="*/ 3141668 w 119"/>
                <a:gd name="T3" fmla="*/ 3375543 h 102"/>
                <a:gd name="T4" fmla="*/ 3398714 w 119"/>
                <a:gd name="T5" fmla="*/ 3418914 h 102"/>
                <a:gd name="T6" fmla="*/ 3780907 w 119"/>
                <a:gd name="T7" fmla="*/ 2933583 h 102"/>
                <a:gd name="T8" fmla="*/ 4020468 w 119"/>
                <a:gd name="T9" fmla="*/ 2580382 h 102"/>
                <a:gd name="T10" fmla="*/ 4213435 w 119"/>
                <a:gd name="T11" fmla="*/ 2441054 h 102"/>
                <a:gd name="T12" fmla="*/ 3989946 w 119"/>
                <a:gd name="T13" fmla="*/ 2289978 h 102"/>
                <a:gd name="T14" fmla="*/ 3255433 w 119"/>
                <a:gd name="T15" fmla="*/ 2061932 h 102"/>
                <a:gd name="T16" fmla="*/ 3102665 w 119"/>
                <a:gd name="T17" fmla="*/ 1940722 h 102"/>
                <a:gd name="T18" fmla="*/ 2979102 w 119"/>
                <a:gd name="T19" fmla="*/ 1810598 h 102"/>
                <a:gd name="T20" fmla="*/ 2862358 w 119"/>
                <a:gd name="T21" fmla="*/ 1648606 h 102"/>
                <a:gd name="T22" fmla="*/ 2798238 w 119"/>
                <a:gd name="T23" fmla="*/ 1274710 h 102"/>
                <a:gd name="T24" fmla="*/ 2684563 w 119"/>
                <a:gd name="T25" fmla="*/ 1274710 h 102"/>
                <a:gd name="T26" fmla="*/ 2522564 w 119"/>
                <a:gd name="T27" fmla="*/ 1357029 h 102"/>
                <a:gd name="T28" fmla="*/ 2480917 w 119"/>
                <a:gd name="T29" fmla="*/ 1045120 h 102"/>
                <a:gd name="T30" fmla="*/ 2720382 w 119"/>
                <a:gd name="T31" fmla="*/ 810278 h 102"/>
                <a:gd name="T32" fmla="*/ 2148630 w 119"/>
                <a:gd name="T33" fmla="*/ 291579 h 102"/>
                <a:gd name="T34" fmla="*/ 1986130 w 119"/>
                <a:gd name="T35" fmla="*/ 150970 h 102"/>
                <a:gd name="T36" fmla="*/ 1632570 w 119"/>
                <a:gd name="T37" fmla="*/ 78167 h 102"/>
                <a:gd name="T38" fmla="*/ 1336563 w 119"/>
                <a:gd name="T39" fmla="*/ 40472 h 102"/>
                <a:gd name="T40" fmla="*/ 993031 w 119"/>
                <a:gd name="T41" fmla="*/ 78167 h 102"/>
                <a:gd name="T42" fmla="*/ 993031 w 119"/>
                <a:gd name="T43" fmla="*/ 150970 h 102"/>
                <a:gd name="T44" fmla="*/ 951385 w 119"/>
                <a:gd name="T45" fmla="*/ 441962 h 102"/>
                <a:gd name="T46" fmla="*/ 772942 w 119"/>
                <a:gd name="T47" fmla="*/ 714251 h 102"/>
                <a:gd name="T48" fmla="*/ 681185 w 119"/>
                <a:gd name="T49" fmla="*/ 937467 h 102"/>
                <a:gd name="T50" fmla="*/ 611588 w 119"/>
                <a:gd name="T51" fmla="*/ 1087649 h 102"/>
                <a:gd name="T52" fmla="*/ 569648 w 119"/>
                <a:gd name="T53" fmla="*/ 1379485 h 102"/>
                <a:gd name="T54" fmla="*/ 381737 w 119"/>
                <a:gd name="T55" fmla="*/ 1497924 h 102"/>
                <a:gd name="T56" fmla="*/ 381737 w 119"/>
                <a:gd name="T57" fmla="*/ 1810598 h 102"/>
                <a:gd name="T58" fmla="*/ 381737 w 119"/>
                <a:gd name="T59" fmla="*/ 1978129 h 102"/>
                <a:gd name="T60" fmla="*/ 353978 w 119"/>
                <a:gd name="T61" fmla="*/ 2128412 h 102"/>
                <a:gd name="T62" fmla="*/ 114369 w 119"/>
                <a:gd name="T63" fmla="*/ 2212237 h 102"/>
                <a:gd name="T64" fmla="*/ 75260 w 119"/>
                <a:gd name="T65" fmla="*/ 2252695 h 102"/>
                <a:gd name="T66" fmla="*/ 75260 w 119"/>
                <a:gd name="T67" fmla="*/ 2373688 h 102"/>
                <a:gd name="T68" fmla="*/ 423531 w 119"/>
                <a:gd name="T69" fmla="*/ 2664300 h 102"/>
                <a:gd name="T70" fmla="*/ 536328 w 119"/>
                <a:gd name="T71" fmla="*/ 2731272 h 102"/>
                <a:gd name="T72" fmla="*/ 611588 w 119"/>
                <a:gd name="T73" fmla="*/ 3022500 h 102"/>
                <a:gd name="T74" fmla="*/ 681185 w 119"/>
                <a:gd name="T75" fmla="*/ 3146797 h 102"/>
                <a:gd name="T76" fmla="*/ 848366 w 119"/>
                <a:gd name="T77" fmla="*/ 3453661 h 102"/>
                <a:gd name="T78" fmla="*/ 1096214 w 119"/>
                <a:gd name="T79" fmla="*/ 3537442 h 102"/>
                <a:gd name="T80" fmla="*/ 1310852 w 119"/>
                <a:gd name="T81" fmla="*/ 3669465 h 102"/>
                <a:gd name="T82" fmla="*/ 1568419 w 119"/>
                <a:gd name="T83" fmla="*/ 3788741 h 102"/>
                <a:gd name="T84" fmla="*/ 1950075 w 119"/>
                <a:gd name="T85" fmla="*/ 3788741 h 102"/>
                <a:gd name="T86" fmla="*/ 2109521 w 119"/>
                <a:gd name="T87" fmla="*/ 3591663 h 102"/>
                <a:gd name="T88" fmla="*/ 2331765 w 119"/>
                <a:gd name="T89" fmla="*/ 3748257 h 102"/>
                <a:gd name="T90" fmla="*/ 2550291 w 119"/>
                <a:gd name="T91" fmla="*/ 3709759 h 1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19"/>
                <a:gd name="T139" fmla="*/ 0 h 102"/>
                <a:gd name="T140" fmla="*/ 119 w 119"/>
                <a:gd name="T141" fmla="*/ 102 h 1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19" h="102">
                  <a:moveTo>
                    <a:pt x="72" y="99"/>
                  </a:moveTo>
                  <a:cubicBezTo>
                    <a:pt x="74" y="97"/>
                    <a:pt x="77" y="97"/>
                    <a:pt x="79" y="95"/>
                  </a:cubicBezTo>
                  <a:cubicBezTo>
                    <a:pt x="81" y="94"/>
                    <a:pt x="82" y="93"/>
                    <a:pt x="84" y="92"/>
                  </a:cubicBezTo>
                  <a:cubicBezTo>
                    <a:pt x="85" y="91"/>
                    <a:pt x="87" y="91"/>
                    <a:pt x="89" y="90"/>
                  </a:cubicBezTo>
                  <a:cubicBezTo>
                    <a:pt x="90" y="90"/>
                    <a:pt x="91" y="90"/>
                    <a:pt x="91" y="90"/>
                  </a:cubicBezTo>
                  <a:cubicBezTo>
                    <a:pt x="93" y="91"/>
                    <a:pt x="94" y="91"/>
                    <a:pt x="96" y="91"/>
                  </a:cubicBezTo>
                  <a:cubicBezTo>
                    <a:pt x="97" y="90"/>
                    <a:pt x="98" y="89"/>
                    <a:pt x="99" y="89"/>
                  </a:cubicBezTo>
                  <a:cubicBezTo>
                    <a:pt x="102" y="85"/>
                    <a:pt x="103" y="81"/>
                    <a:pt x="107" y="78"/>
                  </a:cubicBezTo>
                  <a:cubicBezTo>
                    <a:pt x="108" y="78"/>
                    <a:pt x="108" y="77"/>
                    <a:pt x="108" y="77"/>
                  </a:cubicBezTo>
                  <a:cubicBezTo>
                    <a:pt x="110" y="74"/>
                    <a:pt x="112" y="72"/>
                    <a:pt x="114" y="69"/>
                  </a:cubicBezTo>
                  <a:cubicBezTo>
                    <a:pt x="115" y="69"/>
                    <a:pt x="116" y="68"/>
                    <a:pt x="116" y="68"/>
                  </a:cubicBezTo>
                  <a:cubicBezTo>
                    <a:pt x="117" y="67"/>
                    <a:pt x="118" y="66"/>
                    <a:pt x="119" y="65"/>
                  </a:cubicBezTo>
                  <a:cubicBezTo>
                    <a:pt x="119" y="64"/>
                    <a:pt x="119" y="62"/>
                    <a:pt x="118" y="62"/>
                  </a:cubicBezTo>
                  <a:cubicBezTo>
                    <a:pt x="117" y="61"/>
                    <a:pt x="115" y="62"/>
                    <a:pt x="113" y="61"/>
                  </a:cubicBezTo>
                  <a:cubicBezTo>
                    <a:pt x="110" y="61"/>
                    <a:pt x="107" y="60"/>
                    <a:pt x="104" y="58"/>
                  </a:cubicBezTo>
                  <a:cubicBezTo>
                    <a:pt x="100" y="57"/>
                    <a:pt x="96" y="56"/>
                    <a:pt x="92" y="55"/>
                  </a:cubicBezTo>
                  <a:cubicBezTo>
                    <a:pt x="91" y="55"/>
                    <a:pt x="90" y="54"/>
                    <a:pt x="90" y="53"/>
                  </a:cubicBezTo>
                  <a:cubicBezTo>
                    <a:pt x="89" y="53"/>
                    <a:pt x="89" y="52"/>
                    <a:pt x="88" y="52"/>
                  </a:cubicBezTo>
                  <a:cubicBezTo>
                    <a:pt x="88" y="52"/>
                    <a:pt x="88" y="52"/>
                    <a:pt x="87" y="51"/>
                  </a:cubicBezTo>
                  <a:cubicBezTo>
                    <a:pt x="86" y="50"/>
                    <a:pt x="85" y="49"/>
                    <a:pt x="84" y="48"/>
                  </a:cubicBezTo>
                  <a:cubicBezTo>
                    <a:pt x="84" y="48"/>
                    <a:pt x="84" y="47"/>
                    <a:pt x="84" y="47"/>
                  </a:cubicBezTo>
                  <a:cubicBezTo>
                    <a:pt x="83" y="46"/>
                    <a:pt x="82" y="45"/>
                    <a:pt x="81" y="44"/>
                  </a:cubicBezTo>
                  <a:cubicBezTo>
                    <a:pt x="80" y="42"/>
                    <a:pt x="79" y="40"/>
                    <a:pt x="78" y="38"/>
                  </a:cubicBezTo>
                  <a:cubicBezTo>
                    <a:pt x="78" y="37"/>
                    <a:pt x="79" y="36"/>
                    <a:pt x="79" y="34"/>
                  </a:cubicBezTo>
                  <a:cubicBezTo>
                    <a:pt x="79" y="34"/>
                    <a:pt x="78" y="34"/>
                    <a:pt x="78" y="34"/>
                  </a:cubicBezTo>
                  <a:cubicBezTo>
                    <a:pt x="77" y="33"/>
                    <a:pt x="77" y="34"/>
                    <a:pt x="76" y="34"/>
                  </a:cubicBezTo>
                  <a:cubicBezTo>
                    <a:pt x="75" y="34"/>
                    <a:pt x="75" y="35"/>
                    <a:pt x="74" y="35"/>
                  </a:cubicBezTo>
                  <a:cubicBezTo>
                    <a:pt x="73" y="36"/>
                    <a:pt x="72" y="36"/>
                    <a:pt x="71" y="36"/>
                  </a:cubicBezTo>
                  <a:cubicBezTo>
                    <a:pt x="71" y="34"/>
                    <a:pt x="71" y="33"/>
                    <a:pt x="70" y="31"/>
                  </a:cubicBezTo>
                  <a:cubicBezTo>
                    <a:pt x="69" y="30"/>
                    <a:pt x="69" y="29"/>
                    <a:pt x="70" y="28"/>
                  </a:cubicBezTo>
                  <a:cubicBezTo>
                    <a:pt x="72" y="26"/>
                    <a:pt x="75" y="24"/>
                    <a:pt x="76" y="22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7" y="22"/>
                    <a:pt x="76" y="22"/>
                    <a:pt x="76" y="22"/>
                  </a:cubicBezTo>
                  <a:cubicBezTo>
                    <a:pt x="71" y="17"/>
                    <a:pt x="67" y="12"/>
                    <a:pt x="61" y="8"/>
                  </a:cubicBezTo>
                  <a:cubicBezTo>
                    <a:pt x="61" y="7"/>
                    <a:pt x="60" y="7"/>
                    <a:pt x="59" y="7"/>
                  </a:cubicBezTo>
                  <a:cubicBezTo>
                    <a:pt x="58" y="6"/>
                    <a:pt x="57" y="4"/>
                    <a:pt x="56" y="4"/>
                  </a:cubicBezTo>
                  <a:cubicBezTo>
                    <a:pt x="55" y="3"/>
                    <a:pt x="54" y="3"/>
                    <a:pt x="53" y="3"/>
                  </a:cubicBezTo>
                  <a:cubicBezTo>
                    <a:pt x="51" y="2"/>
                    <a:pt x="48" y="3"/>
                    <a:pt x="46" y="2"/>
                  </a:cubicBezTo>
                  <a:cubicBezTo>
                    <a:pt x="44" y="2"/>
                    <a:pt x="43" y="1"/>
                    <a:pt x="42" y="1"/>
                  </a:cubicBezTo>
                  <a:cubicBezTo>
                    <a:pt x="40" y="0"/>
                    <a:pt x="39" y="0"/>
                    <a:pt x="38" y="1"/>
                  </a:cubicBezTo>
                  <a:cubicBezTo>
                    <a:pt x="36" y="1"/>
                    <a:pt x="35" y="2"/>
                    <a:pt x="34" y="2"/>
                  </a:cubicBezTo>
                  <a:cubicBezTo>
                    <a:pt x="32" y="3"/>
                    <a:pt x="30" y="2"/>
                    <a:pt x="28" y="2"/>
                  </a:cubicBezTo>
                  <a:cubicBezTo>
                    <a:pt x="29" y="3"/>
                    <a:pt x="28" y="3"/>
                    <a:pt x="28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6"/>
                    <a:pt x="29" y="8"/>
                    <a:pt x="28" y="10"/>
                  </a:cubicBezTo>
                  <a:cubicBezTo>
                    <a:pt x="28" y="11"/>
                    <a:pt x="28" y="11"/>
                    <a:pt x="27" y="12"/>
                  </a:cubicBezTo>
                  <a:cubicBezTo>
                    <a:pt x="26" y="14"/>
                    <a:pt x="28" y="16"/>
                    <a:pt x="26" y="18"/>
                  </a:cubicBezTo>
                  <a:cubicBezTo>
                    <a:pt x="25" y="19"/>
                    <a:pt x="23" y="18"/>
                    <a:pt x="22" y="19"/>
                  </a:cubicBezTo>
                  <a:cubicBezTo>
                    <a:pt x="21" y="19"/>
                    <a:pt x="21" y="19"/>
                    <a:pt x="21" y="20"/>
                  </a:cubicBezTo>
                  <a:cubicBezTo>
                    <a:pt x="20" y="22"/>
                    <a:pt x="20" y="23"/>
                    <a:pt x="19" y="25"/>
                  </a:cubicBezTo>
                  <a:cubicBezTo>
                    <a:pt x="19" y="26"/>
                    <a:pt x="19" y="26"/>
                    <a:pt x="18" y="27"/>
                  </a:cubicBezTo>
                  <a:cubicBezTo>
                    <a:pt x="18" y="28"/>
                    <a:pt x="17" y="29"/>
                    <a:pt x="17" y="29"/>
                  </a:cubicBezTo>
                  <a:cubicBezTo>
                    <a:pt x="17" y="30"/>
                    <a:pt x="17" y="30"/>
                    <a:pt x="16" y="31"/>
                  </a:cubicBezTo>
                  <a:cubicBezTo>
                    <a:pt x="16" y="33"/>
                    <a:pt x="16" y="35"/>
                    <a:pt x="16" y="37"/>
                  </a:cubicBezTo>
                  <a:cubicBezTo>
                    <a:pt x="14" y="37"/>
                    <a:pt x="12" y="36"/>
                    <a:pt x="11" y="37"/>
                  </a:cubicBezTo>
                  <a:cubicBezTo>
                    <a:pt x="10" y="38"/>
                    <a:pt x="10" y="39"/>
                    <a:pt x="11" y="40"/>
                  </a:cubicBezTo>
                  <a:cubicBezTo>
                    <a:pt x="11" y="41"/>
                    <a:pt x="11" y="42"/>
                    <a:pt x="11" y="42"/>
                  </a:cubicBezTo>
                  <a:cubicBezTo>
                    <a:pt x="11" y="44"/>
                    <a:pt x="11" y="46"/>
                    <a:pt x="11" y="48"/>
                  </a:cubicBezTo>
                  <a:cubicBezTo>
                    <a:pt x="10" y="49"/>
                    <a:pt x="10" y="50"/>
                    <a:pt x="11" y="52"/>
                  </a:cubicBezTo>
                  <a:cubicBezTo>
                    <a:pt x="11" y="52"/>
                    <a:pt x="11" y="52"/>
                    <a:pt x="11" y="53"/>
                  </a:cubicBezTo>
                  <a:cubicBezTo>
                    <a:pt x="12" y="54"/>
                    <a:pt x="12" y="55"/>
                    <a:pt x="11" y="56"/>
                  </a:cubicBezTo>
                  <a:cubicBezTo>
                    <a:pt x="11" y="57"/>
                    <a:pt x="11" y="57"/>
                    <a:pt x="10" y="57"/>
                  </a:cubicBezTo>
                  <a:cubicBezTo>
                    <a:pt x="10" y="58"/>
                    <a:pt x="9" y="58"/>
                    <a:pt x="8" y="58"/>
                  </a:cubicBezTo>
                  <a:cubicBezTo>
                    <a:pt x="6" y="59"/>
                    <a:pt x="5" y="58"/>
                    <a:pt x="3" y="59"/>
                  </a:cubicBezTo>
                  <a:cubicBezTo>
                    <a:pt x="3" y="59"/>
                    <a:pt x="3" y="59"/>
                    <a:pt x="2" y="59"/>
                  </a:cubicBezTo>
                  <a:cubicBezTo>
                    <a:pt x="2" y="59"/>
                    <a:pt x="2" y="60"/>
                    <a:pt x="2" y="60"/>
                  </a:cubicBezTo>
                  <a:cubicBezTo>
                    <a:pt x="2" y="60"/>
                    <a:pt x="1" y="61"/>
                    <a:pt x="1" y="61"/>
                  </a:cubicBezTo>
                  <a:cubicBezTo>
                    <a:pt x="0" y="62"/>
                    <a:pt x="1" y="63"/>
                    <a:pt x="2" y="63"/>
                  </a:cubicBezTo>
                  <a:cubicBezTo>
                    <a:pt x="3" y="64"/>
                    <a:pt x="5" y="63"/>
                    <a:pt x="7" y="65"/>
                  </a:cubicBezTo>
                  <a:cubicBezTo>
                    <a:pt x="8" y="67"/>
                    <a:pt x="9" y="69"/>
                    <a:pt x="12" y="71"/>
                  </a:cubicBezTo>
                  <a:cubicBezTo>
                    <a:pt x="12" y="71"/>
                    <a:pt x="12" y="72"/>
                    <a:pt x="12" y="72"/>
                  </a:cubicBezTo>
                  <a:cubicBezTo>
                    <a:pt x="13" y="73"/>
                    <a:pt x="14" y="73"/>
                    <a:pt x="15" y="73"/>
                  </a:cubicBezTo>
                  <a:cubicBezTo>
                    <a:pt x="15" y="73"/>
                    <a:pt x="16" y="74"/>
                    <a:pt x="16" y="75"/>
                  </a:cubicBezTo>
                  <a:cubicBezTo>
                    <a:pt x="17" y="77"/>
                    <a:pt x="15" y="80"/>
                    <a:pt x="17" y="81"/>
                  </a:cubicBezTo>
                  <a:cubicBezTo>
                    <a:pt x="18" y="82"/>
                    <a:pt x="19" y="82"/>
                    <a:pt x="19" y="83"/>
                  </a:cubicBezTo>
                  <a:cubicBezTo>
                    <a:pt x="19" y="83"/>
                    <a:pt x="19" y="83"/>
                    <a:pt x="19" y="84"/>
                  </a:cubicBezTo>
                  <a:cubicBezTo>
                    <a:pt x="21" y="84"/>
                    <a:pt x="22" y="84"/>
                    <a:pt x="23" y="84"/>
                  </a:cubicBezTo>
                  <a:cubicBezTo>
                    <a:pt x="24" y="87"/>
                    <a:pt x="23" y="90"/>
                    <a:pt x="24" y="92"/>
                  </a:cubicBezTo>
                  <a:cubicBezTo>
                    <a:pt x="24" y="93"/>
                    <a:pt x="24" y="94"/>
                    <a:pt x="25" y="94"/>
                  </a:cubicBezTo>
                  <a:cubicBezTo>
                    <a:pt x="27" y="94"/>
                    <a:pt x="29" y="93"/>
                    <a:pt x="31" y="94"/>
                  </a:cubicBezTo>
                  <a:cubicBezTo>
                    <a:pt x="33" y="95"/>
                    <a:pt x="34" y="96"/>
                    <a:pt x="36" y="97"/>
                  </a:cubicBezTo>
                  <a:cubicBezTo>
                    <a:pt x="36" y="98"/>
                    <a:pt x="37" y="98"/>
                    <a:pt x="37" y="98"/>
                  </a:cubicBezTo>
                  <a:cubicBezTo>
                    <a:pt x="38" y="99"/>
                    <a:pt x="39" y="99"/>
                    <a:pt x="40" y="100"/>
                  </a:cubicBezTo>
                  <a:cubicBezTo>
                    <a:pt x="41" y="101"/>
                    <a:pt x="43" y="101"/>
                    <a:pt x="44" y="101"/>
                  </a:cubicBezTo>
                  <a:cubicBezTo>
                    <a:pt x="47" y="102"/>
                    <a:pt x="50" y="101"/>
                    <a:pt x="53" y="101"/>
                  </a:cubicBezTo>
                  <a:cubicBezTo>
                    <a:pt x="54" y="101"/>
                    <a:pt x="55" y="101"/>
                    <a:pt x="55" y="101"/>
                  </a:cubicBezTo>
                  <a:cubicBezTo>
                    <a:pt x="55" y="100"/>
                    <a:pt x="55" y="99"/>
                    <a:pt x="56" y="99"/>
                  </a:cubicBezTo>
                  <a:cubicBezTo>
                    <a:pt x="57" y="97"/>
                    <a:pt x="58" y="97"/>
                    <a:pt x="60" y="96"/>
                  </a:cubicBezTo>
                  <a:cubicBezTo>
                    <a:pt x="60" y="96"/>
                    <a:pt x="60" y="96"/>
                    <a:pt x="60" y="96"/>
                  </a:cubicBezTo>
                  <a:cubicBezTo>
                    <a:pt x="63" y="95"/>
                    <a:pt x="65" y="98"/>
                    <a:pt x="66" y="100"/>
                  </a:cubicBezTo>
                  <a:cubicBezTo>
                    <a:pt x="68" y="100"/>
                    <a:pt x="70" y="100"/>
                    <a:pt x="72" y="100"/>
                  </a:cubicBezTo>
                  <a:lnTo>
                    <a:pt x="72" y="99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8" name="Freeform 373"/>
            <p:cNvSpPr>
              <a:spLocks/>
            </p:cNvSpPr>
            <p:nvPr/>
          </p:nvSpPr>
          <p:spPr bwMode="auto">
            <a:xfrm>
              <a:off x="7099067" y="3525177"/>
              <a:ext cx="38628" cy="59213"/>
            </a:xfrm>
            <a:custGeom>
              <a:avLst/>
              <a:gdLst>
                <a:gd name="T0" fmla="*/ 323755 w 83"/>
                <a:gd name="T1" fmla="*/ 4040217 h 123"/>
                <a:gd name="T2" fmla="*/ 590379 w 83"/>
                <a:gd name="T3" fmla="*/ 3783145 h 123"/>
                <a:gd name="T4" fmla="*/ 939537 w 83"/>
                <a:gd name="T5" fmla="*/ 3410647 h 123"/>
                <a:gd name="T6" fmla="*/ 1203096 w 83"/>
                <a:gd name="T7" fmla="*/ 3200350 h 123"/>
                <a:gd name="T8" fmla="*/ 1563643 w 83"/>
                <a:gd name="T9" fmla="*/ 2969853 h 123"/>
                <a:gd name="T10" fmla="*/ 1887655 w 83"/>
                <a:gd name="T11" fmla="*/ 2563574 h 123"/>
                <a:gd name="T12" fmla="*/ 1995466 w 83"/>
                <a:gd name="T13" fmla="*/ 2465519 h 123"/>
                <a:gd name="T14" fmla="*/ 2111902 w 83"/>
                <a:gd name="T15" fmla="*/ 2282214 h 123"/>
                <a:gd name="T16" fmla="*/ 2193889 w 83"/>
                <a:gd name="T17" fmla="*/ 2162467 h 123"/>
                <a:gd name="T18" fmla="*/ 2279563 w 83"/>
                <a:gd name="T19" fmla="*/ 1986711 h 123"/>
                <a:gd name="T20" fmla="*/ 2435757 w 83"/>
                <a:gd name="T21" fmla="*/ 1725807 h 123"/>
                <a:gd name="T22" fmla="*/ 2583133 w 83"/>
                <a:gd name="T23" fmla="*/ 1319173 h 123"/>
                <a:gd name="T24" fmla="*/ 2827609 w 83"/>
                <a:gd name="T25" fmla="*/ 878121 h 123"/>
                <a:gd name="T26" fmla="*/ 2909608 w 83"/>
                <a:gd name="T27" fmla="*/ 509852 h 123"/>
                <a:gd name="T28" fmla="*/ 2983387 w 83"/>
                <a:gd name="T29" fmla="*/ 208994 h 123"/>
                <a:gd name="T30" fmla="*/ 2787119 w 83"/>
                <a:gd name="T31" fmla="*/ 37620 h 123"/>
                <a:gd name="T32" fmla="*/ 2701947 w 83"/>
                <a:gd name="T33" fmla="*/ 208994 h 123"/>
                <a:gd name="T34" fmla="*/ 2396098 w 83"/>
                <a:gd name="T35" fmla="*/ 265728 h 123"/>
                <a:gd name="T36" fmla="*/ 2111902 w 83"/>
                <a:gd name="T37" fmla="*/ 265728 h 123"/>
                <a:gd name="T38" fmla="*/ 1750874 w 83"/>
                <a:gd name="T39" fmla="*/ 400997 h 123"/>
                <a:gd name="T40" fmla="*/ 1646051 w 83"/>
                <a:gd name="T41" fmla="*/ 440871 h 123"/>
                <a:gd name="T42" fmla="*/ 1297677 w 83"/>
                <a:gd name="T43" fmla="*/ 400997 h 123"/>
                <a:gd name="T44" fmla="*/ 792162 w 83"/>
                <a:gd name="T45" fmla="*/ 368653 h 123"/>
                <a:gd name="T46" fmla="*/ 695125 w 83"/>
                <a:gd name="T47" fmla="*/ 265728 h 123"/>
                <a:gd name="T48" fmla="*/ 624106 w 83"/>
                <a:gd name="T49" fmla="*/ 265728 h 123"/>
                <a:gd name="T50" fmla="*/ 507971 w 83"/>
                <a:gd name="T51" fmla="*/ 440871 h 123"/>
                <a:gd name="T52" fmla="*/ 737785 w 83"/>
                <a:gd name="T53" fmla="*/ 739728 h 123"/>
                <a:gd name="T54" fmla="*/ 831826 w 83"/>
                <a:gd name="T55" fmla="*/ 878121 h 123"/>
                <a:gd name="T56" fmla="*/ 939537 w 83"/>
                <a:gd name="T57" fmla="*/ 956053 h 123"/>
                <a:gd name="T58" fmla="*/ 1445818 w 83"/>
                <a:gd name="T59" fmla="*/ 1108281 h 123"/>
                <a:gd name="T60" fmla="*/ 1958681 w 83"/>
                <a:gd name="T61" fmla="*/ 1246775 h 123"/>
                <a:gd name="T62" fmla="*/ 1887655 w 83"/>
                <a:gd name="T63" fmla="*/ 1455890 h 123"/>
                <a:gd name="T64" fmla="*/ 1603520 w 83"/>
                <a:gd name="T65" fmla="*/ 1758185 h 123"/>
                <a:gd name="T66" fmla="*/ 1263549 w 83"/>
                <a:gd name="T67" fmla="*/ 2162467 h 123"/>
                <a:gd name="T68" fmla="*/ 979221 w 83"/>
                <a:gd name="T69" fmla="*/ 2197701 h 123"/>
                <a:gd name="T70" fmla="*/ 737785 w 83"/>
                <a:gd name="T71" fmla="*/ 2273582 h 123"/>
                <a:gd name="T72" fmla="*/ 284096 w 83"/>
                <a:gd name="T73" fmla="*/ 2495104 h 123"/>
                <a:gd name="T74" fmla="*/ 187059 w 83"/>
                <a:gd name="T75" fmla="*/ 2693276 h 123"/>
                <a:gd name="T76" fmla="*/ 39659 w 83"/>
                <a:gd name="T77" fmla="*/ 3042094 h 123"/>
                <a:gd name="T78" fmla="*/ 39659 w 83"/>
                <a:gd name="T79" fmla="*/ 3920816 h 123"/>
                <a:gd name="T80" fmla="*/ 284096 w 83"/>
                <a:gd name="T81" fmla="*/ 4149123 h 1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83"/>
                <a:gd name="T124" fmla="*/ 0 h 123"/>
                <a:gd name="T125" fmla="*/ 83 w 83"/>
                <a:gd name="T126" fmla="*/ 123 h 12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83" h="123">
                  <a:moveTo>
                    <a:pt x="8" y="123"/>
                  </a:moveTo>
                  <a:cubicBezTo>
                    <a:pt x="8" y="122"/>
                    <a:pt x="9" y="121"/>
                    <a:pt x="9" y="120"/>
                  </a:cubicBezTo>
                  <a:cubicBezTo>
                    <a:pt x="10" y="117"/>
                    <a:pt x="12" y="115"/>
                    <a:pt x="14" y="113"/>
                  </a:cubicBezTo>
                  <a:cubicBezTo>
                    <a:pt x="14" y="113"/>
                    <a:pt x="15" y="112"/>
                    <a:pt x="16" y="112"/>
                  </a:cubicBezTo>
                  <a:cubicBezTo>
                    <a:pt x="16" y="112"/>
                    <a:pt x="16" y="111"/>
                    <a:pt x="16" y="111"/>
                  </a:cubicBezTo>
                  <a:cubicBezTo>
                    <a:pt x="20" y="108"/>
                    <a:pt x="23" y="105"/>
                    <a:pt x="26" y="101"/>
                  </a:cubicBezTo>
                  <a:cubicBezTo>
                    <a:pt x="27" y="100"/>
                    <a:pt x="28" y="98"/>
                    <a:pt x="30" y="97"/>
                  </a:cubicBezTo>
                  <a:cubicBezTo>
                    <a:pt x="31" y="96"/>
                    <a:pt x="32" y="96"/>
                    <a:pt x="33" y="95"/>
                  </a:cubicBezTo>
                  <a:cubicBezTo>
                    <a:pt x="35" y="94"/>
                    <a:pt x="37" y="93"/>
                    <a:pt x="39" y="92"/>
                  </a:cubicBezTo>
                  <a:cubicBezTo>
                    <a:pt x="40" y="90"/>
                    <a:pt x="41" y="89"/>
                    <a:pt x="43" y="88"/>
                  </a:cubicBezTo>
                  <a:cubicBezTo>
                    <a:pt x="44" y="86"/>
                    <a:pt x="46" y="85"/>
                    <a:pt x="47" y="83"/>
                  </a:cubicBezTo>
                  <a:cubicBezTo>
                    <a:pt x="49" y="81"/>
                    <a:pt x="50" y="79"/>
                    <a:pt x="52" y="76"/>
                  </a:cubicBezTo>
                  <a:cubicBezTo>
                    <a:pt x="52" y="76"/>
                    <a:pt x="53" y="75"/>
                    <a:pt x="54" y="74"/>
                  </a:cubicBezTo>
                  <a:cubicBezTo>
                    <a:pt x="54" y="74"/>
                    <a:pt x="54" y="73"/>
                    <a:pt x="55" y="73"/>
                  </a:cubicBezTo>
                  <a:cubicBezTo>
                    <a:pt x="55" y="72"/>
                    <a:pt x="56" y="71"/>
                    <a:pt x="57" y="70"/>
                  </a:cubicBezTo>
                  <a:cubicBezTo>
                    <a:pt x="57" y="69"/>
                    <a:pt x="58" y="68"/>
                    <a:pt x="58" y="68"/>
                  </a:cubicBezTo>
                  <a:cubicBezTo>
                    <a:pt x="58" y="67"/>
                    <a:pt x="58" y="67"/>
                    <a:pt x="59" y="67"/>
                  </a:cubicBezTo>
                  <a:cubicBezTo>
                    <a:pt x="59" y="66"/>
                    <a:pt x="60" y="65"/>
                    <a:pt x="60" y="64"/>
                  </a:cubicBezTo>
                  <a:cubicBezTo>
                    <a:pt x="61" y="63"/>
                    <a:pt x="62" y="62"/>
                    <a:pt x="62" y="61"/>
                  </a:cubicBezTo>
                  <a:cubicBezTo>
                    <a:pt x="63" y="60"/>
                    <a:pt x="63" y="59"/>
                    <a:pt x="63" y="59"/>
                  </a:cubicBezTo>
                  <a:cubicBezTo>
                    <a:pt x="64" y="58"/>
                    <a:pt x="65" y="57"/>
                    <a:pt x="65" y="57"/>
                  </a:cubicBezTo>
                  <a:cubicBezTo>
                    <a:pt x="66" y="55"/>
                    <a:pt x="66" y="52"/>
                    <a:pt x="67" y="51"/>
                  </a:cubicBezTo>
                  <a:cubicBezTo>
                    <a:pt x="68" y="49"/>
                    <a:pt x="69" y="47"/>
                    <a:pt x="70" y="45"/>
                  </a:cubicBezTo>
                  <a:cubicBezTo>
                    <a:pt x="71" y="43"/>
                    <a:pt x="70" y="41"/>
                    <a:pt x="71" y="39"/>
                  </a:cubicBezTo>
                  <a:cubicBezTo>
                    <a:pt x="72" y="37"/>
                    <a:pt x="74" y="35"/>
                    <a:pt x="75" y="33"/>
                  </a:cubicBezTo>
                  <a:cubicBezTo>
                    <a:pt x="77" y="31"/>
                    <a:pt x="77" y="28"/>
                    <a:pt x="78" y="26"/>
                  </a:cubicBezTo>
                  <a:cubicBezTo>
                    <a:pt x="79" y="23"/>
                    <a:pt x="79" y="21"/>
                    <a:pt x="80" y="18"/>
                  </a:cubicBezTo>
                  <a:cubicBezTo>
                    <a:pt x="80" y="17"/>
                    <a:pt x="80" y="16"/>
                    <a:pt x="80" y="15"/>
                  </a:cubicBezTo>
                  <a:cubicBezTo>
                    <a:pt x="81" y="14"/>
                    <a:pt x="82" y="14"/>
                    <a:pt x="82" y="14"/>
                  </a:cubicBezTo>
                  <a:cubicBezTo>
                    <a:pt x="82" y="11"/>
                    <a:pt x="82" y="8"/>
                    <a:pt x="82" y="6"/>
                  </a:cubicBezTo>
                  <a:cubicBezTo>
                    <a:pt x="83" y="5"/>
                    <a:pt x="82" y="4"/>
                    <a:pt x="82" y="3"/>
                  </a:cubicBezTo>
                  <a:cubicBezTo>
                    <a:pt x="81" y="2"/>
                    <a:pt x="79" y="0"/>
                    <a:pt x="77" y="1"/>
                  </a:cubicBezTo>
                  <a:cubicBezTo>
                    <a:pt x="76" y="2"/>
                    <a:pt x="76" y="3"/>
                    <a:pt x="76" y="4"/>
                  </a:cubicBezTo>
                  <a:cubicBezTo>
                    <a:pt x="75" y="5"/>
                    <a:pt x="75" y="6"/>
                    <a:pt x="74" y="6"/>
                  </a:cubicBezTo>
                  <a:cubicBezTo>
                    <a:pt x="72" y="7"/>
                    <a:pt x="70" y="6"/>
                    <a:pt x="68" y="7"/>
                  </a:cubicBezTo>
                  <a:cubicBezTo>
                    <a:pt x="67" y="7"/>
                    <a:pt x="67" y="8"/>
                    <a:pt x="66" y="8"/>
                  </a:cubicBezTo>
                  <a:cubicBezTo>
                    <a:pt x="65" y="8"/>
                    <a:pt x="64" y="8"/>
                    <a:pt x="63" y="8"/>
                  </a:cubicBezTo>
                  <a:cubicBezTo>
                    <a:pt x="61" y="8"/>
                    <a:pt x="59" y="7"/>
                    <a:pt x="58" y="8"/>
                  </a:cubicBezTo>
                  <a:cubicBezTo>
                    <a:pt x="56" y="9"/>
                    <a:pt x="53" y="8"/>
                    <a:pt x="50" y="10"/>
                  </a:cubicBezTo>
                  <a:cubicBezTo>
                    <a:pt x="49" y="10"/>
                    <a:pt x="49" y="11"/>
                    <a:pt x="48" y="12"/>
                  </a:cubicBezTo>
                  <a:cubicBezTo>
                    <a:pt x="47" y="12"/>
                    <a:pt x="47" y="12"/>
                    <a:pt x="46" y="12"/>
                  </a:cubicBezTo>
                  <a:cubicBezTo>
                    <a:pt x="46" y="12"/>
                    <a:pt x="45" y="13"/>
                    <a:pt x="45" y="13"/>
                  </a:cubicBezTo>
                  <a:cubicBezTo>
                    <a:pt x="44" y="13"/>
                    <a:pt x="43" y="13"/>
                    <a:pt x="42" y="13"/>
                  </a:cubicBezTo>
                  <a:cubicBezTo>
                    <a:pt x="40" y="12"/>
                    <a:pt x="38" y="12"/>
                    <a:pt x="36" y="12"/>
                  </a:cubicBezTo>
                  <a:cubicBezTo>
                    <a:pt x="33" y="13"/>
                    <a:pt x="30" y="14"/>
                    <a:pt x="27" y="13"/>
                  </a:cubicBezTo>
                  <a:cubicBezTo>
                    <a:pt x="26" y="13"/>
                    <a:pt x="24" y="12"/>
                    <a:pt x="22" y="11"/>
                  </a:cubicBezTo>
                  <a:cubicBezTo>
                    <a:pt x="21" y="11"/>
                    <a:pt x="21" y="10"/>
                    <a:pt x="21" y="9"/>
                  </a:cubicBezTo>
                  <a:cubicBezTo>
                    <a:pt x="20" y="9"/>
                    <a:pt x="20" y="9"/>
                    <a:pt x="19" y="8"/>
                  </a:cubicBezTo>
                  <a:cubicBezTo>
                    <a:pt x="19" y="8"/>
                    <a:pt x="19" y="7"/>
                    <a:pt x="18" y="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6" y="8"/>
                    <a:pt x="16" y="10"/>
                    <a:pt x="15" y="9"/>
                  </a:cubicBezTo>
                  <a:cubicBezTo>
                    <a:pt x="15" y="11"/>
                    <a:pt x="14" y="12"/>
                    <a:pt x="14" y="13"/>
                  </a:cubicBezTo>
                  <a:cubicBezTo>
                    <a:pt x="15" y="15"/>
                    <a:pt x="16" y="17"/>
                    <a:pt x="17" y="19"/>
                  </a:cubicBezTo>
                  <a:cubicBezTo>
                    <a:pt x="18" y="20"/>
                    <a:pt x="19" y="21"/>
                    <a:pt x="20" y="22"/>
                  </a:cubicBezTo>
                  <a:cubicBezTo>
                    <a:pt x="20" y="22"/>
                    <a:pt x="20" y="23"/>
                    <a:pt x="20" y="23"/>
                  </a:cubicBezTo>
                  <a:cubicBezTo>
                    <a:pt x="21" y="24"/>
                    <a:pt x="22" y="25"/>
                    <a:pt x="23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5" y="27"/>
                    <a:pt x="25" y="28"/>
                    <a:pt x="26" y="28"/>
                  </a:cubicBezTo>
                  <a:cubicBezTo>
                    <a:pt x="26" y="29"/>
                    <a:pt x="27" y="30"/>
                    <a:pt x="28" y="30"/>
                  </a:cubicBezTo>
                  <a:cubicBezTo>
                    <a:pt x="32" y="31"/>
                    <a:pt x="36" y="32"/>
                    <a:pt x="40" y="33"/>
                  </a:cubicBezTo>
                  <a:cubicBezTo>
                    <a:pt x="43" y="35"/>
                    <a:pt x="46" y="36"/>
                    <a:pt x="49" y="36"/>
                  </a:cubicBezTo>
                  <a:cubicBezTo>
                    <a:pt x="51" y="37"/>
                    <a:pt x="53" y="36"/>
                    <a:pt x="54" y="37"/>
                  </a:cubicBezTo>
                  <a:cubicBezTo>
                    <a:pt x="55" y="37"/>
                    <a:pt x="55" y="39"/>
                    <a:pt x="55" y="40"/>
                  </a:cubicBezTo>
                  <a:cubicBezTo>
                    <a:pt x="54" y="41"/>
                    <a:pt x="53" y="42"/>
                    <a:pt x="52" y="43"/>
                  </a:cubicBezTo>
                  <a:cubicBezTo>
                    <a:pt x="52" y="43"/>
                    <a:pt x="51" y="44"/>
                    <a:pt x="50" y="44"/>
                  </a:cubicBezTo>
                  <a:cubicBezTo>
                    <a:pt x="48" y="47"/>
                    <a:pt x="46" y="49"/>
                    <a:pt x="44" y="52"/>
                  </a:cubicBezTo>
                  <a:cubicBezTo>
                    <a:pt x="44" y="52"/>
                    <a:pt x="44" y="53"/>
                    <a:pt x="43" y="53"/>
                  </a:cubicBezTo>
                  <a:cubicBezTo>
                    <a:pt x="39" y="56"/>
                    <a:pt x="38" y="60"/>
                    <a:pt x="35" y="64"/>
                  </a:cubicBezTo>
                  <a:cubicBezTo>
                    <a:pt x="34" y="64"/>
                    <a:pt x="33" y="65"/>
                    <a:pt x="32" y="66"/>
                  </a:cubicBezTo>
                  <a:cubicBezTo>
                    <a:pt x="30" y="66"/>
                    <a:pt x="29" y="66"/>
                    <a:pt x="27" y="65"/>
                  </a:cubicBezTo>
                  <a:cubicBezTo>
                    <a:pt x="27" y="65"/>
                    <a:pt x="26" y="65"/>
                    <a:pt x="25" y="65"/>
                  </a:cubicBezTo>
                  <a:cubicBezTo>
                    <a:pt x="23" y="66"/>
                    <a:pt x="21" y="66"/>
                    <a:pt x="20" y="67"/>
                  </a:cubicBezTo>
                  <a:cubicBezTo>
                    <a:pt x="18" y="68"/>
                    <a:pt x="17" y="69"/>
                    <a:pt x="15" y="70"/>
                  </a:cubicBezTo>
                  <a:cubicBezTo>
                    <a:pt x="13" y="72"/>
                    <a:pt x="10" y="72"/>
                    <a:pt x="8" y="74"/>
                  </a:cubicBezTo>
                  <a:cubicBezTo>
                    <a:pt x="7" y="75"/>
                    <a:pt x="7" y="76"/>
                    <a:pt x="7" y="77"/>
                  </a:cubicBezTo>
                  <a:cubicBezTo>
                    <a:pt x="6" y="79"/>
                    <a:pt x="6" y="80"/>
                    <a:pt x="5" y="80"/>
                  </a:cubicBezTo>
                  <a:cubicBezTo>
                    <a:pt x="4" y="81"/>
                    <a:pt x="3" y="82"/>
                    <a:pt x="2" y="83"/>
                  </a:cubicBezTo>
                  <a:cubicBezTo>
                    <a:pt x="0" y="85"/>
                    <a:pt x="1" y="88"/>
                    <a:pt x="1" y="90"/>
                  </a:cubicBezTo>
                  <a:cubicBezTo>
                    <a:pt x="1" y="96"/>
                    <a:pt x="0" y="102"/>
                    <a:pt x="1" y="108"/>
                  </a:cubicBezTo>
                  <a:cubicBezTo>
                    <a:pt x="1" y="111"/>
                    <a:pt x="1" y="114"/>
                    <a:pt x="1" y="116"/>
                  </a:cubicBezTo>
                  <a:cubicBezTo>
                    <a:pt x="2" y="119"/>
                    <a:pt x="4" y="120"/>
                    <a:pt x="6" y="122"/>
                  </a:cubicBezTo>
                  <a:lnTo>
                    <a:pt x="8" y="12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9" name="Freeform 374"/>
            <p:cNvSpPr>
              <a:spLocks/>
            </p:cNvSpPr>
            <p:nvPr/>
          </p:nvSpPr>
          <p:spPr bwMode="auto">
            <a:xfrm>
              <a:off x="7071476" y="3553567"/>
              <a:ext cx="31605" cy="44613"/>
            </a:xfrm>
            <a:custGeom>
              <a:avLst/>
              <a:gdLst>
                <a:gd name="T0" fmla="*/ 1928734 w 67"/>
                <a:gd name="T1" fmla="*/ 3245439 h 92"/>
                <a:gd name="T2" fmla="*/ 2016296 w 67"/>
                <a:gd name="T3" fmla="*/ 3058496 h 92"/>
                <a:gd name="T4" fmla="*/ 2061453 w 67"/>
                <a:gd name="T5" fmla="*/ 2967482 h 92"/>
                <a:gd name="T6" fmla="*/ 2061453 w 67"/>
                <a:gd name="T7" fmla="*/ 2934294 h 92"/>
                <a:gd name="T8" fmla="*/ 2098627 w 67"/>
                <a:gd name="T9" fmla="*/ 2892417 h 92"/>
                <a:gd name="T10" fmla="*/ 2186187 w 67"/>
                <a:gd name="T11" fmla="*/ 2816926 h 92"/>
                <a:gd name="T12" fmla="*/ 2186187 w 67"/>
                <a:gd name="T13" fmla="*/ 2677904 h 92"/>
                <a:gd name="T14" fmla="*/ 2349156 w 67"/>
                <a:gd name="T15" fmla="*/ 2543419 h 92"/>
                <a:gd name="T16" fmla="*/ 2451550 w 67"/>
                <a:gd name="T17" fmla="*/ 2437996 h 92"/>
                <a:gd name="T18" fmla="*/ 2655898 w 67"/>
                <a:gd name="T19" fmla="*/ 2285851 h 92"/>
                <a:gd name="T20" fmla="*/ 2701466 w 67"/>
                <a:gd name="T21" fmla="*/ 2255323 h 92"/>
                <a:gd name="T22" fmla="*/ 2613906 w 67"/>
                <a:gd name="T23" fmla="*/ 2216335 h 92"/>
                <a:gd name="T24" fmla="*/ 2413869 w 67"/>
                <a:gd name="T25" fmla="*/ 2018464 h 92"/>
                <a:gd name="T26" fmla="*/ 2413869 w 67"/>
                <a:gd name="T27" fmla="*/ 1722995 h 92"/>
                <a:gd name="T28" fmla="*/ 2413869 w 67"/>
                <a:gd name="T29" fmla="*/ 1093602 h 92"/>
                <a:gd name="T30" fmla="*/ 2451550 w 67"/>
                <a:gd name="T31" fmla="*/ 846168 h 92"/>
                <a:gd name="T32" fmla="*/ 2585853 w 67"/>
                <a:gd name="T33" fmla="*/ 732434 h 92"/>
                <a:gd name="T34" fmla="*/ 2655898 w 67"/>
                <a:gd name="T35" fmla="*/ 637806 h 92"/>
                <a:gd name="T36" fmla="*/ 2701466 w 67"/>
                <a:gd name="T37" fmla="*/ 534761 h 92"/>
                <a:gd name="T38" fmla="*/ 2701466 w 67"/>
                <a:gd name="T39" fmla="*/ 568426 h 92"/>
                <a:gd name="T40" fmla="*/ 2451550 w 67"/>
                <a:gd name="T41" fmla="*/ 568426 h 92"/>
                <a:gd name="T42" fmla="*/ 2231873 w 67"/>
                <a:gd name="T43" fmla="*/ 422528 h 92"/>
                <a:gd name="T44" fmla="*/ 2231873 w 67"/>
                <a:gd name="T45" fmla="*/ 422528 h 92"/>
                <a:gd name="T46" fmla="*/ 2061453 w 67"/>
                <a:gd name="T47" fmla="*/ 534761 h 92"/>
                <a:gd name="T48" fmla="*/ 2016296 w 67"/>
                <a:gd name="T49" fmla="*/ 598776 h 92"/>
                <a:gd name="T50" fmla="*/ 1928734 w 67"/>
                <a:gd name="T51" fmla="*/ 598776 h 92"/>
                <a:gd name="T52" fmla="*/ 1574738 w 67"/>
                <a:gd name="T53" fmla="*/ 598776 h 92"/>
                <a:gd name="T54" fmla="*/ 1414084 w 67"/>
                <a:gd name="T55" fmla="*/ 568426 h 92"/>
                <a:gd name="T56" fmla="*/ 1287031 w 67"/>
                <a:gd name="T57" fmla="*/ 493284 h 92"/>
                <a:gd name="T58" fmla="*/ 1244071 w 67"/>
                <a:gd name="T59" fmla="*/ 455740 h 92"/>
                <a:gd name="T60" fmla="*/ 1039168 w 67"/>
                <a:gd name="T61" fmla="*/ 352913 h 92"/>
                <a:gd name="T62" fmla="*/ 811596 w 67"/>
                <a:gd name="T63" fmla="*/ 352913 h 92"/>
                <a:gd name="T64" fmla="*/ 774422 w 67"/>
                <a:gd name="T65" fmla="*/ 277955 h 92"/>
                <a:gd name="T66" fmla="*/ 728797 w 67"/>
                <a:gd name="T67" fmla="*/ 0 h 92"/>
                <a:gd name="T68" fmla="*/ 557440 w 67"/>
                <a:gd name="T69" fmla="*/ 0 h 92"/>
                <a:gd name="T70" fmla="*/ 524307 w 67"/>
                <a:gd name="T71" fmla="*/ 75094 h 92"/>
                <a:gd name="T72" fmla="*/ 399125 w 67"/>
                <a:gd name="T73" fmla="*/ 236882 h 92"/>
                <a:gd name="T74" fmla="*/ 205703 w 67"/>
                <a:gd name="T75" fmla="*/ 380700 h 92"/>
                <a:gd name="T76" fmla="*/ 205703 w 67"/>
                <a:gd name="T77" fmla="*/ 380700 h 92"/>
                <a:gd name="T78" fmla="*/ 247863 w 67"/>
                <a:gd name="T79" fmla="*/ 422528 h 92"/>
                <a:gd name="T80" fmla="*/ 287296 w 67"/>
                <a:gd name="T81" fmla="*/ 534761 h 92"/>
                <a:gd name="T82" fmla="*/ 330452 w 67"/>
                <a:gd name="T83" fmla="*/ 598776 h 92"/>
                <a:gd name="T84" fmla="*/ 330452 w 67"/>
                <a:gd name="T85" fmla="*/ 692636 h 92"/>
                <a:gd name="T86" fmla="*/ 441542 w 67"/>
                <a:gd name="T87" fmla="*/ 876804 h 92"/>
                <a:gd name="T88" fmla="*/ 441542 w 67"/>
                <a:gd name="T89" fmla="*/ 1267207 h 92"/>
                <a:gd name="T90" fmla="*/ 353996 w 67"/>
                <a:gd name="T91" fmla="*/ 1409139 h 92"/>
                <a:gd name="T92" fmla="*/ 205703 w 67"/>
                <a:gd name="T93" fmla="*/ 1589727 h 92"/>
                <a:gd name="T94" fmla="*/ 0 w 67"/>
                <a:gd name="T95" fmla="*/ 1722995 h 92"/>
                <a:gd name="T96" fmla="*/ 0 w 67"/>
                <a:gd name="T97" fmla="*/ 2082240 h 92"/>
                <a:gd name="T98" fmla="*/ 480928 w 67"/>
                <a:gd name="T99" fmla="*/ 2216335 h 92"/>
                <a:gd name="T100" fmla="*/ 600612 w 67"/>
                <a:gd name="T101" fmla="*/ 2319112 h 92"/>
                <a:gd name="T102" fmla="*/ 728797 w 67"/>
                <a:gd name="T103" fmla="*/ 2399133 h 92"/>
                <a:gd name="T104" fmla="*/ 856723 w 67"/>
                <a:gd name="T105" fmla="*/ 2437996 h 92"/>
                <a:gd name="T106" fmla="*/ 1039168 w 67"/>
                <a:gd name="T107" fmla="*/ 2563751 h 92"/>
                <a:gd name="T108" fmla="*/ 1081600 w 67"/>
                <a:gd name="T109" fmla="*/ 2597275 h 92"/>
                <a:gd name="T110" fmla="*/ 1244071 w 67"/>
                <a:gd name="T111" fmla="*/ 2636023 h 92"/>
                <a:gd name="T112" fmla="*/ 1368809 w 67"/>
                <a:gd name="T113" fmla="*/ 2752165 h 92"/>
                <a:gd name="T114" fmla="*/ 1414084 w 67"/>
                <a:gd name="T115" fmla="*/ 2816926 h 92"/>
                <a:gd name="T116" fmla="*/ 1540387 w 67"/>
                <a:gd name="T117" fmla="*/ 3008927 h 92"/>
                <a:gd name="T118" fmla="*/ 1662298 w 67"/>
                <a:gd name="T119" fmla="*/ 3091763 h 92"/>
                <a:gd name="T120" fmla="*/ 1722802 w 67"/>
                <a:gd name="T121" fmla="*/ 3132042 h 92"/>
                <a:gd name="T122" fmla="*/ 1855736 w 67"/>
                <a:gd name="T123" fmla="*/ 3206378 h 92"/>
                <a:gd name="T124" fmla="*/ 1928734 w 67"/>
                <a:gd name="T125" fmla="*/ 3245439 h 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7"/>
                <a:gd name="T190" fmla="*/ 0 h 92"/>
                <a:gd name="T191" fmla="*/ 67 w 67"/>
                <a:gd name="T192" fmla="*/ 92 h 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7" h="92">
                  <a:moveTo>
                    <a:pt x="48" y="92"/>
                  </a:moveTo>
                  <a:cubicBezTo>
                    <a:pt x="48" y="91"/>
                    <a:pt x="49" y="89"/>
                    <a:pt x="50" y="87"/>
                  </a:cubicBezTo>
                  <a:cubicBezTo>
                    <a:pt x="50" y="86"/>
                    <a:pt x="50" y="85"/>
                    <a:pt x="51" y="84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2" y="82"/>
                  </a:cubicBezTo>
                  <a:cubicBezTo>
                    <a:pt x="52" y="81"/>
                    <a:pt x="53" y="81"/>
                    <a:pt x="54" y="80"/>
                  </a:cubicBezTo>
                  <a:cubicBezTo>
                    <a:pt x="54" y="79"/>
                    <a:pt x="53" y="77"/>
                    <a:pt x="54" y="76"/>
                  </a:cubicBezTo>
                  <a:cubicBezTo>
                    <a:pt x="55" y="74"/>
                    <a:pt x="57" y="74"/>
                    <a:pt x="58" y="72"/>
                  </a:cubicBezTo>
                  <a:cubicBezTo>
                    <a:pt x="59" y="71"/>
                    <a:pt x="60" y="70"/>
                    <a:pt x="61" y="69"/>
                  </a:cubicBezTo>
                  <a:cubicBezTo>
                    <a:pt x="63" y="68"/>
                    <a:pt x="65" y="67"/>
                    <a:pt x="66" y="65"/>
                  </a:cubicBezTo>
                  <a:cubicBezTo>
                    <a:pt x="66" y="65"/>
                    <a:pt x="66" y="64"/>
                    <a:pt x="67" y="64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63" y="61"/>
                    <a:pt x="61" y="60"/>
                    <a:pt x="60" y="57"/>
                  </a:cubicBezTo>
                  <a:cubicBezTo>
                    <a:pt x="60" y="55"/>
                    <a:pt x="60" y="52"/>
                    <a:pt x="60" y="49"/>
                  </a:cubicBezTo>
                  <a:cubicBezTo>
                    <a:pt x="59" y="43"/>
                    <a:pt x="60" y="37"/>
                    <a:pt x="60" y="31"/>
                  </a:cubicBezTo>
                  <a:cubicBezTo>
                    <a:pt x="60" y="29"/>
                    <a:pt x="59" y="26"/>
                    <a:pt x="61" y="24"/>
                  </a:cubicBezTo>
                  <a:cubicBezTo>
                    <a:pt x="62" y="23"/>
                    <a:pt x="63" y="22"/>
                    <a:pt x="64" y="21"/>
                  </a:cubicBezTo>
                  <a:cubicBezTo>
                    <a:pt x="65" y="21"/>
                    <a:pt x="65" y="20"/>
                    <a:pt x="66" y="18"/>
                  </a:cubicBezTo>
                  <a:cubicBezTo>
                    <a:pt x="66" y="17"/>
                    <a:pt x="66" y="16"/>
                    <a:pt x="67" y="15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5" y="16"/>
                    <a:pt x="63" y="16"/>
                    <a:pt x="61" y="16"/>
                  </a:cubicBezTo>
                  <a:cubicBezTo>
                    <a:pt x="60" y="14"/>
                    <a:pt x="58" y="11"/>
                    <a:pt x="55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3" y="13"/>
                    <a:pt x="52" y="13"/>
                    <a:pt x="51" y="15"/>
                  </a:cubicBezTo>
                  <a:cubicBezTo>
                    <a:pt x="50" y="15"/>
                    <a:pt x="50" y="16"/>
                    <a:pt x="50" y="17"/>
                  </a:cubicBezTo>
                  <a:cubicBezTo>
                    <a:pt x="50" y="17"/>
                    <a:pt x="49" y="17"/>
                    <a:pt x="48" y="17"/>
                  </a:cubicBezTo>
                  <a:cubicBezTo>
                    <a:pt x="45" y="17"/>
                    <a:pt x="42" y="18"/>
                    <a:pt x="39" y="17"/>
                  </a:cubicBezTo>
                  <a:cubicBezTo>
                    <a:pt x="38" y="17"/>
                    <a:pt x="36" y="17"/>
                    <a:pt x="35" y="16"/>
                  </a:cubicBezTo>
                  <a:cubicBezTo>
                    <a:pt x="34" y="15"/>
                    <a:pt x="33" y="15"/>
                    <a:pt x="32" y="14"/>
                  </a:cubicBezTo>
                  <a:cubicBezTo>
                    <a:pt x="32" y="14"/>
                    <a:pt x="31" y="14"/>
                    <a:pt x="31" y="13"/>
                  </a:cubicBezTo>
                  <a:cubicBezTo>
                    <a:pt x="29" y="12"/>
                    <a:pt x="28" y="11"/>
                    <a:pt x="26" y="10"/>
                  </a:cubicBezTo>
                  <a:cubicBezTo>
                    <a:pt x="24" y="9"/>
                    <a:pt x="22" y="10"/>
                    <a:pt x="20" y="10"/>
                  </a:cubicBezTo>
                  <a:cubicBezTo>
                    <a:pt x="19" y="10"/>
                    <a:pt x="19" y="9"/>
                    <a:pt x="19" y="8"/>
                  </a:cubicBezTo>
                  <a:cubicBezTo>
                    <a:pt x="18" y="6"/>
                    <a:pt x="19" y="3"/>
                    <a:pt x="18" y="0"/>
                  </a:cubicBezTo>
                  <a:cubicBezTo>
                    <a:pt x="17" y="0"/>
                    <a:pt x="16" y="0"/>
                    <a:pt x="14" y="0"/>
                  </a:cubicBezTo>
                  <a:cubicBezTo>
                    <a:pt x="14" y="0"/>
                    <a:pt x="14" y="2"/>
                    <a:pt x="13" y="2"/>
                  </a:cubicBezTo>
                  <a:cubicBezTo>
                    <a:pt x="13" y="4"/>
                    <a:pt x="11" y="5"/>
                    <a:pt x="10" y="7"/>
                  </a:cubicBezTo>
                  <a:cubicBezTo>
                    <a:pt x="9" y="8"/>
                    <a:pt x="6" y="10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3"/>
                    <a:pt x="6" y="15"/>
                    <a:pt x="7" y="15"/>
                  </a:cubicBezTo>
                  <a:cubicBezTo>
                    <a:pt x="8" y="16"/>
                    <a:pt x="8" y="16"/>
                    <a:pt x="8" y="17"/>
                  </a:cubicBezTo>
                  <a:cubicBezTo>
                    <a:pt x="9" y="18"/>
                    <a:pt x="8" y="19"/>
                    <a:pt x="8" y="20"/>
                  </a:cubicBezTo>
                  <a:cubicBezTo>
                    <a:pt x="9" y="22"/>
                    <a:pt x="11" y="23"/>
                    <a:pt x="11" y="25"/>
                  </a:cubicBezTo>
                  <a:cubicBezTo>
                    <a:pt x="12" y="29"/>
                    <a:pt x="12" y="32"/>
                    <a:pt x="11" y="36"/>
                  </a:cubicBezTo>
                  <a:cubicBezTo>
                    <a:pt x="10" y="37"/>
                    <a:pt x="10" y="39"/>
                    <a:pt x="9" y="40"/>
                  </a:cubicBezTo>
                  <a:cubicBezTo>
                    <a:pt x="8" y="42"/>
                    <a:pt x="6" y="43"/>
                    <a:pt x="5" y="45"/>
                  </a:cubicBezTo>
                  <a:cubicBezTo>
                    <a:pt x="3" y="46"/>
                    <a:pt x="2" y="48"/>
                    <a:pt x="0" y="49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" y="59"/>
                    <a:pt x="8" y="61"/>
                    <a:pt x="12" y="63"/>
                  </a:cubicBezTo>
                  <a:cubicBezTo>
                    <a:pt x="13" y="64"/>
                    <a:pt x="14" y="65"/>
                    <a:pt x="15" y="66"/>
                  </a:cubicBezTo>
                  <a:cubicBezTo>
                    <a:pt x="16" y="66"/>
                    <a:pt x="17" y="67"/>
                    <a:pt x="18" y="68"/>
                  </a:cubicBezTo>
                  <a:cubicBezTo>
                    <a:pt x="19" y="69"/>
                    <a:pt x="20" y="69"/>
                    <a:pt x="21" y="69"/>
                  </a:cubicBezTo>
                  <a:cubicBezTo>
                    <a:pt x="23" y="70"/>
                    <a:pt x="24" y="71"/>
                    <a:pt x="26" y="73"/>
                  </a:cubicBezTo>
                  <a:cubicBezTo>
                    <a:pt x="27" y="73"/>
                    <a:pt x="27" y="73"/>
                    <a:pt x="27" y="74"/>
                  </a:cubicBezTo>
                  <a:cubicBezTo>
                    <a:pt x="29" y="75"/>
                    <a:pt x="29" y="75"/>
                    <a:pt x="31" y="75"/>
                  </a:cubicBezTo>
                  <a:cubicBezTo>
                    <a:pt x="32" y="76"/>
                    <a:pt x="33" y="77"/>
                    <a:pt x="34" y="78"/>
                  </a:cubicBezTo>
                  <a:cubicBezTo>
                    <a:pt x="34" y="79"/>
                    <a:pt x="35" y="79"/>
                    <a:pt x="35" y="80"/>
                  </a:cubicBezTo>
                  <a:cubicBezTo>
                    <a:pt x="36" y="82"/>
                    <a:pt x="37" y="83"/>
                    <a:pt x="38" y="85"/>
                  </a:cubicBezTo>
                  <a:cubicBezTo>
                    <a:pt x="39" y="87"/>
                    <a:pt x="40" y="88"/>
                    <a:pt x="41" y="88"/>
                  </a:cubicBezTo>
                  <a:cubicBezTo>
                    <a:pt x="42" y="89"/>
                    <a:pt x="43" y="89"/>
                    <a:pt x="43" y="89"/>
                  </a:cubicBezTo>
                  <a:cubicBezTo>
                    <a:pt x="44" y="90"/>
                    <a:pt x="45" y="91"/>
                    <a:pt x="46" y="91"/>
                  </a:cubicBezTo>
                  <a:lnTo>
                    <a:pt x="48" y="92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0" name="Freeform 375"/>
            <p:cNvSpPr>
              <a:spLocks/>
            </p:cNvSpPr>
            <p:nvPr/>
          </p:nvSpPr>
          <p:spPr bwMode="auto">
            <a:xfrm>
              <a:off x="7056677" y="3558975"/>
              <a:ext cx="20568" cy="25416"/>
            </a:xfrm>
            <a:custGeom>
              <a:avLst/>
              <a:gdLst>
                <a:gd name="T0" fmla="*/ 1383419 w 44"/>
                <a:gd name="T1" fmla="*/ 0 h 53"/>
                <a:gd name="T2" fmla="*/ 1362432 w 44"/>
                <a:gd name="T3" fmla="*/ 75303 h 53"/>
                <a:gd name="T4" fmla="*/ 1253064 w 44"/>
                <a:gd name="T5" fmla="*/ 184039 h 53"/>
                <a:gd name="T6" fmla="*/ 1169024 w 44"/>
                <a:gd name="T7" fmla="*/ 220206 h 53"/>
                <a:gd name="T8" fmla="*/ 855361 w 44"/>
                <a:gd name="T9" fmla="*/ 237529 h 53"/>
                <a:gd name="T10" fmla="*/ 756461 w 44"/>
                <a:gd name="T11" fmla="*/ 220206 h 53"/>
                <a:gd name="T12" fmla="*/ 716123 w 44"/>
                <a:gd name="T13" fmla="*/ 220206 h 53"/>
                <a:gd name="T14" fmla="*/ 522033 w 44"/>
                <a:gd name="T15" fmla="*/ 220206 h 53"/>
                <a:gd name="T16" fmla="*/ 414101 w 44"/>
                <a:gd name="T17" fmla="*/ 237529 h 53"/>
                <a:gd name="T18" fmla="*/ 370699 w 44"/>
                <a:gd name="T19" fmla="*/ 639981 h 53"/>
                <a:gd name="T20" fmla="*/ 414101 w 44"/>
                <a:gd name="T21" fmla="*/ 639981 h 53"/>
                <a:gd name="T22" fmla="*/ 522033 w 44"/>
                <a:gd name="T23" fmla="*/ 639981 h 53"/>
                <a:gd name="T24" fmla="*/ 522033 w 44"/>
                <a:gd name="T25" fmla="*/ 735270 h 53"/>
                <a:gd name="T26" fmla="*/ 486490 w 44"/>
                <a:gd name="T27" fmla="*/ 848977 h 53"/>
                <a:gd name="T28" fmla="*/ 292317 w 44"/>
                <a:gd name="T29" fmla="*/ 993792 h 53"/>
                <a:gd name="T30" fmla="*/ 229201 w 44"/>
                <a:gd name="T31" fmla="*/ 1033022 h 53"/>
                <a:gd name="T32" fmla="*/ 78329 w 44"/>
                <a:gd name="T33" fmla="*/ 1198023 h 53"/>
                <a:gd name="T34" fmla="*/ 40547 w 44"/>
                <a:gd name="T35" fmla="*/ 1231662 h 53"/>
                <a:gd name="T36" fmla="*/ 40547 w 44"/>
                <a:gd name="T37" fmla="*/ 1376632 h 53"/>
                <a:gd name="T38" fmla="*/ 78329 w 44"/>
                <a:gd name="T39" fmla="*/ 1809378 h 53"/>
                <a:gd name="T40" fmla="*/ 118645 w 44"/>
                <a:gd name="T41" fmla="*/ 1838048 h 53"/>
                <a:gd name="T42" fmla="*/ 151317 w 44"/>
                <a:gd name="T43" fmla="*/ 1838048 h 53"/>
                <a:gd name="T44" fmla="*/ 270229 w 44"/>
                <a:gd name="T45" fmla="*/ 1838048 h 53"/>
                <a:gd name="T46" fmla="*/ 335769 w 44"/>
                <a:gd name="T47" fmla="*/ 1809378 h 53"/>
                <a:gd name="T48" fmla="*/ 442775 w 44"/>
                <a:gd name="T49" fmla="*/ 1729400 h 53"/>
                <a:gd name="T50" fmla="*/ 896313 w 44"/>
                <a:gd name="T51" fmla="*/ 1633880 h 53"/>
                <a:gd name="T52" fmla="*/ 1048751 w 44"/>
                <a:gd name="T53" fmla="*/ 1488973 h 53"/>
                <a:gd name="T54" fmla="*/ 1127189 w 44"/>
                <a:gd name="T55" fmla="*/ 1415048 h 53"/>
                <a:gd name="T56" fmla="*/ 1209620 w 44"/>
                <a:gd name="T57" fmla="*/ 1337516 h 53"/>
                <a:gd name="T58" fmla="*/ 1383419 w 44"/>
                <a:gd name="T59" fmla="*/ 1198023 h 53"/>
                <a:gd name="T60" fmla="*/ 1545393 w 44"/>
                <a:gd name="T61" fmla="*/ 1033022 h 53"/>
                <a:gd name="T62" fmla="*/ 1612008 w 44"/>
                <a:gd name="T63" fmla="*/ 879762 h 53"/>
                <a:gd name="T64" fmla="*/ 1612008 w 44"/>
                <a:gd name="T65" fmla="*/ 496259 h 53"/>
                <a:gd name="T66" fmla="*/ 1502284 w 44"/>
                <a:gd name="T67" fmla="*/ 318028 h 53"/>
                <a:gd name="T68" fmla="*/ 1502284 w 44"/>
                <a:gd name="T69" fmla="*/ 220206 h 53"/>
                <a:gd name="T70" fmla="*/ 1461345 w 44"/>
                <a:gd name="T71" fmla="*/ 144923 h 53"/>
                <a:gd name="T72" fmla="*/ 1417943 w 44"/>
                <a:gd name="T73" fmla="*/ 39128 h 53"/>
                <a:gd name="T74" fmla="*/ 1383419 w 44"/>
                <a:gd name="T75" fmla="*/ 0 h 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4"/>
                <a:gd name="T115" fmla="*/ 0 h 53"/>
                <a:gd name="T116" fmla="*/ 44 w 44"/>
                <a:gd name="T117" fmla="*/ 53 h 5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4" h="53">
                  <a:moveTo>
                    <a:pt x="37" y="0"/>
                  </a:moveTo>
                  <a:cubicBezTo>
                    <a:pt x="36" y="1"/>
                    <a:pt x="36" y="1"/>
                    <a:pt x="36" y="2"/>
                  </a:cubicBezTo>
                  <a:cubicBezTo>
                    <a:pt x="35" y="3"/>
                    <a:pt x="34" y="4"/>
                    <a:pt x="33" y="5"/>
                  </a:cubicBezTo>
                  <a:cubicBezTo>
                    <a:pt x="33" y="5"/>
                    <a:pt x="32" y="6"/>
                    <a:pt x="31" y="6"/>
                  </a:cubicBezTo>
                  <a:cubicBezTo>
                    <a:pt x="29" y="6"/>
                    <a:pt x="26" y="5"/>
                    <a:pt x="23" y="7"/>
                  </a:cubicBezTo>
                  <a:cubicBezTo>
                    <a:pt x="22" y="8"/>
                    <a:pt x="21" y="7"/>
                    <a:pt x="20" y="6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7" y="6"/>
                    <a:pt x="15" y="5"/>
                    <a:pt x="14" y="6"/>
                  </a:cubicBezTo>
                  <a:cubicBezTo>
                    <a:pt x="12" y="6"/>
                    <a:pt x="12" y="7"/>
                    <a:pt x="11" y="7"/>
                  </a:cubicBezTo>
                  <a:cubicBezTo>
                    <a:pt x="10" y="10"/>
                    <a:pt x="10" y="14"/>
                    <a:pt x="10" y="18"/>
                  </a:cubicBezTo>
                  <a:cubicBezTo>
                    <a:pt x="10" y="18"/>
                    <a:pt x="11" y="18"/>
                    <a:pt x="11" y="18"/>
                  </a:cubicBezTo>
                  <a:cubicBezTo>
                    <a:pt x="12" y="19"/>
                    <a:pt x="13" y="18"/>
                    <a:pt x="14" y="18"/>
                  </a:cubicBezTo>
                  <a:cubicBezTo>
                    <a:pt x="14" y="19"/>
                    <a:pt x="14" y="20"/>
                    <a:pt x="14" y="21"/>
                  </a:cubicBezTo>
                  <a:cubicBezTo>
                    <a:pt x="14" y="22"/>
                    <a:pt x="13" y="23"/>
                    <a:pt x="13" y="24"/>
                  </a:cubicBezTo>
                  <a:cubicBezTo>
                    <a:pt x="12" y="26"/>
                    <a:pt x="10" y="27"/>
                    <a:pt x="8" y="28"/>
                  </a:cubicBezTo>
                  <a:cubicBezTo>
                    <a:pt x="7" y="28"/>
                    <a:pt x="7" y="29"/>
                    <a:pt x="6" y="29"/>
                  </a:cubicBezTo>
                  <a:cubicBezTo>
                    <a:pt x="5" y="31"/>
                    <a:pt x="4" y="33"/>
                    <a:pt x="2" y="34"/>
                  </a:cubicBezTo>
                  <a:cubicBezTo>
                    <a:pt x="2" y="34"/>
                    <a:pt x="1" y="35"/>
                    <a:pt x="1" y="35"/>
                  </a:cubicBezTo>
                  <a:cubicBezTo>
                    <a:pt x="0" y="36"/>
                    <a:pt x="1" y="38"/>
                    <a:pt x="1" y="39"/>
                  </a:cubicBezTo>
                  <a:cubicBezTo>
                    <a:pt x="2" y="43"/>
                    <a:pt x="1" y="47"/>
                    <a:pt x="2" y="51"/>
                  </a:cubicBezTo>
                  <a:cubicBezTo>
                    <a:pt x="2" y="51"/>
                    <a:pt x="2" y="52"/>
                    <a:pt x="3" y="52"/>
                  </a:cubicBezTo>
                  <a:cubicBezTo>
                    <a:pt x="3" y="52"/>
                    <a:pt x="4" y="52"/>
                    <a:pt x="4" y="52"/>
                  </a:cubicBezTo>
                  <a:cubicBezTo>
                    <a:pt x="5" y="53"/>
                    <a:pt x="6" y="53"/>
                    <a:pt x="7" y="52"/>
                  </a:cubicBezTo>
                  <a:cubicBezTo>
                    <a:pt x="7" y="52"/>
                    <a:pt x="8" y="51"/>
                    <a:pt x="9" y="51"/>
                  </a:cubicBezTo>
                  <a:cubicBezTo>
                    <a:pt x="10" y="50"/>
                    <a:pt x="11" y="49"/>
                    <a:pt x="12" y="49"/>
                  </a:cubicBezTo>
                  <a:cubicBezTo>
                    <a:pt x="16" y="48"/>
                    <a:pt x="20" y="47"/>
                    <a:pt x="24" y="46"/>
                  </a:cubicBezTo>
                  <a:cubicBezTo>
                    <a:pt x="25" y="45"/>
                    <a:pt x="26" y="43"/>
                    <a:pt x="28" y="42"/>
                  </a:cubicBezTo>
                  <a:cubicBezTo>
                    <a:pt x="28" y="41"/>
                    <a:pt x="29" y="41"/>
                    <a:pt x="30" y="40"/>
                  </a:cubicBezTo>
                  <a:cubicBezTo>
                    <a:pt x="31" y="40"/>
                    <a:pt x="32" y="39"/>
                    <a:pt x="32" y="38"/>
                  </a:cubicBezTo>
                  <a:cubicBezTo>
                    <a:pt x="34" y="37"/>
                    <a:pt x="35" y="35"/>
                    <a:pt x="37" y="34"/>
                  </a:cubicBezTo>
                  <a:cubicBezTo>
                    <a:pt x="38" y="32"/>
                    <a:pt x="40" y="31"/>
                    <a:pt x="41" y="29"/>
                  </a:cubicBezTo>
                  <a:cubicBezTo>
                    <a:pt x="42" y="28"/>
                    <a:pt x="42" y="26"/>
                    <a:pt x="43" y="25"/>
                  </a:cubicBezTo>
                  <a:cubicBezTo>
                    <a:pt x="44" y="21"/>
                    <a:pt x="44" y="18"/>
                    <a:pt x="43" y="14"/>
                  </a:cubicBezTo>
                  <a:cubicBezTo>
                    <a:pt x="43" y="12"/>
                    <a:pt x="41" y="11"/>
                    <a:pt x="40" y="9"/>
                  </a:cubicBezTo>
                  <a:cubicBezTo>
                    <a:pt x="40" y="8"/>
                    <a:pt x="41" y="7"/>
                    <a:pt x="40" y="6"/>
                  </a:cubicBezTo>
                  <a:cubicBezTo>
                    <a:pt x="40" y="5"/>
                    <a:pt x="40" y="5"/>
                    <a:pt x="39" y="4"/>
                  </a:cubicBezTo>
                  <a:cubicBezTo>
                    <a:pt x="38" y="4"/>
                    <a:pt x="38" y="2"/>
                    <a:pt x="38" y="1"/>
                  </a:cubicBezTo>
                  <a:cubicBezTo>
                    <a:pt x="38" y="1"/>
                    <a:pt x="38" y="1"/>
                    <a:pt x="37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1" name="Freeform 376"/>
            <p:cNvSpPr>
              <a:spLocks/>
            </p:cNvSpPr>
            <p:nvPr/>
          </p:nvSpPr>
          <p:spPr bwMode="auto">
            <a:xfrm>
              <a:off x="7001495" y="3529774"/>
              <a:ext cx="47658" cy="37583"/>
            </a:xfrm>
            <a:custGeom>
              <a:avLst/>
              <a:gdLst>
                <a:gd name="T0" fmla="*/ 485389 w 102"/>
                <a:gd name="T1" fmla="*/ 2655048 h 78"/>
                <a:gd name="T2" fmla="*/ 603907 w 102"/>
                <a:gd name="T3" fmla="*/ 2419956 h 78"/>
                <a:gd name="T4" fmla="*/ 810278 w 102"/>
                <a:gd name="T5" fmla="*/ 2308310 h 78"/>
                <a:gd name="T6" fmla="*/ 937467 w 102"/>
                <a:gd name="T7" fmla="*/ 2345129 h 78"/>
                <a:gd name="T8" fmla="*/ 1166370 w 102"/>
                <a:gd name="T9" fmla="*/ 2345129 h 78"/>
                <a:gd name="T10" fmla="*/ 1206739 w 102"/>
                <a:gd name="T11" fmla="*/ 2243869 h 78"/>
                <a:gd name="T12" fmla="*/ 1316526 w 102"/>
                <a:gd name="T13" fmla="*/ 2031758 h 78"/>
                <a:gd name="T14" fmla="*/ 1541382 w 102"/>
                <a:gd name="T15" fmla="*/ 1928957 h 78"/>
                <a:gd name="T16" fmla="*/ 1770199 w 102"/>
                <a:gd name="T17" fmla="*/ 2051135 h 78"/>
                <a:gd name="T18" fmla="*/ 2168779 w 102"/>
                <a:gd name="T19" fmla="*/ 2164423 h 78"/>
                <a:gd name="T20" fmla="*/ 2373688 w 102"/>
                <a:gd name="T21" fmla="*/ 2131366 h 78"/>
                <a:gd name="T22" fmla="*/ 2580382 w 102"/>
                <a:gd name="T23" fmla="*/ 2008998 h 78"/>
                <a:gd name="T24" fmla="*/ 2731272 w 102"/>
                <a:gd name="T25" fmla="*/ 2008998 h 78"/>
                <a:gd name="T26" fmla="*/ 3001513 w 102"/>
                <a:gd name="T27" fmla="*/ 1928957 h 78"/>
                <a:gd name="T28" fmla="*/ 3256953 w 102"/>
                <a:gd name="T29" fmla="*/ 1854607 h 78"/>
                <a:gd name="T30" fmla="*/ 3626660 w 102"/>
                <a:gd name="T31" fmla="*/ 1893165 h 78"/>
                <a:gd name="T32" fmla="*/ 3709759 w 102"/>
                <a:gd name="T33" fmla="*/ 1673446 h 78"/>
                <a:gd name="T34" fmla="*/ 3548263 w 102"/>
                <a:gd name="T35" fmla="*/ 1579156 h 78"/>
                <a:gd name="T36" fmla="*/ 3375543 w 102"/>
                <a:gd name="T37" fmla="*/ 1219467 h 78"/>
                <a:gd name="T38" fmla="*/ 3184072 w 102"/>
                <a:gd name="T39" fmla="*/ 1022973 h 78"/>
                <a:gd name="T40" fmla="*/ 3146797 w 102"/>
                <a:gd name="T41" fmla="*/ 984446 h 78"/>
                <a:gd name="T42" fmla="*/ 3065770 w 102"/>
                <a:gd name="T43" fmla="*/ 870192 h 78"/>
                <a:gd name="T44" fmla="*/ 2893049 w 102"/>
                <a:gd name="T45" fmla="*/ 801206 h 78"/>
                <a:gd name="T46" fmla="*/ 2814883 w 102"/>
                <a:gd name="T47" fmla="*/ 687785 h 78"/>
                <a:gd name="T48" fmla="*/ 2664300 w 102"/>
                <a:gd name="T49" fmla="*/ 565137 h 78"/>
                <a:gd name="T50" fmla="*/ 2693067 w 102"/>
                <a:gd name="T51" fmla="*/ 349967 h 78"/>
                <a:gd name="T52" fmla="*/ 2664300 w 102"/>
                <a:gd name="T53" fmla="*/ 181983 h 78"/>
                <a:gd name="T54" fmla="*/ 2441054 w 102"/>
                <a:gd name="T55" fmla="*/ 0 h 78"/>
                <a:gd name="T56" fmla="*/ 2212237 w 102"/>
                <a:gd name="T57" fmla="*/ 0 h 78"/>
                <a:gd name="T58" fmla="*/ 2018516 w 102"/>
                <a:gd name="T59" fmla="*/ 310096 h 78"/>
                <a:gd name="T60" fmla="*/ 1837172 w 102"/>
                <a:gd name="T61" fmla="*/ 452500 h 78"/>
                <a:gd name="T62" fmla="*/ 1541382 w 102"/>
                <a:gd name="T63" fmla="*/ 634123 h 78"/>
                <a:gd name="T64" fmla="*/ 1357029 w 102"/>
                <a:gd name="T65" fmla="*/ 673013 h 78"/>
                <a:gd name="T66" fmla="*/ 1087649 w 102"/>
                <a:gd name="T67" fmla="*/ 944279 h 78"/>
                <a:gd name="T68" fmla="*/ 754620 w 102"/>
                <a:gd name="T69" fmla="*/ 1056514 h 78"/>
                <a:gd name="T70" fmla="*/ 644377 w 102"/>
                <a:gd name="T71" fmla="*/ 1022973 h 78"/>
                <a:gd name="T72" fmla="*/ 413217 w 102"/>
                <a:gd name="T73" fmla="*/ 1146804 h 78"/>
                <a:gd name="T74" fmla="*/ 269380 w 102"/>
                <a:gd name="T75" fmla="*/ 1146804 h 78"/>
                <a:gd name="T76" fmla="*/ 118482 w 102"/>
                <a:gd name="T77" fmla="*/ 1322663 h 78"/>
                <a:gd name="T78" fmla="*/ 40472 w 102"/>
                <a:gd name="T79" fmla="*/ 1579156 h 78"/>
                <a:gd name="T80" fmla="*/ 40472 w 102"/>
                <a:gd name="T81" fmla="*/ 1967255 h 78"/>
                <a:gd name="T82" fmla="*/ 228833 w 102"/>
                <a:gd name="T83" fmla="*/ 2272412 h 78"/>
                <a:gd name="T84" fmla="*/ 441962 w 102"/>
                <a:gd name="T85" fmla="*/ 2583794 h 78"/>
                <a:gd name="T86" fmla="*/ 485389 w 102"/>
                <a:gd name="T87" fmla="*/ 2724150 h 7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2"/>
                <a:gd name="T133" fmla="*/ 0 h 78"/>
                <a:gd name="T134" fmla="*/ 102 w 102"/>
                <a:gd name="T135" fmla="*/ 78 h 7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2" h="78">
                  <a:moveTo>
                    <a:pt x="13" y="78"/>
                  </a:moveTo>
                  <a:cubicBezTo>
                    <a:pt x="13" y="77"/>
                    <a:pt x="13" y="77"/>
                    <a:pt x="13" y="76"/>
                  </a:cubicBezTo>
                  <a:cubicBezTo>
                    <a:pt x="14" y="75"/>
                    <a:pt x="14" y="74"/>
                    <a:pt x="14" y="73"/>
                  </a:cubicBezTo>
                  <a:cubicBezTo>
                    <a:pt x="15" y="72"/>
                    <a:pt x="15" y="70"/>
                    <a:pt x="16" y="69"/>
                  </a:cubicBezTo>
                  <a:cubicBezTo>
                    <a:pt x="16" y="68"/>
                    <a:pt x="16" y="68"/>
                    <a:pt x="17" y="68"/>
                  </a:cubicBezTo>
                  <a:cubicBezTo>
                    <a:pt x="18" y="67"/>
                    <a:pt x="20" y="67"/>
                    <a:pt x="22" y="66"/>
                  </a:cubicBezTo>
                  <a:cubicBezTo>
                    <a:pt x="22" y="66"/>
                    <a:pt x="23" y="65"/>
                    <a:pt x="24" y="66"/>
                  </a:cubicBezTo>
                  <a:cubicBezTo>
                    <a:pt x="25" y="66"/>
                    <a:pt x="25" y="67"/>
                    <a:pt x="25" y="67"/>
                  </a:cubicBezTo>
                  <a:cubicBezTo>
                    <a:pt x="27" y="67"/>
                    <a:pt x="29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2" y="67"/>
                    <a:pt x="32" y="67"/>
                  </a:cubicBezTo>
                  <a:cubicBezTo>
                    <a:pt x="32" y="66"/>
                    <a:pt x="32" y="65"/>
                    <a:pt x="32" y="64"/>
                  </a:cubicBezTo>
                  <a:cubicBezTo>
                    <a:pt x="33" y="63"/>
                    <a:pt x="32" y="61"/>
                    <a:pt x="33" y="60"/>
                  </a:cubicBezTo>
                  <a:cubicBezTo>
                    <a:pt x="33" y="59"/>
                    <a:pt x="34" y="59"/>
                    <a:pt x="35" y="58"/>
                  </a:cubicBezTo>
                  <a:cubicBezTo>
                    <a:pt x="36" y="57"/>
                    <a:pt x="36" y="56"/>
                    <a:pt x="37" y="55"/>
                  </a:cubicBezTo>
                  <a:cubicBezTo>
                    <a:pt x="39" y="55"/>
                    <a:pt x="40" y="54"/>
                    <a:pt x="41" y="55"/>
                  </a:cubicBezTo>
                  <a:cubicBezTo>
                    <a:pt x="42" y="55"/>
                    <a:pt x="43" y="56"/>
                    <a:pt x="43" y="56"/>
                  </a:cubicBezTo>
                  <a:cubicBezTo>
                    <a:pt x="45" y="58"/>
                    <a:pt x="46" y="58"/>
                    <a:pt x="47" y="59"/>
                  </a:cubicBezTo>
                  <a:cubicBezTo>
                    <a:pt x="48" y="60"/>
                    <a:pt x="48" y="60"/>
                    <a:pt x="49" y="60"/>
                  </a:cubicBezTo>
                  <a:cubicBezTo>
                    <a:pt x="52" y="61"/>
                    <a:pt x="55" y="62"/>
                    <a:pt x="58" y="62"/>
                  </a:cubicBezTo>
                  <a:cubicBezTo>
                    <a:pt x="59" y="63"/>
                    <a:pt x="60" y="63"/>
                    <a:pt x="61" y="62"/>
                  </a:cubicBezTo>
                  <a:cubicBezTo>
                    <a:pt x="62" y="62"/>
                    <a:pt x="63" y="62"/>
                    <a:pt x="63" y="61"/>
                  </a:cubicBezTo>
                  <a:cubicBezTo>
                    <a:pt x="63" y="59"/>
                    <a:pt x="64" y="58"/>
                    <a:pt x="66" y="57"/>
                  </a:cubicBezTo>
                  <a:cubicBezTo>
                    <a:pt x="67" y="57"/>
                    <a:pt x="68" y="57"/>
                    <a:pt x="69" y="57"/>
                  </a:cubicBezTo>
                  <a:cubicBezTo>
                    <a:pt x="70" y="58"/>
                    <a:pt x="71" y="58"/>
                    <a:pt x="72" y="58"/>
                  </a:cubicBezTo>
                  <a:cubicBezTo>
                    <a:pt x="72" y="57"/>
                    <a:pt x="73" y="57"/>
                    <a:pt x="73" y="57"/>
                  </a:cubicBezTo>
                  <a:cubicBezTo>
                    <a:pt x="75" y="57"/>
                    <a:pt x="77" y="56"/>
                    <a:pt x="78" y="55"/>
                  </a:cubicBezTo>
                  <a:cubicBezTo>
                    <a:pt x="79" y="54"/>
                    <a:pt x="80" y="54"/>
                    <a:pt x="80" y="55"/>
                  </a:cubicBezTo>
                  <a:cubicBezTo>
                    <a:pt x="81" y="56"/>
                    <a:pt x="82" y="56"/>
                    <a:pt x="84" y="56"/>
                  </a:cubicBezTo>
                  <a:cubicBezTo>
                    <a:pt x="85" y="55"/>
                    <a:pt x="85" y="54"/>
                    <a:pt x="87" y="53"/>
                  </a:cubicBezTo>
                  <a:cubicBezTo>
                    <a:pt x="88" y="52"/>
                    <a:pt x="90" y="53"/>
                    <a:pt x="92" y="54"/>
                  </a:cubicBezTo>
                  <a:cubicBezTo>
                    <a:pt x="93" y="54"/>
                    <a:pt x="95" y="54"/>
                    <a:pt x="97" y="54"/>
                  </a:cubicBezTo>
                  <a:cubicBezTo>
                    <a:pt x="98" y="53"/>
                    <a:pt x="100" y="53"/>
                    <a:pt x="102" y="53"/>
                  </a:cubicBezTo>
                  <a:cubicBezTo>
                    <a:pt x="102" y="51"/>
                    <a:pt x="101" y="49"/>
                    <a:pt x="99" y="48"/>
                  </a:cubicBezTo>
                  <a:cubicBezTo>
                    <a:pt x="98" y="47"/>
                    <a:pt x="98" y="47"/>
                    <a:pt x="97" y="46"/>
                  </a:cubicBezTo>
                  <a:cubicBezTo>
                    <a:pt x="96" y="46"/>
                    <a:pt x="96" y="46"/>
                    <a:pt x="95" y="45"/>
                  </a:cubicBezTo>
                  <a:cubicBezTo>
                    <a:pt x="95" y="45"/>
                    <a:pt x="94" y="44"/>
                    <a:pt x="94" y="44"/>
                  </a:cubicBezTo>
                  <a:cubicBezTo>
                    <a:pt x="94" y="40"/>
                    <a:pt x="92" y="38"/>
                    <a:pt x="90" y="35"/>
                  </a:cubicBezTo>
                  <a:cubicBezTo>
                    <a:pt x="89" y="34"/>
                    <a:pt x="87" y="35"/>
                    <a:pt x="86" y="33"/>
                  </a:cubicBezTo>
                  <a:cubicBezTo>
                    <a:pt x="85" y="32"/>
                    <a:pt x="86" y="30"/>
                    <a:pt x="85" y="29"/>
                  </a:cubicBezTo>
                  <a:cubicBezTo>
                    <a:pt x="85" y="29"/>
                    <a:pt x="85" y="29"/>
                    <a:pt x="84" y="29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7"/>
                    <a:pt x="83" y="27"/>
                    <a:pt x="82" y="27"/>
                  </a:cubicBezTo>
                  <a:cubicBezTo>
                    <a:pt x="82" y="26"/>
                    <a:pt x="82" y="25"/>
                    <a:pt x="82" y="25"/>
                  </a:cubicBezTo>
                  <a:cubicBezTo>
                    <a:pt x="81" y="24"/>
                    <a:pt x="80" y="24"/>
                    <a:pt x="79" y="23"/>
                  </a:cubicBezTo>
                  <a:cubicBezTo>
                    <a:pt x="78" y="23"/>
                    <a:pt x="78" y="23"/>
                    <a:pt x="77" y="23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6" y="21"/>
                    <a:pt x="76" y="20"/>
                    <a:pt x="75" y="20"/>
                  </a:cubicBezTo>
                  <a:cubicBezTo>
                    <a:pt x="74" y="20"/>
                    <a:pt x="73" y="20"/>
                    <a:pt x="73" y="20"/>
                  </a:cubicBezTo>
                  <a:cubicBezTo>
                    <a:pt x="72" y="19"/>
                    <a:pt x="71" y="18"/>
                    <a:pt x="71" y="16"/>
                  </a:cubicBezTo>
                  <a:cubicBezTo>
                    <a:pt x="70" y="16"/>
                    <a:pt x="70" y="15"/>
                    <a:pt x="71" y="15"/>
                  </a:cubicBezTo>
                  <a:cubicBezTo>
                    <a:pt x="73" y="13"/>
                    <a:pt x="72" y="12"/>
                    <a:pt x="72" y="10"/>
                  </a:cubicBezTo>
                  <a:cubicBezTo>
                    <a:pt x="72" y="10"/>
                    <a:pt x="71" y="9"/>
                    <a:pt x="71" y="9"/>
                  </a:cubicBezTo>
                  <a:cubicBezTo>
                    <a:pt x="71" y="8"/>
                    <a:pt x="71" y="6"/>
                    <a:pt x="71" y="5"/>
                  </a:cubicBezTo>
                  <a:cubicBezTo>
                    <a:pt x="70" y="4"/>
                    <a:pt x="69" y="3"/>
                    <a:pt x="68" y="2"/>
                  </a:cubicBezTo>
                  <a:cubicBezTo>
                    <a:pt x="67" y="1"/>
                    <a:pt x="66" y="1"/>
                    <a:pt x="65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1"/>
                    <a:pt x="61" y="0"/>
                    <a:pt x="59" y="0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4"/>
                    <a:pt x="56" y="7"/>
                    <a:pt x="54" y="9"/>
                  </a:cubicBezTo>
                  <a:cubicBezTo>
                    <a:pt x="54" y="9"/>
                    <a:pt x="53" y="9"/>
                    <a:pt x="53" y="9"/>
                  </a:cubicBezTo>
                  <a:cubicBezTo>
                    <a:pt x="51" y="10"/>
                    <a:pt x="51" y="12"/>
                    <a:pt x="49" y="13"/>
                  </a:cubicBezTo>
                  <a:cubicBezTo>
                    <a:pt x="49" y="14"/>
                    <a:pt x="48" y="14"/>
                    <a:pt x="48" y="14"/>
                  </a:cubicBezTo>
                  <a:cubicBezTo>
                    <a:pt x="46" y="16"/>
                    <a:pt x="44" y="18"/>
                    <a:pt x="41" y="18"/>
                  </a:cubicBezTo>
                  <a:cubicBezTo>
                    <a:pt x="40" y="18"/>
                    <a:pt x="38" y="17"/>
                    <a:pt x="36" y="18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5" y="21"/>
                    <a:pt x="36" y="23"/>
                    <a:pt x="34" y="24"/>
                  </a:cubicBezTo>
                  <a:cubicBezTo>
                    <a:pt x="32" y="25"/>
                    <a:pt x="30" y="25"/>
                    <a:pt x="29" y="27"/>
                  </a:cubicBezTo>
                  <a:cubicBezTo>
                    <a:pt x="27" y="28"/>
                    <a:pt x="25" y="27"/>
                    <a:pt x="23" y="27"/>
                  </a:cubicBezTo>
                  <a:cubicBezTo>
                    <a:pt x="22" y="28"/>
                    <a:pt x="21" y="29"/>
                    <a:pt x="20" y="30"/>
                  </a:cubicBezTo>
                  <a:cubicBezTo>
                    <a:pt x="19" y="31"/>
                    <a:pt x="19" y="31"/>
                    <a:pt x="18" y="30"/>
                  </a:cubicBezTo>
                  <a:cubicBezTo>
                    <a:pt x="17" y="30"/>
                    <a:pt x="17" y="29"/>
                    <a:pt x="17" y="29"/>
                  </a:cubicBezTo>
                  <a:cubicBezTo>
                    <a:pt x="16" y="29"/>
                    <a:pt x="16" y="29"/>
                    <a:pt x="15" y="29"/>
                  </a:cubicBezTo>
                  <a:cubicBezTo>
                    <a:pt x="14" y="30"/>
                    <a:pt x="13" y="32"/>
                    <a:pt x="11" y="33"/>
                  </a:cubicBezTo>
                  <a:cubicBezTo>
                    <a:pt x="10" y="33"/>
                    <a:pt x="8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6" y="34"/>
                    <a:pt x="6" y="35"/>
                    <a:pt x="5" y="35"/>
                  </a:cubicBezTo>
                  <a:cubicBezTo>
                    <a:pt x="4" y="36"/>
                    <a:pt x="3" y="37"/>
                    <a:pt x="3" y="38"/>
                  </a:cubicBezTo>
                  <a:cubicBezTo>
                    <a:pt x="2" y="39"/>
                    <a:pt x="3" y="40"/>
                    <a:pt x="2" y="42"/>
                  </a:cubicBezTo>
                  <a:cubicBezTo>
                    <a:pt x="1" y="43"/>
                    <a:pt x="1" y="44"/>
                    <a:pt x="1" y="45"/>
                  </a:cubicBezTo>
                  <a:cubicBezTo>
                    <a:pt x="0" y="47"/>
                    <a:pt x="1" y="48"/>
                    <a:pt x="1" y="50"/>
                  </a:cubicBezTo>
                  <a:cubicBezTo>
                    <a:pt x="1" y="52"/>
                    <a:pt x="1" y="54"/>
                    <a:pt x="1" y="56"/>
                  </a:cubicBezTo>
                  <a:cubicBezTo>
                    <a:pt x="2" y="58"/>
                    <a:pt x="3" y="59"/>
                    <a:pt x="4" y="60"/>
                  </a:cubicBezTo>
                  <a:cubicBezTo>
                    <a:pt x="5" y="62"/>
                    <a:pt x="5" y="63"/>
                    <a:pt x="6" y="65"/>
                  </a:cubicBezTo>
                  <a:cubicBezTo>
                    <a:pt x="6" y="67"/>
                    <a:pt x="8" y="68"/>
                    <a:pt x="10" y="70"/>
                  </a:cubicBezTo>
                  <a:cubicBezTo>
                    <a:pt x="10" y="72"/>
                    <a:pt x="11" y="73"/>
                    <a:pt x="12" y="74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3" y="77"/>
                    <a:pt x="13" y="77"/>
                    <a:pt x="13" y="78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2" name="Freeform 377"/>
            <p:cNvSpPr>
              <a:spLocks/>
            </p:cNvSpPr>
            <p:nvPr/>
          </p:nvSpPr>
          <p:spPr bwMode="auto">
            <a:xfrm>
              <a:off x="6982933" y="3568168"/>
              <a:ext cx="6772" cy="5408"/>
            </a:xfrm>
            <a:custGeom>
              <a:avLst/>
              <a:gdLst>
                <a:gd name="T0" fmla="*/ 40780 w 15"/>
                <a:gd name="T1" fmla="*/ 340187 h 11"/>
                <a:gd name="T2" fmla="*/ 40780 w 15"/>
                <a:gd name="T3" fmla="*/ 216017 h 11"/>
                <a:gd name="T4" fmla="*/ 40780 w 15"/>
                <a:gd name="T5" fmla="*/ 128623 h 11"/>
                <a:gd name="T6" fmla="*/ 78841 w 15"/>
                <a:gd name="T7" fmla="*/ 0 h 11"/>
                <a:gd name="T8" fmla="*/ 119631 w 15"/>
                <a:gd name="T9" fmla="*/ 0 h 11"/>
                <a:gd name="T10" fmla="*/ 447155 w 15"/>
                <a:gd name="T11" fmla="*/ 35291 h 11"/>
                <a:gd name="T12" fmla="*/ 569734 w 15"/>
                <a:gd name="T13" fmla="*/ 35291 h 11"/>
                <a:gd name="T14" fmla="*/ 531651 w 15"/>
                <a:gd name="T15" fmla="*/ 340187 h 11"/>
                <a:gd name="T16" fmla="*/ 531651 w 15"/>
                <a:gd name="T17" fmla="*/ 340187 h 11"/>
                <a:gd name="T18" fmla="*/ 40780 w 15"/>
                <a:gd name="T19" fmla="*/ 34018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"/>
                <a:gd name="T31" fmla="*/ 0 h 11"/>
                <a:gd name="T32" fmla="*/ 15 w 15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" h="11">
                  <a:moveTo>
                    <a:pt x="1" y="11"/>
                  </a:moveTo>
                  <a:cubicBezTo>
                    <a:pt x="1" y="10"/>
                    <a:pt x="0" y="8"/>
                    <a:pt x="1" y="7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2" y="3"/>
                    <a:pt x="2" y="2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6" y="0"/>
                    <a:pt x="9" y="1"/>
                    <a:pt x="12" y="1"/>
                  </a:cubicBezTo>
                  <a:cubicBezTo>
                    <a:pt x="13" y="1"/>
                    <a:pt x="14" y="1"/>
                    <a:pt x="15" y="1"/>
                  </a:cubicBezTo>
                  <a:cubicBezTo>
                    <a:pt x="14" y="4"/>
                    <a:pt x="14" y="7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0" y="11"/>
                    <a:pt x="6" y="11"/>
                    <a:pt x="1" y="1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3" name="Freeform 378"/>
            <p:cNvSpPr>
              <a:spLocks/>
            </p:cNvSpPr>
            <p:nvPr/>
          </p:nvSpPr>
          <p:spPr bwMode="auto">
            <a:xfrm>
              <a:off x="6980676" y="3568168"/>
              <a:ext cx="20819" cy="26768"/>
            </a:xfrm>
            <a:custGeom>
              <a:avLst/>
              <a:gdLst>
                <a:gd name="T0" fmla="*/ 512830 w 45"/>
                <a:gd name="T1" fmla="*/ 1763391 h 56"/>
                <a:gd name="T2" fmla="*/ 512830 w 45"/>
                <a:gd name="T3" fmla="*/ 1737615 h 56"/>
                <a:gd name="T4" fmla="*/ 477136 w 45"/>
                <a:gd name="T5" fmla="*/ 1632946 h 56"/>
                <a:gd name="T6" fmla="*/ 382937 w 45"/>
                <a:gd name="T7" fmla="*/ 1555272 h 56"/>
                <a:gd name="T8" fmla="*/ 218385 w 45"/>
                <a:gd name="T9" fmla="*/ 1356703 h 56"/>
                <a:gd name="T10" fmla="*/ 179881 w 45"/>
                <a:gd name="T11" fmla="*/ 1289937 h 56"/>
                <a:gd name="T12" fmla="*/ 163906 w 45"/>
                <a:gd name="T13" fmla="*/ 1203036 h 56"/>
                <a:gd name="T14" fmla="*/ 94124 w 45"/>
                <a:gd name="T15" fmla="*/ 1013541 h 56"/>
                <a:gd name="T16" fmla="*/ 35768 w 45"/>
                <a:gd name="T17" fmla="*/ 940650 h 56"/>
                <a:gd name="T18" fmla="*/ 68357 w 45"/>
                <a:gd name="T19" fmla="*/ 854626 h 56"/>
                <a:gd name="T20" fmla="*/ 130638 w 45"/>
                <a:gd name="T21" fmla="*/ 691354 h 56"/>
                <a:gd name="T22" fmla="*/ 130638 w 45"/>
                <a:gd name="T23" fmla="*/ 475951 h 56"/>
                <a:gd name="T24" fmla="*/ 163906 w 45"/>
                <a:gd name="T25" fmla="*/ 447281 h 56"/>
                <a:gd name="T26" fmla="*/ 179881 w 45"/>
                <a:gd name="T27" fmla="*/ 343141 h 56"/>
                <a:gd name="T28" fmla="*/ 179881 w 45"/>
                <a:gd name="T29" fmla="*/ 343141 h 56"/>
                <a:gd name="T30" fmla="*/ 598642 w 45"/>
                <a:gd name="T31" fmla="*/ 343141 h 56"/>
                <a:gd name="T32" fmla="*/ 598642 w 45"/>
                <a:gd name="T33" fmla="*/ 343141 h 56"/>
                <a:gd name="T34" fmla="*/ 635551 w 45"/>
                <a:gd name="T35" fmla="*/ 35709 h 56"/>
                <a:gd name="T36" fmla="*/ 831190 w 45"/>
                <a:gd name="T37" fmla="*/ 35709 h 56"/>
                <a:gd name="T38" fmla="*/ 1144071 w 45"/>
                <a:gd name="T39" fmla="*/ 0 h 56"/>
                <a:gd name="T40" fmla="*/ 1144071 w 45"/>
                <a:gd name="T41" fmla="*/ 35709 h 56"/>
                <a:gd name="T42" fmla="*/ 1144071 w 45"/>
                <a:gd name="T43" fmla="*/ 35709 h 56"/>
                <a:gd name="T44" fmla="*/ 1110747 w 45"/>
                <a:gd name="T45" fmla="*/ 130368 h 56"/>
                <a:gd name="T46" fmla="*/ 1075692 w 45"/>
                <a:gd name="T47" fmla="*/ 130368 h 56"/>
                <a:gd name="T48" fmla="*/ 1110747 w 45"/>
                <a:gd name="T49" fmla="*/ 179588 h 56"/>
                <a:gd name="T50" fmla="*/ 1360228 w 45"/>
                <a:gd name="T51" fmla="*/ 217948 h 56"/>
                <a:gd name="T52" fmla="*/ 1398618 w 45"/>
                <a:gd name="T53" fmla="*/ 416436 h 56"/>
                <a:gd name="T54" fmla="*/ 1360228 w 45"/>
                <a:gd name="T55" fmla="*/ 595990 h 56"/>
                <a:gd name="T56" fmla="*/ 1360228 w 45"/>
                <a:gd name="T57" fmla="*/ 629626 h 56"/>
                <a:gd name="T58" fmla="*/ 1294076 w 45"/>
                <a:gd name="T59" fmla="*/ 655644 h 56"/>
                <a:gd name="T60" fmla="*/ 1294076 w 45"/>
                <a:gd name="T61" fmla="*/ 729761 h 56"/>
                <a:gd name="T62" fmla="*/ 1360228 w 45"/>
                <a:gd name="T63" fmla="*/ 759249 h 56"/>
                <a:gd name="T64" fmla="*/ 1419480 w 45"/>
                <a:gd name="T65" fmla="*/ 828874 h 56"/>
                <a:gd name="T66" fmla="*/ 1419480 w 45"/>
                <a:gd name="T67" fmla="*/ 1203036 h 56"/>
                <a:gd name="T68" fmla="*/ 1398618 w 45"/>
                <a:gd name="T69" fmla="*/ 1235529 h 56"/>
                <a:gd name="T70" fmla="*/ 1360228 w 45"/>
                <a:gd name="T71" fmla="*/ 1356703 h 56"/>
                <a:gd name="T72" fmla="*/ 1294076 w 45"/>
                <a:gd name="T73" fmla="*/ 1356703 h 56"/>
                <a:gd name="T74" fmla="*/ 1239208 w 45"/>
                <a:gd name="T75" fmla="*/ 1252748 h 56"/>
                <a:gd name="T76" fmla="*/ 1180277 w 45"/>
                <a:gd name="T77" fmla="*/ 1252748 h 56"/>
                <a:gd name="T78" fmla="*/ 1144071 w 45"/>
                <a:gd name="T79" fmla="*/ 1289937 h 56"/>
                <a:gd name="T80" fmla="*/ 1110747 w 45"/>
                <a:gd name="T81" fmla="*/ 1289937 h 56"/>
                <a:gd name="T82" fmla="*/ 945096 w 45"/>
                <a:gd name="T83" fmla="*/ 1177086 h 56"/>
                <a:gd name="T84" fmla="*/ 911860 w 45"/>
                <a:gd name="T85" fmla="*/ 1177086 h 56"/>
                <a:gd name="T86" fmla="*/ 893116 w 45"/>
                <a:gd name="T87" fmla="*/ 1289937 h 56"/>
                <a:gd name="T88" fmla="*/ 692770 w 45"/>
                <a:gd name="T89" fmla="*/ 1320980 h 56"/>
                <a:gd name="T90" fmla="*/ 692770 w 45"/>
                <a:gd name="T91" fmla="*/ 1450708 h 56"/>
                <a:gd name="T92" fmla="*/ 797617 w 45"/>
                <a:gd name="T93" fmla="*/ 1489742 h 56"/>
                <a:gd name="T94" fmla="*/ 797617 w 45"/>
                <a:gd name="T95" fmla="*/ 1555272 h 56"/>
                <a:gd name="T96" fmla="*/ 797617 w 45"/>
                <a:gd name="T97" fmla="*/ 1632946 h 56"/>
                <a:gd name="T98" fmla="*/ 731835 w 45"/>
                <a:gd name="T99" fmla="*/ 1632946 h 56"/>
                <a:gd name="T100" fmla="*/ 692770 w 45"/>
                <a:gd name="T101" fmla="*/ 1596018 h 56"/>
                <a:gd name="T102" fmla="*/ 635551 w 45"/>
                <a:gd name="T103" fmla="*/ 1596018 h 56"/>
                <a:gd name="T104" fmla="*/ 531490 w 45"/>
                <a:gd name="T105" fmla="*/ 1737615 h 56"/>
                <a:gd name="T106" fmla="*/ 512830 w 45"/>
                <a:gd name="T107" fmla="*/ 1763391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5"/>
                <a:gd name="T163" fmla="*/ 0 h 56"/>
                <a:gd name="T164" fmla="*/ 45 w 45"/>
                <a:gd name="T165" fmla="*/ 56 h 5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5" h="56">
                  <a:moveTo>
                    <a:pt x="16" y="56"/>
                  </a:moveTo>
                  <a:cubicBezTo>
                    <a:pt x="16" y="55"/>
                    <a:pt x="16" y="55"/>
                    <a:pt x="16" y="55"/>
                  </a:cubicBezTo>
                  <a:cubicBezTo>
                    <a:pt x="15" y="54"/>
                    <a:pt x="15" y="53"/>
                    <a:pt x="15" y="52"/>
                  </a:cubicBezTo>
                  <a:cubicBezTo>
                    <a:pt x="14" y="51"/>
                    <a:pt x="13" y="50"/>
                    <a:pt x="12" y="49"/>
                  </a:cubicBezTo>
                  <a:cubicBezTo>
                    <a:pt x="11" y="46"/>
                    <a:pt x="9" y="45"/>
                    <a:pt x="7" y="43"/>
                  </a:cubicBezTo>
                  <a:cubicBezTo>
                    <a:pt x="6" y="43"/>
                    <a:pt x="7" y="42"/>
                    <a:pt x="6" y="41"/>
                  </a:cubicBezTo>
                  <a:cubicBezTo>
                    <a:pt x="6" y="40"/>
                    <a:pt x="5" y="39"/>
                    <a:pt x="5" y="38"/>
                  </a:cubicBezTo>
                  <a:cubicBezTo>
                    <a:pt x="3" y="36"/>
                    <a:pt x="3" y="34"/>
                    <a:pt x="3" y="32"/>
                  </a:cubicBezTo>
                  <a:cubicBezTo>
                    <a:pt x="3" y="31"/>
                    <a:pt x="1" y="31"/>
                    <a:pt x="1" y="30"/>
                  </a:cubicBezTo>
                  <a:cubicBezTo>
                    <a:pt x="0" y="30"/>
                    <a:pt x="0" y="28"/>
                    <a:pt x="2" y="27"/>
                  </a:cubicBezTo>
                  <a:cubicBezTo>
                    <a:pt x="5" y="27"/>
                    <a:pt x="4" y="24"/>
                    <a:pt x="4" y="22"/>
                  </a:cubicBezTo>
                  <a:cubicBezTo>
                    <a:pt x="4" y="20"/>
                    <a:pt x="3" y="17"/>
                    <a:pt x="4" y="15"/>
                  </a:cubicBezTo>
                  <a:cubicBezTo>
                    <a:pt x="4" y="14"/>
                    <a:pt x="5" y="14"/>
                    <a:pt x="5" y="14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11" y="11"/>
                    <a:pt x="15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7"/>
                    <a:pt x="19" y="4"/>
                    <a:pt x="20" y="1"/>
                  </a:cubicBezTo>
                  <a:cubicBezTo>
                    <a:pt x="22" y="1"/>
                    <a:pt x="24" y="1"/>
                    <a:pt x="26" y="1"/>
                  </a:cubicBezTo>
                  <a:cubicBezTo>
                    <a:pt x="29" y="0"/>
                    <a:pt x="32" y="0"/>
                    <a:pt x="36" y="0"/>
                  </a:cubicBezTo>
                  <a:cubicBezTo>
                    <a:pt x="36" y="0"/>
                    <a:pt x="36" y="1"/>
                    <a:pt x="36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2"/>
                    <a:pt x="35" y="3"/>
                    <a:pt x="35" y="4"/>
                  </a:cubicBezTo>
                  <a:cubicBezTo>
                    <a:pt x="35" y="4"/>
                    <a:pt x="34" y="4"/>
                    <a:pt x="34" y="4"/>
                  </a:cubicBezTo>
                  <a:cubicBezTo>
                    <a:pt x="34" y="5"/>
                    <a:pt x="34" y="6"/>
                    <a:pt x="35" y="6"/>
                  </a:cubicBezTo>
                  <a:cubicBezTo>
                    <a:pt x="38" y="7"/>
                    <a:pt x="41" y="6"/>
                    <a:pt x="43" y="7"/>
                  </a:cubicBezTo>
                  <a:cubicBezTo>
                    <a:pt x="45" y="8"/>
                    <a:pt x="44" y="11"/>
                    <a:pt x="44" y="13"/>
                  </a:cubicBezTo>
                  <a:cubicBezTo>
                    <a:pt x="43" y="15"/>
                    <a:pt x="44" y="17"/>
                    <a:pt x="43" y="19"/>
                  </a:cubicBezTo>
                  <a:cubicBezTo>
                    <a:pt x="43" y="19"/>
                    <a:pt x="43" y="19"/>
                    <a:pt x="43" y="20"/>
                  </a:cubicBezTo>
                  <a:cubicBezTo>
                    <a:pt x="43" y="20"/>
                    <a:pt x="41" y="20"/>
                    <a:pt x="41" y="21"/>
                  </a:cubicBezTo>
                  <a:cubicBezTo>
                    <a:pt x="41" y="21"/>
                    <a:pt x="41" y="22"/>
                    <a:pt x="41" y="23"/>
                  </a:cubicBezTo>
                  <a:cubicBezTo>
                    <a:pt x="42" y="23"/>
                    <a:pt x="42" y="24"/>
                    <a:pt x="43" y="24"/>
                  </a:cubicBezTo>
                  <a:cubicBezTo>
                    <a:pt x="43" y="25"/>
                    <a:pt x="44" y="25"/>
                    <a:pt x="45" y="26"/>
                  </a:cubicBezTo>
                  <a:cubicBezTo>
                    <a:pt x="45" y="30"/>
                    <a:pt x="45" y="34"/>
                    <a:pt x="45" y="38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3" y="40"/>
                    <a:pt x="44" y="42"/>
                    <a:pt x="43" y="43"/>
                  </a:cubicBezTo>
                  <a:cubicBezTo>
                    <a:pt x="43" y="43"/>
                    <a:pt x="42" y="43"/>
                    <a:pt x="41" y="43"/>
                  </a:cubicBezTo>
                  <a:cubicBezTo>
                    <a:pt x="41" y="42"/>
                    <a:pt x="40" y="41"/>
                    <a:pt x="39" y="40"/>
                  </a:cubicBezTo>
                  <a:cubicBezTo>
                    <a:pt x="39" y="40"/>
                    <a:pt x="38" y="40"/>
                    <a:pt x="37" y="40"/>
                  </a:cubicBezTo>
                  <a:cubicBezTo>
                    <a:pt x="37" y="40"/>
                    <a:pt x="36" y="41"/>
                    <a:pt x="36" y="41"/>
                  </a:cubicBezTo>
                  <a:cubicBezTo>
                    <a:pt x="36" y="42"/>
                    <a:pt x="35" y="42"/>
                    <a:pt x="35" y="41"/>
                  </a:cubicBezTo>
                  <a:cubicBezTo>
                    <a:pt x="33" y="40"/>
                    <a:pt x="32" y="38"/>
                    <a:pt x="30" y="37"/>
                  </a:cubicBezTo>
                  <a:cubicBezTo>
                    <a:pt x="30" y="37"/>
                    <a:pt x="29" y="37"/>
                    <a:pt x="29" y="37"/>
                  </a:cubicBezTo>
                  <a:cubicBezTo>
                    <a:pt x="29" y="38"/>
                    <a:pt x="30" y="41"/>
                    <a:pt x="28" y="41"/>
                  </a:cubicBezTo>
                  <a:cubicBezTo>
                    <a:pt x="26" y="42"/>
                    <a:pt x="24" y="42"/>
                    <a:pt x="22" y="42"/>
                  </a:cubicBezTo>
                  <a:cubicBezTo>
                    <a:pt x="22" y="43"/>
                    <a:pt x="22" y="45"/>
                    <a:pt x="22" y="46"/>
                  </a:cubicBezTo>
                  <a:cubicBezTo>
                    <a:pt x="24" y="46"/>
                    <a:pt x="25" y="46"/>
                    <a:pt x="25" y="47"/>
                  </a:cubicBezTo>
                  <a:cubicBezTo>
                    <a:pt x="25" y="48"/>
                    <a:pt x="25" y="48"/>
                    <a:pt x="25" y="49"/>
                  </a:cubicBezTo>
                  <a:cubicBezTo>
                    <a:pt x="25" y="50"/>
                    <a:pt x="25" y="51"/>
                    <a:pt x="25" y="52"/>
                  </a:cubicBezTo>
                  <a:cubicBezTo>
                    <a:pt x="24" y="52"/>
                    <a:pt x="24" y="53"/>
                    <a:pt x="23" y="52"/>
                  </a:cubicBezTo>
                  <a:cubicBezTo>
                    <a:pt x="23" y="52"/>
                    <a:pt x="22" y="51"/>
                    <a:pt x="22" y="51"/>
                  </a:cubicBezTo>
                  <a:cubicBezTo>
                    <a:pt x="21" y="50"/>
                    <a:pt x="21" y="51"/>
                    <a:pt x="20" y="51"/>
                  </a:cubicBezTo>
                  <a:cubicBezTo>
                    <a:pt x="19" y="53"/>
                    <a:pt x="19" y="55"/>
                    <a:pt x="17" y="55"/>
                  </a:cubicBezTo>
                  <a:lnTo>
                    <a:pt x="16" y="5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4" name="Freeform 379"/>
            <p:cNvSpPr>
              <a:spLocks/>
            </p:cNvSpPr>
            <p:nvPr/>
          </p:nvSpPr>
          <p:spPr bwMode="auto">
            <a:xfrm>
              <a:off x="6987950" y="3561408"/>
              <a:ext cx="29096" cy="37583"/>
            </a:xfrm>
            <a:custGeom>
              <a:avLst/>
              <a:gdLst>
                <a:gd name="T0" fmla="*/ 154351 w 62"/>
                <a:gd name="T1" fmla="*/ 2543583 h 78"/>
                <a:gd name="T2" fmla="*/ 0 w 62"/>
                <a:gd name="T3" fmla="*/ 2461331 h 78"/>
                <a:gd name="T4" fmla="*/ 154351 w 62"/>
                <a:gd name="T5" fmla="*/ 2272412 h 78"/>
                <a:gd name="T6" fmla="*/ 278297 w 62"/>
                <a:gd name="T7" fmla="*/ 2308310 h 78"/>
                <a:gd name="T8" fmla="*/ 343072 w 62"/>
                <a:gd name="T9" fmla="*/ 2205392 h 78"/>
                <a:gd name="T10" fmla="*/ 239615 w 62"/>
                <a:gd name="T11" fmla="*/ 2090004 h 78"/>
                <a:gd name="T12" fmla="*/ 463771 w 62"/>
                <a:gd name="T13" fmla="*/ 1928957 h 78"/>
                <a:gd name="T14" fmla="*/ 538639 w 62"/>
                <a:gd name="T15" fmla="*/ 1779811 h 78"/>
                <a:gd name="T16" fmla="*/ 776843 w 62"/>
                <a:gd name="T17" fmla="*/ 1928957 h 78"/>
                <a:gd name="T18" fmla="*/ 897621 w 62"/>
                <a:gd name="T19" fmla="*/ 1893165 h 78"/>
                <a:gd name="T20" fmla="*/ 1042527 w 62"/>
                <a:gd name="T21" fmla="*/ 2008998 h 78"/>
                <a:gd name="T22" fmla="*/ 1119124 w 62"/>
                <a:gd name="T23" fmla="*/ 1815921 h 78"/>
                <a:gd name="T24" fmla="*/ 1042527 w 62"/>
                <a:gd name="T25" fmla="*/ 1322663 h 78"/>
                <a:gd name="T26" fmla="*/ 962810 w 62"/>
                <a:gd name="T27" fmla="*/ 1219467 h 78"/>
                <a:gd name="T28" fmla="*/ 1042527 w 62"/>
                <a:gd name="T29" fmla="*/ 1146804 h 78"/>
                <a:gd name="T30" fmla="*/ 1042527 w 62"/>
                <a:gd name="T31" fmla="*/ 729111 h 78"/>
                <a:gd name="T32" fmla="*/ 705244 w 62"/>
                <a:gd name="T33" fmla="*/ 634123 h 78"/>
                <a:gd name="T34" fmla="*/ 776843 w 62"/>
                <a:gd name="T35" fmla="*/ 531946 h 78"/>
                <a:gd name="T36" fmla="*/ 1285181 w 62"/>
                <a:gd name="T37" fmla="*/ 565137 h 78"/>
                <a:gd name="T38" fmla="*/ 1625290 w 62"/>
                <a:gd name="T39" fmla="*/ 596338 h 78"/>
                <a:gd name="T40" fmla="*/ 1625290 w 62"/>
                <a:gd name="T41" fmla="*/ 379138 h 78"/>
                <a:gd name="T42" fmla="*/ 1737331 w 62"/>
                <a:gd name="T43" fmla="*/ 143838 h 78"/>
                <a:gd name="T44" fmla="*/ 1990388 w 62"/>
                <a:gd name="T45" fmla="*/ 38894 h 78"/>
                <a:gd name="T46" fmla="*/ 2103221 w 62"/>
                <a:gd name="T47" fmla="*/ 74796 h 78"/>
                <a:gd name="T48" fmla="*/ 2327387 w 62"/>
                <a:gd name="T49" fmla="*/ 74796 h 78"/>
                <a:gd name="T50" fmla="*/ 2360222 w 62"/>
                <a:gd name="T51" fmla="*/ 216646 h 78"/>
                <a:gd name="T52" fmla="*/ 2246993 w 62"/>
                <a:gd name="T53" fmla="*/ 416627 h 78"/>
                <a:gd name="T54" fmla="*/ 2166047 w 62"/>
                <a:gd name="T55" fmla="*/ 801206 h 78"/>
                <a:gd name="T56" fmla="*/ 2121558 w 62"/>
                <a:gd name="T57" fmla="*/ 1322663 h 78"/>
                <a:gd name="T58" fmla="*/ 1904704 w 62"/>
                <a:gd name="T59" fmla="*/ 1579156 h 78"/>
                <a:gd name="T60" fmla="*/ 1823874 w 62"/>
                <a:gd name="T61" fmla="*/ 1752088 h 78"/>
                <a:gd name="T62" fmla="*/ 1669351 w 62"/>
                <a:gd name="T63" fmla="*/ 1854607 h 78"/>
                <a:gd name="T64" fmla="*/ 1625290 w 62"/>
                <a:gd name="T65" fmla="*/ 2008998 h 78"/>
                <a:gd name="T66" fmla="*/ 1583303 w 62"/>
                <a:gd name="T67" fmla="*/ 2345129 h 78"/>
                <a:gd name="T68" fmla="*/ 1326287 w 62"/>
                <a:gd name="T69" fmla="*/ 2655048 h 78"/>
                <a:gd name="T70" fmla="*/ 1086664 w 62"/>
                <a:gd name="T71" fmla="*/ 2724150 h 78"/>
                <a:gd name="T72" fmla="*/ 897621 w 62"/>
                <a:gd name="T73" fmla="*/ 2621623 h 78"/>
                <a:gd name="T74" fmla="*/ 743590 w 62"/>
                <a:gd name="T75" fmla="*/ 2621623 h 78"/>
                <a:gd name="T76" fmla="*/ 578214 w 62"/>
                <a:gd name="T77" fmla="*/ 2543583 h 78"/>
                <a:gd name="T78" fmla="*/ 463771 w 62"/>
                <a:gd name="T79" fmla="*/ 2621623 h 78"/>
                <a:gd name="T80" fmla="*/ 343072 w 62"/>
                <a:gd name="T81" fmla="*/ 2724150 h 7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2"/>
                <a:gd name="T124" fmla="*/ 0 h 78"/>
                <a:gd name="T125" fmla="*/ 62 w 62"/>
                <a:gd name="T126" fmla="*/ 78 h 7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2" h="78">
                  <a:moveTo>
                    <a:pt x="9" y="78"/>
                  </a:moveTo>
                  <a:cubicBezTo>
                    <a:pt x="7" y="76"/>
                    <a:pt x="7" y="75"/>
                    <a:pt x="4" y="73"/>
                  </a:cubicBezTo>
                  <a:cubicBezTo>
                    <a:pt x="3" y="72"/>
                    <a:pt x="2" y="71"/>
                    <a:pt x="1" y="70"/>
                  </a:cubicBezTo>
                  <a:cubicBezTo>
                    <a:pt x="1" y="70"/>
                    <a:pt x="1" y="70"/>
                    <a:pt x="0" y="70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3" y="69"/>
                    <a:pt x="3" y="67"/>
                    <a:pt x="4" y="65"/>
                  </a:cubicBezTo>
                  <a:cubicBezTo>
                    <a:pt x="5" y="65"/>
                    <a:pt x="5" y="64"/>
                    <a:pt x="6" y="65"/>
                  </a:cubicBezTo>
                  <a:cubicBezTo>
                    <a:pt x="6" y="65"/>
                    <a:pt x="7" y="66"/>
                    <a:pt x="7" y="66"/>
                  </a:cubicBezTo>
                  <a:cubicBezTo>
                    <a:pt x="8" y="67"/>
                    <a:pt x="8" y="66"/>
                    <a:pt x="9" y="66"/>
                  </a:cubicBezTo>
                  <a:cubicBezTo>
                    <a:pt x="9" y="65"/>
                    <a:pt x="9" y="64"/>
                    <a:pt x="9" y="63"/>
                  </a:cubicBezTo>
                  <a:cubicBezTo>
                    <a:pt x="9" y="62"/>
                    <a:pt x="9" y="62"/>
                    <a:pt x="9" y="61"/>
                  </a:cubicBezTo>
                  <a:cubicBezTo>
                    <a:pt x="9" y="60"/>
                    <a:pt x="8" y="60"/>
                    <a:pt x="6" y="60"/>
                  </a:cubicBezTo>
                  <a:cubicBezTo>
                    <a:pt x="6" y="59"/>
                    <a:pt x="6" y="57"/>
                    <a:pt x="6" y="56"/>
                  </a:cubicBezTo>
                  <a:cubicBezTo>
                    <a:pt x="8" y="56"/>
                    <a:pt x="10" y="56"/>
                    <a:pt x="12" y="55"/>
                  </a:cubicBezTo>
                  <a:cubicBezTo>
                    <a:pt x="14" y="55"/>
                    <a:pt x="13" y="52"/>
                    <a:pt x="13" y="51"/>
                  </a:cubicBezTo>
                  <a:cubicBezTo>
                    <a:pt x="13" y="51"/>
                    <a:pt x="14" y="51"/>
                    <a:pt x="14" y="51"/>
                  </a:cubicBezTo>
                  <a:cubicBezTo>
                    <a:pt x="16" y="52"/>
                    <a:pt x="17" y="54"/>
                    <a:pt x="19" y="55"/>
                  </a:cubicBezTo>
                  <a:cubicBezTo>
                    <a:pt x="19" y="56"/>
                    <a:pt x="20" y="56"/>
                    <a:pt x="20" y="55"/>
                  </a:cubicBezTo>
                  <a:cubicBezTo>
                    <a:pt x="20" y="55"/>
                    <a:pt x="21" y="54"/>
                    <a:pt x="21" y="54"/>
                  </a:cubicBezTo>
                  <a:cubicBezTo>
                    <a:pt x="22" y="54"/>
                    <a:pt x="23" y="54"/>
                    <a:pt x="23" y="54"/>
                  </a:cubicBezTo>
                  <a:cubicBezTo>
                    <a:pt x="24" y="55"/>
                    <a:pt x="25" y="56"/>
                    <a:pt x="25" y="57"/>
                  </a:cubicBezTo>
                  <a:cubicBezTo>
                    <a:pt x="26" y="57"/>
                    <a:pt x="27" y="57"/>
                    <a:pt x="27" y="57"/>
                  </a:cubicBezTo>
                  <a:cubicBezTo>
                    <a:pt x="28" y="56"/>
                    <a:pt x="27" y="54"/>
                    <a:pt x="28" y="53"/>
                  </a:cubicBezTo>
                  <a:cubicBezTo>
                    <a:pt x="28" y="53"/>
                    <a:pt x="28" y="53"/>
                    <a:pt x="29" y="52"/>
                  </a:cubicBezTo>
                  <a:cubicBezTo>
                    <a:pt x="29" y="48"/>
                    <a:pt x="29" y="44"/>
                    <a:pt x="29" y="40"/>
                  </a:cubicBezTo>
                  <a:cubicBezTo>
                    <a:pt x="28" y="39"/>
                    <a:pt x="27" y="39"/>
                    <a:pt x="27" y="38"/>
                  </a:cubicBezTo>
                  <a:cubicBezTo>
                    <a:pt x="26" y="38"/>
                    <a:pt x="26" y="37"/>
                    <a:pt x="25" y="37"/>
                  </a:cubicBezTo>
                  <a:cubicBezTo>
                    <a:pt x="25" y="36"/>
                    <a:pt x="25" y="35"/>
                    <a:pt x="25" y="35"/>
                  </a:cubicBezTo>
                  <a:cubicBezTo>
                    <a:pt x="25" y="34"/>
                    <a:pt x="27" y="34"/>
                    <a:pt x="27" y="34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8" y="31"/>
                    <a:pt x="27" y="29"/>
                    <a:pt x="28" y="27"/>
                  </a:cubicBezTo>
                  <a:cubicBezTo>
                    <a:pt x="28" y="25"/>
                    <a:pt x="29" y="22"/>
                    <a:pt x="27" y="21"/>
                  </a:cubicBezTo>
                  <a:cubicBezTo>
                    <a:pt x="25" y="20"/>
                    <a:pt x="22" y="21"/>
                    <a:pt x="19" y="20"/>
                  </a:cubicBezTo>
                  <a:cubicBezTo>
                    <a:pt x="18" y="20"/>
                    <a:pt x="18" y="19"/>
                    <a:pt x="18" y="18"/>
                  </a:cubicBezTo>
                  <a:cubicBezTo>
                    <a:pt x="18" y="18"/>
                    <a:pt x="19" y="18"/>
                    <a:pt x="19" y="18"/>
                  </a:cubicBezTo>
                  <a:cubicBezTo>
                    <a:pt x="19" y="17"/>
                    <a:pt x="20" y="16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4" y="15"/>
                    <a:pt x="29" y="15"/>
                    <a:pt x="33" y="16"/>
                  </a:cubicBezTo>
                  <a:cubicBezTo>
                    <a:pt x="34" y="16"/>
                    <a:pt x="35" y="17"/>
                    <a:pt x="37" y="17"/>
                  </a:cubicBezTo>
                  <a:cubicBezTo>
                    <a:pt x="38" y="18"/>
                    <a:pt x="40" y="18"/>
                    <a:pt x="42" y="17"/>
                  </a:cubicBezTo>
                  <a:cubicBezTo>
                    <a:pt x="42" y="16"/>
                    <a:pt x="42" y="14"/>
                    <a:pt x="42" y="13"/>
                  </a:cubicBezTo>
                  <a:cubicBezTo>
                    <a:pt x="42" y="12"/>
                    <a:pt x="42" y="12"/>
                    <a:pt x="42" y="11"/>
                  </a:cubicBezTo>
                  <a:cubicBezTo>
                    <a:pt x="43" y="10"/>
                    <a:pt x="43" y="9"/>
                    <a:pt x="43" y="8"/>
                  </a:cubicBezTo>
                  <a:cubicBezTo>
                    <a:pt x="44" y="7"/>
                    <a:pt x="44" y="5"/>
                    <a:pt x="45" y="4"/>
                  </a:cubicBezTo>
                  <a:cubicBezTo>
                    <a:pt x="45" y="3"/>
                    <a:pt x="45" y="3"/>
                    <a:pt x="46" y="3"/>
                  </a:cubicBezTo>
                  <a:cubicBezTo>
                    <a:pt x="47" y="2"/>
                    <a:pt x="49" y="2"/>
                    <a:pt x="51" y="1"/>
                  </a:cubicBezTo>
                  <a:cubicBezTo>
                    <a:pt x="51" y="1"/>
                    <a:pt x="52" y="0"/>
                    <a:pt x="53" y="1"/>
                  </a:cubicBezTo>
                  <a:cubicBezTo>
                    <a:pt x="54" y="1"/>
                    <a:pt x="54" y="2"/>
                    <a:pt x="54" y="2"/>
                  </a:cubicBezTo>
                  <a:cubicBezTo>
                    <a:pt x="56" y="2"/>
                    <a:pt x="58" y="2"/>
                    <a:pt x="60" y="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0" y="2"/>
                    <a:pt x="61" y="2"/>
                    <a:pt x="61" y="2"/>
                  </a:cubicBezTo>
                  <a:cubicBezTo>
                    <a:pt x="62" y="3"/>
                    <a:pt x="62" y="5"/>
                    <a:pt x="61" y="6"/>
                  </a:cubicBezTo>
                  <a:cubicBezTo>
                    <a:pt x="60" y="8"/>
                    <a:pt x="61" y="9"/>
                    <a:pt x="60" y="10"/>
                  </a:cubicBezTo>
                  <a:cubicBezTo>
                    <a:pt x="59" y="11"/>
                    <a:pt x="59" y="11"/>
                    <a:pt x="58" y="12"/>
                  </a:cubicBezTo>
                  <a:cubicBezTo>
                    <a:pt x="56" y="15"/>
                    <a:pt x="57" y="18"/>
                    <a:pt x="56" y="22"/>
                  </a:cubicBezTo>
                  <a:cubicBezTo>
                    <a:pt x="56" y="22"/>
                    <a:pt x="56" y="23"/>
                    <a:pt x="56" y="23"/>
                  </a:cubicBezTo>
                  <a:cubicBezTo>
                    <a:pt x="56" y="26"/>
                    <a:pt x="56" y="29"/>
                    <a:pt x="55" y="32"/>
                  </a:cubicBezTo>
                  <a:cubicBezTo>
                    <a:pt x="55" y="34"/>
                    <a:pt x="55" y="36"/>
                    <a:pt x="55" y="38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4" y="42"/>
                    <a:pt x="52" y="44"/>
                    <a:pt x="49" y="45"/>
                  </a:cubicBezTo>
                  <a:cubicBezTo>
                    <a:pt x="49" y="45"/>
                    <a:pt x="49" y="45"/>
                    <a:pt x="48" y="46"/>
                  </a:cubicBezTo>
                  <a:cubicBezTo>
                    <a:pt x="48" y="47"/>
                    <a:pt x="48" y="49"/>
                    <a:pt x="47" y="50"/>
                  </a:cubicBezTo>
                  <a:cubicBezTo>
                    <a:pt x="46" y="51"/>
                    <a:pt x="44" y="52"/>
                    <a:pt x="43" y="52"/>
                  </a:cubicBezTo>
                  <a:cubicBezTo>
                    <a:pt x="43" y="52"/>
                    <a:pt x="43" y="53"/>
                    <a:pt x="43" y="53"/>
                  </a:cubicBezTo>
                  <a:cubicBezTo>
                    <a:pt x="42" y="53"/>
                    <a:pt x="42" y="54"/>
                    <a:pt x="42" y="54"/>
                  </a:cubicBezTo>
                  <a:cubicBezTo>
                    <a:pt x="41" y="55"/>
                    <a:pt x="42" y="56"/>
                    <a:pt x="42" y="57"/>
                  </a:cubicBezTo>
                  <a:cubicBezTo>
                    <a:pt x="43" y="59"/>
                    <a:pt x="43" y="62"/>
                    <a:pt x="42" y="64"/>
                  </a:cubicBezTo>
                  <a:cubicBezTo>
                    <a:pt x="42" y="65"/>
                    <a:pt x="42" y="66"/>
                    <a:pt x="41" y="67"/>
                  </a:cubicBezTo>
                  <a:cubicBezTo>
                    <a:pt x="39" y="68"/>
                    <a:pt x="37" y="70"/>
                    <a:pt x="36" y="72"/>
                  </a:cubicBezTo>
                  <a:cubicBezTo>
                    <a:pt x="35" y="73"/>
                    <a:pt x="34" y="74"/>
                    <a:pt x="34" y="76"/>
                  </a:cubicBezTo>
                  <a:cubicBezTo>
                    <a:pt x="33" y="77"/>
                    <a:pt x="32" y="77"/>
                    <a:pt x="31" y="78"/>
                  </a:cubicBezTo>
                  <a:cubicBezTo>
                    <a:pt x="30" y="78"/>
                    <a:pt x="29" y="77"/>
                    <a:pt x="28" y="78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6" y="76"/>
                    <a:pt x="25" y="74"/>
                    <a:pt x="23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2" y="75"/>
                    <a:pt x="20" y="76"/>
                    <a:pt x="19" y="75"/>
                  </a:cubicBezTo>
                  <a:cubicBezTo>
                    <a:pt x="18" y="75"/>
                    <a:pt x="18" y="74"/>
                    <a:pt x="17" y="73"/>
                  </a:cubicBezTo>
                  <a:cubicBezTo>
                    <a:pt x="17" y="72"/>
                    <a:pt x="16" y="73"/>
                    <a:pt x="15" y="73"/>
                  </a:cubicBezTo>
                  <a:cubicBezTo>
                    <a:pt x="15" y="73"/>
                    <a:pt x="15" y="73"/>
                    <a:pt x="14" y="73"/>
                  </a:cubicBezTo>
                  <a:cubicBezTo>
                    <a:pt x="14" y="74"/>
                    <a:pt x="13" y="75"/>
                    <a:pt x="12" y="75"/>
                  </a:cubicBezTo>
                  <a:cubicBezTo>
                    <a:pt x="12" y="76"/>
                    <a:pt x="11" y="77"/>
                    <a:pt x="10" y="77"/>
                  </a:cubicBezTo>
                  <a:lnTo>
                    <a:pt x="9" y="78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5" name="Freeform 380"/>
            <p:cNvSpPr>
              <a:spLocks/>
            </p:cNvSpPr>
            <p:nvPr/>
          </p:nvSpPr>
          <p:spPr bwMode="auto">
            <a:xfrm>
              <a:off x="6992214" y="3596557"/>
              <a:ext cx="4766" cy="7030"/>
            </a:xfrm>
            <a:custGeom>
              <a:avLst/>
              <a:gdLst>
                <a:gd name="T0" fmla="*/ 61959 w 10"/>
                <a:gd name="T1" fmla="*/ 324186 h 15"/>
                <a:gd name="T2" fmla="*/ 32610 w 10"/>
                <a:gd name="T3" fmla="*/ 257843 h 15"/>
                <a:gd name="T4" fmla="*/ 0 w 10"/>
                <a:gd name="T5" fmla="*/ 130469 h 15"/>
                <a:gd name="T6" fmla="*/ 32610 w 10"/>
                <a:gd name="T7" fmla="*/ 107343 h 15"/>
                <a:gd name="T8" fmla="*/ 88502 w 10"/>
                <a:gd name="T9" fmla="*/ 69894 h 15"/>
                <a:gd name="T10" fmla="*/ 149971 w 10"/>
                <a:gd name="T11" fmla="*/ 23143 h 15"/>
                <a:gd name="T12" fmla="*/ 168154 w 10"/>
                <a:gd name="T13" fmla="*/ 23143 h 15"/>
                <a:gd name="T14" fmla="*/ 223672 w 10"/>
                <a:gd name="T15" fmla="*/ 23143 h 15"/>
                <a:gd name="T16" fmla="*/ 284945 w 10"/>
                <a:gd name="T17" fmla="*/ 69894 h 15"/>
                <a:gd name="T18" fmla="*/ 284945 w 10"/>
                <a:gd name="T19" fmla="*/ 69894 h 15"/>
                <a:gd name="T20" fmla="*/ 223672 w 10"/>
                <a:gd name="T21" fmla="*/ 107343 h 15"/>
                <a:gd name="T22" fmla="*/ 149971 w 10"/>
                <a:gd name="T23" fmla="*/ 150528 h 15"/>
                <a:gd name="T24" fmla="*/ 149971 w 10"/>
                <a:gd name="T25" fmla="*/ 257843 h 15"/>
                <a:gd name="T26" fmla="*/ 88502 w 10"/>
                <a:gd name="T27" fmla="*/ 304129 h 15"/>
                <a:gd name="T28" fmla="*/ 61959 w 10"/>
                <a:gd name="T29" fmla="*/ 324186 h 1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0"/>
                <a:gd name="T46" fmla="*/ 0 h 15"/>
                <a:gd name="T47" fmla="*/ 10 w 10"/>
                <a:gd name="T48" fmla="*/ 15 h 1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0" h="15">
                  <a:moveTo>
                    <a:pt x="2" y="15"/>
                  </a:moveTo>
                  <a:cubicBezTo>
                    <a:pt x="2" y="14"/>
                    <a:pt x="1" y="13"/>
                    <a:pt x="1" y="12"/>
                  </a:cubicBezTo>
                  <a:cubicBezTo>
                    <a:pt x="0" y="10"/>
                    <a:pt x="1" y="7"/>
                    <a:pt x="0" y="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5"/>
                    <a:pt x="3" y="4"/>
                    <a:pt x="3" y="3"/>
                  </a:cubicBezTo>
                  <a:cubicBezTo>
                    <a:pt x="4" y="3"/>
                    <a:pt x="5" y="2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8" y="0"/>
                    <a:pt x="8" y="1"/>
                  </a:cubicBezTo>
                  <a:cubicBezTo>
                    <a:pt x="9" y="2"/>
                    <a:pt x="9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4"/>
                    <a:pt x="9" y="4"/>
                    <a:pt x="8" y="5"/>
                  </a:cubicBezTo>
                  <a:cubicBezTo>
                    <a:pt x="7" y="6"/>
                    <a:pt x="6" y="6"/>
                    <a:pt x="5" y="7"/>
                  </a:cubicBezTo>
                  <a:cubicBezTo>
                    <a:pt x="5" y="9"/>
                    <a:pt x="5" y="10"/>
                    <a:pt x="5" y="12"/>
                  </a:cubicBezTo>
                  <a:cubicBezTo>
                    <a:pt x="5" y="13"/>
                    <a:pt x="4" y="14"/>
                    <a:pt x="3" y="14"/>
                  </a:cubicBezTo>
                  <a:lnTo>
                    <a:pt x="2" y="15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6" name="Freeform 381"/>
            <p:cNvSpPr>
              <a:spLocks/>
            </p:cNvSpPr>
            <p:nvPr/>
          </p:nvSpPr>
          <p:spPr bwMode="auto">
            <a:xfrm>
              <a:off x="6992966" y="3554919"/>
              <a:ext cx="70483" cy="82465"/>
            </a:xfrm>
            <a:custGeom>
              <a:avLst/>
              <a:gdLst>
                <a:gd name="T0" fmla="*/ 40780 w 150"/>
                <a:gd name="T1" fmla="*/ 3617566 h 170"/>
                <a:gd name="T2" fmla="*/ 338447 w 150"/>
                <a:gd name="T3" fmla="*/ 3504924 h 170"/>
                <a:gd name="T4" fmla="*/ 1303101 w 150"/>
                <a:gd name="T5" fmla="*/ 3538469 h 170"/>
                <a:gd name="T6" fmla="*/ 1417450 w 150"/>
                <a:gd name="T7" fmla="*/ 3958471 h 170"/>
                <a:gd name="T8" fmla="*/ 1756273 w 150"/>
                <a:gd name="T9" fmla="*/ 4253405 h 170"/>
                <a:gd name="T10" fmla="*/ 2051023 w 150"/>
                <a:gd name="T11" fmla="*/ 4175071 h 170"/>
                <a:gd name="T12" fmla="*/ 2214457 w 150"/>
                <a:gd name="T13" fmla="*/ 3874896 h 170"/>
                <a:gd name="T14" fmla="*/ 2814034 w 150"/>
                <a:gd name="T15" fmla="*/ 3997424 h 170"/>
                <a:gd name="T16" fmla="*/ 2936615 w 150"/>
                <a:gd name="T17" fmla="*/ 4820373 h 170"/>
                <a:gd name="T18" fmla="*/ 3015052 w 150"/>
                <a:gd name="T19" fmla="*/ 5059129 h 170"/>
                <a:gd name="T20" fmla="*/ 3506529 w 150"/>
                <a:gd name="T21" fmla="*/ 5161853 h 170"/>
                <a:gd name="T22" fmla="*/ 3801113 w 150"/>
                <a:gd name="T23" fmla="*/ 5275314 h 170"/>
                <a:gd name="T24" fmla="*/ 4201667 w 150"/>
                <a:gd name="T25" fmla="*/ 5477977 h 170"/>
                <a:gd name="T26" fmla="*/ 4455552 w 150"/>
                <a:gd name="T27" fmla="*/ 5398285 h 170"/>
                <a:gd name="T28" fmla="*/ 4812964 w 150"/>
                <a:gd name="T29" fmla="*/ 5590011 h 170"/>
                <a:gd name="T30" fmla="*/ 5259390 w 150"/>
                <a:gd name="T31" fmla="*/ 5931507 h 170"/>
                <a:gd name="T32" fmla="*/ 5218608 w 150"/>
                <a:gd name="T33" fmla="*/ 5590011 h 170"/>
                <a:gd name="T34" fmla="*/ 4870701 w 150"/>
                <a:gd name="T35" fmla="*/ 5439003 h 170"/>
                <a:gd name="T36" fmla="*/ 4943603 w 150"/>
                <a:gd name="T37" fmla="*/ 4820373 h 170"/>
                <a:gd name="T38" fmla="*/ 5259390 w 150"/>
                <a:gd name="T39" fmla="*/ 4328426 h 170"/>
                <a:gd name="T40" fmla="*/ 5472497 w 150"/>
                <a:gd name="T41" fmla="*/ 3958471 h 170"/>
                <a:gd name="T42" fmla="*/ 5145706 w 150"/>
                <a:gd name="T43" fmla="*/ 2886850 h 170"/>
                <a:gd name="T44" fmla="*/ 5066826 w 150"/>
                <a:gd name="T45" fmla="*/ 2506005 h 170"/>
                <a:gd name="T46" fmla="*/ 5218608 w 150"/>
                <a:gd name="T47" fmla="*/ 2096874 h 170"/>
                <a:gd name="T48" fmla="*/ 5218608 w 150"/>
                <a:gd name="T49" fmla="*/ 1644923 h 170"/>
                <a:gd name="T50" fmla="*/ 5423564 w 150"/>
                <a:gd name="T51" fmla="*/ 1302816 h 170"/>
                <a:gd name="T52" fmla="*/ 5721158 w 150"/>
                <a:gd name="T53" fmla="*/ 1025553 h 170"/>
                <a:gd name="T54" fmla="*/ 5557042 w 150"/>
                <a:gd name="T55" fmla="*/ 913792 h 170"/>
                <a:gd name="T56" fmla="*/ 5472497 w 150"/>
                <a:gd name="T57" fmla="*/ 453530 h 170"/>
                <a:gd name="T58" fmla="*/ 5145706 w 150"/>
                <a:gd name="T59" fmla="*/ 235780 h 170"/>
                <a:gd name="T60" fmla="*/ 4771339 w 150"/>
                <a:gd name="T61" fmla="*/ 235780 h 170"/>
                <a:gd name="T62" fmla="*/ 4575968 w 150"/>
                <a:gd name="T63" fmla="*/ 38946 h 170"/>
                <a:gd name="T64" fmla="*/ 3994345 w 150"/>
                <a:gd name="T65" fmla="*/ 38946 h 170"/>
                <a:gd name="T66" fmla="*/ 3670676 w 150"/>
                <a:gd name="T67" fmla="*/ 113592 h 170"/>
                <a:gd name="T68" fmla="*/ 3310580 w 150"/>
                <a:gd name="T69" fmla="*/ 183057 h 170"/>
                <a:gd name="T70" fmla="*/ 3015052 w 150"/>
                <a:gd name="T71" fmla="*/ 352116 h 170"/>
                <a:gd name="T72" fmla="*/ 2489464 w 150"/>
                <a:gd name="T73" fmla="*/ 235780 h 170"/>
                <a:gd name="T74" fmla="*/ 2088760 w 150"/>
                <a:gd name="T75" fmla="*/ 113592 h 170"/>
                <a:gd name="T76" fmla="*/ 1914404 w 150"/>
                <a:gd name="T77" fmla="*/ 420287 h 170"/>
                <a:gd name="T78" fmla="*/ 1875915 w 150"/>
                <a:gd name="T79" fmla="*/ 808434 h 170"/>
                <a:gd name="T80" fmla="*/ 1712369 w 150"/>
                <a:gd name="T81" fmla="*/ 1261991 h 170"/>
                <a:gd name="T82" fmla="*/ 1671366 w 150"/>
                <a:gd name="T83" fmla="*/ 1860424 h 170"/>
                <a:gd name="T84" fmla="*/ 1376676 w 150"/>
                <a:gd name="T85" fmla="*/ 2211251 h 170"/>
                <a:gd name="T86" fmla="*/ 1180343 w 150"/>
                <a:gd name="T87" fmla="*/ 2355346 h 170"/>
                <a:gd name="T88" fmla="*/ 1145409 w 150"/>
                <a:gd name="T89" fmla="*/ 2806449 h 170"/>
                <a:gd name="T90" fmla="*/ 762940 w 150"/>
                <a:gd name="T91" fmla="*/ 3197173 h 170"/>
                <a:gd name="T92" fmla="*/ 447155 w 150"/>
                <a:gd name="T93" fmla="*/ 3083658 h 170"/>
                <a:gd name="T94" fmla="*/ 294690 w 150"/>
                <a:gd name="T95" fmla="*/ 3083658 h 170"/>
                <a:gd name="T96" fmla="*/ 119631 w 150"/>
                <a:gd name="T97" fmla="*/ 3414205 h 17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50"/>
                <a:gd name="T148" fmla="*/ 0 h 170"/>
                <a:gd name="T149" fmla="*/ 150 w 150"/>
                <a:gd name="T150" fmla="*/ 170 h 17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50" h="170">
                  <a:moveTo>
                    <a:pt x="0" y="100"/>
                  </a:moveTo>
                  <a:cubicBezTo>
                    <a:pt x="1" y="101"/>
                    <a:pt x="1" y="102"/>
                    <a:pt x="1" y="103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3" y="102"/>
                    <a:pt x="3" y="102"/>
                    <a:pt x="5" y="102"/>
                  </a:cubicBezTo>
                  <a:cubicBezTo>
                    <a:pt x="5" y="101"/>
                    <a:pt x="7" y="101"/>
                    <a:pt x="8" y="101"/>
                  </a:cubicBezTo>
                  <a:cubicBezTo>
                    <a:pt x="8" y="100"/>
                    <a:pt x="9" y="100"/>
                    <a:pt x="9" y="100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17" y="100"/>
                    <a:pt x="22" y="99"/>
                    <a:pt x="29" y="100"/>
                  </a:cubicBezTo>
                  <a:cubicBezTo>
                    <a:pt x="30" y="100"/>
                    <a:pt x="32" y="99"/>
                    <a:pt x="34" y="101"/>
                  </a:cubicBezTo>
                  <a:cubicBezTo>
                    <a:pt x="35" y="102"/>
                    <a:pt x="35" y="103"/>
                    <a:pt x="36" y="105"/>
                  </a:cubicBezTo>
                  <a:cubicBezTo>
                    <a:pt x="36" y="106"/>
                    <a:pt x="36" y="107"/>
                    <a:pt x="36" y="108"/>
                  </a:cubicBezTo>
                  <a:cubicBezTo>
                    <a:pt x="36" y="109"/>
                    <a:pt x="36" y="111"/>
                    <a:pt x="37" y="113"/>
                  </a:cubicBezTo>
                  <a:cubicBezTo>
                    <a:pt x="37" y="114"/>
                    <a:pt x="38" y="114"/>
                    <a:pt x="39" y="115"/>
                  </a:cubicBezTo>
                  <a:cubicBezTo>
                    <a:pt x="42" y="116"/>
                    <a:pt x="41" y="119"/>
                    <a:pt x="42" y="122"/>
                  </a:cubicBezTo>
                  <a:cubicBezTo>
                    <a:pt x="43" y="121"/>
                    <a:pt x="45" y="122"/>
                    <a:pt x="46" y="121"/>
                  </a:cubicBezTo>
                  <a:cubicBezTo>
                    <a:pt x="47" y="121"/>
                    <a:pt x="47" y="120"/>
                    <a:pt x="48" y="120"/>
                  </a:cubicBezTo>
                  <a:cubicBezTo>
                    <a:pt x="50" y="120"/>
                    <a:pt x="51" y="120"/>
                    <a:pt x="53" y="120"/>
                  </a:cubicBezTo>
                  <a:cubicBezTo>
                    <a:pt x="53" y="120"/>
                    <a:pt x="54" y="119"/>
                    <a:pt x="54" y="119"/>
                  </a:cubicBezTo>
                  <a:cubicBezTo>
                    <a:pt x="55" y="118"/>
                    <a:pt x="57" y="118"/>
                    <a:pt x="58" y="117"/>
                  </a:cubicBezTo>
                  <a:cubicBezTo>
                    <a:pt x="58" y="115"/>
                    <a:pt x="58" y="113"/>
                    <a:pt x="58" y="111"/>
                  </a:cubicBezTo>
                  <a:cubicBezTo>
                    <a:pt x="58" y="111"/>
                    <a:pt x="58" y="110"/>
                    <a:pt x="58" y="110"/>
                  </a:cubicBezTo>
                  <a:cubicBezTo>
                    <a:pt x="61" y="111"/>
                    <a:pt x="63" y="110"/>
                    <a:pt x="66" y="111"/>
                  </a:cubicBezTo>
                  <a:cubicBezTo>
                    <a:pt x="66" y="112"/>
                    <a:pt x="67" y="113"/>
                    <a:pt x="68" y="113"/>
                  </a:cubicBezTo>
                  <a:cubicBezTo>
                    <a:pt x="70" y="114"/>
                    <a:pt x="72" y="113"/>
                    <a:pt x="74" y="114"/>
                  </a:cubicBezTo>
                  <a:cubicBezTo>
                    <a:pt x="75" y="114"/>
                    <a:pt x="75" y="114"/>
                    <a:pt x="75" y="115"/>
                  </a:cubicBezTo>
                  <a:cubicBezTo>
                    <a:pt x="76" y="118"/>
                    <a:pt x="75" y="121"/>
                    <a:pt x="76" y="124"/>
                  </a:cubicBezTo>
                  <a:cubicBezTo>
                    <a:pt x="77" y="128"/>
                    <a:pt x="77" y="133"/>
                    <a:pt x="77" y="137"/>
                  </a:cubicBezTo>
                  <a:cubicBezTo>
                    <a:pt x="78" y="137"/>
                    <a:pt x="78" y="137"/>
                    <a:pt x="78" y="137"/>
                  </a:cubicBezTo>
                  <a:cubicBezTo>
                    <a:pt x="78" y="138"/>
                    <a:pt x="79" y="139"/>
                    <a:pt x="80" y="140"/>
                  </a:cubicBezTo>
                  <a:cubicBezTo>
                    <a:pt x="80" y="141"/>
                    <a:pt x="80" y="142"/>
                    <a:pt x="79" y="144"/>
                  </a:cubicBezTo>
                  <a:cubicBezTo>
                    <a:pt x="79" y="145"/>
                    <a:pt x="80" y="147"/>
                    <a:pt x="80" y="149"/>
                  </a:cubicBezTo>
                  <a:cubicBezTo>
                    <a:pt x="83" y="149"/>
                    <a:pt x="85" y="149"/>
                    <a:pt x="87" y="149"/>
                  </a:cubicBezTo>
                  <a:cubicBezTo>
                    <a:pt x="89" y="148"/>
                    <a:pt x="91" y="148"/>
                    <a:pt x="92" y="147"/>
                  </a:cubicBezTo>
                  <a:cubicBezTo>
                    <a:pt x="94" y="147"/>
                    <a:pt x="96" y="147"/>
                    <a:pt x="96" y="148"/>
                  </a:cubicBezTo>
                  <a:cubicBezTo>
                    <a:pt x="97" y="149"/>
                    <a:pt x="96" y="150"/>
                    <a:pt x="97" y="151"/>
                  </a:cubicBezTo>
                  <a:cubicBezTo>
                    <a:pt x="98" y="151"/>
                    <a:pt x="99" y="150"/>
                    <a:pt x="100" y="150"/>
                  </a:cubicBezTo>
                  <a:cubicBezTo>
                    <a:pt x="102" y="149"/>
                    <a:pt x="103" y="152"/>
                    <a:pt x="104" y="154"/>
                  </a:cubicBezTo>
                  <a:cubicBezTo>
                    <a:pt x="104" y="154"/>
                    <a:pt x="105" y="155"/>
                    <a:pt x="105" y="155"/>
                  </a:cubicBezTo>
                  <a:cubicBezTo>
                    <a:pt x="107" y="155"/>
                    <a:pt x="109" y="155"/>
                    <a:pt x="110" y="156"/>
                  </a:cubicBezTo>
                  <a:cubicBezTo>
                    <a:pt x="111" y="157"/>
                    <a:pt x="112" y="156"/>
                    <a:pt x="113" y="157"/>
                  </a:cubicBezTo>
                  <a:cubicBezTo>
                    <a:pt x="114" y="157"/>
                    <a:pt x="116" y="157"/>
                    <a:pt x="116" y="156"/>
                  </a:cubicBezTo>
                  <a:cubicBezTo>
                    <a:pt x="117" y="155"/>
                    <a:pt x="117" y="154"/>
                    <a:pt x="117" y="154"/>
                  </a:cubicBezTo>
                  <a:cubicBezTo>
                    <a:pt x="118" y="153"/>
                    <a:pt x="119" y="153"/>
                    <a:pt x="120" y="154"/>
                  </a:cubicBezTo>
                  <a:cubicBezTo>
                    <a:pt x="120" y="156"/>
                    <a:pt x="119" y="158"/>
                    <a:pt x="121" y="159"/>
                  </a:cubicBezTo>
                  <a:cubicBezTo>
                    <a:pt x="123" y="159"/>
                    <a:pt x="124" y="159"/>
                    <a:pt x="126" y="159"/>
                  </a:cubicBezTo>
                  <a:cubicBezTo>
                    <a:pt x="126" y="160"/>
                    <a:pt x="126" y="160"/>
                    <a:pt x="127" y="161"/>
                  </a:cubicBezTo>
                  <a:cubicBezTo>
                    <a:pt x="128" y="163"/>
                    <a:pt x="130" y="165"/>
                    <a:pt x="131" y="167"/>
                  </a:cubicBezTo>
                  <a:cubicBezTo>
                    <a:pt x="133" y="170"/>
                    <a:pt x="135" y="169"/>
                    <a:pt x="138" y="169"/>
                  </a:cubicBezTo>
                  <a:cubicBezTo>
                    <a:pt x="138" y="169"/>
                    <a:pt x="138" y="168"/>
                    <a:pt x="138" y="168"/>
                  </a:cubicBezTo>
                  <a:cubicBezTo>
                    <a:pt x="138" y="165"/>
                    <a:pt x="139" y="162"/>
                    <a:pt x="138" y="159"/>
                  </a:cubicBezTo>
                  <a:cubicBezTo>
                    <a:pt x="138" y="159"/>
                    <a:pt x="137" y="159"/>
                    <a:pt x="137" y="159"/>
                  </a:cubicBezTo>
                  <a:cubicBezTo>
                    <a:pt x="137" y="159"/>
                    <a:pt x="136" y="160"/>
                    <a:pt x="136" y="160"/>
                  </a:cubicBezTo>
                  <a:cubicBezTo>
                    <a:pt x="135" y="160"/>
                    <a:pt x="134" y="160"/>
                    <a:pt x="133" y="159"/>
                  </a:cubicBezTo>
                  <a:cubicBezTo>
                    <a:pt x="132" y="158"/>
                    <a:pt x="130" y="156"/>
                    <a:pt x="128" y="155"/>
                  </a:cubicBezTo>
                  <a:cubicBezTo>
                    <a:pt x="128" y="153"/>
                    <a:pt x="128" y="151"/>
                    <a:pt x="129" y="149"/>
                  </a:cubicBezTo>
                  <a:cubicBezTo>
                    <a:pt x="129" y="148"/>
                    <a:pt x="129" y="147"/>
                    <a:pt x="130" y="146"/>
                  </a:cubicBezTo>
                  <a:cubicBezTo>
                    <a:pt x="130" y="143"/>
                    <a:pt x="130" y="140"/>
                    <a:pt x="130" y="137"/>
                  </a:cubicBezTo>
                  <a:cubicBezTo>
                    <a:pt x="129" y="133"/>
                    <a:pt x="130" y="129"/>
                    <a:pt x="133" y="126"/>
                  </a:cubicBezTo>
                  <a:cubicBezTo>
                    <a:pt x="133" y="125"/>
                    <a:pt x="134" y="124"/>
                    <a:pt x="135" y="124"/>
                  </a:cubicBezTo>
                  <a:cubicBezTo>
                    <a:pt x="136" y="123"/>
                    <a:pt x="137" y="124"/>
                    <a:pt x="138" y="123"/>
                  </a:cubicBezTo>
                  <a:cubicBezTo>
                    <a:pt x="138" y="123"/>
                    <a:pt x="139" y="123"/>
                    <a:pt x="139" y="123"/>
                  </a:cubicBezTo>
                  <a:cubicBezTo>
                    <a:pt x="141" y="122"/>
                    <a:pt x="144" y="122"/>
                    <a:pt x="146" y="122"/>
                  </a:cubicBezTo>
                  <a:cubicBezTo>
                    <a:pt x="144" y="113"/>
                    <a:pt x="144" y="113"/>
                    <a:pt x="144" y="113"/>
                  </a:cubicBezTo>
                  <a:cubicBezTo>
                    <a:pt x="137" y="106"/>
                    <a:pt x="137" y="106"/>
                    <a:pt x="137" y="106"/>
                  </a:cubicBezTo>
                  <a:cubicBezTo>
                    <a:pt x="136" y="87"/>
                    <a:pt x="136" y="87"/>
                    <a:pt x="136" y="87"/>
                  </a:cubicBezTo>
                  <a:cubicBezTo>
                    <a:pt x="136" y="85"/>
                    <a:pt x="135" y="84"/>
                    <a:pt x="135" y="82"/>
                  </a:cubicBezTo>
                  <a:cubicBezTo>
                    <a:pt x="134" y="79"/>
                    <a:pt x="134" y="77"/>
                    <a:pt x="134" y="74"/>
                  </a:cubicBezTo>
                  <a:cubicBezTo>
                    <a:pt x="134" y="73"/>
                    <a:pt x="133" y="72"/>
                    <a:pt x="133" y="71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69"/>
                    <a:pt x="133" y="68"/>
                    <a:pt x="133" y="66"/>
                  </a:cubicBezTo>
                  <a:cubicBezTo>
                    <a:pt x="133" y="66"/>
                    <a:pt x="134" y="66"/>
                    <a:pt x="134" y="65"/>
                  </a:cubicBezTo>
                  <a:cubicBezTo>
                    <a:pt x="135" y="63"/>
                    <a:pt x="136" y="62"/>
                    <a:pt x="137" y="60"/>
                  </a:cubicBezTo>
                  <a:cubicBezTo>
                    <a:pt x="138" y="60"/>
                    <a:pt x="138" y="60"/>
                    <a:pt x="138" y="59"/>
                  </a:cubicBezTo>
                  <a:cubicBezTo>
                    <a:pt x="138" y="59"/>
                    <a:pt x="138" y="59"/>
                    <a:pt x="138" y="59"/>
                  </a:cubicBezTo>
                  <a:cubicBezTo>
                    <a:pt x="137" y="55"/>
                    <a:pt x="138" y="51"/>
                    <a:pt x="137" y="47"/>
                  </a:cubicBezTo>
                  <a:cubicBezTo>
                    <a:pt x="137" y="46"/>
                    <a:pt x="136" y="44"/>
                    <a:pt x="137" y="43"/>
                  </a:cubicBezTo>
                  <a:cubicBezTo>
                    <a:pt x="137" y="43"/>
                    <a:pt x="138" y="42"/>
                    <a:pt x="138" y="42"/>
                  </a:cubicBezTo>
                  <a:cubicBezTo>
                    <a:pt x="140" y="41"/>
                    <a:pt x="141" y="39"/>
                    <a:pt x="142" y="37"/>
                  </a:cubicBezTo>
                  <a:cubicBezTo>
                    <a:pt x="143" y="37"/>
                    <a:pt x="143" y="36"/>
                    <a:pt x="144" y="36"/>
                  </a:cubicBezTo>
                  <a:cubicBezTo>
                    <a:pt x="146" y="35"/>
                    <a:pt x="148" y="34"/>
                    <a:pt x="149" y="32"/>
                  </a:cubicBezTo>
                  <a:cubicBezTo>
                    <a:pt x="149" y="31"/>
                    <a:pt x="150" y="30"/>
                    <a:pt x="150" y="29"/>
                  </a:cubicBezTo>
                  <a:cubicBezTo>
                    <a:pt x="150" y="28"/>
                    <a:pt x="150" y="27"/>
                    <a:pt x="150" y="26"/>
                  </a:cubicBezTo>
                  <a:cubicBezTo>
                    <a:pt x="149" y="26"/>
                    <a:pt x="148" y="27"/>
                    <a:pt x="147" y="26"/>
                  </a:cubicBezTo>
                  <a:cubicBezTo>
                    <a:pt x="147" y="26"/>
                    <a:pt x="146" y="26"/>
                    <a:pt x="146" y="26"/>
                  </a:cubicBezTo>
                  <a:cubicBezTo>
                    <a:pt x="146" y="22"/>
                    <a:pt x="146" y="18"/>
                    <a:pt x="147" y="15"/>
                  </a:cubicBezTo>
                  <a:cubicBezTo>
                    <a:pt x="146" y="14"/>
                    <a:pt x="145" y="14"/>
                    <a:pt x="144" y="14"/>
                  </a:cubicBezTo>
                  <a:cubicBezTo>
                    <a:pt x="144" y="13"/>
                    <a:pt x="144" y="13"/>
                    <a:pt x="144" y="13"/>
                  </a:cubicBezTo>
                  <a:cubicBezTo>
                    <a:pt x="143" y="11"/>
                    <a:pt x="142" y="9"/>
                    <a:pt x="140" y="8"/>
                  </a:cubicBezTo>
                  <a:cubicBezTo>
                    <a:pt x="140" y="7"/>
                    <a:pt x="138" y="7"/>
                    <a:pt x="138" y="6"/>
                  </a:cubicBezTo>
                  <a:cubicBezTo>
                    <a:pt x="137" y="5"/>
                    <a:pt x="136" y="7"/>
                    <a:pt x="135" y="7"/>
                  </a:cubicBezTo>
                  <a:cubicBezTo>
                    <a:pt x="133" y="8"/>
                    <a:pt x="131" y="7"/>
                    <a:pt x="129" y="7"/>
                  </a:cubicBezTo>
                  <a:cubicBezTo>
                    <a:pt x="129" y="7"/>
                    <a:pt x="128" y="8"/>
                    <a:pt x="128" y="8"/>
                  </a:cubicBezTo>
                  <a:cubicBezTo>
                    <a:pt x="127" y="9"/>
                    <a:pt x="126" y="8"/>
                    <a:pt x="125" y="7"/>
                  </a:cubicBezTo>
                  <a:cubicBezTo>
                    <a:pt x="124" y="6"/>
                    <a:pt x="124" y="5"/>
                    <a:pt x="124" y="4"/>
                  </a:cubicBezTo>
                  <a:cubicBezTo>
                    <a:pt x="123" y="2"/>
                    <a:pt x="121" y="2"/>
                    <a:pt x="120" y="1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18" y="1"/>
                    <a:pt x="116" y="1"/>
                    <a:pt x="115" y="2"/>
                  </a:cubicBezTo>
                  <a:cubicBezTo>
                    <a:pt x="113" y="2"/>
                    <a:pt x="111" y="2"/>
                    <a:pt x="110" y="2"/>
                  </a:cubicBezTo>
                  <a:cubicBezTo>
                    <a:pt x="108" y="1"/>
                    <a:pt x="106" y="0"/>
                    <a:pt x="105" y="1"/>
                  </a:cubicBezTo>
                  <a:cubicBezTo>
                    <a:pt x="103" y="2"/>
                    <a:pt x="103" y="3"/>
                    <a:pt x="102" y="4"/>
                  </a:cubicBezTo>
                  <a:cubicBezTo>
                    <a:pt x="100" y="4"/>
                    <a:pt x="99" y="4"/>
                    <a:pt x="98" y="3"/>
                  </a:cubicBezTo>
                  <a:cubicBezTo>
                    <a:pt x="98" y="2"/>
                    <a:pt x="97" y="2"/>
                    <a:pt x="96" y="3"/>
                  </a:cubicBezTo>
                  <a:cubicBezTo>
                    <a:pt x="95" y="4"/>
                    <a:pt x="93" y="5"/>
                    <a:pt x="91" y="5"/>
                  </a:cubicBezTo>
                  <a:cubicBezTo>
                    <a:pt x="91" y="5"/>
                    <a:pt x="90" y="5"/>
                    <a:pt x="90" y="6"/>
                  </a:cubicBezTo>
                  <a:cubicBezTo>
                    <a:pt x="89" y="6"/>
                    <a:pt x="88" y="6"/>
                    <a:pt x="87" y="5"/>
                  </a:cubicBezTo>
                  <a:cubicBezTo>
                    <a:pt x="86" y="5"/>
                    <a:pt x="85" y="5"/>
                    <a:pt x="84" y="5"/>
                  </a:cubicBezTo>
                  <a:cubicBezTo>
                    <a:pt x="82" y="6"/>
                    <a:pt x="81" y="7"/>
                    <a:pt x="81" y="9"/>
                  </a:cubicBezTo>
                  <a:cubicBezTo>
                    <a:pt x="81" y="10"/>
                    <a:pt x="80" y="10"/>
                    <a:pt x="79" y="10"/>
                  </a:cubicBezTo>
                  <a:cubicBezTo>
                    <a:pt x="78" y="11"/>
                    <a:pt x="77" y="11"/>
                    <a:pt x="76" y="10"/>
                  </a:cubicBezTo>
                  <a:cubicBezTo>
                    <a:pt x="73" y="10"/>
                    <a:pt x="70" y="9"/>
                    <a:pt x="67" y="8"/>
                  </a:cubicBezTo>
                  <a:cubicBezTo>
                    <a:pt x="66" y="8"/>
                    <a:pt x="66" y="8"/>
                    <a:pt x="65" y="7"/>
                  </a:cubicBezTo>
                  <a:cubicBezTo>
                    <a:pt x="64" y="6"/>
                    <a:pt x="63" y="6"/>
                    <a:pt x="61" y="4"/>
                  </a:cubicBezTo>
                  <a:cubicBezTo>
                    <a:pt x="61" y="4"/>
                    <a:pt x="60" y="3"/>
                    <a:pt x="59" y="3"/>
                  </a:cubicBezTo>
                  <a:cubicBezTo>
                    <a:pt x="58" y="2"/>
                    <a:pt x="57" y="3"/>
                    <a:pt x="55" y="3"/>
                  </a:cubicBezTo>
                  <a:cubicBezTo>
                    <a:pt x="54" y="4"/>
                    <a:pt x="54" y="5"/>
                    <a:pt x="53" y="6"/>
                  </a:cubicBezTo>
                  <a:cubicBezTo>
                    <a:pt x="52" y="7"/>
                    <a:pt x="51" y="7"/>
                    <a:pt x="51" y="8"/>
                  </a:cubicBezTo>
                  <a:cubicBezTo>
                    <a:pt x="50" y="9"/>
                    <a:pt x="51" y="11"/>
                    <a:pt x="50" y="12"/>
                  </a:cubicBezTo>
                  <a:cubicBezTo>
                    <a:pt x="50" y="13"/>
                    <a:pt x="50" y="14"/>
                    <a:pt x="50" y="15"/>
                  </a:cubicBezTo>
                  <a:cubicBezTo>
                    <a:pt x="51" y="16"/>
                    <a:pt x="51" y="18"/>
                    <a:pt x="50" y="19"/>
                  </a:cubicBezTo>
                  <a:cubicBezTo>
                    <a:pt x="49" y="21"/>
                    <a:pt x="50" y="22"/>
                    <a:pt x="49" y="23"/>
                  </a:cubicBezTo>
                  <a:cubicBezTo>
                    <a:pt x="48" y="24"/>
                    <a:pt x="48" y="24"/>
                    <a:pt x="47" y="25"/>
                  </a:cubicBezTo>
                  <a:cubicBezTo>
                    <a:pt x="45" y="28"/>
                    <a:pt x="46" y="31"/>
                    <a:pt x="45" y="35"/>
                  </a:cubicBezTo>
                  <a:cubicBezTo>
                    <a:pt x="45" y="35"/>
                    <a:pt x="45" y="36"/>
                    <a:pt x="45" y="36"/>
                  </a:cubicBezTo>
                  <a:cubicBezTo>
                    <a:pt x="45" y="39"/>
                    <a:pt x="45" y="42"/>
                    <a:pt x="44" y="45"/>
                  </a:cubicBezTo>
                  <a:cubicBezTo>
                    <a:pt x="44" y="47"/>
                    <a:pt x="44" y="49"/>
                    <a:pt x="44" y="51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3" y="55"/>
                    <a:pt x="41" y="57"/>
                    <a:pt x="38" y="58"/>
                  </a:cubicBezTo>
                  <a:cubicBezTo>
                    <a:pt x="38" y="58"/>
                    <a:pt x="38" y="58"/>
                    <a:pt x="37" y="59"/>
                  </a:cubicBezTo>
                  <a:cubicBezTo>
                    <a:pt x="37" y="60"/>
                    <a:pt x="37" y="62"/>
                    <a:pt x="36" y="63"/>
                  </a:cubicBezTo>
                  <a:cubicBezTo>
                    <a:pt x="35" y="64"/>
                    <a:pt x="33" y="65"/>
                    <a:pt x="32" y="65"/>
                  </a:cubicBezTo>
                  <a:cubicBezTo>
                    <a:pt x="32" y="65"/>
                    <a:pt x="32" y="66"/>
                    <a:pt x="32" y="66"/>
                  </a:cubicBezTo>
                  <a:cubicBezTo>
                    <a:pt x="31" y="66"/>
                    <a:pt x="31" y="67"/>
                    <a:pt x="31" y="67"/>
                  </a:cubicBezTo>
                  <a:cubicBezTo>
                    <a:pt x="30" y="68"/>
                    <a:pt x="31" y="69"/>
                    <a:pt x="31" y="70"/>
                  </a:cubicBezTo>
                  <a:cubicBezTo>
                    <a:pt x="32" y="72"/>
                    <a:pt x="32" y="75"/>
                    <a:pt x="31" y="77"/>
                  </a:cubicBezTo>
                  <a:cubicBezTo>
                    <a:pt x="31" y="78"/>
                    <a:pt x="31" y="79"/>
                    <a:pt x="30" y="80"/>
                  </a:cubicBezTo>
                  <a:cubicBezTo>
                    <a:pt x="28" y="81"/>
                    <a:pt x="26" y="83"/>
                    <a:pt x="25" y="85"/>
                  </a:cubicBezTo>
                  <a:cubicBezTo>
                    <a:pt x="24" y="86"/>
                    <a:pt x="23" y="87"/>
                    <a:pt x="23" y="89"/>
                  </a:cubicBezTo>
                  <a:cubicBezTo>
                    <a:pt x="22" y="90"/>
                    <a:pt x="21" y="90"/>
                    <a:pt x="20" y="91"/>
                  </a:cubicBezTo>
                  <a:cubicBezTo>
                    <a:pt x="19" y="91"/>
                    <a:pt x="18" y="90"/>
                    <a:pt x="17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5" y="89"/>
                    <a:pt x="14" y="87"/>
                    <a:pt x="12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1" y="88"/>
                    <a:pt x="9" y="89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9"/>
                    <a:pt x="7" y="89"/>
                    <a:pt x="6" y="90"/>
                  </a:cubicBezTo>
                  <a:cubicBezTo>
                    <a:pt x="5" y="91"/>
                    <a:pt x="4" y="91"/>
                    <a:pt x="3" y="92"/>
                  </a:cubicBezTo>
                  <a:cubicBezTo>
                    <a:pt x="3" y="94"/>
                    <a:pt x="3" y="95"/>
                    <a:pt x="3" y="97"/>
                  </a:cubicBezTo>
                  <a:cubicBezTo>
                    <a:pt x="3" y="98"/>
                    <a:pt x="2" y="99"/>
                    <a:pt x="1" y="99"/>
                  </a:cubicBezTo>
                  <a:lnTo>
                    <a:pt x="0" y="10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7" name="Freeform 382"/>
            <p:cNvSpPr>
              <a:spLocks/>
            </p:cNvSpPr>
            <p:nvPr/>
          </p:nvSpPr>
          <p:spPr bwMode="auto">
            <a:xfrm>
              <a:off x="6991211" y="3603047"/>
              <a:ext cx="46403" cy="54617"/>
            </a:xfrm>
            <a:custGeom>
              <a:avLst/>
              <a:gdLst>
                <a:gd name="T0" fmla="*/ 0 w 99"/>
                <a:gd name="T1" fmla="*/ 3841245 h 113"/>
                <a:gd name="T2" fmla="*/ 39898 w 99"/>
                <a:gd name="T3" fmla="*/ 3372962 h 113"/>
                <a:gd name="T4" fmla="*/ 225912 w 99"/>
                <a:gd name="T5" fmla="*/ 2937247 h 113"/>
                <a:gd name="T6" fmla="*/ 326743 w 99"/>
                <a:gd name="T7" fmla="*/ 2609343 h 113"/>
                <a:gd name="T8" fmla="*/ 403639 w 99"/>
                <a:gd name="T9" fmla="*/ 2383830 h 113"/>
                <a:gd name="T10" fmla="*/ 552770 w 99"/>
                <a:gd name="T11" fmla="*/ 2096636 h 113"/>
                <a:gd name="T12" fmla="*/ 512908 w 99"/>
                <a:gd name="T13" fmla="*/ 1661654 h 113"/>
                <a:gd name="T14" fmla="*/ 435850 w 99"/>
                <a:gd name="T15" fmla="*/ 1352549 h 113"/>
                <a:gd name="T16" fmla="*/ 475887 w 99"/>
                <a:gd name="T17" fmla="*/ 1066103 h 113"/>
                <a:gd name="T18" fmla="*/ 435850 w 99"/>
                <a:gd name="T19" fmla="*/ 744030 h 113"/>
                <a:gd name="T20" fmla="*/ 363712 w 99"/>
                <a:gd name="T21" fmla="*/ 552613 h 113"/>
                <a:gd name="T22" fmla="*/ 225912 w 99"/>
                <a:gd name="T23" fmla="*/ 188373 h 113"/>
                <a:gd name="T24" fmla="*/ 188521 w 99"/>
                <a:gd name="T25" fmla="*/ 148479 h 113"/>
                <a:gd name="T26" fmla="*/ 435850 w 99"/>
                <a:gd name="T27" fmla="*/ 76964 h 113"/>
                <a:gd name="T28" fmla="*/ 552770 w 99"/>
                <a:gd name="T29" fmla="*/ 39894 h 113"/>
                <a:gd name="T30" fmla="*/ 1396083 w 99"/>
                <a:gd name="T31" fmla="*/ 76964 h 113"/>
                <a:gd name="T32" fmla="*/ 1473171 w 99"/>
                <a:gd name="T33" fmla="*/ 326647 h 113"/>
                <a:gd name="T34" fmla="*/ 1585269 w 99"/>
                <a:gd name="T35" fmla="*/ 594889 h 113"/>
                <a:gd name="T36" fmla="*/ 1831933 w 99"/>
                <a:gd name="T37" fmla="*/ 800739 h 113"/>
                <a:gd name="T38" fmla="*/ 2097566 w 99"/>
                <a:gd name="T39" fmla="*/ 778480 h 113"/>
                <a:gd name="T40" fmla="*/ 2297863 w 99"/>
                <a:gd name="T41" fmla="*/ 671961 h 113"/>
                <a:gd name="T42" fmla="*/ 2297863 w 99"/>
                <a:gd name="T43" fmla="*/ 403524 h 113"/>
                <a:gd name="T44" fmla="*/ 2652350 w 99"/>
                <a:gd name="T45" fmla="*/ 512723 h 113"/>
                <a:gd name="T46" fmla="*/ 2898597 w 99"/>
                <a:gd name="T47" fmla="*/ 594889 h 113"/>
                <a:gd name="T48" fmla="*/ 2981568 w 99"/>
                <a:gd name="T49" fmla="*/ 1395544 h 113"/>
                <a:gd name="T50" fmla="*/ 3098491 w 99"/>
                <a:gd name="T51" fmla="*/ 1501846 h 113"/>
                <a:gd name="T52" fmla="*/ 3098491 w 99"/>
                <a:gd name="T53" fmla="*/ 1830878 h 113"/>
                <a:gd name="T54" fmla="*/ 3534335 w 99"/>
                <a:gd name="T55" fmla="*/ 1770075 h 113"/>
                <a:gd name="T56" fmla="*/ 3642777 w 99"/>
                <a:gd name="T57" fmla="*/ 1770075 h 113"/>
                <a:gd name="T58" fmla="*/ 3611742 w 99"/>
                <a:gd name="T59" fmla="*/ 1908266 h 113"/>
                <a:gd name="T60" fmla="*/ 3571785 w 99"/>
                <a:gd name="T61" fmla="*/ 2256439 h 113"/>
                <a:gd name="T62" fmla="*/ 3571785 w 99"/>
                <a:gd name="T63" fmla="*/ 2426107 h 113"/>
                <a:gd name="T64" fmla="*/ 3417418 w 99"/>
                <a:gd name="T65" fmla="*/ 2426107 h 113"/>
                <a:gd name="T66" fmla="*/ 3015915 w 99"/>
                <a:gd name="T67" fmla="*/ 2426107 h 113"/>
                <a:gd name="T68" fmla="*/ 2981568 w 99"/>
                <a:gd name="T69" fmla="*/ 3414835 h 113"/>
                <a:gd name="T70" fmla="*/ 3165252 w 99"/>
                <a:gd name="T71" fmla="*/ 3841245 h 113"/>
                <a:gd name="T72" fmla="*/ 3374468 w 99"/>
                <a:gd name="T73" fmla="*/ 4004808 h 113"/>
                <a:gd name="T74" fmla="*/ 2898597 w 99"/>
                <a:gd name="T75" fmla="*/ 4164704 h 113"/>
                <a:gd name="T76" fmla="*/ 2810712 w 99"/>
                <a:gd name="T77" fmla="*/ 4164704 h 113"/>
                <a:gd name="T78" fmla="*/ 2652350 w 99"/>
                <a:gd name="T79" fmla="*/ 4121910 h 113"/>
                <a:gd name="T80" fmla="*/ 2297863 w 99"/>
                <a:gd name="T81" fmla="*/ 4087794 h 113"/>
                <a:gd name="T82" fmla="*/ 1872055 w 99"/>
                <a:gd name="T83" fmla="*/ 3967851 h 113"/>
                <a:gd name="T84" fmla="*/ 1585269 w 99"/>
                <a:gd name="T85" fmla="*/ 3927957 h 113"/>
                <a:gd name="T86" fmla="*/ 672143 w 99"/>
                <a:gd name="T87" fmla="*/ 3967851 h 113"/>
                <a:gd name="T88" fmla="*/ 435850 w 99"/>
                <a:gd name="T89" fmla="*/ 3875735 h 113"/>
                <a:gd name="T90" fmla="*/ 225912 w 99"/>
                <a:gd name="T91" fmla="*/ 3896403 h 113"/>
                <a:gd name="T92" fmla="*/ 39898 w 99"/>
                <a:gd name="T93" fmla="*/ 3896403 h 11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99"/>
                <a:gd name="T142" fmla="*/ 0 h 113"/>
                <a:gd name="T143" fmla="*/ 99 w 99"/>
                <a:gd name="T144" fmla="*/ 113 h 11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99" h="113">
                  <a:moveTo>
                    <a:pt x="0" y="106"/>
                  </a:moveTo>
                  <a:cubicBezTo>
                    <a:pt x="0" y="105"/>
                    <a:pt x="0" y="105"/>
                    <a:pt x="0" y="104"/>
                  </a:cubicBezTo>
                  <a:cubicBezTo>
                    <a:pt x="1" y="101"/>
                    <a:pt x="0" y="98"/>
                    <a:pt x="0" y="95"/>
                  </a:cubicBezTo>
                  <a:cubicBezTo>
                    <a:pt x="1" y="94"/>
                    <a:pt x="1" y="93"/>
                    <a:pt x="1" y="92"/>
                  </a:cubicBezTo>
                  <a:cubicBezTo>
                    <a:pt x="2" y="90"/>
                    <a:pt x="4" y="88"/>
                    <a:pt x="4" y="86"/>
                  </a:cubicBezTo>
                  <a:cubicBezTo>
                    <a:pt x="4" y="84"/>
                    <a:pt x="6" y="82"/>
                    <a:pt x="6" y="80"/>
                  </a:cubicBezTo>
                  <a:cubicBezTo>
                    <a:pt x="7" y="78"/>
                    <a:pt x="6" y="76"/>
                    <a:pt x="7" y="74"/>
                  </a:cubicBezTo>
                  <a:cubicBezTo>
                    <a:pt x="7" y="73"/>
                    <a:pt x="8" y="72"/>
                    <a:pt x="9" y="71"/>
                  </a:cubicBezTo>
                  <a:cubicBezTo>
                    <a:pt x="9" y="70"/>
                    <a:pt x="9" y="69"/>
                    <a:pt x="9" y="68"/>
                  </a:cubicBezTo>
                  <a:cubicBezTo>
                    <a:pt x="10" y="67"/>
                    <a:pt x="10" y="66"/>
                    <a:pt x="11" y="65"/>
                  </a:cubicBezTo>
                  <a:cubicBezTo>
                    <a:pt x="12" y="63"/>
                    <a:pt x="14" y="62"/>
                    <a:pt x="15" y="60"/>
                  </a:cubicBezTo>
                  <a:cubicBezTo>
                    <a:pt x="15" y="59"/>
                    <a:pt x="15" y="58"/>
                    <a:pt x="15" y="57"/>
                  </a:cubicBezTo>
                  <a:cubicBezTo>
                    <a:pt x="15" y="54"/>
                    <a:pt x="16" y="50"/>
                    <a:pt x="14" y="46"/>
                  </a:cubicBezTo>
                  <a:cubicBezTo>
                    <a:pt x="14" y="46"/>
                    <a:pt x="14" y="46"/>
                    <a:pt x="14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3"/>
                    <a:pt x="13" y="40"/>
                    <a:pt x="12" y="37"/>
                  </a:cubicBezTo>
                  <a:cubicBezTo>
                    <a:pt x="11" y="36"/>
                    <a:pt x="11" y="34"/>
                    <a:pt x="12" y="32"/>
                  </a:cubicBezTo>
                  <a:cubicBezTo>
                    <a:pt x="12" y="31"/>
                    <a:pt x="13" y="30"/>
                    <a:pt x="13" y="29"/>
                  </a:cubicBezTo>
                  <a:cubicBezTo>
                    <a:pt x="14" y="28"/>
                    <a:pt x="14" y="27"/>
                    <a:pt x="13" y="26"/>
                  </a:cubicBezTo>
                  <a:cubicBezTo>
                    <a:pt x="13" y="24"/>
                    <a:pt x="12" y="22"/>
                    <a:pt x="12" y="20"/>
                  </a:cubicBezTo>
                  <a:cubicBezTo>
                    <a:pt x="12" y="19"/>
                    <a:pt x="11" y="19"/>
                    <a:pt x="11" y="19"/>
                  </a:cubicBezTo>
                  <a:cubicBezTo>
                    <a:pt x="11" y="17"/>
                    <a:pt x="10" y="16"/>
                    <a:pt x="10" y="15"/>
                  </a:cubicBezTo>
                  <a:cubicBezTo>
                    <a:pt x="9" y="12"/>
                    <a:pt x="8" y="10"/>
                    <a:pt x="7" y="7"/>
                  </a:cubicBezTo>
                  <a:cubicBezTo>
                    <a:pt x="7" y="6"/>
                    <a:pt x="6" y="6"/>
                    <a:pt x="6" y="5"/>
                  </a:cubicBezTo>
                  <a:cubicBezTo>
                    <a:pt x="6" y="5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7" y="3"/>
                    <a:pt x="7" y="3"/>
                    <a:pt x="9" y="3"/>
                  </a:cubicBezTo>
                  <a:cubicBezTo>
                    <a:pt x="9" y="2"/>
                    <a:pt x="11" y="2"/>
                    <a:pt x="12" y="2"/>
                  </a:cubicBezTo>
                  <a:cubicBezTo>
                    <a:pt x="12" y="1"/>
                    <a:pt x="13" y="1"/>
                    <a:pt x="13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21" y="1"/>
                    <a:pt x="26" y="0"/>
                    <a:pt x="33" y="1"/>
                  </a:cubicBezTo>
                  <a:cubicBezTo>
                    <a:pt x="34" y="1"/>
                    <a:pt x="36" y="0"/>
                    <a:pt x="38" y="2"/>
                  </a:cubicBezTo>
                  <a:cubicBezTo>
                    <a:pt x="39" y="3"/>
                    <a:pt x="39" y="4"/>
                    <a:pt x="40" y="6"/>
                  </a:cubicBezTo>
                  <a:cubicBezTo>
                    <a:pt x="40" y="7"/>
                    <a:pt x="40" y="8"/>
                    <a:pt x="40" y="9"/>
                  </a:cubicBezTo>
                  <a:cubicBezTo>
                    <a:pt x="40" y="10"/>
                    <a:pt x="40" y="12"/>
                    <a:pt x="41" y="14"/>
                  </a:cubicBezTo>
                  <a:cubicBezTo>
                    <a:pt x="41" y="15"/>
                    <a:pt x="42" y="15"/>
                    <a:pt x="43" y="16"/>
                  </a:cubicBezTo>
                  <a:cubicBezTo>
                    <a:pt x="46" y="17"/>
                    <a:pt x="45" y="20"/>
                    <a:pt x="46" y="23"/>
                  </a:cubicBezTo>
                  <a:cubicBezTo>
                    <a:pt x="47" y="22"/>
                    <a:pt x="49" y="23"/>
                    <a:pt x="50" y="22"/>
                  </a:cubicBezTo>
                  <a:cubicBezTo>
                    <a:pt x="51" y="22"/>
                    <a:pt x="51" y="21"/>
                    <a:pt x="52" y="21"/>
                  </a:cubicBezTo>
                  <a:cubicBezTo>
                    <a:pt x="54" y="21"/>
                    <a:pt x="55" y="21"/>
                    <a:pt x="57" y="21"/>
                  </a:cubicBezTo>
                  <a:cubicBezTo>
                    <a:pt x="57" y="21"/>
                    <a:pt x="58" y="20"/>
                    <a:pt x="58" y="20"/>
                  </a:cubicBezTo>
                  <a:cubicBezTo>
                    <a:pt x="59" y="19"/>
                    <a:pt x="61" y="19"/>
                    <a:pt x="62" y="18"/>
                  </a:cubicBezTo>
                  <a:cubicBezTo>
                    <a:pt x="62" y="16"/>
                    <a:pt x="62" y="14"/>
                    <a:pt x="62" y="12"/>
                  </a:cubicBezTo>
                  <a:cubicBezTo>
                    <a:pt x="62" y="12"/>
                    <a:pt x="62" y="11"/>
                    <a:pt x="62" y="11"/>
                  </a:cubicBezTo>
                  <a:cubicBezTo>
                    <a:pt x="65" y="12"/>
                    <a:pt x="67" y="11"/>
                    <a:pt x="70" y="12"/>
                  </a:cubicBezTo>
                  <a:cubicBezTo>
                    <a:pt x="70" y="13"/>
                    <a:pt x="71" y="14"/>
                    <a:pt x="72" y="14"/>
                  </a:cubicBezTo>
                  <a:cubicBezTo>
                    <a:pt x="74" y="15"/>
                    <a:pt x="76" y="14"/>
                    <a:pt x="78" y="15"/>
                  </a:cubicBezTo>
                  <a:cubicBezTo>
                    <a:pt x="79" y="15"/>
                    <a:pt x="79" y="15"/>
                    <a:pt x="79" y="16"/>
                  </a:cubicBezTo>
                  <a:cubicBezTo>
                    <a:pt x="80" y="19"/>
                    <a:pt x="79" y="22"/>
                    <a:pt x="80" y="25"/>
                  </a:cubicBezTo>
                  <a:cubicBezTo>
                    <a:pt x="81" y="29"/>
                    <a:pt x="81" y="34"/>
                    <a:pt x="81" y="38"/>
                  </a:cubicBezTo>
                  <a:cubicBezTo>
                    <a:pt x="82" y="38"/>
                    <a:pt x="82" y="38"/>
                    <a:pt x="82" y="38"/>
                  </a:cubicBezTo>
                  <a:cubicBezTo>
                    <a:pt x="82" y="39"/>
                    <a:pt x="83" y="40"/>
                    <a:pt x="84" y="41"/>
                  </a:cubicBezTo>
                  <a:cubicBezTo>
                    <a:pt x="84" y="42"/>
                    <a:pt x="84" y="43"/>
                    <a:pt x="83" y="45"/>
                  </a:cubicBezTo>
                  <a:cubicBezTo>
                    <a:pt x="83" y="46"/>
                    <a:pt x="84" y="48"/>
                    <a:pt x="84" y="50"/>
                  </a:cubicBezTo>
                  <a:cubicBezTo>
                    <a:pt x="87" y="50"/>
                    <a:pt x="89" y="50"/>
                    <a:pt x="91" y="50"/>
                  </a:cubicBezTo>
                  <a:cubicBezTo>
                    <a:pt x="93" y="49"/>
                    <a:pt x="95" y="49"/>
                    <a:pt x="96" y="48"/>
                  </a:cubicBezTo>
                  <a:cubicBezTo>
                    <a:pt x="97" y="48"/>
                    <a:pt x="98" y="48"/>
                    <a:pt x="99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99" y="49"/>
                    <a:pt x="99" y="49"/>
                    <a:pt x="98" y="50"/>
                  </a:cubicBezTo>
                  <a:cubicBezTo>
                    <a:pt x="98" y="50"/>
                    <a:pt x="98" y="51"/>
                    <a:pt x="98" y="52"/>
                  </a:cubicBezTo>
                  <a:cubicBezTo>
                    <a:pt x="97" y="53"/>
                    <a:pt x="98" y="55"/>
                    <a:pt x="97" y="56"/>
                  </a:cubicBezTo>
                  <a:cubicBezTo>
                    <a:pt x="96" y="58"/>
                    <a:pt x="97" y="60"/>
                    <a:pt x="97" y="61"/>
                  </a:cubicBezTo>
                  <a:cubicBezTo>
                    <a:pt x="97" y="61"/>
                    <a:pt x="97" y="62"/>
                    <a:pt x="97" y="62"/>
                  </a:cubicBezTo>
                  <a:cubicBezTo>
                    <a:pt x="98" y="64"/>
                    <a:pt x="98" y="65"/>
                    <a:pt x="97" y="66"/>
                  </a:cubicBezTo>
                  <a:cubicBezTo>
                    <a:pt x="97" y="67"/>
                    <a:pt x="97" y="67"/>
                    <a:pt x="97" y="67"/>
                  </a:cubicBezTo>
                  <a:cubicBezTo>
                    <a:pt x="95" y="67"/>
                    <a:pt x="94" y="67"/>
                    <a:pt x="93" y="66"/>
                  </a:cubicBezTo>
                  <a:cubicBezTo>
                    <a:pt x="91" y="66"/>
                    <a:pt x="90" y="66"/>
                    <a:pt x="89" y="66"/>
                  </a:cubicBezTo>
                  <a:cubicBezTo>
                    <a:pt x="86" y="66"/>
                    <a:pt x="84" y="65"/>
                    <a:pt x="82" y="66"/>
                  </a:cubicBezTo>
                  <a:cubicBezTo>
                    <a:pt x="81" y="67"/>
                    <a:pt x="81" y="67"/>
                    <a:pt x="81" y="67"/>
                  </a:cubicBezTo>
                  <a:cubicBezTo>
                    <a:pt x="81" y="76"/>
                    <a:pt x="81" y="85"/>
                    <a:pt x="81" y="93"/>
                  </a:cubicBezTo>
                  <a:cubicBezTo>
                    <a:pt x="81" y="95"/>
                    <a:pt x="81" y="97"/>
                    <a:pt x="82" y="98"/>
                  </a:cubicBezTo>
                  <a:cubicBezTo>
                    <a:pt x="83" y="101"/>
                    <a:pt x="84" y="101"/>
                    <a:pt x="86" y="104"/>
                  </a:cubicBezTo>
                  <a:cubicBezTo>
                    <a:pt x="87" y="105"/>
                    <a:pt x="87" y="105"/>
                    <a:pt x="88" y="105"/>
                  </a:cubicBezTo>
                  <a:cubicBezTo>
                    <a:pt x="89" y="106"/>
                    <a:pt x="91" y="107"/>
                    <a:pt x="92" y="109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88" y="111"/>
                    <a:pt x="83" y="112"/>
                    <a:pt x="79" y="113"/>
                  </a:cubicBezTo>
                  <a:cubicBezTo>
                    <a:pt x="78" y="113"/>
                    <a:pt x="77" y="113"/>
                    <a:pt x="76" y="113"/>
                  </a:cubicBezTo>
                  <a:cubicBezTo>
                    <a:pt x="76" y="113"/>
                    <a:pt x="76" y="113"/>
                    <a:pt x="76" y="113"/>
                  </a:cubicBezTo>
                  <a:cubicBezTo>
                    <a:pt x="75" y="113"/>
                    <a:pt x="75" y="112"/>
                    <a:pt x="74" y="112"/>
                  </a:cubicBezTo>
                  <a:cubicBezTo>
                    <a:pt x="74" y="112"/>
                    <a:pt x="73" y="112"/>
                    <a:pt x="72" y="112"/>
                  </a:cubicBezTo>
                  <a:cubicBezTo>
                    <a:pt x="70" y="113"/>
                    <a:pt x="69" y="113"/>
                    <a:pt x="67" y="113"/>
                  </a:cubicBezTo>
                  <a:cubicBezTo>
                    <a:pt x="65" y="113"/>
                    <a:pt x="64" y="112"/>
                    <a:pt x="62" y="111"/>
                  </a:cubicBezTo>
                  <a:cubicBezTo>
                    <a:pt x="60" y="111"/>
                    <a:pt x="57" y="112"/>
                    <a:pt x="55" y="111"/>
                  </a:cubicBezTo>
                  <a:cubicBezTo>
                    <a:pt x="53" y="110"/>
                    <a:pt x="52" y="109"/>
                    <a:pt x="51" y="108"/>
                  </a:cubicBezTo>
                  <a:cubicBezTo>
                    <a:pt x="48" y="107"/>
                    <a:pt x="46" y="108"/>
                    <a:pt x="43" y="107"/>
                  </a:cubicBezTo>
                  <a:cubicBezTo>
                    <a:pt x="43" y="107"/>
                    <a:pt x="43" y="107"/>
                    <a:pt x="43" y="107"/>
                  </a:cubicBezTo>
                  <a:cubicBezTo>
                    <a:pt x="40" y="106"/>
                    <a:pt x="38" y="107"/>
                    <a:pt x="36" y="108"/>
                  </a:cubicBezTo>
                  <a:cubicBezTo>
                    <a:pt x="30" y="108"/>
                    <a:pt x="24" y="108"/>
                    <a:pt x="18" y="108"/>
                  </a:cubicBezTo>
                  <a:cubicBezTo>
                    <a:pt x="17" y="108"/>
                    <a:pt x="15" y="107"/>
                    <a:pt x="14" y="106"/>
                  </a:cubicBezTo>
                  <a:cubicBezTo>
                    <a:pt x="13" y="106"/>
                    <a:pt x="13" y="105"/>
                    <a:pt x="12" y="105"/>
                  </a:cubicBezTo>
                  <a:cubicBezTo>
                    <a:pt x="11" y="104"/>
                    <a:pt x="11" y="104"/>
                    <a:pt x="10" y="104"/>
                  </a:cubicBezTo>
                  <a:cubicBezTo>
                    <a:pt x="9" y="105"/>
                    <a:pt x="8" y="106"/>
                    <a:pt x="6" y="106"/>
                  </a:cubicBezTo>
                  <a:cubicBezTo>
                    <a:pt x="5" y="107"/>
                    <a:pt x="3" y="107"/>
                    <a:pt x="2" y="106"/>
                  </a:cubicBezTo>
                  <a:cubicBezTo>
                    <a:pt x="1" y="106"/>
                    <a:pt x="1" y="106"/>
                    <a:pt x="1" y="106"/>
                  </a:cubicBezTo>
                  <a:lnTo>
                    <a:pt x="0" y="10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8" name="Freeform 383"/>
            <p:cNvSpPr>
              <a:spLocks/>
            </p:cNvSpPr>
            <p:nvPr/>
          </p:nvSpPr>
          <p:spPr bwMode="auto">
            <a:xfrm>
              <a:off x="6990709" y="3653337"/>
              <a:ext cx="50417" cy="54346"/>
            </a:xfrm>
            <a:custGeom>
              <a:avLst/>
              <a:gdLst>
                <a:gd name="T0" fmla="*/ 1187364 w 108"/>
                <a:gd name="T1" fmla="*/ 3871703 h 112"/>
                <a:gd name="T2" fmla="*/ 1083439 w 108"/>
                <a:gd name="T3" fmla="*/ 3743330 h 112"/>
                <a:gd name="T4" fmla="*/ 968169 w 108"/>
                <a:gd name="T5" fmla="*/ 3518443 h 112"/>
                <a:gd name="T6" fmla="*/ 888095 w 108"/>
                <a:gd name="T7" fmla="*/ 3190361 h 112"/>
                <a:gd name="T8" fmla="*/ 823618 w 108"/>
                <a:gd name="T9" fmla="*/ 3110624 h 112"/>
                <a:gd name="T10" fmla="*/ 823618 w 108"/>
                <a:gd name="T11" fmla="*/ 3002468 h 112"/>
                <a:gd name="T12" fmla="*/ 781556 w 108"/>
                <a:gd name="T13" fmla="*/ 2640078 h 112"/>
                <a:gd name="T14" fmla="*/ 781556 w 108"/>
                <a:gd name="T15" fmla="*/ 2089010 h 112"/>
                <a:gd name="T16" fmla="*/ 721007 w 108"/>
                <a:gd name="T17" fmla="*/ 1760911 h 112"/>
                <a:gd name="T18" fmla="*/ 579970 w 108"/>
                <a:gd name="T19" fmla="*/ 1539052 h 112"/>
                <a:gd name="T20" fmla="*/ 461126 w 108"/>
                <a:gd name="T21" fmla="*/ 1348270 h 112"/>
                <a:gd name="T22" fmla="*/ 461126 w 108"/>
                <a:gd name="T23" fmla="*/ 1291804 h 112"/>
                <a:gd name="T24" fmla="*/ 320114 w 108"/>
                <a:gd name="T25" fmla="*/ 945974 h 112"/>
                <a:gd name="T26" fmla="*/ 185126 w 108"/>
                <a:gd name="T27" fmla="*/ 669824 h 112"/>
                <a:gd name="T28" fmla="*/ 39403 w 108"/>
                <a:gd name="T29" fmla="*/ 325194 h 112"/>
                <a:gd name="T30" fmla="*/ 39403 w 108"/>
                <a:gd name="T31" fmla="*/ 76738 h 112"/>
                <a:gd name="T32" fmla="*/ 115294 w 108"/>
                <a:gd name="T33" fmla="*/ 76738 h 112"/>
                <a:gd name="T34" fmla="*/ 385407 w 108"/>
                <a:gd name="T35" fmla="*/ 0 h 112"/>
                <a:gd name="T36" fmla="*/ 542110 w 108"/>
                <a:gd name="T37" fmla="*/ 76738 h 112"/>
                <a:gd name="T38" fmla="*/ 1322472 w 108"/>
                <a:gd name="T39" fmla="*/ 147995 h 112"/>
                <a:gd name="T40" fmla="*/ 1586227 w 108"/>
                <a:gd name="T41" fmla="*/ 116592 h 112"/>
                <a:gd name="T42" fmla="*/ 2010790 w 108"/>
                <a:gd name="T43" fmla="*/ 264679 h 112"/>
                <a:gd name="T44" fmla="*/ 2432722 w 108"/>
                <a:gd name="T45" fmla="*/ 325194 h 112"/>
                <a:gd name="T46" fmla="*/ 2674353 w 108"/>
                <a:gd name="T47" fmla="*/ 285419 h 112"/>
                <a:gd name="T48" fmla="*/ 2753202 w 108"/>
                <a:gd name="T49" fmla="*/ 325194 h 112"/>
                <a:gd name="T50" fmla="*/ 3330916 w 108"/>
                <a:gd name="T51" fmla="*/ 187962 h 112"/>
                <a:gd name="T52" fmla="*/ 3330916 w 108"/>
                <a:gd name="T53" fmla="*/ 187962 h 112"/>
                <a:gd name="T54" fmla="*/ 3591124 w 108"/>
                <a:gd name="T55" fmla="*/ 147995 h 112"/>
                <a:gd name="T56" fmla="*/ 3872632 w 108"/>
                <a:gd name="T57" fmla="*/ 264679 h 112"/>
                <a:gd name="T58" fmla="*/ 3554787 w 108"/>
                <a:gd name="T59" fmla="*/ 325194 h 112"/>
                <a:gd name="T60" fmla="*/ 3369456 w 108"/>
                <a:gd name="T61" fmla="*/ 473441 h 112"/>
                <a:gd name="T62" fmla="*/ 3012637 w 108"/>
                <a:gd name="T63" fmla="*/ 402275 h 112"/>
                <a:gd name="T64" fmla="*/ 2627291 w 108"/>
                <a:gd name="T65" fmla="*/ 699103 h 112"/>
                <a:gd name="T66" fmla="*/ 2328008 w 108"/>
                <a:gd name="T67" fmla="*/ 1730999 h 112"/>
                <a:gd name="T68" fmla="*/ 2252837 w 108"/>
                <a:gd name="T69" fmla="*/ 3948443 h 112"/>
                <a:gd name="T70" fmla="*/ 2126835 w 108"/>
                <a:gd name="T71" fmla="*/ 4105636 h 112"/>
                <a:gd name="T72" fmla="*/ 1825304 w 108"/>
                <a:gd name="T73" fmla="*/ 4068804 h 112"/>
                <a:gd name="T74" fmla="*/ 1543795 w 108"/>
                <a:gd name="T75" fmla="*/ 3986720 h 112"/>
                <a:gd name="T76" fmla="*/ 1429547 w 108"/>
                <a:gd name="T77" fmla="*/ 3820409 h 112"/>
                <a:gd name="T78" fmla="*/ 1245728 w 108"/>
                <a:gd name="T79" fmla="*/ 4028805 h 11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8"/>
                <a:gd name="T121" fmla="*/ 0 h 112"/>
                <a:gd name="T122" fmla="*/ 108 w 108"/>
                <a:gd name="T123" fmla="*/ 112 h 11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8" h="112">
                  <a:moveTo>
                    <a:pt x="35" y="110"/>
                  </a:moveTo>
                  <a:cubicBezTo>
                    <a:pt x="34" y="108"/>
                    <a:pt x="34" y="107"/>
                    <a:pt x="33" y="106"/>
                  </a:cubicBezTo>
                  <a:cubicBezTo>
                    <a:pt x="32" y="105"/>
                    <a:pt x="32" y="105"/>
                    <a:pt x="32" y="105"/>
                  </a:cubicBezTo>
                  <a:cubicBezTo>
                    <a:pt x="31" y="104"/>
                    <a:pt x="31" y="103"/>
                    <a:pt x="30" y="102"/>
                  </a:cubicBezTo>
                  <a:cubicBezTo>
                    <a:pt x="29" y="101"/>
                    <a:pt x="29" y="99"/>
                    <a:pt x="29" y="98"/>
                  </a:cubicBezTo>
                  <a:cubicBezTo>
                    <a:pt x="28" y="97"/>
                    <a:pt x="27" y="97"/>
                    <a:pt x="27" y="96"/>
                  </a:cubicBezTo>
                  <a:cubicBezTo>
                    <a:pt x="27" y="94"/>
                    <a:pt x="28" y="92"/>
                    <a:pt x="27" y="90"/>
                  </a:cubicBezTo>
                  <a:cubicBezTo>
                    <a:pt x="27" y="89"/>
                    <a:pt x="25" y="88"/>
                    <a:pt x="25" y="87"/>
                  </a:cubicBezTo>
                  <a:cubicBezTo>
                    <a:pt x="24" y="87"/>
                    <a:pt x="24" y="86"/>
                    <a:pt x="24" y="85"/>
                  </a:cubicBezTo>
                  <a:cubicBezTo>
                    <a:pt x="24" y="85"/>
                    <a:pt x="24" y="84"/>
                    <a:pt x="23" y="85"/>
                  </a:cubicBezTo>
                  <a:cubicBezTo>
                    <a:pt x="23" y="84"/>
                    <a:pt x="23" y="83"/>
                    <a:pt x="23" y="82"/>
                  </a:cubicBezTo>
                  <a:cubicBezTo>
                    <a:pt x="23" y="82"/>
                    <a:pt x="23" y="82"/>
                    <a:pt x="23" y="82"/>
                  </a:cubicBezTo>
                  <a:cubicBezTo>
                    <a:pt x="23" y="79"/>
                    <a:pt x="24" y="77"/>
                    <a:pt x="23" y="74"/>
                  </a:cubicBezTo>
                  <a:cubicBezTo>
                    <a:pt x="23" y="73"/>
                    <a:pt x="22" y="73"/>
                    <a:pt x="22" y="72"/>
                  </a:cubicBezTo>
                  <a:cubicBezTo>
                    <a:pt x="21" y="67"/>
                    <a:pt x="21" y="62"/>
                    <a:pt x="22" y="58"/>
                  </a:cubicBezTo>
                  <a:cubicBezTo>
                    <a:pt x="22" y="57"/>
                    <a:pt x="22" y="57"/>
                    <a:pt x="22" y="57"/>
                  </a:cubicBezTo>
                  <a:cubicBezTo>
                    <a:pt x="22" y="55"/>
                    <a:pt x="22" y="53"/>
                    <a:pt x="22" y="51"/>
                  </a:cubicBezTo>
                  <a:cubicBezTo>
                    <a:pt x="22" y="50"/>
                    <a:pt x="21" y="49"/>
                    <a:pt x="20" y="48"/>
                  </a:cubicBezTo>
                  <a:cubicBezTo>
                    <a:pt x="19" y="47"/>
                    <a:pt x="18" y="46"/>
                    <a:pt x="17" y="44"/>
                  </a:cubicBezTo>
                  <a:cubicBezTo>
                    <a:pt x="17" y="43"/>
                    <a:pt x="17" y="42"/>
                    <a:pt x="16" y="42"/>
                  </a:cubicBezTo>
                  <a:cubicBezTo>
                    <a:pt x="15" y="41"/>
                    <a:pt x="15" y="39"/>
                    <a:pt x="14" y="38"/>
                  </a:cubicBezTo>
                  <a:cubicBezTo>
                    <a:pt x="14" y="38"/>
                    <a:pt x="13" y="38"/>
                    <a:pt x="13" y="37"/>
                  </a:cubicBezTo>
                  <a:cubicBezTo>
                    <a:pt x="13" y="37"/>
                    <a:pt x="12" y="36"/>
                    <a:pt x="12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2" y="32"/>
                    <a:pt x="12" y="30"/>
                    <a:pt x="10" y="28"/>
                  </a:cubicBezTo>
                  <a:cubicBezTo>
                    <a:pt x="10" y="27"/>
                    <a:pt x="9" y="26"/>
                    <a:pt x="9" y="26"/>
                  </a:cubicBezTo>
                  <a:cubicBezTo>
                    <a:pt x="8" y="25"/>
                    <a:pt x="8" y="24"/>
                    <a:pt x="7" y="23"/>
                  </a:cubicBezTo>
                  <a:cubicBezTo>
                    <a:pt x="6" y="21"/>
                    <a:pt x="6" y="19"/>
                    <a:pt x="5" y="18"/>
                  </a:cubicBezTo>
                  <a:cubicBezTo>
                    <a:pt x="5" y="16"/>
                    <a:pt x="3" y="15"/>
                    <a:pt x="2" y="14"/>
                  </a:cubicBezTo>
                  <a:cubicBezTo>
                    <a:pt x="1" y="12"/>
                    <a:pt x="1" y="11"/>
                    <a:pt x="1" y="9"/>
                  </a:cubicBezTo>
                  <a:cubicBezTo>
                    <a:pt x="0" y="8"/>
                    <a:pt x="0" y="6"/>
                    <a:pt x="0" y="5"/>
                  </a:cubicBezTo>
                  <a:cubicBezTo>
                    <a:pt x="1" y="4"/>
                    <a:pt x="1" y="3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4" y="3"/>
                    <a:pt x="6" y="3"/>
                    <a:pt x="7" y="2"/>
                  </a:cubicBezTo>
                  <a:cubicBezTo>
                    <a:pt x="9" y="2"/>
                    <a:pt x="10" y="1"/>
                    <a:pt x="11" y="0"/>
                  </a:cubicBezTo>
                  <a:cubicBezTo>
                    <a:pt x="12" y="0"/>
                    <a:pt x="12" y="0"/>
                    <a:pt x="13" y="1"/>
                  </a:cubicBezTo>
                  <a:cubicBezTo>
                    <a:pt x="14" y="1"/>
                    <a:pt x="14" y="2"/>
                    <a:pt x="15" y="2"/>
                  </a:cubicBezTo>
                  <a:cubicBezTo>
                    <a:pt x="16" y="3"/>
                    <a:pt x="18" y="4"/>
                    <a:pt x="19" y="4"/>
                  </a:cubicBezTo>
                  <a:cubicBezTo>
                    <a:pt x="25" y="4"/>
                    <a:pt x="31" y="4"/>
                    <a:pt x="37" y="4"/>
                  </a:cubicBezTo>
                  <a:cubicBezTo>
                    <a:pt x="39" y="3"/>
                    <a:pt x="41" y="2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7" y="4"/>
                    <a:pt x="49" y="3"/>
                    <a:pt x="52" y="4"/>
                  </a:cubicBezTo>
                  <a:cubicBezTo>
                    <a:pt x="53" y="5"/>
                    <a:pt x="54" y="6"/>
                    <a:pt x="56" y="7"/>
                  </a:cubicBezTo>
                  <a:cubicBezTo>
                    <a:pt x="58" y="8"/>
                    <a:pt x="61" y="7"/>
                    <a:pt x="63" y="7"/>
                  </a:cubicBezTo>
                  <a:cubicBezTo>
                    <a:pt x="65" y="8"/>
                    <a:pt x="66" y="9"/>
                    <a:pt x="68" y="9"/>
                  </a:cubicBezTo>
                  <a:cubicBezTo>
                    <a:pt x="70" y="9"/>
                    <a:pt x="71" y="9"/>
                    <a:pt x="73" y="8"/>
                  </a:cubicBezTo>
                  <a:cubicBezTo>
                    <a:pt x="74" y="8"/>
                    <a:pt x="75" y="8"/>
                    <a:pt x="75" y="8"/>
                  </a:cubicBezTo>
                  <a:cubicBezTo>
                    <a:pt x="76" y="8"/>
                    <a:pt x="76" y="9"/>
                    <a:pt x="77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8" y="9"/>
                    <a:pt x="79" y="9"/>
                    <a:pt x="80" y="9"/>
                  </a:cubicBezTo>
                  <a:cubicBezTo>
                    <a:pt x="84" y="8"/>
                    <a:pt x="89" y="7"/>
                    <a:pt x="93" y="5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5" y="5"/>
                    <a:pt x="97" y="5"/>
                    <a:pt x="99" y="5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2" y="5"/>
                    <a:pt x="104" y="4"/>
                    <a:pt x="105" y="4"/>
                  </a:cubicBezTo>
                  <a:cubicBezTo>
                    <a:pt x="106" y="5"/>
                    <a:pt x="106" y="7"/>
                    <a:pt x="108" y="7"/>
                  </a:cubicBezTo>
                  <a:cubicBezTo>
                    <a:pt x="107" y="7"/>
                    <a:pt x="106" y="8"/>
                    <a:pt x="106" y="8"/>
                  </a:cubicBezTo>
                  <a:cubicBezTo>
                    <a:pt x="104" y="9"/>
                    <a:pt x="101" y="8"/>
                    <a:pt x="99" y="9"/>
                  </a:cubicBezTo>
                  <a:cubicBezTo>
                    <a:pt x="99" y="9"/>
                    <a:pt x="98" y="10"/>
                    <a:pt x="97" y="11"/>
                  </a:cubicBezTo>
                  <a:cubicBezTo>
                    <a:pt x="96" y="13"/>
                    <a:pt x="96" y="14"/>
                    <a:pt x="94" y="13"/>
                  </a:cubicBezTo>
                  <a:cubicBezTo>
                    <a:pt x="93" y="13"/>
                    <a:pt x="93" y="11"/>
                    <a:pt x="92" y="10"/>
                  </a:cubicBezTo>
                  <a:cubicBezTo>
                    <a:pt x="90" y="9"/>
                    <a:pt x="87" y="10"/>
                    <a:pt x="84" y="11"/>
                  </a:cubicBezTo>
                  <a:cubicBezTo>
                    <a:pt x="81" y="11"/>
                    <a:pt x="78" y="11"/>
                    <a:pt x="74" y="12"/>
                  </a:cubicBezTo>
                  <a:cubicBezTo>
                    <a:pt x="72" y="14"/>
                    <a:pt x="73" y="17"/>
                    <a:pt x="73" y="19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4" y="108"/>
                    <a:pt x="63" y="108"/>
                    <a:pt x="63" y="108"/>
                  </a:cubicBezTo>
                  <a:cubicBezTo>
                    <a:pt x="63" y="109"/>
                    <a:pt x="62" y="108"/>
                    <a:pt x="61" y="109"/>
                  </a:cubicBezTo>
                  <a:cubicBezTo>
                    <a:pt x="60" y="110"/>
                    <a:pt x="60" y="111"/>
                    <a:pt x="59" y="112"/>
                  </a:cubicBezTo>
                  <a:cubicBezTo>
                    <a:pt x="57" y="112"/>
                    <a:pt x="55" y="112"/>
                    <a:pt x="54" y="111"/>
                  </a:cubicBezTo>
                  <a:cubicBezTo>
                    <a:pt x="53" y="110"/>
                    <a:pt x="52" y="111"/>
                    <a:pt x="51" y="111"/>
                  </a:cubicBezTo>
                  <a:cubicBezTo>
                    <a:pt x="49" y="112"/>
                    <a:pt x="46" y="112"/>
                    <a:pt x="44" y="111"/>
                  </a:cubicBezTo>
                  <a:cubicBezTo>
                    <a:pt x="44" y="110"/>
                    <a:pt x="43" y="110"/>
                    <a:pt x="43" y="109"/>
                  </a:cubicBezTo>
                  <a:cubicBezTo>
                    <a:pt x="42" y="108"/>
                    <a:pt x="43" y="106"/>
                    <a:pt x="42" y="105"/>
                  </a:cubicBezTo>
                  <a:cubicBezTo>
                    <a:pt x="42" y="104"/>
                    <a:pt x="41" y="104"/>
                    <a:pt x="40" y="104"/>
                  </a:cubicBezTo>
                  <a:cubicBezTo>
                    <a:pt x="39" y="106"/>
                    <a:pt x="37" y="107"/>
                    <a:pt x="36" y="108"/>
                  </a:cubicBezTo>
                  <a:lnTo>
                    <a:pt x="35" y="11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9" name="Freeform 384"/>
            <p:cNvSpPr>
              <a:spLocks/>
            </p:cNvSpPr>
            <p:nvPr/>
          </p:nvSpPr>
          <p:spPr bwMode="auto">
            <a:xfrm>
              <a:off x="7045892" y="3706331"/>
              <a:ext cx="8779" cy="8922"/>
            </a:xfrm>
            <a:custGeom>
              <a:avLst/>
              <a:gdLst>
                <a:gd name="T0" fmla="*/ 764011 w 19"/>
                <a:gd name="T1" fmla="*/ 85938 h 19"/>
                <a:gd name="T2" fmla="*/ 596847 w 19"/>
                <a:gd name="T3" fmla="*/ 0 h 19"/>
                <a:gd name="T4" fmla="*/ 508384 w 19"/>
                <a:gd name="T5" fmla="*/ 0 h 19"/>
                <a:gd name="T6" fmla="*/ 306489 w 19"/>
                <a:gd name="T7" fmla="*/ 85938 h 19"/>
                <a:gd name="T8" fmla="*/ 214205 w 19"/>
                <a:gd name="T9" fmla="*/ 85938 h 19"/>
                <a:gd name="T10" fmla="*/ 178819 w 19"/>
                <a:gd name="T11" fmla="*/ 162830 h 19"/>
                <a:gd name="T12" fmla="*/ 47154 w 19"/>
                <a:gd name="T13" fmla="*/ 248591 h 19"/>
                <a:gd name="T14" fmla="*/ 91826 w 19"/>
                <a:gd name="T15" fmla="*/ 393995 h 19"/>
                <a:gd name="T16" fmla="*/ 306489 w 19"/>
                <a:gd name="T17" fmla="*/ 521731 h 19"/>
                <a:gd name="T18" fmla="*/ 348226 w 19"/>
                <a:gd name="T19" fmla="*/ 521731 h 19"/>
                <a:gd name="T20" fmla="*/ 464327 w 19"/>
                <a:gd name="T21" fmla="*/ 438357 h 19"/>
                <a:gd name="T22" fmla="*/ 678124 w 19"/>
                <a:gd name="T23" fmla="*/ 335869 h 19"/>
                <a:gd name="T24" fmla="*/ 722620 w 19"/>
                <a:gd name="T25" fmla="*/ 248591 h 19"/>
                <a:gd name="T26" fmla="*/ 764011 w 19"/>
                <a:gd name="T27" fmla="*/ 112669 h 19"/>
                <a:gd name="T28" fmla="*/ 764011 w 19"/>
                <a:gd name="T29" fmla="*/ 85938 h 1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"/>
                <a:gd name="T46" fmla="*/ 0 h 19"/>
                <a:gd name="T47" fmla="*/ 19 w 19"/>
                <a:gd name="T48" fmla="*/ 19 h 1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" h="19">
                  <a:moveTo>
                    <a:pt x="18" y="3"/>
                  </a:moveTo>
                  <a:cubicBezTo>
                    <a:pt x="16" y="2"/>
                    <a:pt x="15" y="1"/>
                    <a:pt x="14" y="0"/>
                  </a:cubicBezTo>
                  <a:cubicBezTo>
                    <a:pt x="13" y="0"/>
                    <a:pt x="12" y="0"/>
                    <a:pt x="12" y="0"/>
                  </a:cubicBezTo>
                  <a:cubicBezTo>
                    <a:pt x="10" y="1"/>
                    <a:pt x="9" y="2"/>
                    <a:pt x="7" y="3"/>
                  </a:cubicBezTo>
                  <a:cubicBezTo>
                    <a:pt x="7" y="3"/>
                    <a:pt x="6" y="3"/>
                    <a:pt x="5" y="3"/>
                  </a:cubicBezTo>
                  <a:cubicBezTo>
                    <a:pt x="5" y="4"/>
                    <a:pt x="5" y="5"/>
                    <a:pt x="4" y="6"/>
                  </a:cubicBezTo>
                  <a:cubicBezTo>
                    <a:pt x="4" y="7"/>
                    <a:pt x="2" y="8"/>
                    <a:pt x="1" y="9"/>
                  </a:cubicBezTo>
                  <a:cubicBezTo>
                    <a:pt x="0" y="11"/>
                    <a:pt x="1" y="13"/>
                    <a:pt x="2" y="14"/>
                  </a:cubicBezTo>
                  <a:cubicBezTo>
                    <a:pt x="4" y="15"/>
                    <a:pt x="5" y="18"/>
                    <a:pt x="7" y="19"/>
                  </a:cubicBezTo>
                  <a:cubicBezTo>
                    <a:pt x="7" y="19"/>
                    <a:pt x="8" y="19"/>
                    <a:pt x="8" y="19"/>
                  </a:cubicBezTo>
                  <a:cubicBezTo>
                    <a:pt x="9" y="18"/>
                    <a:pt x="9" y="16"/>
                    <a:pt x="11" y="16"/>
                  </a:cubicBezTo>
                  <a:cubicBezTo>
                    <a:pt x="13" y="15"/>
                    <a:pt x="15" y="14"/>
                    <a:pt x="16" y="12"/>
                  </a:cubicBezTo>
                  <a:cubicBezTo>
                    <a:pt x="16" y="11"/>
                    <a:pt x="16" y="10"/>
                    <a:pt x="17" y="9"/>
                  </a:cubicBezTo>
                  <a:cubicBezTo>
                    <a:pt x="18" y="7"/>
                    <a:pt x="19" y="6"/>
                    <a:pt x="18" y="4"/>
                  </a:cubicBezTo>
                  <a:lnTo>
                    <a:pt x="18" y="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0" name="Freeform 385"/>
            <p:cNvSpPr>
              <a:spLocks/>
            </p:cNvSpPr>
            <p:nvPr/>
          </p:nvSpPr>
          <p:spPr bwMode="auto">
            <a:xfrm>
              <a:off x="7060440" y="3692812"/>
              <a:ext cx="5518" cy="7841"/>
            </a:xfrm>
            <a:custGeom>
              <a:avLst/>
              <a:gdLst>
                <a:gd name="T0" fmla="*/ 364036 w 12"/>
                <a:gd name="T1" fmla="*/ 655360 h 15"/>
                <a:gd name="T2" fmla="*/ 364036 w 12"/>
                <a:gd name="T3" fmla="*/ 327680 h 15"/>
                <a:gd name="T4" fmla="*/ 324497 w 12"/>
                <a:gd name="T5" fmla="*/ 131072 h 15"/>
                <a:gd name="T6" fmla="*/ 206699 w 12"/>
                <a:gd name="T7" fmla="*/ 0 h 15"/>
                <a:gd name="T8" fmla="*/ 107843 w 12"/>
                <a:gd name="T9" fmla="*/ 65536 h 15"/>
                <a:gd name="T10" fmla="*/ 107843 w 12"/>
                <a:gd name="T11" fmla="*/ 196608 h 15"/>
                <a:gd name="T12" fmla="*/ 0 w 12"/>
                <a:gd name="T13" fmla="*/ 393216 h 15"/>
                <a:gd name="T14" fmla="*/ 0 w 12"/>
                <a:gd name="T15" fmla="*/ 524288 h 15"/>
                <a:gd name="T16" fmla="*/ 37331 w 12"/>
                <a:gd name="T17" fmla="*/ 589824 h 15"/>
                <a:gd name="T18" fmla="*/ 71551 w 12"/>
                <a:gd name="T19" fmla="*/ 786432 h 15"/>
                <a:gd name="T20" fmla="*/ 169303 w 12"/>
                <a:gd name="T21" fmla="*/ 983040 h 15"/>
                <a:gd name="T22" fmla="*/ 225482 w 12"/>
                <a:gd name="T23" fmla="*/ 983040 h 15"/>
                <a:gd name="T24" fmla="*/ 324497 w 12"/>
                <a:gd name="T25" fmla="*/ 720896 h 15"/>
                <a:gd name="T26" fmla="*/ 364036 w 12"/>
                <a:gd name="T27" fmla="*/ 655360 h 1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15"/>
                <a:gd name="T44" fmla="*/ 12 w 12"/>
                <a:gd name="T45" fmla="*/ 15 h 1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15">
                  <a:moveTo>
                    <a:pt x="11" y="10"/>
                  </a:moveTo>
                  <a:cubicBezTo>
                    <a:pt x="11" y="8"/>
                    <a:pt x="12" y="6"/>
                    <a:pt x="11" y="5"/>
                  </a:cubicBezTo>
                  <a:cubicBezTo>
                    <a:pt x="10" y="3"/>
                    <a:pt x="10" y="3"/>
                    <a:pt x="10" y="2"/>
                  </a:cubicBezTo>
                  <a:cubicBezTo>
                    <a:pt x="8" y="2"/>
                    <a:pt x="7" y="1"/>
                    <a:pt x="6" y="0"/>
                  </a:cubicBezTo>
                  <a:cubicBezTo>
                    <a:pt x="5" y="0"/>
                    <a:pt x="4" y="0"/>
                    <a:pt x="3" y="1"/>
                  </a:cubicBezTo>
                  <a:cubicBezTo>
                    <a:pt x="3" y="2"/>
                    <a:pt x="3" y="2"/>
                    <a:pt x="3" y="3"/>
                  </a:cubicBezTo>
                  <a:cubicBezTo>
                    <a:pt x="2" y="4"/>
                    <a:pt x="1" y="4"/>
                    <a:pt x="0" y="6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1" y="10"/>
                    <a:pt x="2" y="11"/>
                    <a:pt x="2" y="12"/>
                  </a:cubicBezTo>
                  <a:cubicBezTo>
                    <a:pt x="3" y="13"/>
                    <a:pt x="4" y="14"/>
                    <a:pt x="5" y="15"/>
                  </a:cubicBezTo>
                  <a:cubicBezTo>
                    <a:pt x="5" y="15"/>
                    <a:pt x="6" y="15"/>
                    <a:pt x="7" y="15"/>
                  </a:cubicBezTo>
                  <a:cubicBezTo>
                    <a:pt x="8" y="14"/>
                    <a:pt x="9" y="12"/>
                    <a:pt x="10" y="11"/>
                  </a:cubicBezTo>
                  <a:cubicBezTo>
                    <a:pt x="10" y="10"/>
                    <a:pt x="11" y="10"/>
                    <a:pt x="11" y="1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1" name="Freeform 386"/>
            <p:cNvSpPr>
              <a:spLocks/>
            </p:cNvSpPr>
            <p:nvPr/>
          </p:nvSpPr>
          <p:spPr bwMode="auto">
            <a:xfrm>
              <a:off x="7059938" y="3624406"/>
              <a:ext cx="38628" cy="73543"/>
            </a:xfrm>
            <a:custGeom>
              <a:avLst/>
              <a:gdLst>
                <a:gd name="T0" fmla="*/ 2943728 w 83"/>
                <a:gd name="T1" fmla="*/ 223783 h 152"/>
                <a:gd name="T2" fmla="*/ 2943728 w 83"/>
                <a:gd name="T3" fmla="*/ 623907 h 152"/>
                <a:gd name="T4" fmla="*/ 2943728 w 83"/>
                <a:gd name="T5" fmla="*/ 791863 h 152"/>
                <a:gd name="T6" fmla="*/ 2983387 w 83"/>
                <a:gd name="T7" fmla="*/ 1202663 h 152"/>
                <a:gd name="T8" fmla="*/ 3014251 w 83"/>
                <a:gd name="T9" fmla="*/ 1378976 h 152"/>
                <a:gd name="T10" fmla="*/ 2983387 w 83"/>
                <a:gd name="T11" fmla="*/ 1526420 h 152"/>
                <a:gd name="T12" fmla="*/ 2943728 w 83"/>
                <a:gd name="T13" fmla="*/ 1645503 h 152"/>
                <a:gd name="T14" fmla="*/ 2909608 w 83"/>
                <a:gd name="T15" fmla="*/ 1710547 h 152"/>
                <a:gd name="T16" fmla="*/ 2625455 w 83"/>
                <a:gd name="T17" fmla="*/ 2034243 h 152"/>
                <a:gd name="T18" fmla="*/ 2279563 w 83"/>
                <a:gd name="T19" fmla="*/ 2258059 h 152"/>
                <a:gd name="T20" fmla="*/ 1887655 w 83"/>
                <a:gd name="T21" fmla="*/ 2499963 h 152"/>
                <a:gd name="T22" fmla="*/ 1685710 w 83"/>
                <a:gd name="T23" fmla="*/ 2768935 h 152"/>
                <a:gd name="T24" fmla="*/ 1603520 w 83"/>
                <a:gd name="T25" fmla="*/ 2826091 h 152"/>
                <a:gd name="T26" fmla="*/ 1340000 w 83"/>
                <a:gd name="T27" fmla="*/ 3129400 h 152"/>
                <a:gd name="T28" fmla="*/ 1242976 w 83"/>
                <a:gd name="T29" fmla="*/ 3331419 h 152"/>
                <a:gd name="T30" fmla="*/ 1297677 w 83"/>
                <a:gd name="T31" fmla="*/ 3714042 h 152"/>
                <a:gd name="T32" fmla="*/ 1422236 w 83"/>
                <a:gd name="T33" fmla="*/ 3921270 h 152"/>
                <a:gd name="T34" fmla="*/ 1422236 w 83"/>
                <a:gd name="T35" fmla="*/ 4352704 h 152"/>
                <a:gd name="T36" fmla="*/ 1242976 w 83"/>
                <a:gd name="T37" fmla="*/ 4795454 h 152"/>
                <a:gd name="T38" fmla="*/ 874462 w 83"/>
                <a:gd name="T39" fmla="*/ 4937362 h 152"/>
                <a:gd name="T40" fmla="*/ 655466 w 83"/>
                <a:gd name="T41" fmla="*/ 5058903 h 152"/>
                <a:gd name="T42" fmla="*/ 547655 w 83"/>
                <a:gd name="T43" fmla="*/ 5163597 h 152"/>
                <a:gd name="T44" fmla="*/ 624106 w 83"/>
                <a:gd name="T45" fmla="*/ 5282778 h 152"/>
                <a:gd name="T46" fmla="*/ 624106 w 83"/>
                <a:gd name="T47" fmla="*/ 5524472 h 152"/>
                <a:gd name="T48" fmla="*/ 431510 w 83"/>
                <a:gd name="T49" fmla="*/ 5524472 h 152"/>
                <a:gd name="T50" fmla="*/ 389072 w 83"/>
                <a:gd name="T51" fmla="*/ 5240459 h 152"/>
                <a:gd name="T52" fmla="*/ 431510 w 83"/>
                <a:gd name="T53" fmla="*/ 4900178 h 152"/>
                <a:gd name="T54" fmla="*/ 284096 w 83"/>
                <a:gd name="T55" fmla="*/ 4282076 h 152"/>
                <a:gd name="T56" fmla="*/ 244416 w 83"/>
                <a:gd name="T57" fmla="*/ 3960866 h 152"/>
                <a:gd name="T58" fmla="*/ 547655 w 83"/>
                <a:gd name="T59" fmla="*/ 3679706 h 152"/>
                <a:gd name="T60" fmla="*/ 547655 w 83"/>
                <a:gd name="T61" fmla="*/ 3373746 h 152"/>
                <a:gd name="T62" fmla="*/ 695125 w 83"/>
                <a:gd name="T63" fmla="*/ 3049871 h 152"/>
                <a:gd name="T64" fmla="*/ 655466 w 83"/>
                <a:gd name="T65" fmla="*/ 2768935 h 152"/>
                <a:gd name="T66" fmla="*/ 737785 w 83"/>
                <a:gd name="T67" fmla="*/ 2394724 h 152"/>
                <a:gd name="T68" fmla="*/ 737785 w 83"/>
                <a:gd name="T69" fmla="*/ 2221418 h 152"/>
                <a:gd name="T70" fmla="*/ 590379 w 83"/>
                <a:gd name="T71" fmla="*/ 1926739 h 152"/>
                <a:gd name="T72" fmla="*/ 187059 w 83"/>
                <a:gd name="T73" fmla="*/ 1886864 h 152"/>
                <a:gd name="T74" fmla="*/ 0 w 83"/>
                <a:gd name="T75" fmla="*/ 1750203 h 152"/>
                <a:gd name="T76" fmla="*/ 0 w 83"/>
                <a:gd name="T77" fmla="*/ 1486767 h 152"/>
                <a:gd name="T78" fmla="*/ 750018 w 83"/>
                <a:gd name="T79" fmla="*/ 1171416 h 152"/>
                <a:gd name="T80" fmla="*/ 831826 w 83"/>
                <a:gd name="T81" fmla="*/ 1202663 h 152"/>
                <a:gd name="T82" fmla="*/ 874462 w 83"/>
                <a:gd name="T83" fmla="*/ 1296909 h 152"/>
                <a:gd name="T84" fmla="*/ 1172048 w 83"/>
                <a:gd name="T85" fmla="*/ 1339432 h 152"/>
                <a:gd name="T86" fmla="*/ 1138080 w 83"/>
                <a:gd name="T87" fmla="*/ 1685158 h 152"/>
                <a:gd name="T88" fmla="*/ 1297677 w 83"/>
                <a:gd name="T89" fmla="*/ 2074072 h 152"/>
                <a:gd name="T90" fmla="*/ 1422236 w 83"/>
                <a:gd name="T91" fmla="*/ 1926739 h 152"/>
                <a:gd name="T92" fmla="*/ 1563643 w 83"/>
                <a:gd name="T93" fmla="*/ 1770772 h 152"/>
                <a:gd name="T94" fmla="*/ 1487400 w 83"/>
                <a:gd name="T95" fmla="*/ 1171416 h 152"/>
                <a:gd name="T96" fmla="*/ 1340000 w 83"/>
                <a:gd name="T97" fmla="*/ 1094958 h 152"/>
                <a:gd name="T98" fmla="*/ 1242976 w 83"/>
                <a:gd name="T99" fmla="*/ 360473 h 152"/>
                <a:gd name="T100" fmla="*/ 1646051 w 83"/>
                <a:gd name="T101" fmla="*/ 284008 h 152"/>
                <a:gd name="T102" fmla="*/ 1847998 w 83"/>
                <a:gd name="T103" fmla="*/ 388680 h 152"/>
                <a:gd name="T104" fmla="*/ 2074689 w 83"/>
                <a:gd name="T105" fmla="*/ 388680 h 152"/>
                <a:gd name="T106" fmla="*/ 2259370 w 83"/>
                <a:gd name="T107" fmla="*/ 244352 h 152"/>
                <a:gd name="T108" fmla="*/ 2501546 w 83"/>
                <a:gd name="T109" fmla="*/ 223783 h 152"/>
                <a:gd name="T110" fmla="*/ 2772908 w 83"/>
                <a:gd name="T111" fmla="*/ 116092 h 152"/>
                <a:gd name="T112" fmla="*/ 2943728 w 83"/>
                <a:gd name="T113" fmla="*/ 0 h 15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3"/>
                <a:gd name="T172" fmla="*/ 0 h 152"/>
                <a:gd name="T173" fmla="*/ 83 w 83"/>
                <a:gd name="T174" fmla="*/ 152 h 15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3" h="152">
                  <a:moveTo>
                    <a:pt x="81" y="0"/>
                  </a:moveTo>
                  <a:cubicBezTo>
                    <a:pt x="81" y="2"/>
                    <a:pt x="81" y="4"/>
                    <a:pt x="81" y="6"/>
                  </a:cubicBezTo>
                  <a:cubicBezTo>
                    <a:pt x="81" y="8"/>
                    <a:pt x="81" y="9"/>
                    <a:pt x="81" y="10"/>
                  </a:cubicBezTo>
                  <a:cubicBezTo>
                    <a:pt x="80" y="12"/>
                    <a:pt x="80" y="15"/>
                    <a:pt x="81" y="17"/>
                  </a:cubicBezTo>
                  <a:cubicBezTo>
                    <a:pt x="81" y="18"/>
                    <a:pt x="81" y="18"/>
                    <a:pt x="82" y="19"/>
                  </a:cubicBezTo>
                  <a:cubicBezTo>
                    <a:pt x="82" y="20"/>
                    <a:pt x="82" y="21"/>
                    <a:pt x="81" y="22"/>
                  </a:cubicBezTo>
                  <a:cubicBezTo>
                    <a:pt x="81" y="23"/>
                    <a:pt x="81" y="24"/>
                    <a:pt x="81" y="25"/>
                  </a:cubicBezTo>
                  <a:cubicBezTo>
                    <a:pt x="82" y="27"/>
                    <a:pt x="81" y="30"/>
                    <a:pt x="82" y="33"/>
                  </a:cubicBezTo>
                  <a:cubicBezTo>
                    <a:pt x="82" y="33"/>
                    <a:pt x="83" y="34"/>
                    <a:pt x="83" y="34"/>
                  </a:cubicBezTo>
                  <a:cubicBezTo>
                    <a:pt x="83" y="36"/>
                    <a:pt x="83" y="37"/>
                    <a:pt x="83" y="38"/>
                  </a:cubicBezTo>
                  <a:cubicBezTo>
                    <a:pt x="83" y="39"/>
                    <a:pt x="82" y="39"/>
                    <a:pt x="82" y="40"/>
                  </a:cubicBezTo>
                  <a:cubicBezTo>
                    <a:pt x="82" y="40"/>
                    <a:pt x="82" y="41"/>
                    <a:pt x="82" y="42"/>
                  </a:cubicBezTo>
                  <a:cubicBezTo>
                    <a:pt x="82" y="43"/>
                    <a:pt x="81" y="44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6"/>
                    <a:pt x="80" y="46"/>
                    <a:pt x="80" y="47"/>
                  </a:cubicBezTo>
                  <a:cubicBezTo>
                    <a:pt x="78" y="49"/>
                    <a:pt x="76" y="51"/>
                    <a:pt x="74" y="53"/>
                  </a:cubicBezTo>
                  <a:cubicBezTo>
                    <a:pt x="73" y="54"/>
                    <a:pt x="72" y="55"/>
                    <a:pt x="72" y="56"/>
                  </a:cubicBezTo>
                  <a:cubicBezTo>
                    <a:pt x="70" y="58"/>
                    <a:pt x="69" y="60"/>
                    <a:pt x="67" y="61"/>
                  </a:cubicBezTo>
                  <a:cubicBezTo>
                    <a:pt x="65" y="62"/>
                    <a:pt x="64" y="61"/>
                    <a:pt x="63" y="62"/>
                  </a:cubicBezTo>
                  <a:cubicBezTo>
                    <a:pt x="62" y="62"/>
                    <a:pt x="62" y="62"/>
                    <a:pt x="61" y="62"/>
                  </a:cubicBezTo>
                  <a:cubicBezTo>
                    <a:pt x="58" y="64"/>
                    <a:pt x="54" y="66"/>
                    <a:pt x="52" y="69"/>
                  </a:cubicBezTo>
                  <a:cubicBezTo>
                    <a:pt x="51" y="70"/>
                    <a:pt x="50" y="71"/>
                    <a:pt x="49" y="73"/>
                  </a:cubicBezTo>
                  <a:cubicBezTo>
                    <a:pt x="48" y="74"/>
                    <a:pt x="47" y="75"/>
                    <a:pt x="46" y="76"/>
                  </a:cubicBezTo>
                  <a:cubicBezTo>
                    <a:pt x="45" y="76"/>
                    <a:pt x="45" y="76"/>
                    <a:pt x="45" y="77"/>
                  </a:cubicBezTo>
                  <a:cubicBezTo>
                    <a:pt x="45" y="77"/>
                    <a:pt x="44" y="77"/>
                    <a:pt x="44" y="78"/>
                  </a:cubicBezTo>
                  <a:cubicBezTo>
                    <a:pt x="42" y="80"/>
                    <a:pt x="40" y="82"/>
                    <a:pt x="39" y="84"/>
                  </a:cubicBezTo>
                  <a:cubicBezTo>
                    <a:pt x="38" y="85"/>
                    <a:pt x="38" y="85"/>
                    <a:pt x="37" y="86"/>
                  </a:cubicBezTo>
                  <a:cubicBezTo>
                    <a:pt x="36" y="86"/>
                    <a:pt x="34" y="87"/>
                    <a:pt x="34" y="88"/>
                  </a:cubicBezTo>
                  <a:cubicBezTo>
                    <a:pt x="33" y="89"/>
                    <a:pt x="34" y="90"/>
                    <a:pt x="34" y="92"/>
                  </a:cubicBezTo>
                  <a:cubicBezTo>
                    <a:pt x="35" y="93"/>
                    <a:pt x="36" y="93"/>
                    <a:pt x="36" y="94"/>
                  </a:cubicBezTo>
                  <a:cubicBezTo>
                    <a:pt x="37" y="97"/>
                    <a:pt x="36" y="99"/>
                    <a:pt x="36" y="102"/>
                  </a:cubicBezTo>
                  <a:cubicBezTo>
                    <a:pt x="37" y="103"/>
                    <a:pt x="37" y="105"/>
                    <a:pt x="37" y="106"/>
                  </a:cubicBezTo>
                  <a:cubicBezTo>
                    <a:pt x="37" y="107"/>
                    <a:pt x="38" y="108"/>
                    <a:pt x="39" y="108"/>
                  </a:cubicBezTo>
                  <a:cubicBezTo>
                    <a:pt x="39" y="111"/>
                    <a:pt x="40" y="113"/>
                    <a:pt x="39" y="116"/>
                  </a:cubicBezTo>
                  <a:cubicBezTo>
                    <a:pt x="39" y="117"/>
                    <a:pt x="39" y="118"/>
                    <a:pt x="39" y="120"/>
                  </a:cubicBezTo>
                  <a:cubicBezTo>
                    <a:pt x="38" y="122"/>
                    <a:pt x="39" y="124"/>
                    <a:pt x="38" y="127"/>
                  </a:cubicBezTo>
                  <a:cubicBezTo>
                    <a:pt x="37" y="129"/>
                    <a:pt x="36" y="131"/>
                    <a:pt x="34" y="132"/>
                  </a:cubicBezTo>
                  <a:cubicBezTo>
                    <a:pt x="33" y="133"/>
                    <a:pt x="31" y="133"/>
                    <a:pt x="30" y="134"/>
                  </a:cubicBezTo>
                  <a:cubicBezTo>
                    <a:pt x="28" y="134"/>
                    <a:pt x="25" y="135"/>
                    <a:pt x="24" y="136"/>
                  </a:cubicBezTo>
                  <a:cubicBezTo>
                    <a:pt x="22" y="137"/>
                    <a:pt x="21" y="137"/>
                    <a:pt x="20" y="138"/>
                  </a:cubicBezTo>
                  <a:cubicBezTo>
                    <a:pt x="19" y="138"/>
                    <a:pt x="19" y="138"/>
                    <a:pt x="18" y="139"/>
                  </a:cubicBezTo>
                  <a:cubicBezTo>
                    <a:pt x="18" y="139"/>
                    <a:pt x="17" y="139"/>
                    <a:pt x="17" y="140"/>
                  </a:cubicBezTo>
                  <a:cubicBezTo>
                    <a:pt x="16" y="141"/>
                    <a:pt x="15" y="141"/>
                    <a:pt x="15" y="142"/>
                  </a:cubicBezTo>
                  <a:cubicBezTo>
                    <a:pt x="15" y="143"/>
                    <a:pt x="15" y="144"/>
                    <a:pt x="15" y="144"/>
                  </a:cubicBezTo>
                  <a:cubicBezTo>
                    <a:pt x="16" y="145"/>
                    <a:pt x="17" y="144"/>
                    <a:pt x="17" y="145"/>
                  </a:cubicBezTo>
                  <a:cubicBezTo>
                    <a:pt x="18" y="146"/>
                    <a:pt x="17" y="147"/>
                    <a:pt x="17" y="148"/>
                  </a:cubicBezTo>
                  <a:cubicBezTo>
                    <a:pt x="17" y="150"/>
                    <a:pt x="17" y="151"/>
                    <a:pt x="17" y="152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5" y="152"/>
                    <a:pt x="14" y="152"/>
                    <a:pt x="12" y="152"/>
                  </a:cubicBezTo>
                  <a:cubicBezTo>
                    <a:pt x="12" y="150"/>
                    <a:pt x="13" y="148"/>
                    <a:pt x="12" y="147"/>
                  </a:cubicBezTo>
                  <a:cubicBezTo>
                    <a:pt x="11" y="145"/>
                    <a:pt x="11" y="145"/>
                    <a:pt x="11" y="144"/>
                  </a:cubicBezTo>
                  <a:cubicBezTo>
                    <a:pt x="11" y="142"/>
                    <a:pt x="11" y="138"/>
                    <a:pt x="11" y="136"/>
                  </a:cubicBezTo>
                  <a:cubicBezTo>
                    <a:pt x="11" y="136"/>
                    <a:pt x="12" y="135"/>
                    <a:pt x="12" y="135"/>
                  </a:cubicBezTo>
                  <a:cubicBezTo>
                    <a:pt x="13" y="129"/>
                    <a:pt x="10" y="125"/>
                    <a:pt x="8" y="121"/>
                  </a:cubicBezTo>
                  <a:cubicBezTo>
                    <a:pt x="8" y="120"/>
                    <a:pt x="8" y="119"/>
                    <a:pt x="8" y="118"/>
                  </a:cubicBezTo>
                  <a:cubicBezTo>
                    <a:pt x="7" y="115"/>
                    <a:pt x="5" y="112"/>
                    <a:pt x="5" y="109"/>
                  </a:cubicBezTo>
                  <a:cubicBezTo>
                    <a:pt x="6" y="109"/>
                    <a:pt x="6" y="109"/>
                    <a:pt x="7" y="109"/>
                  </a:cubicBezTo>
                  <a:cubicBezTo>
                    <a:pt x="8" y="108"/>
                    <a:pt x="10" y="107"/>
                    <a:pt x="11" y="106"/>
                  </a:cubicBezTo>
                  <a:cubicBezTo>
                    <a:pt x="12" y="104"/>
                    <a:pt x="14" y="103"/>
                    <a:pt x="15" y="101"/>
                  </a:cubicBezTo>
                  <a:cubicBezTo>
                    <a:pt x="16" y="100"/>
                    <a:pt x="15" y="98"/>
                    <a:pt x="15" y="97"/>
                  </a:cubicBezTo>
                  <a:cubicBezTo>
                    <a:pt x="15" y="95"/>
                    <a:pt x="15" y="94"/>
                    <a:pt x="15" y="93"/>
                  </a:cubicBezTo>
                  <a:cubicBezTo>
                    <a:pt x="16" y="90"/>
                    <a:pt x="19" y="89"/>
                    <a:pt x="20" y="87"/>
                  </a:cubicBezTo>
                  <a:cubicBezTo>
                    <a:pt x="21" y="86"/>
                    <a:pt x="20" y="84"/>
                    <a:pt x="19" y="84"/>
                  </a:cubicBezTo>
                  <a:cubicBezTo>
                    <a:pt x="19" y="84"/>
                    <a:pt x="18" y="83"/>
                    <a:pt x="18" y="82"/>
                  </a:cubicBezTo>
                  <a:cubicBezTo>
                    <a:pt x="17" y="80"/>
                    <a:pt x="17" y="78"/>
                    <a:pt x="18" y="76"/>
                  </a:cubicBezTo>
                  <a:cubicBezTo>
                    <a:pt x="18" y="76"/>
                    <a:pt x="19" y="76"/>
                    <a:pt x="19" y="75"/>
                  </a:cubicBezTo>
                  <a:cubicBezTo>
                    <a:pt x="20" y="72"/>
                    <a:pt x="19" y="69"/>
                    <a:pt x="20" y="66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20" y="63"/>
                    <a:pt x="21" y="62"/>
                    <a:pt x="20" y="61"/>
                  </a:cubicBezTo>
                  <a:cubicBezTo>
                    <a:pt x="20" y="60"/>
                    <a:pt x="19" y="58"/>
                    <a:pt x="19" y="57"/>
                  </a:cubicBezTo>
                  <a:cubicBezTo>
                    <a:pt x="18" y="55"/>
                    <a:pt x="17" y="55"/>
                    <a:pt x="16" y="53"/>
                  </a:cubicBezTo>
                  <a:cubicBezTo>
                    <a:pt x="15" y="53"/>
                    <a:pt x="15" y="53"/>
                    <a:pt x="14" y="53"/>
                  </a:cubicBezTo>
                  <a:cubicBezTo>
                    <a:pt x="11" y="52"/>
                    <a:pt x="8" y="53"/>
                    <a:pt x="5" y="52"/>
                  </a:cubicBezTo>
                  <a:cubicBezTo>
                    <a:pt x="3" y="52"/>
                    <a:pt x="2" y="51"/>
                    <a:pt x="1" y="50"/>
                  </a:cubicBezTo>
                  <a:cubicBezTo>
                    <a:pt x="0" y="50"/>
                    <a:pt x="0" y="49"/>
                    <a:pt x="0" y="48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5"/>
                    <a:pt x="0" y="42"/>
                    <a:pt x="0" y="41"/>
                  </a:cubicBezTo>
                  <a:cubicBezTo>
                    <a:pt x="6" y="38"/>
                    <a:pt x="12" y="37"/>
                    <a:pt x="18" y="34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2" y="32"/>
                    <a:pt x="23" y="32"/>
                    <a:pt x="23" y="33"/>
                  </a:cubicBezTo>
                  <a:cubicBezTo>
                    <a:pt x="24" y="33"/>
                    <a:pt x="24" y="34"/>
                    <a:pt x="24" y="35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6" y="37"/>
                    <a:pt x="28" y="38"/>
                    <a:pt x="30" y="37"/>
                  </a:cubicBezTo>
                  <a:cubicBezTo>
                    <a:pt x="31" y="37"/>
                    <a:pt x="32" y="36"/>
                    <a:pt x="32" y="37"/>
                  </a:cubicBezTo>
                  <a:cubicBezTo>
                    <a:pt x="34" y="38"/>
                    <a:pt x="33" y="41"/>
                    <a:pt x="33" y="43"/>
                  </a:cubicBezTo>
                  <a:cubicBezTo>
                    <a:pt x="32" y="44"/>
                    <a:pt x="32" y="45"/>
                    <a:pt x="31" y="46"/>
                  </a:cubicBezTo>
                  <a:cubicBezTo>
                    <a:pt x="31" y="48"/>
                    <a:pt x="31" y="50"/>
                    <a:pt x="31" y="52"/>
                  </a:cubicBezTo>
                  <a:cubicBezTo>
                    <a:pt x="33" y="54"/>
                    <a:pt x="35" y="55"/>
                    <a:pt x="36" y="57"/>
                  </a:cubicBezTo>
                  <a:cubicBezTo>
                    <a:pt x="37" y="58"/>
                    <a:pt x="37" y="58"/>
                    <a:pt x="37" y="57"/>
                  </a:cubicBezTo>
                  <a:cubicBezTo>
                    <a:pt x="38" y="56"/>
                    <a:pt x="37" y="54"/>
                    <a:pt x="39" y="53"/>
                  </a:cubicBezTo>
                  <a:cubicBezTo>
                    <a:pt x="39" y="52"/>
                    <a:pt x="40" y="52"/>
                    <a:pt x="41" y="51"/>
                  </a:cubicBezTo>
                  <a:cubicBezTo>
                    <a:pt x="42" y="50"/>
                    <a:pt x="43" y="50"/>
                    <a:pt x="43" y="49"/>
                  </a:cubicBezTo>
                  <a:cubicBezTo>
                    <a:pt x="44" y="45"/>
                    <a:pt x="44" y="41"/>
                    <a:pt x="43" y="36"/>
                  </a:cubicBezTo>
                  <a:cubicBezTo>
                    <a:pt x="43" y="35"/>
                    <a:pt x="42" y="34"/>
                    <a:pt x="41" y="32"/>
                  </a:cubicBezTo>
                  <a:cubicBezTo>
                    <a:pt x="41" y="32"/>
                    <a:pt x="40" y="32"/>
                    <a:pt x="40" y="31"/>
                  </a:cubicBezTo>
                  <a:cubicBezTo>
                    <a:pt x="39" y="31"/>
                    <a:pt x="38" y="31"/>
                    <a:pt x="37" y="30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6" y="10"/>
                    <a:pt x="38" y="10"/>
                    <a:pt x="40" y="10"/>
                  </a:cubicBezTo>
                  <a:cubicBezTo>
                    <a:pt x="42" y="9"/>
                    <a:pt x="43" y="7"/>
                    <a:pt x="45" y="8"/>
                  </a:cubicBezTo>
                  <a:cubicBezTo>
                    <a:pt x="46" y="8"/>
                    <a:pt x="47" y="10"/>
                    <a:pt x="48" y="10"/>
                  </a:cubicBezTo>
                  <a:cubicBezTo>
                    <a:pt x="49" y="11"/>
                    <a:pt x="50" y="11"/>
                    <a:pt x="51" y="11"/>
                  </a:cubicBezTo>
                  <a:cubicBezTo>
                    <a:pt x="51" y="10"/>
                    <a:pt x="52" y="10"/>
                    <a:pt x="53" y="10"/>
                  </a:cubicBezTo>
                  <a:cubicBezTo>
                    <a:pt x="55" y="10"/>
                    <a:pt x="56" y="12"/>
                    <a:pt x="57" y="11"/>
                  </a:cubicBezTo>
                  <a:cubicBezTo>
                    <a:pt x="58" y="11"/>
                    <a:pt x="59" y="10"/>
                    <a:pt x="59" y="9"/>
                  </a:cubicBezTo>
                  <a:cubicBezTo>
                    <a:pt x="60" y="8"/>
                    <a:pt x="61" y="7"/>
                    <a:pt x="62" y="7"/>
                  </a:cubicBezTo>
                  <a:cubicBezTo>
                    <a:pt x="63" y="6"/>
                    <a:pt x="64" y="7"/>
                    <a:pt x="66" y="6"/>
                  </a:cubicBezTo>
                  <a:cubicBezTo>
                    <a:pt x="67" y="6"/>
                    <a:pt x="68" y="7"/>
                    <a:pt x="69" y="6"/>
                  </a:cubicBezTo>
                  <a:cubicBezTo>
                    <a:pt x="70" y="6"/>
                    <a:pt x="71" y="6"/>
                    <a:pt x="71" y="5"/>
                  </a:cubicBezTo>
                  <a:cubicBezTo>
                    <a:pt x="73" y="4"/>
                    <a:pt x="74" y="4"/>
                    <a:pt x="76" y="3"/>
                  </a:cubicBezTo>
                  <a:cubicBezTo>
                    <a:pt x="77" y="3"/>
                    <a:pt x="79" y="2"/>
                    <a:pt x="80" y="1"/>
                  </a:cubicBezTo>
                  <a:lnTo>
                    <a:pt x="81" y="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2" name="Freeform 387"/>
            <p:cNvSpPr>
              <a:spLocks/>
            </p:cNvSpPr>
            <p:nvPr/>
          </p:nvSpPr>
          <p:spPr bwMode="auto">
            <a:xfrm>
              <a:off x="7068968" y="3620080"/>
              <a:ext cx="11538" cy="32445"/>
            </a:xfrm>
            <a:custGeom>
              <a:avLst/>
              <a:gdLst>
                <a:gd name="T0" fmla="*/ 622293 w 25"/>
                <a:gd name="T1" fmla="*/ 1382809 h 67"/>
                <a:gd name="T2" fmla="*/ 711973 w 25"/>
                <a:gd name="T3" fmla="*/ 1424689 h 67"/>
                <a:gd name="T4" fmla="*/ 753143 w 25"/>
                <a:gd name="T5" fmla="*/ 1463926 h 67"/>
                <a:gd name="T6" fmla="*/ 812763 w 25"/>
                <a:gd name="T7" fmla="*/ 1615267 h 67"/>
                <a:gd name="T8" fmla="*/ 812763 w 25"/>
                <a:gd name="T9" fmla="*/ 2078334 h 67"/>
                <a:gd name="T10" fmla="*/ 753143 w 25"/>
                <a:gd name="T11" fmla="*/ 2143056 h 67"/>
                <a:gd name="T12" fmla="*/ 674840 w 25"/>
                <a:gd name="T13" fmla="*/ 2203882 h 67"/>
                <a:gd name="T14" fmla="*/ 622293 w 25"/>
                <a:gd name="T15" fmla="*/ 2358744 h 67"/>
                <a:gd name="T16" fmla="*/ 581510 w 25"/>
                <a:gd name="T17" fmla="*/ 2358744 h 67"/>
                <a:gd name="T18" fmla="*/ 403878 w 25"/>
                <a:gd name="T19" fmla="*/ 2164645 h 67"/>
                <a:gd name="T20" fmla="*/ 403878 w 25"/>
                <a:gd name="T21" fmla="*/ 1965353 h 67"/>
                <a:gd name="T22" fmla="*/ 481789 w 25"/>
                <a:gd name="T23" fmla="*/ 1858828 h 67"/>
                <a:gd name="T24" fmla="*/ 444660 w 25"/>
                <a:gd name="T25" fmla="*/ 1643233 h 67"/>
                <a:gd name="T26" fmla="*/ 370819 w 25"/>
                <a:gd name="T27" fmla="*/ 1643233 h 67"/>
                <a:gd name="T28" fmla="*/ 172291 w 25"/>
                <a:gd name="T29" fmla="*/ 1615267 h 67"/>
                <a:gd name="T30" fmla="*/ 172291 w 25"/>
                <a:gd name="T31" fmla="*/ 1578781 h 67"/>
                <a:gd name="T32" fmla="*/ 140721 w 25"/>
                <a:gd name="T33" fmla="*/ 1500233 h 67"/>
                <a:gd name="T34" fmla="*/ 73292 w 25"/>
                <a:gd name="T35" fmla="*/ 1463926 h 67"/>
                <a:gd name="T36" fmla="*/ 73292 w 25"/>
                <a:gd name="T37" fmla="*/ 1463926 h 67"/>
                <a:gd name="T38" fmla="*/ 0 w 25"/>
                <a:gd name="T39" fmla="*/ 1354843 h 67"/>
                <a:gd name="T40" fmla="*/ 0 w 25"/>
                <a:gd name="T41" fmla="*/ 1279137 h 67"/>
                <a:gd name="T42" fmla="*/ 109559 w 25"/>
                <a:gd name="T43" fmla="*/ 1144652 h 67"/>
                <a:gd name="T44" fmla="*/ 109559 w 25"/>
                <a:gd name="T45" fmla="*/ 999205 h 67"/>
                <a:gd name="T46" fmla="*/ 172291 w 25"/>
                <a:gd name="T47" fmla="*/ 965438 h 67"/>
                <a:gd name="T48" fmla="*/ 172291 w 25"/>
                <a:gd name="T49" fmla="*/ 819987 h 67"/>
                <a:gd name="T50" fmla="*/ 172291 w 25"/>
                <a:gd name="T51" fmla="*/ 384318 h 67"/>
                <a:gd name="T52" fmla="*/ 172291 w 25"/>
                <a:gd name="T53" fmla="*/ 114885 h 67"/>
                <a:gd name="T54" fmla="*/ 172291 w 25"/>
                <a:gd name="T55" fmla="*/ 0 h 67"/>
                <a:gd name="T56" fmla="*/ 172291 w 25"/>
                <a:gd name="T57" fmla="*/ 0 h 67"/>
                <a:gd name="T58" fmla="*/ 330799 w 25"/>
                <a:gd name="T59" fmla="*/ 75542 h 67"/>
                <a:gd name="T60" fmla="*/ 481789 w 25"/>
                <a:gd name="T61" fmla="*/ 319152 h 67"/>
                <a:gd name="T62" fmla="*/ 481789 w 25"/>
                <a:gd name="T63" fmla="*/ 1079445 h 67"/>
                <a:gd name="T64" fmla="*/ 518753 w 25"/>
                <a:gd name="T65" fmla="*/ 1317956 h 67"/>
                <a:gd name="T66" fmla="*/ 622293 w 25"/>
                <a:gd name="T67" fmla="*/ 1382809 h 6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"/>
                <a:gd name="T103" fmla="*/ 0 h 67"/>
                <a:gd name="T104" fmla="*/ 25 w 25"/>
                <a:gd name="T105" fmla="*/ 67 h 67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" h="67">
                  <a:moveTo>
                    <a:pt x="18" y="39"/>
                  </a:moveTo>
                  <a:cubicBezTo>
                    <a:pt x="19" y="40"/>
                    <a:pt x="20" y="40"/>
                    <a:pt x="21" y="40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3"/>
                    <a:pt x="24" y="44"/>
                    <a:pt x="24" y="45"/>
                  </a:cubicBezTo>
                  <a:cubicBezTo>
                    <a:pt x="25" y="50"/>
                    <a:pt x="25" y="54"/>
                    <a:pt x="24" y="58"/>
                  </a:cubicBezTo>
                  <a:cubicBezTo>
                    <a:pt x="24" y="59"/>
                    <a:pt x="23" y="59"/>
                    <a:pt x="22" y="60"/>
                  </a:cubicBezTo>
                  <a:cubicBezTo>
                    <a:pt x="21" y="61"/>
                    <a:pt x="20" y="61"/>
                    <a:pt x="20" y="62"/>
                  </a:cubicBezTo>
                  <a:cubicBezTo>
                    <a:pt x="18" y="63"/>
                    <a:pt x="19" y="65"/>
                    <a:pt x="18" y="66"/>
                  </a:cubicBezTo>
                  <a:cubicBezTo>
                    <a:pt x="18" y="67"/>
                    <a:pt x="18" y="67"/>
                    <a:pt x="17" y="66"/>
                  </a:cubicBezTo>
                  <a:cubicBezTo>
                    <a:pt x="16" y="64"/>
                    <a:pt x="14" y="63"/>
                    <a:pt x="12" y="61"/>
                  </a:cubicBezTo>
                  <a:cubicBezTo>
                    <a:pt x="12" y="59"/>
                    <a:pt x="12" y="57"/>
                    <a:pt x="12" y="55"/>
                  </a:cubicBezTo>
                  <a:cubicBezTo>
                    <a:pt x="13" y="54"/>
                    <a:pt x="13" y="53"/>
                    <a:pt x="14" y="52"/>
                  </a:cubicBezTo>
                  <a:cubicBezTo>
                    <a:pt x="14" y="50"/>
                    <a:pt x="15" y="47"/>
                    <a:pt x="13" y="46"/>
                  </a:cubicBezTo>
                  <a:cubicBezTo>
                    <a:pt x="13" y="45"/>
                    <a:pt x="12" y="46"/>
                    <a:pt x="11" y="46"/>
                  </a:cubicBezTo>
                  <a:cubicBezTo>
                    <a:pt x="9" y="47"/>
                    <a:pt x="7" y="46"/>
                    <a:pt x="5" y="45"/>
                  </a:cubicBezTo>
                  <a:cubicBezTo>
                    <a:pt x="5" y="45"/>
                    <a:pt x="5" y="45"/>
                    <a:pt x="5" y="44"/>
                  </a:cubicBezTo>
                  <a:cubicBezTo>
                    <a:pt x="5" y="43"/>
                    <a:pt x="5" y="42"/>
                    <a:pt x="4" y="42"/>
                  </a:cubicBezTo>
                  <a:cubicBezTo>
                    <a:pt x="4" y="41"/>
                    <a:pt x="3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3" y="40"/>
                    <a:pt x="1" y="39"/>
                    <a:pt x="0" y="38"/>
                  </a:cubicBezTo>
                  <a:cubicBezTo>
                    <a:pt x="0" y="37"/>
                    <a:pt x="0" y="36"/>
                    <a:pt x="0" y="36"/>
                  </a:cubicBezTo>
                  <a:cubicBezTo>
                    <a:pt x="1" y="35"/>
                    <a:pt x="2" y="33"/>
                    <a:pt x="3" y="32"/>
                  </a:cubicBezTo>
                  <a:cubicBezTo>
                    <a:pt x="3" y="31"/>
                    <a:pt x="3" y="29"/>
                    <a:pt x="3" y="28"/>
                  </a:cubicBezTo>
                  <a:cubicBezTo>
                    <a:pt x="4" y="27"/>
                    <a:pt x="5" y="27"/>
                    <a:pt x="5" y="27"/>
                  </a:cubicBezTo>
                  <a:cubicBezTo>
                    <a:pt x="6" y="25"/>
                    <a:pt x="5" y="24"/>
                    <a:pt x="5" y="23"/>
                  </a:cubicBezTo>
                  <a:cubicBezTo>
                    <a:pt x="4" y="19"/>
                    <a:pt x="5" y="15"/>
                    <a:pt x="5" y="11"/>
                  </a:cubicBezTo>
                  <a:cubicBezTo>
                    <a:pt x="5" y="8"/>
                    <a:pt x="6" y="6"/>
                    <a:pt x="5" y="3"/>
                  </a:cubicBezTo>
                  <a:cubicBezTo>
                    <a:pt x="5" y="2"/>
                    <a:pt x="5" y="1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1"/>
                    <a:pt x="9" y="0"/>
                    <a:pt x="10" y="2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7"/>
                    <a:pt x="15" y="37"/>
                    <a:pt x="15" y="37"/>
                  </a:cubicBezTo>
                  <a:lnTo>
                    <a:pt x="18" y="39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3" name="Freeform 388"/>
            <p:cNvSpPr>
              <a:spLocks/>
            </p:cNvSpPr>
            <p:nvPr/>
          </p:nvSpPr>
          <p:spPr bwMode="auto">
            <a:xfrm>
              <a:off x="7029337" y="3614132"/>
              <a:ext cx="42139" cy="43531"/>
            </a:xfrm>
            <a:custGeom>
              <a:avLst/>
              <a:gdLst>
                <a:gd name="T0" fmla="*/ 2655048 w 91"/>
                <a:gd name="T1" fmla="*/ 152426 h 90"/>
                <a:gd name="T2" fmla="*/ 2840477 w 91"/>
                <a:gd name="T3" fmla="*/ 338447 h 90"/>
                <a:gd name="T4" fmla="*/ 3149123 w 91"/>
                <a:gd name="T5" fmla="*/ 447155 h 90"/>
                <a:gd name="T6" fmla="*/ 3149123 w 91"/>
                <a:gd name="T7" fmla="*/ 569734 h 90"/>
                <a:gd name="T8" fmla="*/ 3149123 w 91"/>
                <a:gd name="T9" fmla="*/ 1332970 h 90"/>
                <a:gd name="T10" fmla="*/ 3075585 w 91"/>
                <a:gd name="T11" fmla="*/ 1518939 h 90"/>
                <a:gd name="T12" fmla="*/ 2963040 w 91"/>
                <a:gd name="T13" fmla="*/ 1834725 h 90"/>
                <a:gd name="T14" fmla="*/ 3036842 w 91"/>
                <a:gd name="T15" fmla="*/ 2009909 h 90"/>
                <a:gd name="T16" fmla="*/ 2308310 w 91"/>
                <a:gd name="T17" fmla="*/ 2366882 h 90"/>
                <a:gd name="T18" fmla="*/ 2243869 w 91"/>
                <a:gd name="T19" fmla="*/ 2577075 h 90"/>
                <a:gd name="T20" fmla="*/ 2031758 w 91"/>
                <a:gd name="T21" fmla="*/ 2620773 h 90"/>
                <a:gd name="T22" fmla="*/ 1893165 w 91"/>
                <a:gd name="T23" fmla="*/ 2814034 h 90"/>
                <a:gd name="T24" fmla="*/ 1854608 w 91"/>
                <a:gd name="T25" fmla="*/ 2936615 h 90"/>
                <a:gd name="T26" fmla="*/ 1477048 w 91"/>
                <a:gd name="T27" fmla="*/ 3231309 h 90"/>
                <a:gd name="T28" fmla="*/ 1146806 w 91"/>
                <a:gd name="T29" fmla="*/ 3395461 h 90"/>
                <a:gd name="T30" fmla="*/ 801206 w 91"/>
                <a:gd name="T31" fmla="*/ 3231309 h 90"/>
                <a:gd name="T32" fmla="*/ 596339 w 91"/>
                <a:gd name="T33" fmla="*/ 3275003 h 90"/>
                <a:gd name="T34" fmla="*/ 379138 w 91"/>
                <a:gd name="T35" fmla="*/ 3275003 h 90"/>
                <a:gd name="T36" fmla="*/ 181983 w 91"/>
                <a:gd name="T37" fmla="*/ 3099951 h 90"/>
                <a:gd name="T38" fmla="*/ 0 w 91"/>
                <a:gd name="T39" fmla="*/ 2661574 h 90"/>
                <a:gd name="T40" fmla="*/ 38894 w 91"/>
                <a:gd name="T41" fmla="*/ 1627435 h 90"/>
                <a:gd name="T42" fmla="*/ 416627 w 91"/>
                <a:gd name="T43" fmla="*/ 1627435 h 90"/>
                <a:gd name="T44" fmla="*/ 565137 w 91"/>
                <a:gd name="T45" fmla="*/ 1627435 h 90"/>
                <a:gd name="T46" fmla="*/ 565137 w 91"/>
                <a:gd name="T47" fmla="*/ 1440099 h 90"/>
                <a:gd name="T48" fmla="*/ 596339 w 91"/>
                <a:gd name="T49" fmla="*/ 1101486 h 90"/>
                <a:gd name="T50" fmla="*/ 634123 w 91"/>
                <a:gd name="T51" fmla="*/ 948996 h 90"/>
                <a:gd name="T52" fmla="*/ 673013 w 91"/>
                <a:gd name="T53" fmla="*/ 990209 h 90"/>
                <a:gd name="T54" fmla="*/ 801206 w 91"/>
                <a:gd name="T55" fmla="*/ 1060874 h 90"/>
                <a:gd name="T56" fmla="*/ 984446 w 91"/>
                <a:gd name="T57" fmla="*/ 1265040 h 90"/>
                <a:gd name="T58" fmla="*/ 1258377 w 91"/>
                <a:gd name="T59" fmla="*/ 1332970 h 90"/>
                <a:gd name="T60" fmla="*/ 1402138 w 91"/>
                <a:gd name="T61" fmla="*/ 1224249 h 90"/>
                <a:gd name="T62" fmla="*/ 1540781 w 91"/>
                <a:gd name="T63" fmla="*/ 1417450 h 90"/>
                <a:gd name="T64" fmla="*/ 1752088 w 91"/>
                <a:gd name="T65" fmla="*/ 1475017 h 90"/>
                <a:gd name="T66" fmla="*/ 2131366 w 91"/>
                <a:gd name="T67" fmla="*/ 1791013 h 90"/>
                <a:gd name="T68" fmla="*/ 2131366 w 91"/>
                <a:gd name="T69" fmla="*/ 1417450 h 90"/>
                <a:gd name="T70" fmla="*/ 2051137 w 91"/>
                <a:gd name="T71" fmla="*/ 1440099 h 90"/>
                <a:gd name="T72" fmla="*/ 1779811 w 91"/>
                <a:gd name="T73" fmla="*/ 1265040 h 90"/>
                <a:gd name="T74" fmla="*/ 1854608 w 91"/>
                <a:gd name="T75" fmla="*/ 908417 h 90"/>
                <a:gd name="T76" fmla="*/ 1967256 w 91"/>
                <a:gd name="T77" fmla="*/ 152426 h 90"/>
                <a:gd name="T78" fmla="*/ 2131366 w 91"/>
                <a:gd name="T79" fmla="*/ 40780 h 90"/>
                <a:gd name="T80" fmla="*/ 2419956 w 91"/>
                <a:gd name="T81" fmla="*/ 0 h 9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1"/>
                <a:gd name="T124" fmla="*/ 0 h 90"/>
                <a:gd name="T125" fmla="*/ 91 w 91"/>
                <a:gd name="T126" fmla="*/ 90 h 9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1" h="90">
                  <a:moveTo>
                    <a:pt x="71" y="2"/>
                  </a:moveTo>
                  <a:cubicBezTo>
                    <a:pt x="73" y="3"/>
                    <a:pt x="75" y="3"/>
                    <a:pt x="76" y="4"/>
                  </a:cubicBezTo>
                  <a:cubicBezTo>
                    <a:pt x="77" y="4"/>
                    <a:pt x="78" y="5"/>
                    <a:pt x="79" y="7"/>
                  </a:cubicBezTo>
                  <a:cubicBezTo>
                    <a:pt x="80" y="7"/>
                    <a:pt x="80" y="8"/>
                    <a:pt x="81" y="9"/>
                  </a:cubicBezTo>
                  <a:cubicBezTo>
                    <a:pt x="83" y="9"/>
                    <a:pt x="84" y="8"/>
                    <a:pt x="86" y="9"/>
                  </a:cubicBezTo>
                  <a:cubicBezTo>
                    <a:pt x="87" y="10"/>
                    <a:pt x="89" y="12"/>
                    <a:pt x="90" y="12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0" y="13"/>
                    <a:pt x="90" y="14"/>
                    <a:pt x="90" y="15"/>
                  </a:cubicBezTo>
                  <a:cubicBezTo>
                    <a:pt x="91" y="18"/>
                    <a:pt x="90" y="20"/>
                    <a:pt x="90" y="23"/>
                  </a:cubicBezTo>
                  <a:cubicBezTo>
                    <a:pt x="90" y="27"/>
                    <a:pt x="89" y="31"/>
                    <a:pt x="90" y="35"/>
                  </a:cubicBezTo>
                  <a:cubicBezTo>
                    <a:pt x="90" y="36"/>
                    <a:pt x="91" y="37"/>
                    <a:pt x="90" y="39"/>
                  </a:cubicBezTo>
                  <a:cubicBezTo>
                    <a:pt x="90" y="39"/>
                    <a:pt x="89" y="39"/>
                    <a:pt x="88" y="40"/>
                  </a:cubicBezTo>
                  <a:cubicBezTo>
                    <a:pt x="88" y="41"/>
                    <a:pt x="88" y="43"/>
                    <a:pt x="88" y="44"/>
                  </a:cubicBezTo>
                  <a:cubicBezTo>
                    <a:pt x="87" y="45"/>
                    <a:pt x="86" y="47"/>
                    <a:pt x="85" y="48"/>
                  </a:cubicBezTo>
                  <a:cubicBezTo>
                    <a:pt x="85" y="48"/>
                    <a:pt x="85" y="49"/>
                    <a:pt x="85" y="50"/>
                  </a:cubicBezTo>
                  <a:cubicBezTo>
                    <a:pt x="86" y="51"/>
                    <a:pt x="88" y="52"/>
                    <a:pt x="87" y="53"/>
                  </a:cubicBezTo>
                  <a:cubicBezTo>
                    <a:pt x="86" y="54"/>
                    <a:pt x="85" y="54"/>
                    <a:pt x="84" y="55"/>
                  </a:cubicBezTo>
                  <a:cubicBezTo>
                    <a:pt x="78" y="58"/>
                    <a:pt x="72" y="59"/>
                    <a:pt x="66" y="62"/>
                  </a:cubicBezTo>
                  <a:cubicBezTo>
                    <a:pt x="66" y="63"/>
                    <a:pt x="66" y="66"/>
                    <a:pt x="66" y="68"/>
                  </a:cubicBezTo>
                  <a:cubicBezTo>
                    <a:pt x="65" y="68"/>
                    <a:pt x="65" y="68"/>
                    <a:pt x="64" y="68"/>
                  </a:cubicBezTo>
                  <a:cubicBezTo>
                    <a:pt x="62" y="68"/>
                    <a:pt x="61" y="68"/>
                    <a:pt x="59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7" y="70"/>
                    <a:pt x="56" y="71"/>
                    <a:pt x="55" y="72"/>
                  </a:cubicBezTo>
                  <a:cubicBezTo>
                    <a:pt x="54" y="72"/>
                    <a:pt x="54" y="73"/>
                    <a:pt x="54" y="74"/>
                  </a:cubicBezTo>
                  <a:cubicBezTo>
                    <a:pt x="53" y="75"/>
                    <a:pt x="53" y="76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0" y="78"/>
                    <a:pt x="48" y="78"/>
                    <a:pt x="47" y="80"/>
                  </a:cubicBezTo>
                  <a:cubicBezTo>
                    <a:pt x="45" y="82"/>
                    <a:pt x="43" y="83"/>
                    <a:pt x="42" y="85"/>
                  </a:cubicBezTo>
                  <a:cubicBezTo>
                    <a:pt x="41" y="86"/>
                    <a:pt x="40" y="88"/>
                    <a:pt x="39" y="89"/>
                  </a:cubicBezTo>
                  <a:cubicBezTo>
                    <a:pt x="38" y="90"/>
                    <a:pt x="35" y="89"/>
                    <a:pt x="33" y="89"/>
                  </a:cubicBezTo>
                  <a:cubicBezTo>
                    <a:pt x="31" y="89"/>
                    <a:pt x="28" y="89"/>
                    <a:pt x="26" y="88"/>
                  </a:cubicBezTo>
                  <a:cubicBezTo>
                    <a:pt x="24" y="88"/>
                    <a:pt x="24" y="86"/>
                    <a:pt x="23" y="85"/>
                  </a:cubicBezTo>
                  <a:cubicBezTo>
                    <a:pt x="22" y="85"/>
                    <a:pt x="20" y="86"/>
                    <a:pt x="18" y="85"/>
                  </a:cubicBezTo>
                  <a:cubicBezTo>
                    <a:pt x="17" y="86"/>
                    <a:pt x="17" y="86"/>
                    <a:pt x="17" y="86"/>
                  </a:cubicBezTo>
                  <a:cubicBezTo>
                    <a:pt x="15" y="86"/>
                    <a:pt x="13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0" y="84"/>
                    <a:pt x="8" y="83"/>
                    <a:pt x="7" y="82"/>
                  </a:cubicBezTo>
                  <a:cubicBezTo>
                    <a:pt x="6" y="82"/>
                    <a:pt x="6" y="82"/>
                    <a:pt x="5" y="81"/>
                  </a:cubicBezTo>
                  <a:cubicBezTo>
                    <a:pt x="3" y="78"/>
                    <a:pt x="2" y="78"/>
                    <a:pt x="1" y="75"/>
                  </a:cubicBezTo>
                  <a:cubicBezTo>
                    <a:pt x="0" y="74"/>
                    <a:pt x="0" y="72"/>
                    <a:pt x="0" y="70"/>
                  </a:cubicBezTo>
                  <a:cubicBezTo>
                    <a:pt x="0" y="62"/>
                    <a:pt x="0" y="53"/>
                    <a:pt x="0" y="44"/>
                  </a:cubicBezTo>
                  <a:cubicBezTo>
                    <a:pt x="0" y="44"/>
                    <a:pt x="0" y="44"/>
                    <a:pt x="1" y="43"/>
                  </a:cubicBezTo>
                  <a:cubicBezTo>
                    <a:pt x="3" y="42"/>
                    <a:pt x="5" y="43"/>
                    <a:pt x="8" y="43"/>
                  </a:cubicBezTo>
                  <a:cubicBezTo>
                    <a:pt x="9" y="43"/>
                    <a:pt x="10" y="43"/>
                    <a:pt x="12" y="43"/>
                  </a:cubicBezTo>
                  <a:cubicBezTo>
                    <a:pt x="13" y="44"/>
                    <a:pt x="14" y="44"/>
                    <a:pt x="16" y="44"/>
                  </a:cubicBezTo>
                  <a:cubicBezTo>
                    <a:pt x="16" y="44"/>
                    <a:pt x="16" y="44"/>
                    <a:pt x="16" y="43"/>
                  </a:cubicBezTo>
                  <a:cubicBezTo>
                    <a:pt x="17" y="42"/>
                    <a:pt x="17" y="41"/>
                    <a:pt x="16" y="39"/>
                  </a:cubicBezTo>
                  <a:cubicBezTo>
                    <a:pt x="16" y="39"/>
                    <a:pt x="16" y="38"/>
                    <a:pt x="16" y="38"/>
                  </a:cubicBezTo>
                  <a:cubicBezTo>
                    <a:pt x="16" y="37"/>
                    <a:pt x="15" y="35"/>
                    <a:pt x="16" y="33"/>
                  </a:cubicBezTo>
                  <a:cubicBezTo>
                    <a:pt x="17" y="32"/>
                    <a:pt x="16" y="30"/>
                    <a:pt x="17" y="29"/>
                  </a:cubicBezTo>
                  <a:cubicBezTo>
                    <a:pt x="17" y="28"/>
                    <a:pt x="17" y="27"/>
                    <a:pt x="17" y="27"/>
                  </a:cubicBezTo>
                  <a:cubicBezTo>
                    <a:pt x="18" y="26"/>
                    <a:pt x="18" y="26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9" y="25"/>
                    <a:pt x="19" y="25"/>
                    <a:pt x="19" y="26"/>
                  </a:cubicBezTo>
                  <a:cubicBezTo>
                    <a:pt x="20" y="27"/>
                    <a:pt x="19" y="28"/>
                    <a:pt x="20" y="29"/>
                  </a:cubicBezTo>
                  <a:cubicBezTo>
                    <a:pt x="21" y="29"/>
                    <a:pt x="22" y="28"/>
                    <a:pt x="23" y="28"/>
                  </a:cubicBezTo>
                  <a:cubicBezTo>
                    <a:pt x="25" y="27"/>
                    <a:pt x="26" y="30"/>
                    <a:pt x="27" y="32"/>
                  </a:cubicBezTo>
                  <a:cubicBezTo>
                    <a:pt x="27" y="32"/>
                    <a:pt x="28" y="33"/>
                    <a:pt x="28" y="33"/>
                  </a:cubicBezTo>
                  <a:cubicBezTo>
                    <a:pt x="30" y="33"/>
                    <a:pt x="32" y="33"/>
                    <a:pt x="33" y="34"/>
                  </a:cubicBezTo>
                  <a:cubicBezTo>
                    <a:pt x="34" y="35"/>
                    <a:pt x="35" y="34"/>
                    <a:pt x="36" y="35"/>
                  </a:cubicBezTo>
                  <a:cubicBezTo>
                    <a:pt x="37" y="35"/>
                    <a:pt x="39" y="35"/>
                    <a:pt x="39" y="34"/>
                  </a:cubicBezTo>
                  <a:cubicBezTo>
                    <a:pt x="40" y="33"/>
                    <a:pt x="40" y="32"/>
                    <a:pt x="40" y="32"/>
                  </a:cubicBezTo>
                  <a:cubicBezTo>
                    <a:pt x="41" y="31"/>
                    <a:pt x="42" y="31"/>
                    <a:pt x="43" y="32"/>
                  </a:cubicBezTo>
                  <a:cubicBezTo>
                    <a:pt x="43" y="34"/>
                    <a:pt x="42" y="36"/>
                    <a:pt x="44" y="37"/>
                  </a:cubicBezTo>
                  <a:cubicBezTo>
                    <a:pt x="46" y="37"/>
                    <a:pt x="47" y="37"/>
                    <a:pt x="49" y="37"/>
                  </a:cubicBezTo>
                  <a:cubicBezTo>
                    <a:pt x="49" y="38"/>
                    <a:pt x="49" y="38"/>
                    <a:pt x="50" y="39"/>
                  </a:cubicBezTo>
                  <a:cubicBezTo>
                    <a:pt x="51" y="41"/>
                    <a:pt x="53" y="43"/>
                    <a:pt x="54" y="45"/>
                  </a:cubicBezTo>
                  <a:cubicBezTo>
                    <a:pt x="56" y="48"/>
                    <a:pt x="58" y="47"/>
                    <a:pt x="61" y="47"/>
                  </a:cubicBezTo>
                  <a:cubicBezTo>
                    <a:pt x="61" y="47"/>
                    <a:pt x="61" y="46"/>
                    <a:pt x="61" y="46"/>
                  </a:cubicBezTo>
                  <a:cubicBezTo>
                    <a:pt x="61" y="43"/>
                    <a:pt x="62" y="40"/>
                    <a:pt x="61" y="37"/>
                  </a:cubicBezTo>
                  <a:cubicBezTo>
                    <a:pt x="61" y="37"/>
                    <a:pt x="60" y="37"/>
                    <a:pt x="60" y="37"/>
                  </a:cubicBezTo>
                  <a:cubicBezTo>
                    <a:pt x="60" y="37"/>
                    <a:pt x="59" y="38"/>
                    <a:pt x="59" y="38"/>
                  </a:cubicBezTo>
                  <a:cubicBezTo>
                    <a:pt x="58" y="38"/>
                    <a:pt x="57" y="38"/>
                    <a:pt x="56" y="37"/>
                  </a:cubicBezTo>
                  <a:cubicBezTo>
                    <a:pt x="55" y="36"/>
                    <a:pt x="53" y="34"/>
                    <a:pt x="51" y="33"/>
                  </a:cubicBezTo>
                  <a:cubicBezTo>
                    <a:pt x="51" y="31"/>
                    <a:pt x="51" y="29"/>
                    <a:pt x="52" y="27"/>
                  </a:cubicBezTo>
                  <a:cubicBezTo>
                    <a:pt x="52" y="26"/>
                    <a:pt x="52" y="25"/>
                    <a:pt x="53" y="24"/>
                  </a:cubicBezTo>
                  <a:cubicBezTo>
                    <a:pt x="53" y="21"/>
                    <a:pt x="53" y="18"/>
                    <a:pt x="53" y="15"/>
                  </a:cubicBezTo>
                  <a:cubicBezTo>
                    <a:pt x="52" y="11"/>
                    <a:pt x="53" y="7"/>
                    <a:pt x="56" y="4"/>
                  </a:cubicBezTo>
                  <a:cubicBezTo>
                    <a:pt x="56" y="3"/>
                    <a:pt x="57" y="2"/>
                    <a:pt x="58" y="2"/>
                  </a:cubicBezTo>
                  <a:cubicBezTo>
                    <a:pt x="59" y="1"/>
                    <a:pt x="60" y="2"/>
                    <a:pt x="61" y="1"/>
                  </a:cubicBezTo>
                  <a:cubicBezTo>
                    <a:pt x="61" y="1"/>
                    <a:pt x="62" y="1"/>
                    <a:pt x="62" y="1"/>
                  </a:cubicBezTo>
                  <a:cubicBezTo>
                    <a:pt x="64" y="0"/>
                    <a:pt x="67" y="0"/>
                    <a:pt x="69" y="0"/>
                  </a:cubicBezTo>
                  <a:lnTo>
                    <a:pt x="71" y="2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4" name="Freeform 389"/>
            <p:cNvSpPr>
              <a:spLocks/>
            </p:cNvSpPr>
            <p:nvPr/>
          </p:nvSpPr>
          <p:spPr bwMode="auto">
            <a:xfrm>
              <a:off x="7055172" y="3583039"/>
              <a:ext cx="7274" cy="7300"/>
            </a:xfrm>
            <a:custGeom>
              <a:avLst/>
              <a:gdLst>
                <a:gd name="T0" fmla="*/ 447155 w 15"/>
                <a:gd name="T1" fmla="*/ 40780 h 15"/>
                <a:gd name="T2" fmla="*/ 379223 w 15"/>
                <a:gd name="T3" fmla="*/ 78841 h 15"/>
                <a:gd name="T4" fmla="*/ 274992 w 15"/>
                <a:gd name="T5" fmla="*/ 78841 h 15"/>
                <a:gd name="T6" fmla="*/ 231287 w 15"/>
                <a:gd name="T7" fmla="*/ 78841 h 15"/>
                <a:gd name="T8" fmla="*/ 196150 w 15"/>
                <a:gd name="T9" fmla="*/ 40780 h 15"/>
                <a:gd name="T10" fmla="*/ 196150 w 15"/>
                <a:gd name="T11" fmla="*/ 40780 h 15"/>
                <a:gd name="T12" fmla="*/ 152426 w 15"/>
                <a:gd name="T13" fmla="*/ 78841 h 15"/>
                <a:gd name="T14" fmla="*/ 40780 w 15"/>
                <a:gd name="T15" fmla="*/ 274992 h 15"/>
                <a:gd name="T16" fmla="*/ 0 w 15"/>
                <a:gd name="T17" fmla="*/ 294690 h 15"/>
                <a:gd name="T18" fmla="*/ 0 w 15"/>
                <a:gd name="T19" fmla="*/ 490860 h 15"/>
                <a:gd name="T20" fmla="*/ 119631 w 15"/>
                <a:gd name="T21" fmla="*/ 490860 h 15"/>
                <a:gd name="T22" fmla="*/ 196150 w 15"/>
                <a:gd name="T23" fmla="*/ 569734 h 15"/>
                <a:gd name="T24" fmla="*/ 231287 w 15"/>
                <a:gd name="T25" fmla="*/ 569734 h 15"/>
                <a:gd name="T26" fmla="*/ 338447 w 15"/>
                <a:gd name="T27" fmla="*/ 447155 h 15"/>
                <a:gd name="T28" fmla="*/ 447155 w 15"/>
                <a:gd name="T29" fmla="*/ 447155 h 15"/>
                <a:gd name="T30" fmla="*/ 569734 w 15"/>
                <a:gd name="T31" fmla="*/ 231287 h 15"/>
                <a:gd name="T32" fmla="*/ 531651 w 15"/>
                <a:gd name="T33" fmla="*/ 196150 h 15"/>
                <a:gd name="T34" fmla="*/ 531651 w 15"/>
                <a:gd name="T35" fmla="*/ 0 h 15"/>
                <a:gd name="T36" fmla="*/ 447155 w 15"/>
                <a:gd name="T37" fmla="*/ 40780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"/>
                <a:gd name="T58" fmla="*/ 0 h 15"/>
                <a:gd name="T59" fmla="*/ 15 w 15"/>
                <a:gd name="T60" fmla="*/ 15 h 1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" h="15">
                  <a:moveTo>
                    <a:pt x="12" y="1"/>
                  </a:moveTo>
                  <a:cubicBezTo>
                    <a:pt x="11" y="1"/>
                    <a:pt x="10" y="2"/>
                    <a:pt x="10" y="2"/>
                  </a:cubicBezTo>
                  <a:cubicBezTo>
                    <a:pt x="9" y="3"/>
                    <a:pt x="8" y="3"/>
                    <a:pt x="7" y="2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3" y="4"/>
                    <a:pt x="2" y="5"/>
                    <a:pt x="1" y="7"/>
                  </a:cubicBezTo>
                  <a:cubicBezTo>
                    <a:pt x="1" y="8"/>
                    <a:pt x="0" y="8"/>
                    <a:pt x="0" y="8"/>
                  </a:cubicBezTo>
                  <a:cubicBezTo>
                    <a:pt x="0" y="10"/>
                    <a:pt x="0" y="11"/>
                    <a:pt x="0" y="13"/>
                  </a:cubicBezTo>
                  <a:cubicBezTo>
                    <a:pt x="1" y="13"/>
                    <a:pt x="2" y="13"/>
                    <a:pt x="3" y="13"/>
                  </a:cubicBezTo>
                  <a:cubicBezTo>
                    <a:pt x="4" y="14"/>
                    <a:pt x="4" y="14"/>
                    <a:pt x="5" y="15"/>
                  </a:cubicBezTo>
                  <a:cubicBezTo>
                    <a:pt x="5" y="15"/>
                    <a:pt x="6" y="15"/>
                    <a:pt x="6" y="15"/>
                  </a:cubicBezTo>
                  <a:cubicBezTo>
                    <a:pt x="7" y="14"/>
                    <a:pt x="8" y="13"/>
                    <a:pt x="9" y="12"/>
                  </a:cubicBezTo>
                  <a:cubicBezTo>
                    <a:pt x="10" y="12"/>
                    <a:pt x="11" y="12"/>
                    <a:pt x="12" y="12"/>
                  </a:cubicBezTo>
                  <a:cubicBezTo>
                    <a:pt x="14" y="11"/>
                    <a:pt x="14" y="8"/>
                    <a:pt x="15" y="6"/>
                  </a:cubicBezTo>
                  <a:cubicBezTo>
                    <a:pt x="14" y="6"/>
                    <a:pt x="14" y="6"/>
                    <a:pt x="14" y="5"/>
                  </a:cubicBezTo>
                  <a:cubicBezTo>
                    <a:pt x="13" y="4"/>
                    <a:pt x="14" y="2"/>
                    <a:pt x="14" y="0"/>
                  </a:cubicBezTo>
                  <a:lnTo>
                    <a:pt x="12" y="1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5" name="Freeform 390"/>
            <p:cNvSpPr>
              <a:spLocks/>
            </p:cNvSpPr>
            <p:nvPr/>
          </p:nvSpPr>
          <p:spPr bwMode="auto">
            <a:xfrm>
              <a:off x="7055172" y="3588716"/>
              <a:ext cx="7274" cy="8923"/>
            </a:xfrm>
            <a:custGeom>
              <a:avLst/>
              <a:gdLst>
                <a:gd name="T0" fmla="*/ 447155 w 15"/>
                <a:gd name="T1" fmla="*/ 0 h 18"/>
                <a:gd name="T2" fmla="*/ 338447 w 15"/>
                <a:gd name="T3" fmla="*/ 0 h 18"/>
                <a:gd name="T4" fmla="*/ 231287 w 15"/>
                <a:gd name="T5" fmla="*/ 130758 h 18"/>
                <a:gd name="T6" fmla="*/ 196150 w 15"/>
                <a:gd name="T7" fmla="*/ 130758 h 18"/>
                <a:gd name="T8" fmla="*/ 119631 w 15"/>
                <a:gd name="T9" fmla="*/ 46301 h 18"/>
                <a:gd name="T10" fmla="*/ 0 w 15"/>
                <a:gd name="T11" fmla="*/ 46301 h 18"/>
                <a:gd name="T12" fmla="*/ 0 w 15"/>
                <a:gd name="T13" fmla="*/ 46301 h 18"/>
                <a:gd name="T14" fmla="*/ 40780 w 15"/>
                <a:gd name="T15" fmla="*/ 175058 h 18"/>
                <a:gd name="T16" fmla="*/ 78841 w 15"/>
                <a:gd name="T17" fmla="*/ 494379 h 18"/>
                <a:gd name="T18" fmla="*/ 119631 w 15"/>
                <a:gd name="T19" fmla="*/ 704340 h 18"/>
                <a:gd name="T20" fmla="*/ 196150 w 15"/>
                <a:gd name="T21" fmla="*/ 704340 h 18"/>
                <a:gd name="T22" fmla="*/ 417229 w 15"/>
                <a:gd name="T23" fmla="*/ 540678 h 18"/>
                <a:gd name="T24" fmla="*/ 417229 w 15"/>
                <a:gd name="T25" fmla="*/ 340391 h 18"/>
                <a:gd name="T26" fmla="*/ 531651 w 15"/>
                <a:gd name="T27" fmla="*/ 294436 h 18"/>
                <a:gd name="T28" fmla="*/ 569734 w 15"/>
                <a:gd name="T29" fmla="*/ 294436 h 18"/>
                <a:gd name="T30" fmla="*/ 531651 w 15"/>
                <a:gd name="T31" fmla="*/ 175058 h 18"/>
                <a:gd name="T32" fmla="*/ 447155 w 15"/>
                <a:gd name="T33" fmla="*/ 130758 h 18"/>
                <a:gd name="T34" fmla="*/ 447155 w 15"/>
                <a:gd name="T35" fmla="*/ 0 h 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5"/>
                <a:gd name="T55" fmla="*/ 0 h 18"/>
                <a:gd name="T56" fmla="*/ 15 w 15"/>
                <a:gd name="T57" fmla="*/ 18 h 1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5" h="18">
                  <a:moveTo>
                    <a:pt x="12" y="0"/>
                  </a:moveTo>
                  <a:cubicBezTo>
                    <a:pt x="11" y="0"/>
                    <a:pt x="10" y="0"/>
                    <a:pt x="9" y="0"/>
                  </a:cubicBezTo>
                  <a:cubicBezTo>
                    <a:pt x="8" y="1"/>
                    <a:pt x="7" y="2"/>
                    <a:pt x="6" y="3"/>
                  </a:cubicBezTo>
                  <a:cubicBezTo>
                    <a:pt x="6" y="3"/>
                    <a:pt x="5" y="3"/>
                    <a:pt x="5" y="3"/>
                  </a:cubicBezTo>
                  <a:cubicBezTo>
                    <a:pt x="4" y="2"/>
                    <a:pt x="4" y="2"/>
                    <a:pt x="3" y="1"/>
                  </a:cubicBezTo>
                  <a:cubicBezTo>
                    <a:pt x="2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3"/>
                    <a:pt x="1" y="4"/>
                  </a:cubicBezTo>
                  <a:cubicBezTo>
                    <a:pt x="1" y="7"/>
                    <a:pt x="1" y="9"/>
                    <a:pt x="2" y="12"/>
                  </a:cubicBezTo>
                  <a:cubicBezTo>
                    <a:pt x="2" y="14"/>
                    <a:pt x="3" y="15"/>
                    <a:pt x="3" y="17"/>
                  </a:cubicBezTo>
                  <a:cubicBezTo>
                    <a:pt x="4" y="18"/>
                    <a:pt x="5" y="18"/>
                    <a:pt x="5" y="17"/>
                  </a:cubicBezTo>
                  <a:cubicBezTo>
                    <a:pt x="7" y="16"/>
                    <a:pt x="10" y="15"/>
                    <a:pt x="11" y="13"/>
                  </a:cubicBezTo>
                  <a:cubicBezTo>
                    <a:pt x="11" y="11"/>
                    <a:pt x="11" y="10"/>
                    <a:pt x="11" y="8"/>
                  </a:cubicBezTo>
                  <a:cubicBezTo>
                    <a:pt x="12" y="7"/>
                    <a:pt x="13" y="7"/>
                    <a:pt x="14" y="7"/>
                  </a:cubicBezTo>
                  <a:cubicBezTo>
                    <a:pt x="14" y="7"/>
                    <a:pt x="15" y="7"/>
                    <a:pt x="15" y="7"/>
                  </a:cubicBezTo>
                  <a:cubicBezTo>
                    <a:pt x="15" y="6"/>
                    <a:pt x="15" y="5"/>
                    <a:pt x="14" y="4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2"/>
                    <a:pt x="12" y="1"/>
                    <a:pt x="12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6" name="Freeform 391"/>
            <p:cNvSpPr>
              <a:spLocks/>
            </p:cNvSpPr>
            <p:nvPr/>
          </p:nvSpPr>
          <p:spPr bwMode="auto">
            <a:xfrm>
              <a:off x="7056677" y="3581146"/>
              <a:ext cx="40885" cy="48939"/>
            </a:xfrm>
            <a:custGeom>
              <a:avLst/>
              <a:gdLst>
                <a:gd name="T0" fmla="*/ 3015380 w 88"/>
                <a:gd name="T1" fmla="*/ 2988826 h 101"/>
                <a:gd name="T2" fmla="*/ 2803157 w 88"/>
                <a:gd name="T3" fmla="*/ 2756552 h 101"/>
                <a:gd name="T4" fmla="*/ 2710462 w 88"/>
                <a:gd name="T5" fmla="*/ 2053523 h 101"/>
                <a:gd name="T6" fmla="*/ 2803157 w 88"/>
                <a:gd name="T7" fmla="*/ 1898396 h 101"/>
                <a:gd name="T8" fmla="*/ 2599956 w 88"/>
                <a:gd name="T9" fmla="*/ 1709624 h 101"/>
                <a:gd name="T10" fmla="*/ 2710462 w 88"/>
                <a:gd name="T11" fmla="*/ 1235344 h 101"/>
                <a:gd name="T12" fmla="*/ 2673490 w 88"/>
                <a:gd name="T13" fmla="*/ 1161891 h 101"/>
                <a:gd name="T14" fmla="*/ 2499199 w 88"/>
                <a:gd name="T15" fmla="*/ 1069102 h 101"/>
                <a:gd name="T16" fmla="*/ 2299641 w 88"/>
                <a:gd name="T17" fmla="*/ 788981 h 101"/>
                <a:gd name="T18" fmla="*/ 2157253 w 88"/>
                <a:gd name="T19" fmla="*/ 624991 h 101"/>
                <a:gd name="T20" fmla="*/ 1976403 w 88"/>
                <a:gd name="T21" fmla="*/ 556594 h 101"/>
                <a:gd name="T22" fmla="*/ 1705947 w 88"/>
                <a:gd name="T23" fmla="*/ 373283 h 101"/>
                <a:gd name="T24" fmla="*/ 1512195 w 88"/>
                <a:gd name="T25" fmla="*/ 213848 h 101"/>
                <a:gd name="T26" fmla="*/ 817587 w 88"/>
                <a:gd name="T27" fmla="*/ 0 h 101"/>
                <a:gd name="T28" fmla="*/ 372094 w 88"/>
                <a:gd name="T29" fmla="*/ 141520 h 101"/>
                <a:gd name="T30" fmla="*/ 410015 w 88"/>
                <a:gd name="T31" fmla="*/ 334832 h 101"/>
                <a:gd name="T32" fmla="*/ 304571 w 88"/>
                <a:gd name="T33" fmla="*/ 556594 h 101"/>
                <a:gd name="T34" fmla="*/ 372094 w 88"/>
                <a:gd name="T35" fmla="*/ 678746 h 101"/>
                <a:gd name="T36" fmla="*/ 372094 w 88"/>
                <a:gd name="T37" fmla="*/ 788981 h 101"/>
                <a:gd name="T38" fmla="*/ 271426 w 88"/>
                <a:gd name="T39" fmla="*/ 1002905 h 101"/>
                <a:gd name="T40" fmla="*/ 0 w 88"/>
                <a:gd name="T41" fmla="*/ 1125454 h 101"/>
                <a:gd name="T42" fmla="*/ 38321 w 88"/>
                <a:gd name="T43" fmla="*/ 1788346 h 101"/>
                <a:gd name="T44" fmla="*/ 372094 w 88"/>
                <a:gd name="T45" fmla="*/ 2372839 h 101"/>
                <a:gd name="T46" fmla="*/ 410015 w 88"/>
                <a:gd name="T47" fmla="*/ 2394120 h 101"/>
                <a:gd name="T48" fmla="*/ 677630 w 88"/>
                <a:gd name="T49" fmla="*/ 2577663 h 101"/>
                <a:gd name="T50" fmla="*/ 929550 w 88"/>
                <a:gd name="T51" fmla="*/ 2645327 h 101"/>
                <a:gd name="T52" fmla="*/ 1233014 w 88"/>
                <a:gd name="T53" fmla="*/ 2819133 h 101"/>
                <a:gd name="T54" fmla="*/ 1411365 w 88"/>
                <a:gd name="T55" fmla="*/ 3394272 h 101"/>
                <a:gd name="T56" fmla="*/ 1785158 w 88"/>
                <a:gd name="T57" fmla="*/ 3324413 h 101"/>
                <a:gd name="T58" fmla="*/ 1976403 w 88"/>
                <a:gd name="T59" fmla="*/ 3435041 h 101"/>
                <a:gd name="T60" fmla="*/ 2189941 w 88"/>
                <a:gd name="T61" fmla="*/ 3435041 h 101"/>
                <a:gd name="T62" fmla="*/ 2367947 w 88"/>
                <a:gd name="T63" fmla="*/ 3283832 h 101"/>
                <a:gd name="T64" fmla="*/ 2599956 w 88"/>
                <a:gd name="T65" fmla="*/ 3256803 h 101"/>
                <a:gd name="T66" fmla="*/ 2831968 w 88"/>
                <a:gd name="T67" fmla="*/ 3163247 h 101"/>
                <a:gd name="T68" fmla="*/ 3015380 w 88"/>
                <a:gd name="T69" fmla="*/ 3051505 h 10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8"/>
                <a:gd name="T106" fmla="*/ 0 h 101"/>
                <a:gd name="T107" fmla="*/ 88 w 88"/>
                <a:gd name="T108" fmla="*/ 101 h 10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8" h="101">
                  <a:moveTo>
                    <a:pt x="88" y="89"/>
                  </a:moveTo>
                  <a:cubicBezTo>
                    <a:pt x="88" y="88"/>
                    <a:pt x="88" y="87"/>
                    <a:pt x="88" y="87"/>
                  </a:cubicBezTo>
                  <a:cubicBezTo>
                    <a:pt x="86" y="86"/>
                    <a:pt x="84" y="85"/>
                    <a:pt x="83" y="83"/>
                  </a:cubicBezTo>
                  <a:cubicBezTo>
                    <a:pt x="82" y="82"/>
                    <a:pt x="83" y="81"/>
                    <a:pt x="82" y="80"/>
                  </a:cubicBezTo>
                  <a:cubicBezTo>
                    <a:pt x="81" y="78"/>
                    <a:pt x="82" y="75"/>
                    <a:pt x="81" y="73"/>
                  </a:cubicBezTo>
                  <a:cubicBezTo>
                    <a:pt x="78" y="69"/>
                    <a:pt x="79" y="64"/>
                    <a:pt x="79" y="60"/>
                  </a:cubicBezTo>
                  <a:cubicBezTo>
                    <a:pt x="79" y="59"/>
                    <a:pt x="81" y="59"/>
                    <a:pt x="81" y="58"/>
                  </a:cubicBezTo>
                  <a:cubicBezTo>
                    <a:pt x="82" y="57"/>
                    <a:pt x="82" y="56"/>
                    <a:pt x="82" y="55"/>
                  </a:cubicBezTo>
                  <a:cubicBezTo>
                    <a:pt x="79" y="55"/>
                    <a:pt x="79" y="52"/>
                    <a:pt x="78" y="50"/>
                  </a:cubicBezTo>
                  <a:cubicBezTo>
                    <a:pt x="78" y="49"/>
                    <a:pt x="76" y="50"/>
                    <a:pt x="76" y="50"/>
                  </a:cubicBezTo>
                  <a:cubicBezTo>
                    <a:pt x="76" y="48"/>
                    <a:pt x="76" y="46"/>
                    <a:pt x="76" y="44"/>
                  </a:cubicBezTo>
                  <a:cubicBezTo>
                    <a:pt x="76" y="41"/>
                    <a:pt x="78" y="39"/>
                    <a:pt x="79" y="36"/>
                  </a:cubicBezTo>
                  <a:cubicBezTo>
                    <a:pt x="79" y="36"/>
                    <a:pt x="79" y="36"/>
                    <a:pt x="80" y="35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7" y="34"/>
                    <a:pt x="76" y="33"/>
                    <a:pt x="75" y="32"/>
                  </a:cubicBezTo>
                  <a:cubicBezTo>
                    <a:pt x="75" y="32"/>
                    <a:pt x="74" y="32"/>
                    <a:pt x="73" y="31"/>
                  </a:cubicBezTo>
                  <a:cubicBezTo>
                    <a:pt x="72" y="31"/>
                    <a:pt x="71" y="30"/>
                    <a:pt x="70" y="28"/>
                  </a:cubicBezTo>
                  <a:cubicBezTo>
                    <a:pt x="69" y="26"/>
                    <a:pt x="68" y="25"/>
                    <a:pt x="67" y="23"/>
                  </a:cubicBezTo>
                  <a:cubicBezTo>
                    <a:pt x="67" y="22"/>
                    <a:pt x="66" y="22"/>
                    <a:pt x="66" y="21"/>
                  </a:cubicBezTo>
                  <a:cubicBezTo>
                    <a:pt x="65" y="20"/>
                    <a:pt x="64" y="19"/>
                    <a:pt x="63" y="18"/>
                  </a:cubicBezTo>
                  <a:cubicBezTo>
                    <a:pt x="61" y="18"/>
                    <a:pt x="61" y="18"/>
                    <a:pt x="59" y="17"/>
                  </a:cubicBezTo>
                  <a:cubicBezTo>
                    <a:pt x="59" y="16"/>
                    <a:pt x="59" y="16"/>
                    <a:pt x="58" y="16"/>
                  </a:cubicBezTo>
                  <a:cubicBezTo>
                    <a:pt x="56" y="14"/>
                    <a:pt x="55" y="13"/>
                    <a:pt x="53" y="12"/>
                  </a:cubicBezTo>
                  <a:cubicBezTo>
                    <a:pt x="52" y="12"/>
                    <a:pt x="51" y="12"/>
                    <a:pt x="50" y="11"/>
                  </a:cubicBezTo>
                  <a:cubicBezTo>
                    <a:pt x="49" y="10"/>
                    <a:pt x="48" y="9"/>
                    <a:pt x="47" y="9"/>
                  </a:cubicBezTo>
                  <a:cubicBezTo>
                    <a:pt x="46" y="8"/>
                    <a:pt x="45" y="7"/>
                    <a:pt x="44" y="6"/>
                  </a:cubicBezTo>
                  <a:cubicBezTo>
                    <a:pt x="40" y="4"/>
                    <a:pt x="36" y="2"/>
                    <a:pt x="32" y="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1"/>
                    <a:pt x="16" y="2"/>
                    <a:pt x="12" y="3"/>
                  </a:cubicBezTo>
                  <a:cubicBezTo>
                    <a:pt x="11" y="3"/>
                    <a:pt x="11" y="3"/>
                    <a:pt x="11" y="4"/>
                  </a:cubicBezTo>
                  <a:cubicBezTo>
                    <a:pt x="11" y="6"/>
                    <a:pt x="10" y="8"/>
                    <a:pt x="11" y="9"/>
                  </a:cubicBezTo>
                  <a:cubicBezTo>
                    <a:pt x="11" y="10"/>
                    <a:pt x="11" y="10"/>
                    <a:pt x="12" y="10"/>
                  </a:cubicBezTo>
                  <a:cubicBezTo>
                    <a:pt x="11" y="12"/>
                    <a:pt x="11" y="15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7"/>
                    <a:pt x="9" y="18"/>
                    <a:pt x="9" y="19"/>
                  </a:cubicBezTo>
                  <a:cubicBezTo>
                    <a:pt x="10" y="19"/>
                    <a:pt x="11" y="19"/>
                    <a:pt x="11" y="20"/>
                  </a:cubicBezTo>
                  <a:cubicBezTo>
                    <a:pt x="12" y="21"/>
                    <a:pt x="12" y="22"/>
                    <a:pt x="12" y="23"/>
                  </a:cubicBezTo>
                  <a:cubicBezTo>
                    <a:pt x="12" y="23"/>
                    <a:pt x="11" y="23"/>
                    <a:pt x="11" y="23"/>
                  </a:cubicBezTo>
                  <a:cubicBezTo>
                    <a:pt x="10" y="23"/>
                    <a:pt x="9" y="23"/>
                    <a:pt x="8" y="24"/>
                  </a:cubicBezTo>
                  <a:cubicBezTo>
                    <a:pt x="8" y="26"/>
                    <a:pt x="8" y="27"/>
                    <a:pt x="8" y="29"/>
                  </a:cubicBezTo>
                  <a:cubicBezTo>
                    <a:pt x="7" y="31"/>
                    <a:pt x="4" y="32"/>
                    <a:pt x="2" y="33"/>
                  </a:cubicBezTo>
                  <a:cubicBezTo>
                    <a:pt x="2" y="34"/>
                    <a:pt x="1" y="34"/>
                    <a:pt x="0" y="3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4" y="71"/>
                    <a:pt x="16" y="71"/>
                    <a:pt x="17" y="72"/>
                  </a:cubicBezTo>
                  <a:cubicBezTo>
                    <a:pt x="18" y="72"/>
                    <a:pt x="19" y="73"/>
                    <a:pt x="20" y="75"/>
                  </a:cubicBezTo>
                  <a:cubicBezTo>
                    <a:pt x="21" y="75"/>
                    <a:pt x="21" y="76"/>
                    <a:pt x="22" y="77"/>
                  </a:cubicBezTo>
                  <a:cubicBezTo>
                    <a:pt x="24" y="77"/>
                    <a:pt x="25" y="76"/>
                    <a:pt x="27" y="77"/>
                  </a:cubicBezTo>
                  <a:cubicBezTo>
                    <a:pt x="28" y="78"/>
                    <a:pt x="30" y="80"/>
                    <a:pt x="31" y="80"/>
                  </a:cubicBezTo>
                  <a:cubicBezTo>
                    <a:pt x="33" y="81"/>
                    <a:pt x="35" y="80"/>
                    <a:pt x="36" y="82"/>
                  </a:cubicBezTo>
                  <a:cubicBezTo>
                    <a:pt x="37" y="83"/>
                    <a:pt x="39" y="85"/>
                    <a:pt x="40" y="87"/>
                  </a:cubicBezTo>
                  <a:cubicBezTo>
                    <a:pt x="41" y="91"/>
                    <a:pt x="40" y="95"/>
                    <a:pt x="41" y="99"/>
                  </a:cubicBezTo>
                  <a:cubicBezTo>
                    <a:pt x="43" y="99"/>
                    <a:pt x="45" y="99"/>
                    <a:pt x="47" y="99"/>
                  </a:cubicBezTo>
                  <a:cubicBezTo>
                    <a:pt x="49" y="98"/>
                    <a:pt x="50" y="96"/>
                    <a:pt x="52" y="97"/>
                  </a:cubicBezTo>
                  <a:cubicBezTo>
                    <a:pt x="53" y="97"/>
                    <a:pt x="54" y="99"/>
                    <a:pt x="55" y="99"/>
                  </a:cubicBezTo>
                  <a:cubicBezTo>
                    <a:pt x="56" y="100"/>
                    <a:pt x="57" y="100"/>
                    <a:pt x="58" y="100"/>
                  </a:cubicBezTo>
                  <a:cubicBezTo>
                    <a:pt x="58" y="99"/>
                    <a:pt x="59" y="99"/>
                    <a:pt x="60" y="99"/>
                  </a:cubicBezTo>
                  <a:cubicBezTo>
                    <a:pt x="62" y="99"/>
                    <a:pt x="63" y="101"/>
                    <a:pt x="64" y="100"/>
                  </a:cubicBezTo>
                  <a:cubicBezTo>
                    <a:pt x="65" y="100"/>
                    <a:pt x="66" y="99"/>
                    <a:pt x="66" y="98"/>
                  </a:cubicBezTo>
                  <a:cubicBezTo>
                    <a:pt x="67" y="97"/>
                    <a:pt x="68" y="96"/>
                    <a:pt x="69" y="96"/>
                  </a:cubicBezTo>
                  <a:cubicBezTo>
                    <a:pt x="70" y="95"/>
                    <a:pt x="71" y="96"/>
                    <a:pt x="73" y="95"/>
                  </a:cubicBezTo>
                  <a:cubicBezTo>
                    <a:pt x="74" y="95"/>
                    <a:pt x="75" y="96"/>
                    <a:pt x="76" y="95"/>
                  </a:cubicBezTo>
                  <a:cubicBezTo>
                    <a:pt x="77" y="95"/>
                    <a:pt x="78" y="95"/>
                    <a:pt x="78" y="94"/>
                  </a:cubicBezTo>
                  <a:cubicBezTo>
                    <a:pt x="80" y="93"/>
                    <a:pt x="81" y="93"/>
                    <a:pt x="83" y="92"/>
                  </a:cubicBezTo>
                  <a:cubicBezTo>
                    <a:pt x="84" y="92"/>
                    <a:pt x="86" y="91"/>
                    <a:pt x="87" y="90"/>
                  </a:cubicBezTo>
                  <a:lnTo>
                    <a:pt x="88" y="89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7" name="Freeform 392"/>
            <p:cNvSpPr>
              <a:spLocks/>
            </p:cNvSpPr>
            <p:nvPr/>
          </p:nvSpPr>
          <p:spPr bwMode="auto">
            <a:xfrm>
              <a:off x="7041126" y="3647118"/>
              <a:ext cx="28595" cy="30012"/>
            </a:xfrm>
            <a:custGeom>
              <a:avLst/>
              <a:gdLst>
                <a:gd name="T0" fmla="*/ 1152665 w 61"/>
                <a:gd name="T1" fmla="*/ 2072199 h 62"/>
                <a:gd name="T2" fmla="*/ 1034698 w 61"/>
                <a:gd name="T3" fmla="*/ 1884202 h 62"/>
                <a:gd name="T4" fmla="*/ 658841 w 61"/>
                <a:gd name="T5" fmla="*/ 1769599 h 62"/>
                <a:gd name="T6" fmla="*/ 573923 w 61"/>
                <a:gd name="T7" fmla="*/ 1429628 h 62"/>
                <a:gd name="T8" fmla="*/ 0 w 61"/>
                <a:gd name="T9" fmla="*/ 709793 h 62"/>
                <a:gd name="T10" fmla="*/ 0 w 61"/>
                <a:gd name="T11" fmla="*/ 671701 h 62"/>
                <a:gd name="T12" fmla="*/ 276509 w 61"/>
                <a:gd name="T13" fmla="*/ 709793 h 62"/>
                <a:gd name="T14" fmla="*/ 493900 w 61"/>
                <a:gd name="T15" fmla="*/ 709793 h 62"/>
                <a:gd name="T16" fmla="*/ 614856 w 61"/>
                <a:gd name="T17" fmla="*/ 579386 h 62"/>
                <a:gd name="T18" fmla="*/ 812697 w 61"/>
                <a:gd name="T19" fmla="*/ 402270 h 62"/>
                <a:gd name="T20" fmla="*/ 1034698 w 61"/>
                <a:gd name="T21" fmla="*/ 301865 h 62"/>
                <a:gd name="T22" fmla="*/ 1034698 w 61"/>
                <a:gd name="T23" fmla="*/ 301865 h 62"/>
                <a:gd name="T24" fmla="*/ 1067598 w 61"/>
                <a:gd name="T25" fmla="*/ 209586 h 62"/>
                <a:gd name="T26" fmla="*/ 1110212 w 61"/>
                <a:gd name="T27" fmla="*/ 138837 h 62"/>
                <a:gd name="T28" fmla="*/ 1233437 w 61"/>
                <a:gd name="T29" fmla="*/ 37687 h 62"/>
                <a:gd name="T30" fmla="*/ 1274479 w 61"/>
                <a:gd name="T31" fmla="*/ 37687 h 62"/>
                <a:gd name="T32" fmla="*/ 1471746 w 61"/>
                <a:gd name="T33" fmla="*/ 0 h 62"/>
                <a:gd name="T34" fmla="*/ 1528191 w 61"/>
                <a:gd name="T35" fmla="*/ 0 h 62"/>
                <a:gd name="T36" fmla="*/ 1528191 w 61"/>
                <a:gd name="T37" fmla="*/ 37687 h 62"/>
                <a:gd name="T38" fmla="*/ 1572102 w 61"/>
                <a:gd name="T39" fmla="*/ 109196 h 62"/>
                <a:gd name="T40" fmla="*/ 1727209 w 61"/>
                <a:gd name="T41" fmla="*/ 171896 h 62"/>
                <a:gd name="T42" fmla="*/ 2065190 w 61"/>
                <a:gd name="T43" fmla="*/ 209586 h 62"/>
                <a:gd name="T44" fmla="*/ 2147624 w 61"/>
                <a:gd name="T45" fmla="*/ 209586 h 62"/>
                <a:gd name="T46" fmla="*/ 2273893 w 61"/>
                <a:gd name="T47" fmla="*/ 329929 h 62"/>
                <a:gd name="T48" fmla="*/ 2300795 w 61"/>
                <a:gd name="T49" fmla="*/ 480357 h 62"/>
                <a:gd name="T50" fmla="*/ 2300795 w 61"/>
                <a:gd name="T51" fmla="*/ 620099 h 62"/>
                <a:gd name="T52" fmla="*/ 2300795 w 61"/>
                <a:gd name="T53" fmla="*/ 633251 h 62"/>
                <a:gd name="T54" fmla="*/ 2273893 w 61"/>
                <a:gd name="T55" fmla="*/ 960152 h 62"/>
                <a:gd name="T56" fmla="*/ 2229746 w 61"/>
                <a:gd name="T57" fmla="*/ 981685 h 62"/>
                <a:gd name="T58" fmla="*/ 2229746 w 61"/>
                <a:gd name="T59" fmla="*/ 1190190 h 62"/>
                <a:gd name="T60" fmla="*/ 2273893 w 61"/>
                <a:gd name="T61" fmla="*/ 1252443 h 62"/>
                <a:gd name="T62" fmla="*/ 2300795 w 61"/>
                <a:gd name="T63" fmla="*/ 1362345 h 62"/>
                <a:gd name="T64" fmla="*/ 2109160 w 61"/>
                <a:gd name="T65" fmla="*/ 1555029 h 62"/>
                <a:gd name="T66" fmla="*/ 2109160 w 61"/>
                <a:gd name="T67" fmla="*/ 1694251 h 62"/>
                <a:gd name="T68" fmla="*/ 2109160 w 61"/>
                <a:gd name="T69" fmla="*/ 1842872 h 62"/>
                <a:gd name="T70" fmla="*/ 1971581 w 61"/>
                <a:gd name="T71" fmla="*/ 1998728 h 62"/>
                <a:gd name="T72" fmla="*/ 1807052 w 61"/>
                <a:gd name="T73" fmla="*/ 2101926 h 62"/>
                <a:gd name="T74" fmla="*/ 1727209 w 61"/>
                <a:gd name="T75" fmla="*/ 2101926 h 62"/>
                <a:gd name="T76" fmla="*/ 1152665 w 61"/>
                <a:gd name="T77" fmla="*/ 2101926 h 62"/>
                <a:gd name="T78" fmla="*/ 1152665 w 61"/>
                <a:gd name="T79" fmla="*/ 2101926 h 62"/>
                <a:gd name="T80" fmla="*/ 1152665 w 61"/>
                <a:gd name="T81" fmla="*/ 2072199 h 6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1"/>
                <a:gd name="T124" fmla="*/ 0 h 62"/>
                <a:gd name="T125" fmla="*/ 61 w 61"/>
                <a:gd name="T126" fmla="*/ 62 h 6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1" h="62">
                  <a:moveTo>
                    <a:pt x="30" y="61"/>
                  </a:moveTo>
                  <a:cubicBezTo>
                    <a:pt x="30" y="59"/>
                    <a:pt x="29" y="57"/>
                    <a:pt x="27" y="56"/>
                  </a:cubicBezTo>
                  <a:cubicBezTo>
                    <a:pt x="23" y="55"/>
                    <a:pt x="18" y="56"/>
                    <a:pt x="17" y="52"/>
                  </a:cubicBezTo>
                  <a:cubicBezTo>
                    <a:pt x="16" y="48"/>
                    <a:pt x="16" y="44"/>
                    <a:pt x="15" y="42"/>
                  </a:cubicBezTo>
                  <a:cubicBezTo>
                    <a:pt x="11" y="36"/>
                    <a:pt x="6" y="26"/>
                    <a:pt x="0" y="2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2" y="21"/>
                    <a:pt x="5" y="21"/>
                    <a:pt x="7" y="21"/>
                  </a:cubicBezTo>
                  <a:cubicBezTo>
                    <a:pt x="9" y="21"/>
                    <a:pt x="12" y="22"/>
                    <a:pt x="13" y="21"/>
                  </a:cubicBezTo>
                  <a:cubicBezTo>
                    <a:pt x="14" y="20"/>
                    <a:pt x="15" y="18"/>
                    <a:pt x="16" y="17"/>
                  </a:cubicBezTo>
                  <a:cubicBezTo>
                    <a:pt x="17" y="15"/>
                    <a:pt x="19" y="14"/>
                    <a:pt x="21" y="12"/>
                  </a:cubicBezTo>
                  <a:cubicBezTo>
                    <a:pt x="22" y="10"/>
                    <a:pt x="24" y="10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8"/>
                    <a:pt x="27" y="7"/>
                    <a:pt x="28" y="6"/>
                  </a:cubicBezTo>
                  <a:cubicBezTo>
                    <a:pt x="28" y="5"/>
                    <a:pt x="28" y="4"/>
                    <a:pt x="29" y="4"/>
                  </a:cubicBezTo>
                  <a:cubicBezTo>
                    <a:pt x="30" y="3"/>
                    <a:pt x="31" y="2"/>
                    <a:pt x="32" y="1"/>
                  </a:cubicBezTo>
                  <a:cubicBezTo>
                    <a:pt x="32" y="1"/>
                    <a:pt x="32" y="1"/>
                    <a:pt x="33" y="1"/>
                  </a:cubicBezTo>
                  <a:cubicBezTo>
                    <a:pt x="35" y="0"/>
                    <a:pt x="36" y="0"/>
                    <a:pt x="38" y="0"/>
                  </a:cubicBezTo>
                  <a:cubicBezTo>
                    <a:pt x="39" y="0"/>
                    <a:pt x="39" y="0"/>
                    <a:pt x="40" y="0"/>
                  </a:cubicBezTo>
                  <a:cubicBezTo>
                    <a:pt x="40" y="0"/>
                    <a:pt x="40" y="0"/>
                    <a:pt x="40" y="1"/>
                  </a:cubicBezTo>
                  <a:cubicBezTo>
                    <a:pt x="40" y="2"/>
                    <a:pt x="40" y="3"/>
                    <a:pt x="41" y="3"/>
                  </a:cubicBezTo>
                  <a:cubicBezTo>
                    <a:pt x="42" y="4"/>
                    <a:pt x="43" y="5"/>
                    <a:pt x="45" y="5"/>
                  </a:cubicBezTo>
                  <a:cubicBezTo>
                    <a:pt x="48" y="6"/>
                    <a:pt x="51" y="5"/>
                    <a:pt x="54" y="6"/>
                  </a:cubicBezTo>
                  <a:cubicBezTo>
                    <a:pt x="55" y="6"/>
                    <a:pt x="55" y="6"/>
                    <a:pt x="56" y="6"/>
                  </a:cubicBezTo>
                  <a:cubicBezTo>
                    <a:pt x="57" y="8"/>
                    <a:pt x="58" y="8"/>
                    <a:pt x="59" y="10"/>
                  </a:cubicBezTo>
                  <a:cubicBezTo>
                    <a:pt x="59" y="11"/>
                    <a:pt x="60" y="13"/>
                    <a:pt x="60" y="14"/>
                  </a:cubicBezTo>
                  <a:cubicBezTo>
                    <a:pt x="61" y="15"/>
                    <a:pt x="60" y="16"/>
                    <a:pt x="60" y="18"/>
                  </a:cubicBezTo>
                  <a:cubicBezTo>
                    <a:pt x="60" y="18"/>
                    <a:pt x="60" y="18"/>
                    <a:pt x="60" y="19"/>
                  </a:cubicBezTo>
                  <a:cubicBezTo>
                    <a:pt x="59" y="22"/>
                    <a:pt x="60" y="25"/>
                    <a:pt x="59" y="28"/>
                  </a:cubicBezTo>
                  <a:cubicBezTo>
                    <a:pt x="59" y="29"/>
                    <a:pt x="58" y="29"/>
                    <a:pt x="58" y="29"/>
                  </a:cubicBezTo>
                  <a:cubicBezTo>
                    <a:pt x="57" y="31"/>
                    <a:pt x="57" y="33"/>
                    <a:pt x="58" y="35"/>
                  </a:cubicBezTo>
                  <a:cubicBezTo>
                    <a:pt x="58" y="36"/>
                    <a:pt x="59" y="37"/>
                    <a:pt x="59" y="37"/>
                  </a:cubicBezTo>
                  <a:cubicBezTo>
                    <a:pt x="60" y="37"/>
                    <a:pt x="61" y="39"/>
                    <a:pt x="60" y="40"/>
                  </a:cubicBezTo>
                  <a:cubicBezTo>
                    <a:pt x="59" y="42"/>
                    <a:pt x="56" y="43"/>
                    <a:pt x="55" y="46"/>
                  </a:cubicBezTo>
                  <a:cubicBezTo>
                    <a:pt x="55" y="47"/>
                    <a:pt x="55" y="48"/>
                    <a:pt x="55" y="50"/>
                  </a:cubicBezTo>
                  <a:cubicBezTo>
                    <a:pt x="55" y="51"/>
                    <a:pt x="56" y="53"/>
                    <a:pt x="55" y="54"/>
                  </a:cubicBezTo>
                  <a:cubicBezTo>
                    <a:pt x="54" y="56"/>
                    <a:pt x="52" y="57"/>
                    <a:pt x="51" y="59"/>
                  </a:cubicBezTo>
                  <a:cubicBezTo>
                    <a:pt x="50" y="60"/>
                    <a:pt x="48" y="61"/>
                    <a:pt x="47" y="62"/>
                  </a:cubicBezTo>
                  <a:cubicBezTo>
                    <a:pt x="46" y="62"/>
                    <a:pt x="46" y="62"/>
                    <a:pt x="45" y="62"/>
                  </a:cubicBezTo>
                  <a:cubicBezTo>
                    <a:pt x="41" y="62"/>
                    <a:pt x="35" y="61"/>
                    <a:pt x="30" y="62"/>
                  </a:cubicBezTo>
                  <a:cubicBezTo>
                    <a:pt x="30" y="62"/>
                    <a:pt x="30" y="62"/>
                    <a:pt x="30" y="62"/>
                  </a:cubicBezTo>
                  <a:lnTo>
                    <a:pt x="30" y="61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8" name="Freeform 393"/>
            <p:cNvSpPr>
              <a:spLocks/>
            </p:cNvSpPr>
            <p:nvPr/>
          </p:nvSpPr>
          <p:spPr bwMode="auto">
            <a:xfrm>
              <a:off x="7021059" y="3656852"/>
              <a:ext cx="34113" cy="41098"/>
            </a:xfrm>
            <a:custGeom>
              <a:avLst/>
              <a:gdLst>
                <a:gd name="T0" fmla="*/ 2734699 w 73"/>
                <a:gd name="T1" fmla="*/ 1503673 h 85"/>
                <a:gd name="T2" fmla="*/ 2622590 w 73"/>
                <a:gd name="T3" fmla="*/ 1319934 h 85"/>
                <a:gd name="T4" fmla="*/ 2253906 w 73"/>
                <a:gd name="T5" fmla="*/ 1191618 h 85"/>
                <a:gd name="T6" fmla="*/ 2170260 w 73"/>
                <a:gd name="T7" fmla="*/ 801348 h 85"/>
                <a:gd name="T8" fmla="*/ 1609200 w 73"/>
                <a:gd name="T9" fmla="*/ 39929 h 85"/>
                <a:gd name="T10" fmla="*/ 1609200 w 73"/>
                <a:gd name="T11" fmla="*/ 0 h 85"/>
                <a:gd name="T12" fmla="*/ 1542424 w 73"/>
                <a:gd name="T13" fmla="*/ 39929 h 85"/>
                <a:gd name="T14" fmla="*/ 1275633 w 73"/>
                <a:gd name="T15" fmla="*/ 77039 h 85"/>
                <a:gd name="T16" fmla="*/ 1207839 w 73"/>
                <a:gd name="T17" fmla="*/ 148640 h 85"/>
                <a:gd name="T18" fmla="*/ 1089289 w 73"/>
                <a:gd name="T19" fmla="*/ 226060 h 85"/>
                <a:gd name="T20" fmla="*/ 1005424 w 73"/>
                <a:gd name="T21" fmla="*/ 117165 h 85"/>
                <a:gd name="T22" fmla="*/ 714574 w 73"/>
                <a:gd name="T23" fmla="*/ 148640 h 85"/>
                <a:gd name="T24" fmla="*/ 335290 w 73"/>
                <a:gd name="T25" fmla="*/ 188604 h 85"/>
                <a:gd name="T26" fmla="*/ 291978 w 73"/>
                <a:gd name="T27" fmla="*/ 436163 h 85"/>
                <a:gd name="T28" fmla="*/ 291978 w 73"/>
                <a:gd name="T29" fmla="*/ 1436891 h 85"/>
                <a:gd name="T30" fmla="*/ 0 w 73"/>
                <a:gd name="T31" fmla="*/ 1474694 h 85"/>
                <a:gd name="T32" fmla="*/ 0 w 73"/>
                <a:gd name="T33" fmla="*/ 2465088 h 85"/>
                <a:gd name="T34" fmla="*/ 78263 w 73"/>
                <a:gd name="T35" fmla="*/ 2465088 h 85"/>
                <a:gd name="T36" fmla="*/ 118558 w 73"/>
                <a:gd name="T37" fmla="*/ 2656688 h 85"/>
                <a:gd name="T38" fmla="*/ 151166 w 73"/>
                <a:gd name="T39" fmla="*/ 2695321 h 85"/>
                <a:gd name="T40" fmla="*/ 151166 w 73"/>
                <a:gd name="T41" fmla="*/ 2772354 h 85"/>
                <a:gd name="T42" fmla="*/ 191538 w 73"/>
                <a:gd name="T43" fmla="*/ 2812280 h 85"/>
                <a:gd name="T44" fmla="*/ 151166 w 73"/>
                <a:gd name="T45" fmla="*/ 2901204 h 85"/>
                <a:gd name="T46" fmla="*/ 118558 w 73"/>
                <a:gd name="T47" fmla="*/ 2983121 h 85"/>
                <a:gd name="T48" fmla="*/ 269499 w 73"/>
                <a:gd name="T49" fmla="*/ 3100514 h 85"/>
                <a:gd name="T50" fmla="*/ 413439 w 73"/>
                <a:gd name="T51" fmla="*/ 3100514 h 85"/>
                <a:gd name="T52" fmla="*/ 520539 w 73"/>
                <a:gd name="T53" fmla="*/ 3100514 h 85"/>
                <a:gd name="T54" fmla="*/ 755094 w 73"/>
                <a:gd name="T55" fmla="*/ 2866064 h 85"/>
                <a:gd name="T56" fmla="*/ 854319 w 73"/>
                <a:gd name="T57" fmla="*/ 2695321 h 85"/>
                <a:gd name="T58" fmla="*/ 894618 w 73"/>
                <a:gd name="T59" fmla="*/ 2613670 h 85"/>
                <a:gd name="T60" fmla="*/ 972871 w 73"/>
                <a:gd name="T61" fmla="*/ 2579357 h 85"/>
                <a:gd name="T62" fmla="*/ 1045859 w 73"/>
                <a:gd name="T63" fmla="*/ 2579357 h 85"/>
                <a:gd name="T64" fmla="*/ 1089289 w 73"/>
                <a:gd name="T65" fmla="*/ 2613670 h 85"/>
                <a:gd name="T66" fmla="*/ 1250873 w 73"/>
                <a:gd name="T67" fmla="*/ 2735298 h 85"/>
                <a:gd name="T68" fmla="*/ 1415837 w 73"/>
                <a:gd name="T69" fmla="*/ 2772354 h 85"/>
                <a:gd name="T70" fmla="*/ 1498981 w 73"/>
                <a:gd name="T71" fmla="*/ 2735298 h 85"/>
                <a:gd name="T72" fmla="*/ 1650123 w 73"/>
                <a:gd name="T73" fmla="*/ 2579357 h 85"/>
                <a:gd name="T74" fmla="*/ 1687463 w 73"/>
                <a:gd name="T75" fmla="*/ 2507709 h 85"/>
                <a:gd name="T76" fmla="*/ 1811599 w 73"/>
                <a:gd name="T77" fmla="*/ 2325437 h 85"/>
                <a:gd name="T78" fmla="*/ 1941983 w 73"/>
                <a:gd name="T79" fmla="*/ 2219022 h 85"/>
                <a:gd name="T80" fmla="*/ 2020083 w 73"/>
                <a:gd name="T81" fmla="*/ 2033189 h 85"/>
                <a:gd name="T82" fmla="*/ 2253906 w 73"/>
                <a:gd name="T83" fmla="*/ 1833034 h 85"/>
                <a:gd name="T84" fmla="*/ 2292382 w 73"/>
                <a:gd name="T85" fmla="*/ 1833034 h 85"/>
                <a:gd name="T86" fmla="*/ 2504434 w 73"/>
                <a:gd name="T87" fmla="*/ 1663620 h 85"/>
                <a:gd name="T88" fmla="*/ 2622590 w 73"/>
                <a:gd name="T89" fmla="*/ 1586264 h 85"/>
                <a:gd name="T90" fmla="*/ 2734699 w 73"/>
                <a:gd name="T91" fmla="*/ 1546130 h 85"/>
                <a:gd name="T92" fmla="*/ 2734699 w 73"/>
                <a:gd name="T93" fmla="*/ 1503673 h 8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3"/>
                <a:gd name="T142" fmla="*/ 0 h 85"/>
                <a:gd name="T143" fmla="*/ 73 w 73"/>
                <a:gd name="T144" fmla="*/ 85 h 8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3" h="85">
                  <a:moveTo>
                    <a:pt x="73" y="41"/>
                  </a:moveTo>
                  <a:cubicBezTo>
                    <a:pt x="73" y="39"/>
                    <a:pt x="72" y="37"/>
                    <a:pt x="70" y="36"/>
                  </a:cubicBezTo>
                  <a:cubicBezTo>
                    <a:pt x="66" y="35"/>
                    <a:pt x="61" y="36"/>
                    <a:pt x="60" y="32"/>
                  </a:cubicBezTo>
                  <a:cubicBezTo>
                    <a:pt x="59" y="28"/>
                    <a:pt x="59" y="24"/>
                    <a:pt x="58" y="22"/>
                  </a:cubicBezTo>
                  <a:cubicBezTo>
                    <a:pt x="54" y="16"/>
                    <a:pt x="49" y="6"/>
                    <a:pt x="43" y="1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2" y="0"/>
                    <a:pt x="41" y="1"/>
                    <a:pt x="41" y="1"/>
                  </a:cubicBezTo>
                  <a:cubicBezTo>
                    <a:pt x="39" y="2"/>
                    <a:pt x="36" y="1"/>
                    <a:pt x="34" y="2"/>
                  </a:cubicBezTo>
                  <a:cubicBezTo>
                    <a:pt x="34" y="2"/>
                    <a:pt x="33" y="3"/>
                    <a:pt x="32" y="4"/>
                  </a:cubicBezTo>
                  <a:cubicBezTo>
                    <a:pt x="31" y="6"/>
                    <a:pt x="31" y="7"/>
                    <a:pt x="29" y="6"/>
                  </a:cubicBezTo>
                  <a:cubicBezTo>
                    <a:pt x="28" y="6"/>
                    <a:pt x="28" y="4"/>
                    <a:pt x="27" y="3"/>
                  </a:cubicBezTo>
                  <a:cubicBezTo>
                    <a:pt x="25" y="2"/>
                    <a:pt x="22" y="3"/>
                    <a:pt x="19" y="4"/>
                  </a:cubicBezTo>
                  <a:cubicBezTo>
                    <a:pt x="16" y="4"/>
                    <a:pt x="13" y="4"/>
                    <a:pt x="9" y="5"/>
                  </a:cubicBezTo>
                  <a:cubicBezTo>
                    <a:pt x="7" y="7"/>
                    <a:pt x="8" y="10"/>
                    <a:pt x="8" y="12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67"/>
                    <a:pt x="1" y="67"/>
                    <a:pt x="2" y="67"/>
                  </a:cubicBezTo>
                  <a:cubicBezTo>
                    <a:pt x="3" y="68"/>
                    <a:pt x="3" y="70"/>
                    <a:pt x="3" y="72"/>
                  </a:cubicBezTo>
                  <a:cubicBezTo>
                    <a:pt x="4" y="72"/>
                    <a:pt x="4" y="72"/>
                    <a:pt x="4" y="73"/>
                  </a:cubicBezTo>
                  <a:cubicBezTo>
                    <a:pt x="4" y="74"/>
                    <a:pt x="4" y="74"/>
                    <a:pt x="4" y="75"/>
                  </a:cubicBezTo>
                  <a:cubicBezTo>
                    <a:pt x="4" y="75"/>
                    <a:pt x="4" y="76"/>
                    <a:pt x="5" y="76"/>
                  </a:cubicBezTo>
                  <a:cubicBezTo>
                    <a:pt x="5" y="77"/>
                    <a:pt x="5" y="78"/>
                    <a:pt x="4" y="79"/>
                  </a:cubicBezTo>
                  <a:cubicBezTo>
                    <a:pt x="4" y="80"/>
                    <a:pt x="4" y="81"/>
                    <a:pt x="3" y="81"/>
                  </a:cubicBezTo>
                  <a:cubicBezTo>
                    <a:pt x="2" y="84"/>
                    <a:pt x="5" y="85"/>
                    <a:pt x="7" y="84"/>
                  </a:cubicBezTo>
                  <a:cubicBezTo>
                    <a:pt x="8" y="83"/>
                    <a:pt x="10" y="83"/>
                    <a:pt x="11" y="84"/>
                  </a:cubicBezTo>
                  <a:cubicBezTo>
                    <a:pt x="12" y="84"/>
                    <a:pt x="13" y="85"/>
                    <a:pt x="14" y="84"/>
                  </a:cubicBezTo>
                  <a:cubicBezTo>
                    <a:pt x="16" y="82"/>
                    <a:pt x="17" y="80"/>
                    <a:pt x="20" y="78"/>
                  </a:cubicBezTo>
                  <a:cubicBezTo>
                    <a:pt x="22" y="77"/>
                    <a:pt x="22" y="75"/>
                    <a:pt x="23" y="73"/>
                  </a:cubicBezTo>
                  <a:cubicBezTo>
                    <a:pt x="23" y="72"/>
                    <a:pt x="23" y="71"/>
                    <a:pt x="24" y="71"/>
                  </a:cubicBezTo>
                  <a:cubicBezTo>
                    <a:pt x="25" y="71"/>
                    <a:pt x="25" y="70"/>
                    <a:pt x="26" y="70"/>
                  </a:cubicBezTo>
                  <a:cubicBezTo>
                    <a:pt x="27" y="69"/>
                    <a:pt x="27" y="69"/>
                    <a:pt x="28" y="70"/>
                  </a:cubicBezTo>
                  <a:cubicBezTo>
                    <a:pt x="28" y="70"/>
                    <a:pt x="29" y="71"/>
                    <a:pt x="29" y="71"/>
                  </a:cubicBezTo>
                  <a:cubicBezTo>
                    <a:pt x="31" y="72"/>
                    <a:pt x="31" y="74"/>
                    <a:pt x="33" y="74"/>
                  </a:cubicBezTo>
                  <a:cubicBezTo>
                    <a:pt x="35" y="75"/>
                    <a:pt x="36" y="76"/>
                    <a:pt x="38" y="75"/>
                  </a:cubicBezTo>
                  <a:cubicBezTo>
                    <a:pt x="39" y="75"/>
                    <a:pt x="39" y="74"/>
                    <a:pt x="40" y="74"/>
                  </a:cubicBezTo>
                  <a:cubicBezTo>
                    <a:pt x="42" y="73"/>
                    <a:pt x="43" y="72"/>
                    <a:pt x="44" y="70"/>
                  </a:cubicBezTo>
                  <a:cubicBezTo>
                    <a:pt x="44" y="70"/>
                    <a:pt x="44" y="69"/>
                    <a:pt x="45" y="68"/>
                  </a:cubicBezTo>
                  <a:cubicBezTo>
                    <a:pt x="46" y="66"/>
                    <a:pt x="46" y="64"/>
                    <a:pt x="48" y="63"/>
                  </a:cubicBezTo>
                  <a:cubicBezTo>
                    <a:pt x="50" y="62"/>
                    <a:pt x="52" y="62"/>
                    <a:pt x="52" y="60"/>
                  </a:cubicBezTo>
                  <a:cubicBezTo>
                    <a:pt x="53" y="58"/>
                    <a:pt x="53" y="56"/>
                    <a:pt x="54" y="55"/>
                  </a:cubicBezTo>
                  <a:cubicBezTo>
                    <a:pt x="56" y="53"/>
                    <a:pt x="57" y="51"/>
                    <a:pt x="60" y="50"/>
                  </a:cubicBezTo>
                  <a:cubicBezTo>
                    <a:pt x="60" y="50"/>
                    <a:pt x="60" y="50"/>
                    <a:pt x="61" y="50"/>
                  </a:cubicBezTo>
                  <a:cubicBezTo>
                    <a:pt x="63" y="48"/>
                    <a:pt x="65" y="47"/>
                    <a:pt x="67" y="45"/>
                  </a:cubicBezTo>
                  <a:cubicBezTo>
                    <a:pt x="68" y="44"/>
                    <a:pt x="69" y="43"/>
                    <a:pt x="70" y="43"/>
                  </a:cubicBezTo>
                  <a:cubicBezTo>
                    <a:pt x="71" y="43"/>
                    <a:pt x="72" y="42"/>
                    <a:pt x="73" y="42"/>
                  </a:cubicBezTo>
                  <a:lnTo>
                    <a:pt x="73" y="41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9" name="Freeform 394"/>
            <p:cNvSpPr>
              <a:spLocks/>
            </p:cNvSpPr>
            <p:nvPr/>
          </p:nvSpPr>
          <p:spPr bwMode="auto">
            <a:xfrm>
              <a:off x="7106592" y="3631166"/>
              <a:ext cx="27842" cy="60835"/>
            </a:xfrm>
            <a:custGeom>
              <a:avLst/>
              <a:gdLst>
                <a:gd name="T0" fmla="*/ 1054544 w 60"/>
                <a:gd name="T1" fmla="*/ 3978889 h 126"/>
                <a:gd name="T2" fmla="*/ 1300018 w 60"/>
                <a:gd name="T3" fmla="*/ 3199304 h 126"/>
                <a:gd name="T4" fmla="*/ 1399113 w 60"/>
                <a:gd name="T5" fmla="*/ 2753417 h 126"/>
                <a:gd name="T6" fmla="*/ 1526242 w 60"/>
                <a:gd name="T7" fmla="*/ 2371061 h 126"/>
                <a:gd name="T8" fmla="*/ 1624578 w 60"/>
                <a:gd name="T9" fmla="*/ 2017917 h 126"/>
                <a:gd name="T10" fmla="*/ 1696929 w 60"/>
                <a:gd name="T11" fmla="*/ 1819815 h 126"/>
                <a:gd name="T12" fmla="*/ 1772271 w 60"/>
                <a:gd name="T13" fmla="*/ 1534833 h 126"/>
                <a:gd name="T14" fmla="*/ 1793950 w 60"/>
                <a:gd name="T15" fmla="*/ 1088547 h 126"/>
                <a:gd name="T16" fmla="*/ 1850751 w 60"/>
                <a:gd name="T17" fmla="*/ 1234519 h 126"/>
                <a:gd name="T18" fmla="*/ 1959625 w 60"/>
                <a:gd name="T19" fmla="*/ 1067620 h 126"/>
                <a:gd name="T20" fmla="*/ 1959625 w 60"/>
                <a:gd name="T21" fmla="*/ 968010 h 126"/>
                <a:gd name="T22" fmla="*/ 1890278 w 60"/>
                <a:gd name="T23" fmla="*/ 484334 h 126"/>
                <a:gd name="T24" fmla="*/ 1850751 w 60"/>
                <a:gd name="T25" fmla="*/ 334663 h 126"/>
                <a:gd name="T26" fmla="*/ 1772271 w 60"/>
                <a:gd name="T27" fmla="*/ 232157 h 126"/>
                <a:gd name="T28" fmla="*/ 1696929 w 60"/>
                <a:gd name="T29" fmla="*/ 38342 h 126"/>
                <a:gd name="T30" fmla="*/ 1526242 w 60"/>
                <a:gd name="T31" fmla="*/ 174246 h 126"/>
                <a:gd name="T32" fmla="*/ 1489745 w 60"/>
                <a:gd name="T33" fmla="*/ 484334 h 126"/>
                <a:gd name="T34" fmla="*/ 1337341 w 60"/>
                <a:gd name="T35" fmla="*/ 555868 h 126"/>
                <a:gd name="T36" fmla="*/ 1300018 w 60"/>
                <a:gd name="T37" fmla="*/ 678251 h 126"/>
                <a:gd name="T38" fmla="*/ 1263227 w 60"/>
                <a:gd name="T39" fmla="*/ 818181 h 126"/>
                <a:gd name="T40" fmla="*/ 1094009 w 60"/>
                <a:gd name="T41" fmla="*/ 968010 h 126"/>
                <a:gd name="T42" fmla="*/ 1022413 w 60"/>
                <a:gd name="T43" fmla="*/ 1002078 h 126"/>
                <a:gd name="T44" fmla="*/ 935974 w 60"/>
                <a:gd name="T45" fmla="*/ 1067620 h 126"/>
                <a:gd name="T46" fmla="*/ 903737 w 60"/>
                <a:gd name="T47" fmla="*/ 1198740 h 126"/>
                <a:gd name="T48" fmla="*/ 622284 w 60"/>
                <a:gd name="T49" fmla="*/ 1234519 h 126"/>
                <a:gd name="T50" fmla="*/ 432174 w 60"/>
                <a:gd name="T51" fmla="*/ 1302673 h 126"/>
                <a:gd name="T52" fmla="*/ 364040 w 60"/>
                <a:gd name="T53" fmla="*/ 1340734 h 126"/>
                <a:gd name="T54" fmla="*/ 324670 w 60"/>
                <a:gd name="T55" fmla="*/ 1534833 h 126"/>
                <a:gd name="T56" fmla="*/ 225482 w 60"/>
                <a:gd name="T57" fmla="*/ 1786630 h 126"/>
                <a:gd name="T58" fmla="*/ 262850 w 60"/>
                <a:gd name="T59" fmla="*/ 1924626 h 126"/>
                <a:gd name="T60" fmla="*/ 324670 w 60"/>
                <a:gd name="T61" fmla="*/ 2371061 h 126"/>
                <a:gd name="T62" fmla="*/ 364040 w 60"/>
                <a:gd name="T63" fmla="*/ 2534551 h 126"/>
                <a:gd name="T64" fmla="*/ 225482 w 60"/>
                <a:gd name="T65" fmla="*/ 2753417 h 126"/>
                <a:gd name="T66" fmla="*/ 169393 w 60"/>
                <a:gd name="T67" fmla="*/ 2906912 h 126"/>
                <a:gd name="T68" fmla="*/ 0 w 60"/>
                <a:gd name="T69" fmla="*/ 3159085 h 126"/>
                <a:gd name="T70" fmla="*/ 37331 w 60"/>
                <a:gd name="T71" fmla="*/ 3281470 h 126"/>
                <a:gd name="T72" fmla="*/ 107843 w 60"/>
                <a:gd name="T73" fmla="*/ 3938279 h 126"/>
                <a:gd name="T74" fmla="*/ 169393 w 60"/>
                <a:gd name="T75" fmla="*/ 4089363 h 126"/>
                <a:gd name="T76" fmla="*/ 206699 w 60"/>
                <a:gd name="T77" fmla="*/ 4146802 h 126"/>
                <a:gd name="T78" fmla="*/ 364040 w 60"/>
                <a:gd name="T79" fmla="*/ 4209737 h 126"/>
                <a:gd name="T80" fmla="*/ 471515 w 60"/>
                <a:gd name="T81" fmla="*/ 4283228 h 126"/>
                <a:gd name="T82" fmla="*/ 697743 w 60"/>
                <a:gd name="T83" fmla="*/ 4209737 h 126"/>
                <a:gd name="T84" fmla="*/ 1002940 w 60"/>
                <a:gd name="T85" fmla="*/ 4089363 h 126"/>
                <a:gd name="T86" fmla="*/ 1022413 w 60"/>
                <a:gd name="T87" fmla="*/ 4051069 h 12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0"/>
                <a:gd name="T133" fmla="*/ 0 h 126"/>
                <a:gd name="T134" fmla="*/ 60 w 60"/>
                <a:gd name="T135" fmla="*/ 126 h 12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0" h="126">
                  <a:moveTo>
                    <a:pt x="31" y="118"/>
                  </a:moveTo>
                  <a:cubicBezTo>
                    <a:pt x="32" y="117"/>
                    <a:pt x="32" y="116"/>
                    <a:pt x="32" y="116"/>
                  </a:cubicBezTo>
                  <a:cubicBezTo>
                    <a:pt x="34" y="110"/>
                    <a:pt x="35" y="104"/>
                    <a:pt x="36" y="98"/>
                  </a:cubicBezTo>
                  <a:cubicBezTo>
                    <a:pt x="37" y="97"/>
                    <a:pt x="38" y="95"/>
                    <a:pt x="39" y="93"/>
                  </a:cubicBezTo>
                  <a:cubicBezTo>
                    <a:pt x="40" y="91"/>
                    <a:pt x="40" y="90"/>
                    <a:pt x="40" y="88"/>
                  </a:cubicBezTo>
                  <a:cubicBezTo>
                    <a:pt x="41" y="85"/>
                    <a:pt x="41" y="83"/>
                    <a:pt x="42" y="80"/>
                  </a:cubicBezTo>
                  <a:cubicBezTo>
                    <a:pt x="43" y="78"/>
                    <a:pt x="43" y="76"/>
                    <a:pt x="44" y="74"/>
                  </a:cubicBezTo>
                  <a:cubicBezTo>
                    <a:pt x="44" y="72"/>
                    <a:pt x="45" y="70"/>
                    <a:pt x="46" y="69"/>
                  </a:cubicBezTo>
                  <a:cubicBezTo>
                    <a:pt x="46" y="67"/>
                    <a:pt x="46" y="66"/>
                    <a:pt x="47" y="65"/>
                  </a:cubicBezTo>
                  <a:cubicBezTo>
                    <a:pt x="47" y="63"/>
                    <a:pt x="48" y="61"/>
                    <a:pt x="49" y="59"/>
                  </a:cubicBezTo>
                  <a:cubicBezTo>
                    <a:pt x="49" y="58"/>
                    <a:pt x="50" y="57"/>
                    <a:pt x="50" y="56"/>
                  </a:cubicBezTo>
                  <a:cubicBezTo>
                    <a:pt x="51" y="55"/>
                    <a:pt x="51" y="54"/>
                    <a:pt x="51" y="53"/>
                  </a:cubicBezTo>
                  <a:cubicBezTo>
                    <a:pt x="51" y="51"/>
                    <a:pt x="51" y="50"/>
                    <a:pt x="51" y="48"/>
                  </a:cubicBezTo>
                  <a:cubicBezTo>
                    <a:pt x="52" y="47"/>
                    <a:pt x="52" y="46"/>
                    <a:pt x="53" y="45"/>
                  </a:cubicBezTo>
                  <a:cubicBezTo>
                    <a:pt x="54" y="44"/>
                    <a:pt x="53" y="42"/>
                    <a:pt x="54" y="40"/>
                  </a:cubicBezTo>
                  <a:cubicBezTo>
                    <a:pt x="54" y="38"/>
                    <a:pt x="54" y="35"/>
                    <a:pt x="54" y="32"/>
                  </a:cubicBezTo>
                  <a:cubicBezTo>
                    <a:pt x="54" y="31"/>
                    <a:pt x="55" y="30"/>
                    <a:pt x="55" y="31"/>
                  </a:cubicBezTo>
                  <a:cubicBezTo>
                    <a:pt x="56" y="32"/>
                    <a:pt x="55" y="34"/>
                    <a:pt x="56" y="36"/>
                  </a:cubicBezTo>
                  <a:cubicBezTo>
                    <a:pt x="56" y="36"/>
                    <a:pt x="57" y="36"/>
                    <a:pt x="57" y="36"/>
                  </a:cubicBezTo>
                  <a:cubicBezTo>
                    <a:pt x="58" y="35"/>
                    <a:pt x="58" y="33"/>
                    <a:pt x="59" y="31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60" y="29"/>
                    <a:pt x="60" y="28"/>
                    <a:pt x="59" y="28"/>
                  </a:cubicBezTo>
                  <a:cubicBezTo>
                    <a:pt x="57" y="25"/>
                    <a:pt x="57" y="22"/>
                    <a:pt x="57" y="19"/>
                  </a:cubicBezTo>
                  <a:cubicBezTo>
                    <a:pt x="58" y="17"/>
                    <a:pt x="58" y="16"/>
                    <a:pt x="57" y="14"/>
                  </a:cubicBezTo>
                  <a:cubicBezTo>
                    <a:pt x="57" y="13"/>
                    <a:pt x="57" y="12"/>
                    <a:pt x="57" y="10"/>
                  </a:cubicBezTo>
                  <a:cubicBezTo>
                    <a:pt x="57" y="10"/>
                    <a:pt x="56" y="10"/>
                    <a:pt x="56" y="10"/>
                  </a:cubicBezTo>
                  <a:cubicBezTo>
                    <a:pt x="56" y="9"/>
                    <a:pt x="56" y="8"/>
                    <a:pt x="55" y="7"/>
                  </a:cubicBezTo>
                  <a:cubicBezTo>
                    <a:pt x="55" y="7"/>
                    <a:pt x="54" y="7"/>
                    <a:pt x="53" y="7"/>
                  </a:cubicBezTo>
                  <a:cubicBezTo>
                    <a:pt x="53" y="7"/>
                    <a:pt x="53" y="6"/>
                    <a:pt x="53" y="6"/>
                  </a:cubicBezTo>
                  <a:cubicBezTo>
                    <a:pt x="53" y="4"/>
                    <a:pt x="52" y="2"/>
                    <a:pt x="51" y="1"/>
                  </a:cubicBezTo>
                  <a:cubicBezTo>
                    <a:pt x="51" y="0"/>
                    <a:pt x="50" y="0"/>
                    <a:pt x="50" y="0"/>
                  </a:cubicBezTo>
                  <a:cubicBezTo>
                    <a:pt x="49" y="2"/>
                    <a:pt x="46" y="3"/>
                    <a:pt x="46" y="5"/>
                  </a:cubicBezTo>
                  <a:cubicBezTo>
                    <a:pt x="45" y="6"/>
                    <a:pt x="47" y="9"/>
                    <a:pt x="46" y="11"/>
                  </a:cubicBezTo>
                  <a:cubicBezTo>
                    <a:pt x="46" y="12"/>
                    <a:pt x="45" y="13"/>
                    <a:pt x="45" y="14"/>
                  </a:cubicBezTo>
                  <a:cubicBezTo>
                    <a:pt x="44" y="15"/>
                    <a:pt x="42" y="15"/>
                    <a:pt x="41" y="15"/>
                  </a:cubicBezTo>
                  <a:cubicBezTo>
                    <a:pt x="40" y="15"/>
                    <a:pt x="40" y="15"/>
                    <a:pt x="40" y="16"/>
                  </a:cubicBezTo>
                  <a:cubicBezTo>
                    <a:pt x="39" y="17"/>
                    <a:pt x="41" y="19"/>
                    <a:pt x="40" y="20"/>
                  </a:cubicBezTo>
                  <a:cubicBezTo>
                    <a:pt x="40" y="20"/>
                    <a:pt x="39" y="20"/>
                    <a:pt x="39" y="20"/>
                  </a:cubicBezTo>
                  <a:cubicBezTo>
                    <a:pt x="39" y="20"/>
                    <a:pt x="39" y="20"/>
                    <a:pt x="38" y="21"/>
                  </a:cubicBezTo>
                  <a:cubicBezTo>
                    <a:pt x="38" y="22"/>
                    <a:pt x="39" y="23"/>
                    <a:pt x="38" y="24"/>
                  </a:cubicBezTo>
                  <a:cubicBezTo>
                    <a:pt x="38" y="25"/>
                    <a:pt x="36" y="25"/>
                    <a:pt x="35" y="26"/>
                  </a:cubicBezTo>
                  <a:cubicBezTo>
                    <a:pt x="34" y="26"/>
                    <a:pt x="33" y="27"/>
                    <a:pt x="33" y="28"/>
                  </a:cubicBezTo>
                  <a:cubicBezTo>
                    <a:pt x="33" y="28"/>
                    <a:pt x="33" y="30"/>
                    <a:pt x="33" y="30"/>
                  </a:cubicBezTo>
                  <a:cubicBezTo>
                    <a:pt x="32" y="31"/>
                    <a:pt x="32" y="29"/>
                    <a:pt x="31" y="29"/>
                  </a:cubicBezTo>
                  <a:cubicBezTo>
                    <a:pt x="31" y="29"/>
                    <a:pt x="30" y="29"/>
                    <a:pt x="30" y="29"/>
                  </a:cubicBezTo>
                  <a:cubicBezTo>
                    <a:pt x="29" y="30"/>
                    <a:pt x="28" y="31"/>
                    <a:pt x="28" y="31"/>
                  </a:cubicBezTo>
                  <a:cubicBezTo>
                    <a:pt x="28" y="33"/>
                    <a:pt x="28" y="34"/>
                    <a:pt x="28" y="35"/>
                  </a:cubicBezTo>
                  <a:cubicBezTo>
                    <a:pt x="28" y="36"/>
                    <a:pt x="27" y="36"/>
                    <a:pt x="27" y="35"/>
                  </a:cubicBezTo>
                  <a:cubicBezTo>
                    <a:pt x="26" y="34"/>
                    <a:pt x="25" y="33"/>
                    <a:pt x="23" y="34"/>
                  </a:cubicBezTo>
                  <a:cubicBezTo>
                    <a:pt x="22" y="34"/>
                    <a:pt x="20" y="35"/>
                    <a:pt x="19" y="36"/>
                  </a:cubicBezTo>
                  <a:cubicBezTo>
                    <a:pt x="19" y="36"/>
                    <a:pt x="18" y="36"/>
                    <a:pt x="18" y="37"/>
                  </a:cubicBezTo>
                  <a:cubicBezTo>
                    <a:pt x="16" y="38"/>
                    <a:pt x="15" y="37"/>
                    <a:pt x="13" y="38"/>
                  </a:cubicBezTo>
                  <a:cubicBezTo>
                    <a:pt x="12" y="38"/>
                    <a:pt x="12" y="38"/>
                    <a:pt x="11" y="38"/>
                  </a:cubicBezTo>
                  <a:cubicBezTo>
                    <a:pt x="11" y="38"/>
                    <a:pt x="11" y="39"/>
                    <a:pt x="11" y="39"/>
                  </a:cubicBezTo>
                  <a:cubicBezTo>
                    <a:pt x="11" y="41"/>
                    <a:pt x="11" y="42"/>
                    <a:pt x="11" y="44"/>
                  </a:cubicBezTo>
                  <a:cubicBezTo>
                    <a:pt x="11" y="44"/>
                    <a:pt x="10" y="45"/>
                    <a:pt x="10" y="45"/>
                  </a:cubicBezTo>
                  <a:cubicBezTo>
                    <a:pt x="10" y="46"/>
                    <a:pt x="9" y="47"/>
                    <a:pt x="8" y="48"/>
                  </a:cubicBezTo>
                  <a:cubicBezTo>
                    <a:pt x="7" y="49"/>
                    <a:pt x="6" y="50"/>
                    <a:pt x="7" y="52"/>
                  </a:cubicBezTo>
                  <a:cubicBezTo>
                    <a:pt x="7" y="52"/>
                    <a:pt x="8" y="53"/>
                    <a:pt x="8" y="53"/>
                  </a:cubicBezTo>
                  <a:cubicBezTo>
                    <a:pt x="8" y="54"/>
                    <a:pt x="8" y="55"/>
                    <a:pt x="8" y="56"/>
                  </a:cubicBezTo>
                  <a:cubicBezTo>
                    <a:pt x="7" y="58"/>
                    <a:pt x="7" y="59"/>
                    <a:pt x="7" y="60"/>
                  </a:cubicBezTo>
                  <a:cubicBezTo>
                    <a:pt x="10" y="62"/>
                    <a:pt x="9" y="66"/>
                    <a:pt x="10" y="69"/>
                  </a:cubicBezTo>
                  <a:cubicBezTo>
                    <a:pt x="10" y="69"/>
                    <a:pt x="11" y="70"/>
                    <a:pt x="11" y="71"/>
                  </a:cubicBezTo>
                  <a:cubicBezTo>
                    <a:pt x="11" y="72"/>
                    <a:pt x="11" y="73"/>
                    <a:pt x="11" y="74"/>
                  </a:cubicBezTo>
                  <a:cubicBezTo>
                    <a:pt x="10" y="75"/>
                    <a:pt x="9" y="76"/>
                    <a:pt x="8" y="77"/>
                  </a:cubicBezTo>
                  <a:cubicBezTo>
                    <a:pt x="7" y="78"/>
                    <a:pt x="7" y="79"/>
                    <a:pt x="7" y="80"/>
                  </a:cubicBezTo>
                  <a:cubicBezTo>
                    <a:pt x="6" y="81"/>
                    <a:pt x="5" y="81"/>
                    <a:pt x="5" y="82"/>
                  </a:cubicBezTo>
                  <a:cubicBezTo>
                    <a:pt x="5" y="83"/>
                    <a:pt x="5" y="84"/>
                    <a:pt x="5" y="85"/>
                  </a:cubicBezTo>
                  <a:cubicBezTo>
                    <a:pt x="4" y="87"/>
                    <a:pt x="2" y="88"/>
                    <a:pt x="1" y="91"/>
                  </a:cubicBezTo>
                  <a:cubicBezTo>
                    <a:pt x="1" y="91"/>
                    <a:pt x="1" y="92"/>
                    <a:pt x="0" y="92"/>
                  </a:cubicBezTo>
                  <a:cubicBezTo>
                    <a:pt x="0" y="93"/>
                    <a:pt x="0" y="94"/>
                    <a:pt x="0" y="95"/>
                  </a:cubicBezTo>
                  <a:cubicBezTo>
                    <a:pt x="0" y="95"/>
                    <a:pt x="1" y="95"/>
                    <a:pt x="1" y="96"/>
                  </a:cubicBezTo>
                  <a:cubicBezTo>
                    <a:pt x="1" y="97"/>
                    <a:pt x="2" y="98"/>
                    <a:pt x="2" y="98"/>
                  </a:cubicBezTo>
                  <a:cubicBezTo>
                    <a:pt x="3" y="104"/>
                    <a:pt x="2" y="109"/>
                    <a:pt x="3" y="115"/>
                  </a:cubicBezTo>
                  <a:cubicBezTo>
                    <a:pt x="3" y="115"/>
                    <a:pt x="3" y="116"/>
                    <a:pt x="3" y="116"/>
                  </a:cubicBezTo>
                  <a:cubicBezTo>
                    <a:pt x="4" y="117"/>
                    <a:pt x="4" y="118"/>
                    <a:pt x="5" y="119"/>
                  </a:cubicBezTo>
                  <a:cubicBezTo>
                    <a:pt x="5" y="119"/>
                    <a:pt x="5" y="120"/>
                    <a:pt x="5" y="120"/>
                  </a:cubicBezTo>
                  <a:cubicBezTo>
                    <a:pt x="6" y="120"/>
                    <a:pt x="6" y="120"/>
                    <a:pt x="6" y="121"/>
                  </a:cubicBezTo>
                  <a:cubicBezTo>
                    <a:pt x="7" y="122"/>
                    <a:pt x="8" y="122"/>
                    <a:pt x="10" y="123"/>
                  </a:cubicBezTo>
                  <a:cubicBezTo>
                    <a:pt x="10" y="123"/>
                    <a:pt x="10" y="123"/>
                    <a:pt x="11" y="123"/>
                  </a:cubicBezTo>
                  <a:cubicBezTo>
                    <a:pt x="11" y="124"/>
                    <a:pt x="12" y="123"/>
                    <a:pt x="12" y="124"/>
                  </a:cubicBezTo>
                  <a:cubicBezTo>
                    <a:pt x="13" y="124"/>
                    <a:pt x="14" y="125"/>
                    <a:pt x="14" y="125"/>
                  </a:cubicBezTo>
                  <a:cubicBezTo>
                    <a:pt x="15" y="126"/>
                    <a:pt x="16" y="126"/>
                    <a:pt x="17" y="126"/>
                  </a:cubicBezTo>
                  <a:cubicBezTo>
                    <a:pt x="19" y="125"/>
                    <a:pt x="19" y="124"/>
                    <a:pt x="21" y="123"/>
                  </a:cubicBezTo>
                  <a:cubicBezTo>
                    <a:pt x="23" y="123"/>
                    <a:pt x="25" y="123"/>
                    <a:pt x="27" y="122"/>
                  </a:cubicBezTo>
                  <a:cubicBezTo>
                    <a:pt x="28" y="121"/>
                    <a:pt x="29" y="120"/>
                    <a:pt x="30" y="119"/>
                  </a:cubicBezTo>
                  <a:cubicBezTo>
                    <a:pt x="30" y="119"/>
                    <a:pt x="30" y="118"/>
                    <a:pt x="31" y="118"/>
                  </a:cubicBezTo>
                  <a:cubicBezTo>
                    <a:pt x="31" y="118"/>
                    <a:pt x="31" y="118"/>
                    <a:pt x="31" y="118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0" name="Freeform 395"/>
            <p:cNvSpPr>
              <a:spLocks/>
            </p:cNvSpPr>
            <p:nvPr/>
          </p:nvSpPr>
          <p:spPr bwMode="auto">
            <a:xfrm>
              <a:off x="7093549" y="3603047"/>
              <a:ext cx="1505" cy="2163"/>
            </a:xfrm>
            <a:custGeom>
              <a:avLst/>
              <a:gdLst>
                <a:gd name="T0" fmla="*/ 196608 w 3"/>
                <a:gd name="T1" fmla="*/ 131072 h 5"/>
                <a:gd name="T2" fmla="*/ 65536 w 3"/>
                <a:gd name="T3" fmla="*/ 65536 h 5"/>
                <a:gd name="T4" fmla="*/ 65536 w 3"/>
                <a:gd name="T5" fmla="*/ 131072 h 5"/>
                <a:gd name="T6" fmla="*/ 196608 w 3"/>
                <a:gd name="T7" fmla="*/ 262144 h 5"/>
                <a:gd name="T8" fmla="*/ 196608 w 3"/>
                <a:gd name="T9" fmla="*/ 131072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3"/>
                    <a:pt x="2" y="5"/>
                    <a:pt x="3" y="4"/>
                  </a:cubicBezTo>
                  <a:cubicBezTo>
                    <a:pt x="3" y="4"/>
                    <a:pt x="3" y="3"/>
                    <a:pt x="3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1" name="Freeform 396"/>
            <p:cNvSpPr>
              <a:spLocks/>
            </p:cNvSpPr>
            <p:nvPr/>
          </p:nvSpPr>
          <p:spPr bwMode="auto">
            <a:xfrm>
              <a:off x="7094553" y="3598991"/>
              <a:ext cx="1254" cy="2704"/>
            </a:xfrm>
            <a:custGeom>
              <a:avLst/>
              <a:gdLst>
                <a:gd name="T0" fmla="*/ 3688 w 3"/>
                <a:gd name="T1" fmla="*/ 0 h 5"/>
                <a:gd name="T2" fmla="*/ 0 w 3"/>
                <a:gd name="T3" fmla="*/ 262144 h 5"/>
                <a:gd name="T4" fmla="*/ 0 w 3"/>
                <a:gd name="T5" fmla="*/ 262144 h 5"/>
                <a:gd name="T6" fmla="*/ 3688 w 3"/>
                <a:gd name="T7" fmla="*/ 262144 h 5"/>
                <a:gd name="T8" fmla="*/ 6147 w 3"/>
                <a:gd name="T9" fmla="*/ 0 h 5"/>
                <a:gd name="T10" fmla="*/ 3688 w 3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1" y="0"/>
                  </a:moveTo>
                  <a:cubicBezTo>
                    <a:pt x="1" y="1"/>
                    <a:pt x="1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2" y="3"/>
                    <a:pt x="3" y="2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2" name="Freeform 397"/>
            <p:cNvSpPr>
              <a:spLocks/>
            </p:cNvSpPr>
            <p:nvPr/>
          </p:nvSpPr>
          <p:spPr bwMode="auto">
            <a:xfrm>
              <a:off x="7007013" y="3676590"/>
              <a:ext cx="60952" cy="59213"/>
            </a:xfrm>
            <a:custGeom>
              <a:avLst/>
              <a:gdLst>
                <a:gd name="T0" fmla="*/ 4815010 w 130"/>
                <a:gd name="T1" fmla="*/ 1693204 h 122"/>
                <a:gd name="T2" fmla="*/ 4694101 w 130"/>
                <a:gd name="T3" fmla="*/ 2050635 h 122"/>
                <a:gd name="T4" fmla="*/ 4481663 w 130"/>
                <a:gd name="T5" fmla="*/ 2371934 h 122"/>
                <a:gd name="T6" fmla="*/ 4363534 w 130"/>
                <a:gd name="T7" fmla="*/ 2518233 h 122"/>
                <a:gd name="T8" fmla="*/ 4253403 w 130"/>
                <a:gd name="T9" fmla="*/ 2684602 h 122"/>
                <a:gd name="T10" fmla="*/ 4169975 w 130"/>
                <a:gd name="T11" fmla="*/ 2875262 h 122"/>
                <a:gd name="T12" fmla="*/ 4051870 w 130"/>
                <a:gd name="T13" fmla="*/ 3021611 h 122"/>
                <a:gd name="T14" fmla="*/ 3763047 w 130"/>
                <a:gd name="T15" fmla="*/ 3376989 h 122"/>
                <a:gd name="T16" fmla="*/ 3491689 w 130"/>
                <a:gd name="T17" fmla="*/ 3563835 h 122"/>
                <a:gd name="T18" fmla="*/ 3172091 w 130"/>
                <a:gd name="T19" fmla="*/ 3879559 h 122"/>
                <a:gd name="T20" fmla="*/ 3010679 w 130"/>
                <a:gd name="T21" fmla="*/ 3949994 h 122"/>
                <a:gd name="T22" fmla="*/ 2678896 w 130"/>
                <a:gd name="T23" fmla="*/ 4065347 h 122"/>
                <a:gd name="T24" fmla="*/ 2450642 w 130"/>
                <a:gd name="T25" fmla="*/ 4160965 h 122"/>
                <a:gd name="T26" fmla="*/ 2280986 w 130"/>
                <a:gd name="T27" fmla="*/ 4140524 h 122"/>
                <a:gd name="T28" fmla="*/ 2053549 w 130"/>
                <a:gd name="T29" fmla="*/ 4106657 h 122"/>
                <a:gd name="T30" fmla="*/ 1761135 w 130"/>
                <a:gd name="T31" fmla="*/ 4106657 h 122"/>
                <a:gd name="T32" fmla="*/ 1559316 w 130"/>
                <a:gd name="T33" fmla="*/ 4190975 h 122"/>
                <a:gd name="T34" fmla="*/ 1452709 w 130"/>
                <a:gd name="T35" fmla="*/ 4265867 h 122"/>
                <a:gd name="T36" fmla="*/ 1269257 w 130"/>
                <a:gd name="T37" fmla="*/ 4231892 h 122"/>
                <a:gd name="T38" fmla="*/ 891229 w 130"/>
                <a:gd name="T39" fmla="*/ 4346530 h 122"/>
                <a:gd name="T40" fmla="*/ 678316 w 130"/>
                <a:gd name="T41" fmla="*/ 4190975 h 122"/>
                <a:gd name="T42" fmla="*/ 518319 w 130"/>
                <a:gd name="T43" fmla="*/ 4106657 h 122"/>
                <a:gd name="T44" fmla="*/ 518319 w 130"/>
                <a:gd name="T45" fmla="*/ 3919047 h 122"/>
                <a:gd name="T46" fmla="*/ 410613 w 130"/>
                <a:gd name="T47" fmla="*/ 3658794 h 122"/>
                <a:gd name="T48" fmla="*/ 483617 w 130"/>
                <a:gd name="T49" fmla="*/ 3603149 h 122"/>
                <a:gd name="T50" fmla="*/ 410613 w 130"/>
                <a:gd name="T51" fmla="*/ 3135532 h 122"/>
                <a:gd name="T52" fmla="*/ 331778 w 130"/>
                <a:gd name="T53" fmla="*/ 2946546 h 122"/>
                <a:gd name="T54" fmla="*/ 228257 w 130"/>
                <a:gd name="T55" fmla="*/ 2633614 h 122"/>
                <a:gd name="T56" fmla="*/ 40413 w 130"/>
                <a:gd name="T57" fmla="*/ 2214621 h 122"/>
                <a:gd name="T58" fmla="*/ 40413 w 130"/>
                <a:gd name="T59" fmla="*/ 2160161 h 122"/>
                <a:gd name="T60" fmla="*/ 268452 w 130"/>
                <a:gd name="T61" fmla="*/ 2050635 h 122"/>
                <a:gd name="T62" fmla="*/ 331778 w 130"/>
                <a:gd name="T63" fmla="*/ 2256497 h 122"/>
                <a:gd name="T64" fmla="*/ 712280 w 130"/>
                <a:gd name="T65" fmla="*/ 2256497 h 122"/>
                <a:gd name="T66" fmla="*/ 969134 w 130"/>
                <a:gd name="T67" fmla="*/ 2196983 h 122"/>
                <a:gd name="T68" fmla="*/ 1084355 w 130"/>
                <a:gd name="T69" fmla="*/ 2131967 h 122"/>
                <a:gd name="T70" fmla="*/ 1202205 w 130"/>
                <a:gd name="T71" fmla="*/ 928982 h 122"/>
                <a:gd name="T72" fmla="*/ 1269257 w 130"/>
                <a:gd name="T73" fmla="*/ 1149718 h 122"/>
                <a:gd name="T74" fmla="*/ 1309672 w 130"/>
                <a:gd name="T75" fmla="*/ 1247409 h 122"/>
                <a:gd name="T76" fmla="*/ 1236826 w 130"/>
                <a:gd name="T77" fmla="*/ 1433130 h 122"/>
                <a:gd name="T78" fmla="*/ 1530712 w 130"/>
                <a:gd name="T79" fmla="*/ 1547113 h 122"/>
                <a:gd name="T80" fmla="*/ 1871174 w 130"/>
                <a:gd name="T81" fmla="*/ 1327748 h 122"/>
                <a:gd name="T82" fmla="*/ 2010245 w 130"/>
                <a:gd name="T83" fmla="*/ 1085043 h 122"/>
                <a:gd name="T84" fmla="*/ 2159749 w 130"/>
                <a:gd name="T85" fmla="*/ 1045602 h 122"/>
                <a:gd name="T86" fmla="*/ 2361535 w 130"/>
                <a:gd name="T87" fmla="*/ 1191897 h 122"/>
                <a:gd name="T88" fmla="*/ 2612051 w 130"/>
                <a:gd name="T89" fmla="*/ 1191897 h 122"/>
                <a:gd name="T90" fmla="*/ 2804845 w 130"/>
                <a:gd name="T91" fmla="*/ 971105 h 122"/>
                <a:gd name="T92" fmla="*/ 3051186 w 130"/>
                <a:gd name="T93" fmla="*/ 689299 h 122"/>
                <a:gd name="T94" fmla="*/ 3363060 w 130"/>
                <a:gd name="T95" fmla="*/ 321235 h 122"/>
                <a:gd name="T96" fmla="*/ 3612804 w 130"/>
                <a:gd name="T97" fmla="*/ 146299 h 122"/>
                <a:gd name="T98" fmla="*/ 3841066 w 130"/>
                <a:gd name="T99" fmla="*/ 39430 h 122"/>
                <a:gd name="T100" fmla="*/ 4524962 w 130"/>
                <a:gd name="T101" fmla="*/ 357849 h 122"/>
                <a:gd name="T102" fmla="*/ 4653590 w 130"/>
                <a:gd name="T103" fmla="*/ 971105 h 122"/>
                <a:gd name="T104" fmla="*/ 4610723 w 130"/>
                <a:gd name="T105" fmla="*/ 1286860 h 122"/>
                <a:gd name="T106" fmla="*/ 4363534 w 130"/>
                <a:gd name="T107" fmla="*/ 1247409 h 122"/>
                <a:gd name="T108" fmla="*/ 4253403 w 130"/>
                <a:gd name="T109" fmla="*/ 1433130 h 122"/>
                <a:gd name="T110" fmla="*/ 4290687 w 130"/>
                <a:gd name="T111" fmla="*/ 1547113 h 122"/>
                <a:gd name="T112" fmla="*/ 4441356 w 130"/>
                <a:gd name="T113" fmla="*/ 1753160 h 122"/>
                <a:gd name="T114" fmla="*/ 4610723 w 130"/>
                <a:gd name="T115" fmla="*/ 1627808 h 122"/>
                <a:gd name="T116" fmla="*/ 4653590 w 130"/>
                <a:gd name="T117" fmla="*/ 1588425 h 122"/>
                <a:gd name="T118" fmla="*/ 4849737 w 130"/>
                <a:gd name="T119" fmla="*/ 1588425 h 12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0"/>
                <a:gd name="T181" fmla="*/ 0 h 122"/>
                <a:gd name="T182" fmla="*/ 130 w 130"/>
                <a:gd name="T183" fmla="*/ 122 h 12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30" h="122">
                  <a:moveTo>
                    <a:pt x="130" y="44"/>
                  </a:moveTo>
                  <a:cubicBezTo>
                    <a:pt x="130" y="45"/>
                    <a:pt x="130" y="46"/>
                    <a:pt x="129" y="47"/>
                  </a:cubicBezTo>
                  <a:cubicBezTo>
                    <a:pt x="128" y="50"/>
                    <a:pt x="129" y="52"/>
                    <a:pt x="129" y="54"/>
                  </a:cubicBezTo>
                  <a:cubicBezTo>
                    <a:pt x="129" y="56"/>
                    <a:pt x="127" y="56"/>
                    <a:pt x="126" y="57"/>
                  </a:cubicBezTo>
                  <a:cubicBezTo>
                    <a:pt x="126" y="58"/>
                    <a:pt x="127" y="61"/>
                    <a:pt x="125" y="62"/>
                  </a:cubicBezTo>
                  <a:cubicBezTo>
                    <a:pt x="123" y="63"/>
                    <a:pt x="122" y="65"/>
                    <a:pt x="120" y="66"/>
                  </a:cubicBezTo>
                  <a:cubicBezTo>
                    <a:pt x="120" y="67"/>
                    <a:pt x="119" y="67"/>
                    <a:pt x="118" y="68"/>
                  </a:cubicBezTo>
                  <a:cubicBezTo>
                    <a:pt x="118" y="68"/>
                    <a:pt x="118" y="69"/>
                    <a:pt x="117" y="70"/>
                  </a:cubicBezTo>
                  <a:cubicBezTo>
                    <a:pt x="116" y="71"/>
                    <a:pt x="115" y="71"/>
                    <a:pt x="115" y="72"/>
                  </a:cubicBezTo>
                  <a:cubicBezTo>
                    <a:pt x="115" y="73"/>
                    <a:pt x="115" y="74"/>
                    <a:pt x="114" y="75"/>
                  </a:cubicBezTo>
                  <a:cubicBezTo>
                    <a:pt x="114" y="75"/>
                    <a:pt x="114" y="76"/>
                    <a:pt x="114" y="76"/>
                  </a:cubicBezTo>
                  <a:cubicBezTo>
                    <a:pt x="112" y="77"/>
                    <a:pt x="113" y="78"/>
                    <a:pt x="112" y="80"/>
                  </a:cubicBezTo>
                  <a:cubicBezTo>
                    <a:pt x="111" y="81"/>
                    <a:pt x="110" y="83"/>
                    <a:pt x="108" y="84"/>
                  </a:cubicBezTo>
                  <a:cubicBezTo>
                    <a:pt x="108" y="84"/>
                    <a:pt x="108" y="84"/>
                    <a:pt x="109" y="84"/>
                  </a:cubicBezTo>
                  <a:cubicBezTo>
                    <a:pt x="107" y="86"/>
                    <a:pt x="105" y="87"/>
                    <a:pt x="103" y="90"/>
                  </a:cubicBezTo>
                  <a:cubicBezTo>
                    <a:pt x="102" y="91"/>
                    <a:pt x="101" y="93"/>
                    <a:pt x="101" y="94"/>
                  </a:cubicBezTo>
                  <a:cubicBezTo>
                    <a:pt x="100" y="95"/>
                    <a:pt x="99" y="96"/>
                    <a:pt x="97" y="97"/>
                  </a:cubicBezTo>
                  <a:cubicBezTo>
                    <a:pt x="96" y="97"/>
                    <a:pt x="95" y="98"/>
                    <a:pt x="94" y="99"/>
                  </a:cubicBezTo>
                  <a:cubicBezTo>
                    <a:pt x="93" y="101"/>
                    <a:pt x="92" y="103"/>
                    <a:pt x="90" y="105"/>
                  </a:cubicBezTo>
                  <a:cubicBezTo>
                    <a:pt x="88" y="106"/>
                    <a:pt x="86" y="107"/>
                    <a:pt x="85" y="108"/>
                  </a:cubicBezTo>
                  <a:cubicBezTo>
                    <a:pt x="84" y="108"/>
                    <a:pt x="84" y="108"/>
                    <a:pt x="83" y="108"/>
                  </a:cubicBezTo>
                  <a:cubicBezTo>
                    <a:pt x="82" y="109"/>
                    <a:pt x="81" y="110"/>
                    <a:pt x="81" y="110"/>
                  </a:cubicBezTo>
                  <a:cubicBezTo>
                    <a:pt x="78" y="111"/>
                    <a:pt x="76" y="110"/>
                    <a:pt x="74" y="111"/>
                  </a:cubicBezTo>
                  <a:cubicBezTo>
                    <a:pt x="73" y="112"/>
                    <a:pt x="73" y="113"/>
                    <a:pt x="72" y="113"/>
                  </a:cubicBezTo>
                  <a:cubicBezTo>
                    <a:pt x="71" y="114"/>
                    <a:pt x="69" y="113"/>
                    <a:pt x="67" y="114"/>
                  </a:cubicBezTo>
                  <a:cubicBezTo>
                    <a:pt x="66" y="114"/>
                    <a:pt x="66" y="115"/>
                    <a:pt x="66" y="116"/>
                  </a:cubicBezTo>
                  <a:cubicBezTo>
                    <a:pt x="65" y="116"/>
                    <a:pt x="63" y="116"/>
                    <a:pt x="62" y="116"/>
                  </a:cubicBezTo>
                  <a:cubicBezTo>
                    <a:pt x="61" y="116"/>
                    <a:pt x="61" y="115"/>
                    <a:pt x="61" y="115"/>
                  </a:cubicBezTo>
                  <a:cubicBezTo>
                    <a:pt x="60" y="115"/>
                    <a:pt x="59" y="114"/>
                    <a:pt x="58" y="114"/>
                  </a:cubicBezTo>
                  <a:cubicBezTo>
                    <a:pt x="57" y="114"/>
                    <a:pt x="56" y="114"/>
                    <a:pt x="55" y="114"/>
                  </a:cubicBezTo>
                  <a:cubicBezTo>
                    <a:pt x="54" y="116"/>
                    <a:pt x="52" y="115"/>
                    <a:pt x="50" y="115"/>
                  </a:cubicBezTo>
                  <a:cubicBezTo>
                    <a:pt x="49" y="114"/>
                    <a:pt x="48" y="114"/>
                    <a:pt x="47" y="114"/>
                  </a:cubicBezTo>
                  <a:cubicBezTo>
                    <a:pt x="47" y="114"/>
                    <a:pt x="47" y="115"/>
                    <a:pt x="46" y="115"/>
                  </a:cubicBezTo>
                  <a:cubicBezTo>
                    <a:pt x="45" y="115"/>
                    <a:pt x="43" y="115"/>
                    <a:pt x="42" y="117"/>
                  </a:cubicBezTo>
                  <a:cubicBezTo>
                    <a:pt x="42" y="118"/>
                    <a:pt x="41" y="118"/>
                    <a:pt x="40" y="118"/>
                  </a:cubicBezTo>
                  <a:cubicBezTo>
                    <a:pt x="40" y="118"/>
                    <a:pt x="40" y="119"/>
                    <a:pt x="39" y="119"/>
                  </a:cubicBezTo>
                  <a:cubicBezTo>
                    <a:pt x="39" y="119"/>
                    <a:pt x="38" y="119"/>
                    <a:pt x="37" y="118"/>
                  </a:cubicBezTo>
                  <a:cubicBezTo>
                    <a:pt x="36" y="118"/>
                    <a:pt x="35" y="118"/>
                    <a:pt x="34" y="118"/>
                  </a:cubicBezTo>
                  <a:cubicBezTo>
                    <a:pt x="32" y="119"/>
                    <a:pt x="30" y="120"/>
                    <a:pt x="28" y="121"/>
                  </a:cubicBezTo>
                  <a:cubicBezTo>
                    <a:pt x="27" y="121"/>
                    <a:pt x="25" y="122"/>
                    <a:pt x="24" y="121"/>
                  </a:cubicBezTo>
                  <a:cubicBezTo>
                    <a:pt x="22" y="120"/>
                    <a:pt x="23" y="118"/>
                    <a:pt x="22" y="117"/>
                  </a:cubicBezTo>
                  <a:cubicBezTo>
                    <a:pt x="21" y="117"/>
                    <a:pt x="19" y="118"/>
                    <a:pt x="18" y="117"/>
                  </a:cubicBezTo>
                  <a:cubicBezTo>
                    <a:pt x="17" y="116"/>
                    <a:pt x="17" y="115"/>
                    <a:pt x="17" y="114"/>
                  </a:cubicBezTo>
                  <a:cubicBezTo>
                    <a:pt x="16" y="114"/>
                    <a:pt x="15" y="115"/>
                    <a:pt x="14" y="114"/>
                  </a:cubicBezTo>
                  <a:cubicBezTo>
                    <a:pt x="14" y="114"/>
                    <a:pt x="15" y="113"/>
                    <a:pt x="15" y="113"/>
                  </a:cubicBezTo>
                  <a:cubicBezTo>
                    <a:pt x="15" y="112"/>
                    <a:pt x="15" y="109"/>
                    <a:pt x="14" y="109"/>
                  </a:cubicBezTo>
                  <a:cubicBezTo>
                    <a:pt x="13" y="109"/>
                    <a:pt x="12" y="108"/>
                    <a:pt x="11" y="107"/>
                  </a:cubicBezTo>
                  <a:cubicBezTo>
                    <a:pt x="11" y="106"/>
                    <a:pt x="11" y="104"/>
                    <a:pt x="11" y="102"/>
                  </a:cubicBezTo>
                  <a:cubicBezTo>
                    <a:pt x="11" y="102"/>
                    <a:pt x="11" y="101"/>
                    <a:pt x="12" y="101"/>
                  </a:cubicBezTo>
                  <a:cubicBezTo>
                    <a:pt x="12" y="101"/>
                    <a:pt x="13" y="101"/>
                    <a:pt x="13" y="100"/>
                  </a:cubicBezTo>
                  <a:cubicBezTo>
                    <a:pt x="14" y="97"/>
                    <a:pt x="14" y="93"/>
                    <a:pt x="13" y="90"/>
                  </a:cubicBezTo>
                  <a:cubicBezTo>
                    <a:pt x="12" y="89"/>
                    <a:pt x="11" y="88"/>
                    <a:pt x="11" y="87"/>
                  </a:cubicBezTo>
                  <a:cubicBezTo>
                    <a:pt x="10" y="86"/>
                    <a:pt x="10" y="85"/>
                    <a:pt x="10" y="84"/>
                  </a:cubicBezTo>
                  <a:cubicBezTo>
                    <a:pt x="10" y="83"/>
                    <a:pt x="9" y="82"/>
                    <a:pt x="9" y="82"/>
                  </a:cubicBezTo>
                  <a:cubicBezTo>
                    <a:pt x="8" y="80"/>
                    <a:pt x="7" y="78"/>
                    <a:pt x="7" y="76"/>
                  </a:cubicBezTo>
                  <a:cubicBezTo>
                    <a:pt x="6" y="75"/>
                    <a:pt x="6" y="74"/>
                    <a:pt x="6" y="73"/>
                  </a:cubicBezTo>
                  <a:cubicBezTo>
                    <a:pt x="5" y="71"/>
                    <a:pt x="4" y="68"/>
                    <a:pt x="3" y="65"/>
                  </a:cubicBezTo>
                  <a:cubicBezTo>
                    <a:pt x="3" y="64"/>
                    <a:pt x="2" y="63"/>
                    <a:pt x="1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2" y="59"/>
                    <a:pt x="4" y="58"/>
                    <a:pt x="5" y="56"/>
                  </a:cubicBezTo>
                  <a:cubicBezTo>
                    <a:pt x="6" y="56"/>
                    <a:pt x="7" y="56"/>
                    <a:pt x="7" y="57"/>
                  </a:cubicBezTo>
                  <a:cubicBezTo>
                    <a:pt x="8" y="58"/>
                    <a:pt x="7" y="60"/>
                    <a:pt x="8" y="61"/>
                  </a:cubicBezTo>
                  <a:cubicBezTo>
                    <a:pt x="8" y="62"/>
                    <a:pt x="9" y="62"/>
                    <a:pt x="9" y="63"/>
                  </a:cubicBezTo>
                  <a:cubicBezTo>
                    <a:pt x="11" y="64"/>
                    <a:pt x="14" y="64"/>
                    <a:pt x="16" y="63"/>
                  </a:cubicBezTo>
                  <a:cubicBezTo>
                    <a:pt x="17" y="63"/>
                    <a:pt x="18" y="62"/>
                    <a:pt x="19" y="63"/>
                  </a:cubicBezTo>
                  <a:cubicBezTo>
                    <a:pt x="20" y="64"/>
                    <a:pt x="22" y="64"/>
                    <a:pt x="24" y="64"/>
                  </a:cubicBezTo>
                  <a:cubicBezTo>
                    <a:pt x="25" y="63"/>
                    <a:pt x="25" y="62"/>
                    <a:pt x="26" y="61"/>
                  </a:cubicBezTo>
                  <a:cubicBezTo>
                    <a:pt x="27" y="60"/>
                    <a:pt x="28" y="61"/>
                    <a:pt x="28" y="60"/>
                  </a:cubicBezTo>
                  <a:cubicBezTo>
                    <a:pt x="28" y="60"/>
                    <a:pt x="29" y="60"/>
                    <a:pt x="29" y="59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6"/>
                    <a:pt x="31" y="26"/>
                    <a:pt x="32" y="26"/>
                  </a:cubicBezTo>
                  <a:cubicBezTo>
                    <a:pt x="33" y="27"/>
                    <a:pt x="33" y="29"/>
                    <a:pt x="33" y="31"/>
                  </a:cubicBezTo>
                  <a:cubicBezTo>
                    <a:pt x="34" y="31"/>
                    <a:pt x="34" y="31"/>
                    <a:pt x="34" y="32"/>
                  </a:cubicBezTo>
                  <a:cubicBezTo>
                    <a:pt x="34" y="33"/>
                    <a:pt x="34" y="33"/>
                    <a:pt x="34" y="34"/>
                  </a:cubicBezTo>
                  <a:cubicBezTo>
                    <a:pt x="34" y="34"/>
                    <a:pt x="34" y="35"/>
                    <a:pt x="35" y="35"/>
                  </a:cubicBezTo>
                  <a:cubicBezTo>
                    <a:pt x="35" y="36"/>
                    <a:pt x="35" y="37"/>
                    <a:pt x="34" y="38"/>
                  </a:cubicBezTo>
                  <a:cubicBezTo>
                    <a:pt x="34" y="39"/>
                    <a:pt x="34" y="40"/>
                    <a:pt x="33" y="40"/>
                  </a:cubicBezTo>
                  <a:cubicBezTo>
                    <a:pt x="32" y="43"/>
                    <a:pt x="35" y="44"/>
                    <a:pt x="37" y="43"/>
                  </a:cubicBezTo>
                  <a:cubicBezTo>
                    <a:pt x="38" y="42"/>
                    <a:pt x="40" y="42"/>
                    <a:pt x="41" y="43"/>
                  </a:cubicBezTo>
                  <a:cubicBezTo>
                    <a:pt x="42" y="43"/>
                    <a:pt x="43" y="44"/>
                    <a:pt x="44" y="43"/>
                  </a:cubicBezTo>
                  <a:cubicBezTo>
                    <a:pt x="46" y="41"/>
                    <a:pt x="47" y="39"/>
                    <a:pt x="50" y="37"/>
                  </a:cubicBezTo>
                  <a:cubicBezTo>
                    <a:pt x="52" y="36"/>
                    <a:pt x="52" y="34"/>
                    <a:pt x="53" y="32"/>
                  </a:cubicBezTo>
                  <a:cubicBezTo>
                    <a:pt x="53" y="31"/>
                    <a:pt x="53" y="30"/>
                    <a:pt x="54" y="30"/>
                  </a:cubicBezTo>
                  <a:cubicBezTo>
                    <a:pt x="55" y="30"/>
                    <a:pt x="55" y="29"/>
                    <a:pt x="56" y="29"/>
                  </a:cubicBezTo>
                  <a:cubicBezTo>
                    <a:pt x="57" y="28"/>
                    <a:pt x="57" y="28"/>
                    <a:pt x="58" y="29"/>
                  </a:cubicBezTo>
                  <a:cubicBezTo>
                    <a:pt x="58" y="29"/>
                    <a:pt x="59" y="30"/>
                    <a:pt x="59" y="30"/>
                  </a:cubicBezTo>
                  <a:cubicBezTo>
                    <a:pt x="61" y="31"/>
                    <a:pt x="61" y="33"/>
                    <a:pt x="63" y="33"/>
                  </a:cubicBezTo>
                  <a:cubicBezTo>
                    <a:pt x="65" y="34"/>
                    <a:pt x="66" y="35"/>
                    <a:pt x="68" y="34"/>
                  </a:cubicBezTo>
                  <a:cubicBezTo>
                    <a:pt x="69" y="34"/>
                    <a:pt x="69" y="33"/>
                    <a:pt x="70" y="33"/>
                  </a:cubicBezTo>
                  <a:cubicBezTo>
                    <a:pt x="72" y="32"/>
                    <a:pt x="73" y="31"/>
                    <a:pt x="74" y="29"/>
                  </a:cubicBezTo>
                  <a:cubicBezTo>
                    <a:pt x="74" y="29"/>
                    <a:pt x="74" y="28"/>
                    <a:pt x="75" y="27"/>
                  </a:cubicBezTo>
                  <a:cubicBezTo>
                    <a:pt x="76" y="25"/>
                    <a:pt x="76" y="23"/>
                    <a:pt x="78" y="22"/>
                  </a:cubicBezTo>
                  <a:cubicBezTo>
                    <a:pt x="80" y="21"/>
                    <a:pt x="82" y="21"/>
                    <a:pt x="82" y="19"/>
                  </a:cubicBezTo>
                  <a:cubicBezTo>
                    <a:pt x="83" y="17"/>
                    <a:pt x="83" y="15"/>
                    <a:pt x="84" y="14"/>
                  </a:cubicBezTo>
                  <a:cubicBezTo>
                    <a:pt x="86" y="12"/>
                    <a:pt x="87" y="10"/>
                    <a:pt x="90" y="9"/>
                  </a:cubicBezTo>
                  <a:cubicBezTo>
                    <a:pt x="90" y="9"/>
                    <a:pt x="90" y="9"/>
                    <a:pt x="91" y="9"/>
                  </a:cubicBezTo>
                  <a:cubicBezTo>
                    <a:pt x="93" y="7"/>
                    <a:pt x="95" y="6"/>
                    <a:pt x="97" y="4"/>
                  </a:cubicBezTo>
                  <a:cubicBezTo>
                    <a:pt x="98" y="3"/>
                    <a:pt x="99" y="2"/>
                    <a:pt x="100" y="2"/>
                  </a:cubicBezTo>
                  <a:cubicBezTo>
                    <a:pt x="101" y="1"/>
                    <a:pt x="102" y="1"/>
                    <a:pt x="103" y="1"/>
                  </a:cubicBezTo>
                  <a:cubicBezTo>
                    <a:pt x="108" y="0"/>
                    <a:pt x="114" y="1"/>
                    <a:pt x="118" y="1"/>
                  </a:cubicBezTo>
                  <a:cubicBezTo>
                    <a:pt x="119" y="4"/>
                    <a:pt x="120" y="7"/>
                    <a:pt x="121" y="10"/>
                  </a:cubicBezTo>
                  <a:cubicBezTo>
                    <a:pt x="121" y="11"/>
                    <a:pt x="121" y="12"/>
                    <a:pt x="121" y="13"/>
                  </a:cubicBezTo>
                  <a:cubicBezTo>
                    <a:pt x="123" y="17"/>
                    <a:pt x="126" y="21"/>
                    <a:pt x="125" y="27"/>
                  </a:cubicBezTo>
                  <a:cubicBezTo>
                    <a:pt x="125" y="27"/>
                    <a:pt x="124" y="28"/>
                    <a:pt x="124" y="28"/>
                  </a:cubicBezTo>
                  <a:cubicBezTo>
                    <a:pt x="124" y="30"/>
                    <a:pt x="124" y="34"/>
                    <a:pt x="124" y="36"/>
                  </a:cubicBezTo>
                  <a:cubicBezTo>
                    <a:pt x="122" y="36"/>
                    <a:pt x="121" y="35"/>
                    <a:pt x="120" y="34"/>
                  </a:cubicBezTo>
                  <a:cubicBezTo>
                    <a:pt x="119" y="34"/>
                    <a:pt x="118" y="34"/>
                    <a:pt x="117" y="35"/>
                  </a:cubicBezTo>
                  <a:cubicBezTo>
                    <a:pt x="117" y="36"/>
                    <a:pt x="117" y="36"/>
                    <a:pt x="117" y="37"/>
                  </a:cubicBezTo>
                  <a:cubicBezTo>
                    <a:pt x="116" y="38"/>
                    <a:pt x="115" y="38"/>
                    <a:pt x="114" y="40"/>
                  </a:cubicBezTo>
                  <a:cubicBezTo>
                    <a:pt x="114" y="40"/>
                    <a:pt x="114" y="41"/>
                    <a:pt x="114" y="42"/>
                  </a:cubicBezTo>
                  <a:cubicBezTo>
                    <a:pt x="114" y="43"/>
                    <a:pt x="115" y="43"/>
                    <a:pt x="115" y="43"/>
                  </a:cubicBezTo>
                  <a:cubicBezTo>
                    <a:pt x="115" y="44"/>
                    <a:pt x="116" y="45"/>
                    <a:pt x="116" y="46"/>
                  </a:cubicBezTo>
                  <a:cubicBezTo>
                    <a:pt x="117" y="47"/>
                    <a:pt x="118" y="48"/>
                    <a:pt x="119" y="49"/>
                  </a:cubicBezTo>
                  <a:cubicBezTo>
                    <a:pt x="119" y="49"/>
                    <a:pt x="120" y="49"/>
                    <a:pt x="121" y="49"/>
                  </a:cubicBezTo>
                  <a:cubicBezTo>
                    <a:pt x="122" y="48"/>
                    <a:pt x="123" y="46"/>
                    <a:pt x="124" y="45"/>
                  </a:cubicBezTo>
                  <a:cubicBezTo>
                    <a:pt x="124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7" y="44"/>
                    <a:pt x="128" y="44"/>
                    <a:pt x="129" y="44"/>
                  </a:cubicBezTo>
                  <a:lnTo>
                    <a:pt x="130" y="44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3" name="Freeform 399"/>
            <p:cNvSpPr>
              <a:spLocks/>
            </p:cNvSpPr>
            <p:nvPr/>
          </p:nvSpPr>
          <p:spPr bwMode="auto">
            <a:xfrm>
              <a:off x="6647574" y="3525177"/>
              <a:ext cx="44648" cy="71650"/>
            </a:xfrm>
            <a:custGeom>
              <a:avLst/>
              <a:gdLst>
                <a:gd name="T0" fmla="*/ 54475878 w 96"/>
                <a:gd name="T1" fmla="*/ 7395583 h 148"/>
                <a:gd name="T2" fmla="*/ 60988544 w 96"/>
                <a:gd name="T3" fmla="*/ 3487682 h 148"/>
                <a:gd name="T4" fmla="*/ 57436032 w 96"/>
                <a:gd name="T5" fmla="*/ 829981 h 148"/>
                <a:gd name="T6" fmla="*/ 50561756 w 96"/>
                <a:gd name="T7" fmla="*/ 7395583 h 148"/>
                <a:gd name="T8" fmla="*/ 39967631 w 96"/>
                <a:gd name="T9" fmla="*/ 10053766 h 148"/>
                <a:gd name="T10" fmla="*/ 37213394 w 96"/>
                <a:gd name="T11" fmla="*/ 12824269 h 148"/>
                <a:gd name="T12" fmla="*/ 26672936 w 96"/>
                <a:gd name="T13" fmla="*/ 19393851 h 148"/>
                <a:gd name="T14" fmla="*/ 18152905 w 96"/>
                <a:gd name="T15" fmla="*/ 30240998 h 148"/>
                <a:gd name="T16" fmla="*/ 17415099 w 96"/>
                <a:gd name="T17" fmla="*/ 38290651 h 148"/>
                <a:gd name="T18" fmla="*/ 16257796 w 96"/>
                <a:gd name="T19" fmla="*/ 37636550 h 148"/>
                <a:gd name="T20" fmla="*/ 12497807 w 96"/>
                <a:gd name="T21" fmla="*/ 33675383 h 148"/>
                <a:gd name="T22" fmla="*/ 13294331 w 96"/>
                <a:gd name="T23" fmla="*/ 37636550 h 148"/>
                <a:gd name="T24" fmla="*/ 8529993 w 96"/>
                <a:gd name="T25" fmla="*/ 41884529 h 148"/>
                <a:gd name="T26" fmla="*/ 10415159 w 96"/>
                <a:gd name="T27" fmla="*/ 46499477 h 148"/>
                <a:gd name="T28" fmla="*/ 12497807 w 96"/>
                <a:gd name="T29" fmla="*/ 51086882 h 148"/>
                <a:gd name="T30" fmla="*/ 13294331 w 96"/>
                <a:gd name="T31" fmla="*/ 56532110 h 148"/>
                <a:gd name="T32" fmla="*/ 11280189 w 96"/>
                <a:gd name="T33" fmla="*/ 63151977 h 148"/>
                <a:gd name="T34" fmla="*/ 12497807 w 96"/>
                <a:gd name="T35" fmla="*/ 73969576 h 148"/>
                <a:gd name="T36" fmla="*/ 8529993 w 96"/>
                <a:gd name="T37" fmla="*/ 81364393 h 148"/>
                <a:gd name="T38" fmla="*/ 2017470 w 96"/>
                <a:gd name="T39" fmla="*/ 88751041 h 148"/>
                <a:gd name="T40" fmla="*/ 0 w 96"/>
                <a:gd name="T41" fmla="*/ 92239153 h 148"/>
                <a:gd name="T42" fmla="*/ 4770476 w 96"/>
                <a:gd name="T43" fmla="*/ 95018550 h 148"/>
                <a:gd name="T44" fmla="*/ 9743062 w 96"/>
                <a:gd name="T45" fmla="*/ 97676382 h 148"/>
                <a:gd name="T46" fmla="*/ 10415159 w 96"/>
                <a:gd name="T47" fmla="*/ 100463400 h 148"/>
                <a:gd name="T48" fmla="*/ 23038270 w 96"/>
                <a:gd name="T49" fmla="*/ 102404292 h 148"/>
                <a:gd name="T50" fmla="*/ 26672936 w 96"/>
                <a:gd name="T51" fmla="*/ 105071783 h 148"/>
                <a:gd name="T52" fmla="*/ 32288687 w 96"/>
                <a:gd name="T53" fmla="*/ 108974922 h 148"/>
                <a:gd name="T54" fmla="*/ 44060743 w 96"/>
                <a:gd name="T55" fmla="*/ 118992086 h 148"/>
                <a:gd name="T56" fmla="*/ 49711565 w 96"/>
                <a:gd name="T57" fmla="*/ 123313798 h 148"/>
                <a:gd name="T58" fmla="*/ 57436032 w 96"/>
                <a:gd name="T59" fmla="*/ 123313798 h 148"/>
                <a:gd name="T60" fmla="*/ 62201631 w 96"/>
                <a:gd name="T61" fmla="*/ 122488574 h 148"/>
                <a:gd name="T62" fmla="*/ 67126243 w 96"/>
                <a:gd name="T63" fmla="*/ 125297702 h 148"/>
                <a:gd name="T64" fmla="*/ 65080671 w 96"/>
                <a:gd name="T65" fmla="*/ 131831507 h 148"/>
                <a:gd name="T66" fmla="*/ 67823890 w 96"/>
                <a:gd name="T67" fmla="*/ 134482925 h 148"/>
                <a:gd name="T68" fmla="*/ 67823890 w 96"/>
                <a:gd name="T69" fmla="*/ 134482925 h 148"/>
                <a:gd name="T70" fmla="*/ 71583879 w 96"/>
                <a:gd name="T71" fmla="*/ 125297702 h 148"/>
                <a:gd name="T72" fmla="*/ 71583879 w 96"/>
                <a:gd name="T73" fmla="*/ 112458054 h 148"/>
                <a:gd name="T74" fmla="*/ 67823890 w 96"/>
                <a:gd name="T75" fmla="*/ 108974922 h 148"/>
                <a:gd name="T76" fmla="*/ 67823890 w 96"/>
                <a:gd name="T77" fmla="*/ 98768204 h 148"/>
                <a:gd name="T78" fmla="*/ 73481749 w 96"/>
                <a:gd name="T79" fmla="*/ 96975741 h 148"/>
                <a:gd name="T80" fmla="*/ 69878353 w 96"/>
                <a:gd name="T81" fmla="*/ 92239153 h 148"/>
                <a:gd name="T82" fmla="*/ 72748842 w 96"/>
                <a:gd name="T83" fmla="*/ 90293431 h 148"/>
                <a:gd name="T84" fmla="*/ 84879397 w 96"/>
                <a:gd name="T85" fmla="*/ 88751041 h 148"/>
                <a:gd name="T86" fmla="*/ 88847204 w 96"/>
                <a:gd name="T87" fmla="*/ 93366366 h 148"/>
                <a:gd name="T88" fmla="*/ 91753636 w 96"/>
                <a:gd name="T89" fmla="*/ 91537229 h 148"/>
                <a:gd name="T90" fmla="*/ 84879397 w 96"/>
                <a:gd name="T91" fmla="*/ 84136244 h 148"/>
                <a:gd name="T92" fmla="*/ 86764404 w 96"/>
                <a:gd name="T93" fmla="*/ 77605777 h 148"/>
                <a:gd name="T94" fmla="*/ 86131301 w 96"/>
                <a:gd name="T95" fmla="*/ 72163643 h 148"/>
                <a:gd name="T96" fmla="*/ 84879397 w 96"/>
                <a:gd name="T97" fmla="*/ 68526386 h 148"/>
                <a:gd name="T98" fmla="*/ 86131301 w 96"/>
                <a:gd name="T99" fmla="*/ 63151977 h 148"/>
                <a:gd name="T100" fmla="*/ 88847204 w 96"/>
                <a:gd name="T101" fmla="*/ 53899104 h 148"/>
                <a:gd name="T102" fmla="*/ 80474690 w 96"/>
                <a:gd name="T103" fmla="*/ 53134851 h 148"/>
                <a:gd name="T104" fmla="*/ 67823890 w 96"/>
                <a:gd name="T105" fmla="*/ 46499477 h 148"/>
                <a:gd name="T106" fmla="*/ 53311936 w 96"/>
                <a:gd name="T107" fmla="*/ 43728644 h 148"/>
                <a:gd name="T108" fmla="*/ 50561756 w 96"/>
                <a:gd name="T109" fmla="*/ 40294410 h 148"/>
                <a:gd name="T110" fmla="*/ 48830692 w 96"/>
                <a:gd name="T111" fmla="*/ 30240998 h 148"/>
                <a:gd name="T112" fmla="*/ 44786499 w 96"/>
                <a:gd name="T113" fmla="*/ 26279831 h 148"/>
                <a:gd name="T114" fmla="*/ 48830692 w 96"/>
                <a:gd name="T115" fmla="*/ 18266572 h 148"/>
                <a:gd name="T116" fmla="*/ 54475878 w 96"/>
                <a:gd name="T117" fmla="*/ 10053766 h 14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6"/>
                <a:gd name="T178" fmla="*/ 0 h 148"/>
                <a:gd name="T179" fmla="*/ 96 w 96"/>
                <a:gd name="T180" fmla="*/ 148 h 14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6" h="148">
                  <a:moveTo>
                    <a:pt x="57" y="11"/>
                  </a:moveTo>
                  <a:cubicBezTo>
                    <a:pt x="56" y="11"/>
                    <a:pt x="56" y="9"/>
                    <a:pt x="57" y="8"/>
                  </a:cubicBezTo>
                  <a:cubicBezTo>
                    <a:pt x="58" y="6"/>
                    <a:pt x="61" y="6"/>
                    <a:pt x="63" y="5"/>
                  </a:cubicBezTo>
                  <a:cubicBezTo>
                    <a:pt x="63" y="5"/>
                    <a:pt x="64" y="4"/>
                    <a:pt x="64" y="4"/>
                  </a:cubicBezTo>
                  <a:cubicBezTo>
                    <a:pt x="65" y="3"/>
                    <a:pt x="65" y="2"/>
                    <a:pt x="64" y="2"/>
                  </a:cubicBezTo>
                  <a:cubicBezTo>
                    <a:pt x="63" y="0"/>
                    <a:pt x="61" y="0"/>
                    <a:pt x="60" y="1"/>
                  </a:cubicBezTo>
                  <a:cubicBezTo>
                    <a:pt x="59" y="1"/>
                    <a:pt x="57" y="2"/>
                    <a:pt x="56" y="3"/>
                  </a:cubicBezTo>
                  <a:cubicBezTo>
                    <a:pt x="56" y="5"/>
                    <a:pt x="54" y="7"/>
                    <a:pt x="53" y="8"/>
                  </a:cubicBezTo>
                  <a:cubicBezTo>
                    <a:pt x="50" y="9"/>
                    <a:pt x="48" y="10"/>
                    <a:pt x="46" y="10"/>
                  </a:cubicBezTo>
                  <a:cubicBezTo>
                    <a:pt x="45" y="11"/>
                    <a:pt x="44" y="11"/>
                    <a:pt x="42" y="11"/>
                  </a:cubicBezTo>
                  <a:cubicBezTo>
                    <a:pt x="42" y="11"/>
                    <a:pt x="40" y="10"/>
                    <a:pt x="40" y="11"/>
                  </a:cubicBezTo>
                  <a:cubicBezTo>
                    <a:pt x="40" y="12"/>
                    <a:pt x="40" y="13"/>
                    <a:pt x="39" y="14"/>
                  </a:cubicBezTo>
                  <a:cubicBezTo>
                    <a:pt x="37" y="15"/>
                    <a:pt x="34" y="13"/>
                    <a:pt x="32" y="14"/>
                  </a:cubicBezTo>
                  <a:cubicBezTo>
                    <a:pt x="30" y="15"/>
                    <a:pt x="29" y="19"/>
                    <a:pt x="28" y="21"/>
                  </a:cubicBezTo>
                  <a:cubicBezTo>
                    <a:pt x="27" y="23"/>
                    <a:pt x="27" y="25"/>
                    <a:pt x="27" y="27"/>
                  </a:cubicBezTo>
                  <a:cubicBezTo>
                    <a:pt x="24" y="28"/>
                    <a:pt x="22" y="31"/>
                    <a:pt x="19" y="33"/>
                  </a:cubicBezTo>
                  <a:cubicBezTo>
                    <a:pt x="19" y="33"/>
                    <a:pt x="19" y="34"/>
                    <a:pt x="19" y="34"/>
                  </a:cubicBezTo>
                  <a:cubicBezTo>
                    <a:pt x="18" y="37"/>
                    <a:pt x="19" y="39"/>
                    <a:pt x="18" y="42"/>
                  </a:cubicBezTo>
                  <a:cubicBezTo>
                    <a:pt x="18" y="42"/>
                    <a:pt x="18" y="42"/>
                    <a:pt x="17" y="42"/>
                  </a:cubicBezTo>
                  <a:cubicBezTo>
                    <a:pt x="17" y="41"/>
                    <a:pt x="18" y="41"/>
                    <a:pt x="17" y="41"/>
                  </a:cubicBezTo>
                  <a:cubicBezTo>
                    <a:pt x="16" y="39"/>
                    <a:pt x="15" y="38"/>
                    <a:pt x="15" y="36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2" y="38"/>
                    <a:pt x="13" y="38"/>
                    <a:pt x="13" y="39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3" y="43"/>
                    <a:pt x="14" y="41"/>
                    <a:pt x="13" y="44"/>
                  </a:cubicBezTo>
                  <a:cubicBezTo>
                    <a:pt x="13" y="45"/>
                    <a:pt x="11" y="46"/>
                    <a:pt x="9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10" y="48"/>
                    <a:pt x="11" y="49"/>
                    <a:pt x="11" y="51"/>
                  </a:cubicBezTo>
                  <a:cubicBezTo>
                    <a:pt x="11" y="52"/>
                    <a:pt x="12" y="53"/>
                    <a:pt x="13" y="53"/>
                  </a:cubicBezTo>
                  <a:cubicBezTo>
                    <a:pt x="14" y="54"/>
                    <a:pt x="14" y="56"/>
                    <a:pt x="13" y="56"/>
                  </a:cubicBezTo>
                  <a:cubicBezTo>
                    <a:pt x="13" y="57"/>
                    <a:pt x="12" y="58"/>
                    <a:pt x="13" y="59"/>
                  </a:cubicBezTo>
                  <a:cubicBezTo>
                    <a:pt x="13" y="60"/>
                    <a:pt x="15" y="61"/>
                    <a:pt x="14" y="62"/>
                  </a:cubicBezTo>
                  <a:cubicBezTo>
                    <a:pt x="12" y="64"/>
                    <a:pt x="10" y="65"/>
                    <a:pt x="11" y="67"/>
                  </a:cubicBezTo>
                  <a:cubicBezTo>
                    <a:pt x="12" y="68"/>
                    <a:pt x="12" y="69"/>
                    <a:pt x="12" y="69"/>
                  </a:cubicBezTo>
                  <a:cubicBezTo>
                    <a:pt x="13" y="72"/>
                    <a:pt x="12" y="75"/>
                    <a:pt x="13" y="78"/>
                  </a:cubicBezTo>
                  <a:cubicBezTo>
                    <a:pt x="13" y="79"/>
                    <a:pt x="14" y="80"/>
                    <a:pt x="13" y="81"/>
                  </a:cubicBezTo>
                  <a:cubicBezTo>
                    <a:pt x="12" y="82"/>
                    <a:pt x="11" y="84"/>
                    <a:pt x="10" y="85"/>
                  </a:cubicBezTo>
                  <a:cubicBezTo>
                    <a:pt x="9" y="86"/>
                    <a:pt x="10" y="88"/>
                    <a:pt x="9" y="89"/>
                  </a:cubicBezTo>
                  <a:cubicBezTo>
                    <a:pt x="8" y="91"/>
                    <a:pt x="5" y="91"/>
                    <a:pt x="3" y="92"/>
                  </a:cubicBezTo>
                  <a:cubicBezTo>
                    <a:pt x="2" y="93"/>
                    <a:pt x="3" y="95"/>
                    <a:pt x="2" y="97"/>
                  </a:cubicBezTo>
                  <a:cubicBezTo>
                    <a:pt x="2" y="97"/>
                    <a:pt x="1" y="97"/>
                    <a:pt x="1" y="98"/>
                  </a:cubicBezTo>
                  <a:cubicBezTo>
                    <a:pt x="0" y="99"/>
                    <a:pt x="0" y="100"/>
                    <a:pt x="0" y="101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2" y="102"/>
                    <a:pt x="4" y="103"/>
                    <a:pt x="5" y="104"/>
                  </a:cubicBezTo>
                  <a:cubicBezTo>
                    <a:pt x="5" y="105"/>
                    <a:pt x="7" y="105"/>
                    <a:pt x="8" y="106"/>
                  </a:cubicBezTo>
                  <a:cubicBezTo>
                    <a:pt x="9" y="106"/>
                    <a:pt x="9" y="106"/>
                    <a:pt x="10" y="107"/>
                  </a:cubicBezTo>
                  <a:cubicBezTo>
                    <a:pt x="10" y="107"/>
                    <a:pt x="10" y="108"/>
                    <a:pt x="10" y="109"/>
                  </a:cubicBezTo>
                  <a:cubicBezTo>
                    <a:pt x="10" y="109"/>
                    <a:pt x="11" y="110"/>
                    <a:pt x="11" y="110"/>
                  </a:cubicBezTo>
                  <a:cubicBezTo>
                    <a:pt x="15" y="111"/>
                    <a:pt x="18" y="109"/>
                    <a:pt x="22" y="110"/>
                  </a:cubicBezTo>
                  <a:cubicBezTo>
                    <a:pt x="23" y="111"/>
                    <a:pt x="23" y="112"/>
                    <a:pt x="24" y="112"/>
                  </a:cubicBezTo>
                  <a:cubicBezTo>
                    <a:pt x="25" y="113"/>
                    <a:pt x="26" y="114"/>
                    <a:pt x="28" y="115"/>
                  </a:cubicBezTo>
                  <a:cubicBezTo>
                    <a:pt x="28" y="115"/>
                    <a:pt x="28" y="115"/>
                    <a:pt x="28" y="115"/>
                  </a:cubicBezTo>
                  <a:cubicBezTo>
                    <a:pt x="30" y="115"/>
                    <a:pt x="31" y="117"/>
                    <a:pt x="33" y="118"/>
                  </a:cubicBezTo>
                  <a:cubicBezTo>
                    <a:pt x="34" y="118"/>
                    <a:pt x="34" y="119"/>
                    <a:pt x="34" y="119"/>
                  </a:cubicBezTo>
                  <a:cubicBezTo>
                    <a:pt x="35" y="120"/>
                    <a:pt x="36" y="121"/>
                    <a:pt x="37" y="123"/>
                  </a:cubicBezTo>
                  <a:cubicBezTo>
                    <a:pt x="40" y="124"/>
                    <a:pt x="44" y="127"/>
                    <a:pt x="46" y="130"/>
                  </a:cubicBezTo>
                  <a:cubicBezTo>
                    <a:pt x="46" y="132"/>
                    <a:pt x="46" y="134"/>
                    <a:pt x="47" y="135"/>
                  </a:cubicBezTo>
                  <a:cubicBezTo>
                    <a:pt x="48" y="135"/>
                    <a:pt x="50" y="135"/>
                    <a:pt x="52" y="135"/>
                  </a:cubicBezTo>
                  <a:cubicBezTo>
                    <a:pt x="53" y="134"/>
                    <a:pt x="54" y="134"/>
                    <a:pt x="55" y="133"/>
                  </a:cubicBezTo>
                  <a:cubicBezTo>
                    <a:pt x="57" y="132"/>
                    <a:pt x="59" y="134"/>
                    <a:pt x="60" y="135"/>
                  </a:cubicBezTo>
                  <a:cubicBezTo>
                    <a:pt x="61" y="135"/>
                    <a:pt x="62" y="135"/>
                    <a:pt x="63" y="135"/>
                  </a:cubicBezTo>
                  <a:cubicBezTo>
                    <a:pt x="64" y="135"/>
                    <a:pt x="64" y="134"/>
                    <a:pt x="65" y="134"/>
                  </a:cubicBezTo>
                  <a:cubicBezTo>
                    <a:pt x="66" y="133"/>
                    <a:pt x="67" y="133"/>
                    <a:pt x="67" y="134"/>
                  </a:cubicBezTo>
                  <a:cubicBezTo>
                    <a:pt x="69" y="135"/>
                    <a:pt x="70" y="136"/>
                    <a:pt x="70" y="137"/>
                  </a:cubicBezTo>
                  <a:cubicBezTo>
                    <a:pt x="71" y="139"/>
                    <a:pt x="71" y="141"/>
                    <a:pt x="70" y="142"/>
                  </a:cubicBezTo>
                  <a:cubicBezTo>
                    <a:pt x="69" y="142"/>
                    <a:pt x="68" y="143"/>
                    <a:pt x="68" y="144"/>
                  </a:cubicBezTo>
                  <a:cubicBezTo>
                    <a:pt x="68" y="145"/>
                    <a:pt x="67" y="147"/>
                    <a:pt x="68" y="147"/>
                  </a:cubicBezTo>
                  <a:cubicBezTo>
                    <a:pt x="69" y="146"/>
                    <a:pt x="70" y="147"/>
                    <a:pt x="71" y="147"/>
                  </a:cubicBezTo>
                  <a:cubicBezTo>
                    <a:pt x="71" y="148"/>
                    <a:pt x="71" y="148"/>
                    <a:pt x="71" y="148"/>
                  </a:cubicBezTo>
                  <a:cubicBezTo>
                    <a:pt x="71" y="148"/>
                    <a:pt x="71" y="148"/>
                    <a:pt x="71" y="147"/>
                  </a:cubicBezTo>
                  <a:cubicBezTo>
                    <a:pt x="72" y="147"/>
                    <a:pt x="72" y="146"/>
                    <a:pt x="72" y="145"/>
                  </a:cubicBezTo>
                  <a:cubicBezTo>
                    <a:pt x="73" y="143"/>
                    <a:pt x="74" y="140"/>
                    <a:pt x="75" y="137"/>
                  </a:cubicBezTo>
                  <a:cubicBezTo>
                    <a:pt x="75" y="134"/>
                    <a:pt x="74" y="132"/>
                    <a:pt x="75" y="129"/>
                  </a:cubicBezTo>
                  <a:cubicBezTo>
                    <a:pt x="75" y="127"/>
                    <a:pt x="75" y="125"/>
                    <a:pt x="75" y="123"/>
                  </a:cubicBezTo>
                  <a:cubicBezTo>
                    <a:pt x="75" y="123"/>
                    <a:pt x="75" y="122"/>
                    <a:pt x="74" y="121"/>
                  </a:cubicBezTo>
                  <a:cubicBezTo>
                    <a:pt x="73" y="120"/>
                    <a:pt x="72" y="120"/>
                    <a:pt x="71" y="119"/>
                  </a:cubicBezTo>
                  <a:cubicBezTo>
                    <a:pt x="70" y="116"/>
                    <a:pt x="71" y="113"/>
                    <a:pt x="70" y="110"/>
                  </a:cubicBezTo>
                  <a:cubicBezTo>
                    <a:pt x="70" y="109"/>
                    <a:pt x="70" y="109"/>
                    <a:pt x="71" y="108"/>
                  </a:cubicBezTo>
                  <a:cubicBezTo>
                    <a:pt x="73" y="108"/>
                    <a:pt x="75" y="109"/>
                    <a:pt x="76" y="108"/>
                  </a:cubicBezTo>
                  <a:cubicBezTo>
                    <a:pt x="77" y="107"/>
                    <a:pt x="77" y="106"/>
                    <a:pt x="77" y="106"/>
                  </a:cubicBezTo>
                  <a:cubicBezTo>
                    <a:pt x="76" y="105"/>
                    <a:pt x="74" y="105"/>
                    <a:pt x="73" y="104"/>
                  </a:cubicBezTo>
                  <a:cubicBezTo>
                    <a:pt x="73" y="103"/>
                    <a:pt x="74" y="102"/>
                    <a:pt x="73" y="101"/>
                  </a:cubicBezTo>
                  <a:cubicBezTo>
                    <a:pt x="73" y="101"/>
                    <a:pt x="73" y="100"/>
                    <a:pt x="73" y="100"/>
                  </a:cubicBezTo>
                  <a:cubicBezTo>
                    <a:pt x="74" y="99"/>
                    <a:pt x="75" y="100"/>
                    <a:pt x="76" y="99"/>
                  </a:cubicBezTo>
                  <a:cubicBezTo>
                    <a:pt x="77" y="99"/>
                    <a:pt x="78" y="98"/>
                    <a:pt x="78" y="98"/>
                  </a:cubicBezTo>
                  <a:cubicBezTo>
                    <a:pt x="82" y="98"/>
                    <a:pt x="86" y="98"/>
                    <a:pt x="89" y="97"/>
                  </a:cubicBezTo>
                  <a:cubicBezTo>
                    <a:pt x="89" y="96"/>
                    <a:pt x="90" y="96"/>
                    <a:pt x="90" y="97"/>
                  </a:cubicBezTo>
                  <a:cubicBezTo>
                    <a:pt x="92" y="98"/>
                    <a:pt x="92" y="100"/>
                    <a:pt x="93" y="102"/>
                  </a:cubicBezTo>
                  <a:cubicBezTo>
                    <a:pt x="94" y="103"/>
                    <a:pt x="95" y="103"/>
                    <a:pt x="96" y="103"/>
                  </a:cubicBezTo>
                  <a:cubicBezTo>
                    <a:pt x="96" y="102"/>
                    <a:pt x="96" y="101"/>
                    <a:pt x="96" y="100"/>
                  </a:cubicBezTo>
                  <a:cubicBezTo>
                    <a:pt x="95" y="98"/>
                    <a:pt x="94" y="96"/>
                    <a:pt x="92" y="93"/>
                  </a:cubicBezTo>
                  <a:cubicBezTo>
                    <a:pt x="92" y="92"/>
                    <a:pt x="90" y="93"/>
                    <a:pt x="89" y="92"/>
                  </a:cubicBezTo>
                  <a:cubicBezTo>
                    <a:pt x="88" y="91"/>
                    <a:pt x="88" y="89"/>
                    <a:pt x="88" y="88"/>
                  </a:cubicBezTo>
                  <a:cubicBezTo>
                    <a:pt x="89" y="87"/>
                    <a:pt x="90" y="86"/>
                    <a:pt x="91" y="85"/>
                  </a:cubicBezTo>
                  <a:cubicBezTo>
                    <a:pt x="92" y="84"/>
                    <a:pt x="92" y="83"/>
                    <a:pt x="92" y="82"/>
                  </a:cubicBezTo>
                  <a:cubicBezTo>
                    <a:pt x="91" y="81"/>
                    <a:pt x="90" y="80"/>
                    <a:pt x="90" y="79"/>
                  </a:cubicBezTo>
                  <a:cubicBezTo>
                    <a:pt x="90" y="78"/>
                    <a:pt x="90" y="77"/>
                    <a:pt x="90" y="76"/>
                  </a:cubicBezTo>
                  <a:cubicBezTo>
                    <a:pt x="90" y="76"/>
                    <a:pt x="89" y="75"/>
                    <a:pt x="89" y="75"/>
                  </a:cubicBezTo>
                  <a:cubicBezTo>
                    <a:pt x="89" y="73"/>
                    <a:pt x="89" y="72"/>
                    <a:pt x="89" y="71"/>
                  </a:cubicBezTo>
                  <a:cubicBezTo>
                    <a:pt x="90" y="70"/>
                    <a:pt x="90" y="70"/>
                    <a:pt x="90" y="69"/>
                  </a:cubicBezTo>
                  <a:cubicBezTo>
                    <a:pt x="90" y="66"/>
                    <a:pt x="90" y="63"/>
                    <a:pt x="92" y="62"/>
                  </a:cubicBezTo>
                  <a:cubicBezTo>
                    <a:pt x="93" y="61"/>
                    <a:pt x="94" y="59"/>
                    <a:pt x="93" y="59"/>
                  </a:cubicBezTo>
                  <a:cubicBezTo>
                    <a:pt x="92" y="58"/>
                    <a:pt x="91" y="58"/>
                    <a:pt x="89" y="58"/>
                  </a:cubicBezTo>
                  <a:cubicBezTo>
                    <a:pt x="87" y="59"/>
                    <a:pt x="86" y="59"/>
                    <a:pt x="84" y="58"/>
                  </a:cubicBezTo>
                  <a:cubicBezTo>
                    <a:pt x="85" y="59"/>
                    <a:pt x="77" y="58"/>
                    <a:pt x="77" y="58"/>
                  </a:cubicBezTo>
                  <a:cubicBezTo>
                    <a:pt x="75" y="56"/>
                    <a:pt x="73" y="53"/>
                    <a:pt x="71" y="51"/>
                  </a:cubicBezTo>
                  <a:cubicBezTo>
                    <a:pt x="67" y="50"/>
                    <a:pt x="64" y="50"/>
                    <a:pt x="61" y="50"/>
                  </a:cubicBezTo>
                  <a:cubicBezTo>
                    <a:pt x="59" y="50"/>
                    <a:pt x="58" y="49"/>
                    <a:pt x="56" y="48"/>
                  </a:cubicBezTo>
                  <a:cubicBezTo>
                    <a:pt x="55" y="48"/>
                    <a:pt x="54" y="48"/>
                    <a:pt x="53" y="47"/>
                  </a:cubicBezTo>
                  <a:cubicBezTo>
                    <a:pt x="52" y="46"/>
                    <a:pt x="52" y="45"/>
                    <a:pt x="53" y="44"/>
                  </a:cubicBezTo>
                  <a:cubicBezTo>
                    <a:pt x="55" y="42"/>
                    <a:pt x="54" y="39"/>
                    <a:pt x="53" y="37"/>
                  </a:cubicBezTo>
                  <a:cubicBezTo>
                    <a:pt x="53" y="36"/>
                    <a:pt x="52" y="34"/>
                    <a:pt x="51" y="33"/>
                  </a:cubicBezTo>
                  <a:cubicBezTo>
                    <a:pt x="51" y="32"/>
                    <a:pt x="49" y="32"/>
                    <a:pt x="47" y="32"/>
                  </a:cubicBezTo>
                  <a:cubicBezTo>
                    <a:pt x="46" y="31"/>
                    <a:pt x="46" y="30"/>
                    <a:pt x="47" y="29"/>
                  </a:cubicBezTo>
                  <a:cubicBezTo>
                    <a:pt x="49" y="26"/>
                    <a:pt x="51" y="23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16"/>
                    <a:pt x="54" y="14"/>
                    <a:pt x="56" y="12"/>
                  </a:cubicBezTo>
                  <a:lnTo>
                    <a:pt x="57" y="11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4" name="Freeform 400"/>
            <p:cNvSpPr>
              <a:spLocks/>
            </p:cNvSpPr>
            <p:nvPr/>
          </p:nvSpPr>
          <p:spPr bwMode="auto">
            <a:xfrm>
              <a:off x="6668895" y="3526800"/>
              <a:ext cx="49915" cy="50561"/>
            </a:xfrm>
            <a:custGeom>
              <a:avLst/>
              <a:gdLst>
                <a:gd name="T0" fmla="*/ 100065888 w 107"/>
                <a:gd name="T1" fmla="*/ 31736574 h 105"/>
                <a:gd name="T2" fmla="*/ 94446358 w 107"/>
                <a:gd name="T3" fmla="*/ 24210565 h 105"/>
                <a:gd name="T4" fmla="*/ 87952309 w 107"/>
                <a:gd name="T5" fmla="*/ 19855101 h 105"/>
                <a:gd name="T6" fmla="*/ 83976871 w 107"/>
                <a:gd name="T7" fmla="*/ 20708334 h 105"/>
                <a:gd name="T8" fmla="*/ 83189214 w 107"/>
                <a:gd name="T9" fmla="*/ 17785426 h 105"/>
                <a:gd name="T10" fmla="*/ 86056105 w 107"/>
                <a:gd name="T11" fmla="*/ 12237937 h 105"/>
                <a:gd name="T12" fmla="*/ 80435364 w 107"/>
                <a:gd name="T13" fmla="*/ 12237937 h 105"/>
                <a:gd name="T14" fmla="*/ 67791969 w 107"/>
                <a:gd name="T15" fmla="*/ 15797062 h 105"/>
                <a:gd name="T16" fmla="*/ 60959023 w 107"/>
                <a:gd name="T17" fmla="*/ 17785426 h 105"/>
                <a:gd name="T18" fmla="*/ 54454040 w 107"/>
                <a:gd name="T19" fmla="*/ 13961002 h 105"/>
                <a:gd name="T20" fmla="*/ 44042246 w 107"/>
                <a:gd name="T21" fmla="*/ 13961002 h 105"/>
                <a:gd name="T22" fmla="*/ 39054497 w 107"/>
                <a:gd name="T23" fmla="*/ 9612447 h 105"/>
                <a:gd name="T24" fmla="*/ 34290740 w 107"/>
                <a:gd name="T25" fmla="*/ 6688272 h 105"/>
                <a:gd name="T26" fmla="*/ 28670926 w 107"/>
                <a:gd name="T27" fmla="*/ 4694281 h 105"/>
                <a:gd name="T28" fmla="*/ 26633004 w 107"/>
                <a:gd name="T29" fmla="*/ 0 h 105"/>
                <a:gd name="T30" fmla="*/ 23907169 w 107"/>
                <a:gd name="T31" fmla="*/ 2831728 h 105"/>
                <a:gd name="T32" fmla="*/ 20160349 w 107"/>
                <a:gd name="T33" fmla="*/ 8406392 h 105"/>
                <a:gd name="T34" fmla="*/ 10383765 w 107"/>
                <a:gd name="T35" fmla="*/ 7530121 h 105"/>
                <a:gd name="T36" fmla="*/ 4763725 w 107"/>
                <a:gd name="T37" fmla="*/ 15797062 h 105"/>
                <a:gd name="T38" fmla="*/ 852066 w 107"/>
                <a:gd name="T39" fmla="*/ 24210565 h 105"/>
                <a:gd name="T40" fmla="*/ 4763725 w 107"/>
                <a:gd name="T41" fmla="*/ 28266805 h 105"/>
                <a:gd name="T42" fmla="*/ 6872275 w 107"/>
                <a:gd name="T43" fmla="*/ 38528655 h 105"/>
                <a:gd name="T44" fmla="*/ 9739956 w 107"/>
                <a:gd name="T45" fmla="*/ 42007484 h 105"/>
                <a:gd name="T46" fmla="*/ 23907169 w 107"/>
                <a:gd name="T47" fmla="*/ 44908167 h 105"/>
                <a:gd name="T48" fmla="*/ 36395283 w 107"/>
                <a:gd name="T49" fmla="*/ 51608417 h 105"/>
                <a:gd name="T50" fmla="*/ 44714101 w 107"/>
                <a:gd name="T51" fmla="*/ 52473176 h 105"/>
                <a:gd name="T52" fmla="*/ 42025397 w 107"/>
                <a:gd name="T53" fmla="*/ 61852316 h 105"/>
                <a:gd name="T54" fmla="*/ 41163854 w 107"/>
                <a:gd name="T55" fmla="*/ 67547906 h 105"/>
                <a:gd name="T56" fmla="*/ 42025397 w 107"/>
                <a:gd name="T57" fmla="*/ 71463414 h 105"/>
                <a:gd name="T58" fmla="*/ 42812979 w 107"/>
                <a:gd name="T59" fmla="*/ 77038074 h 105"/>
                <a:gd name="T60" fmla="*/ 41163854 w 107"/>
                <a:gd name="T61" fmla="*/ 83432391 h 105"/>
                <a:gd name="T62" fmla="*/ 47668837 w 107"/>
                <a:gd name="T63" fmla="*/ 91000990 h 105"/>
                <a:gd name="T64" fmla="*/ 47668837 w 107"/>
                <a:gd name="T65" fmla="*/ 93679956 h 105"/>
                <a:gd name="T66" fmla="*/ 55303893 w 107"/>
                <a:gd name="T67" fmla="*/ 97682949 h 105"/>
                <a:gd name="T68" fmla="*/ 58053467 w 107"/>
                <a:gd name="T69" fmla="*/ 96538880 h 105"/>
                <a:gd name="T70" fmla="*/ 65042583 w 107"/>
                <a:gd name="T71" fmla="*/ 91842583 h 105"/>
                <a:gd name="T72" fmla="*/ 68681886 w 107"/>
                <a:gd name="T73" fmla="*/ 87411954 h 105"/>
                <a:gd name="T74" fmla="*/ 67791969 w 107"/>
                <a:gd name="T75" fmla="*/ 82587623 h 105"/>
                <a:gd name="T76" fmla="*/ 67791969 w 107"/>
                <a:gd name="T77" fmla="*/ 78672134 h 105"/>
                <a:gd name="T78" fmla="*/ 65715686 w 107"/>
                <a:gd name="T79" fmla="*/ 69405383 h 105"/>
                <a:gd name="T80" fmla="*/ 78332655 w 107"/>
                <a:gd name="T81" fmla="*/ 72345065 h 105"/>
                <a:gd name="T82" fmla="*/ 91710667 w 107"/>
                <a:gd name="T83" fmla="*/ 66763489 h 105"/>
                <a:gd name="T84" fmla="*/ 95249299 w 107"/>
                <a:gd name="T85" fmla="*/ 62720816 h 105"/>
                <a:gd name="T86" fmla="*/ 92343820 w 107"/>
                <a:gd name="T87" fmla="*/ 56302673 h 105"/>
                <a:gd name="T88" fmla="*/ 92343820 w 107"/>
                <a:gd name="T89" fmla="*/ 56302673 h 105"/>
                <a:gd name="T90" fmla="*/ 90846893 w 107"/>
                <a:gd name="T91" fmla="*/ 51608417 h 105"/>
                <a:gd name="T92" fmla="*/ 96462867 w 107"/>
                <a:gd name="T93" fmla="*/ 46054012 h 105"/>
                <a:gd name="T94" fmla="*/ 95249299 w 107"/>
                <a:gd name="T95" fmla="*/ 43222032 h 105"/>
                <a:gd name="T96" fmla="*/ 99368422 w 107"/>
                <a:gd name="T97" fmla="*/ 35811350 h 105"/>
                <a:gd name="T98" fmla="*/ 102083608 w 107"/>
                <a:gd name="T99" fmla="*/ 31736574 h 10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07"/>
                <a:gd name="T151" fmla="*/ 0 h 105"/>
                <a:gd name="T152" fmla="*/ 107 w 107"/>
                <a:gd name="T153" fmla="*/ 105 h 10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07" h="105">
                  <a:moveTo>
                    <a:pt x="107" y="34"/>
                  </a:moveTo>
                  <a:cubicBezTo>
                    <a:pt x="106" y="34"/>
                    <a:pt x="106" y="34"/>
                    <a:pt x="105" y="34"/>
                  </a:cubicBezTo>
                  <a:cubicBezTo>
                    <a:pt x="104" y="33"/>
                    <a:pt x="102" y="33"/>
                    <a:pt x="100" y="33"/>
                  </a:cubicBezTo>
                  <a:cubicBezTo>
                    <a:pt x="98" y="31"/>
                    <a:pt x="100" y="28"/>
                    <a:pt x="99" y="26"/>
                  </a:cubicBezTo>
                  <a:cubicBezTo>
                    <a:pt x="98" y="24"/>
                    <a:pt x="96" y="23"/>
                    <a:pt x="94" y="22"/>
                  </a:cubicBezTo>
                  <a:cubicBezTo>
                    <a:pt x="93" y="22"/>
                    <a:pt x="93" y="21"/>
                    <a:pt x="92" y="21"/>
                  </a:cubicBezTo>
                  <a:cubicBezTo>
                    <a:pt x="92" y="21"/>
                    <a:pt x="90" y="21"/>
                    <a:pt x="90" y="21"/>
                  </a:cubicBezTo>
                  <a:cubicBezTo>
                    <a:pt x="89" y="22"/>
                    <a:pt x="88" y="22"/>
                    <a:pt x="88" y="22"/>
                  </a:cubicBezTo>
                  <a:cubicBezTo>
                    <a:pt x="87" y="21"/>
                    <a:pt x="87" y="20"/>
                    <a:pt x="87" y="20"/>
                  </a:cubicBezTo>
                  <a:cubicBezTo>
                    <a:pt x="87" y="20"/>
                    <a:pt x="87" y="19"/>
                    <a:pt x="87" y="19"/>
                  </a:cubicBezTo>
                  <a:cubicBezTo>
                    <a:pt x="86" y="18"/>
                    <a:pt x="85" y="17"/>
                    <a:pt x="85" y="15"/>
                  </a:cubicBezTo>
                  <a:cubicBezTo>
                    <a:pt x="87" y="15"/>
                    <a:pt x="90" y="15"/>
                    <a:pt x="90" y="13"/>
                  </a:cubicBezTo>
                  <a:cubicBezTo>
                    <a:pt x="88" y="13"/>
                    <a:pt x="86" y="13"/>
                    <a:pt x="84" y="13"/>
                  </a:cubicBezTo>
                  <a:cubicBezTo>
                    <a:pt x="84" y="13"/>
                    <a:pt x="84" y="13"/>
                    <a:pt x="84" y="13"/>
                  </a:cubicBezTo>
                  <a:cubicBezTo>
                    <a:pt x="81" y="14"/>
                    <a:pt x="79" y="14"/>
                    <a:pt x="76" y="15"/>
                  </a:cubicBezTo>
                  <a:cubicBezTo>
                    <a:pt x="74" y="15"/>
                    <a:pt x="73" y="16"/>
                    <a:pt x="71" y="17"/>
                  </a:cubicBezTo>
                  <a:cubicBezTo>
                    <a:pt x="70" y="18"/>
                    <a:pt x="69" y="19"/>
                    <a:pt x="67" y="19"/>
                  </a:cubicBezTo>
                  <a:cubicBezTo>
                    <a:pt x="66" y="20"/>
                    <a:pt x="65" y="20"/>
                    <a:pt x="64" y="19"/>
                  </a:cubicBezTo>
                  <a:cubicBezTo>
                    <a:pt x="63" y="19"/>
                    <a:pt x="62" y="19"/>
                    <a:pt x="60" y="18"/>
                  </a:cubicBezTo>
                  <a:cubicBezTo>
                    <a:pt x="59" y="17"/>
                    <a:pt x="58" y="16"/>
                    <a:pt x="57" y="15"/>
                  </a:cubicBezTo>
                  <a:cubicBezTo>
                    <a:pt x="56" y="14"/>
                    <a:pt x="54" y="14"/>
                    <a:pt x="53" y="14"/>
                  </a:cubicBezTo>
                  <a:cubicBezTo>
                    <a:pt x="51" y="14"/>
                    <a:pt x="48" y="14"/>
                    <a:pt x="46" y="15"/>
                  </a:cubicBezTo>
                  <a:cubicBezTo>
                    <a:pt x="45" y="15"/>
                    <a:pt x="43" y="16"/>
                    <a:pt x="42" y="15"/>
                  </a:cubicBezTo>
                  <a:cubicBezTo>
                    <a:pt x="41" y="13"/>
                    <a:pt x="42" y="12"/>
                    <a:pt x="41" y="10"/>
                  </a:cubicBezTo>
                  <a:cubicBezTo>
                    <a:pt x="41" y="10"/>
                    <a:pt x="40" y="9"/>
                    <a:pt x="40" y="9"/>
                  </a:cubicBezTo>
                  <a:cubicBezTo>
                    <a:pt x="38" y="9"/>
                    <a:pt x="37" y="8"/>
                    <a:pt x="36" y="7"/>
                  </a:cubicBezTo>
                  <a:cubicBezTo>
                    <a:pt x="34" y="7"/>
                    <a:pt x="33" y="7"/>
                    <a:pt x="31" y="7"/>
                  </a:cubicBezTo>
                  <a:cubicBezTo>
                    <a:pt x="31" y="7"/>
                    <a:pt x="30" y="6"/>
                    <a:pt x="30" y="5"/>
                  </a:cubicBezTo>
                  <a:cubicBezTo>
                    <a:pt x="30" y="4"/>
                    <a:pt x="30" y="3"/>
                    <a:pt x="30" y="2"/>
                  </a:cubicBezTo>
                  <a:cubicBezTo>
                    <a:pt x="30" y="2"/>
                    <a:pt x="29" y="1"/>
                    <a:pt x="28" y="0"/>
                  </a:cubicBezTo>
                  <a:cubicBezTo>
                    <a:pt x="28" y="0"/>
                    <a:pt x="27" y="0"/>
                    <a:pt x="26" y="0"/>
                  </a:cubicBezTo>
                  <a:cubicBezTo>
                    <a:pt x="25" y="0"/>
                    <a:pt x="25" y="2"/>
                    <a:pt x="25" y="3"/>
                  </a:cubicBezTo>
                  <a:cubicBezTo>
                    <a:pt x="26" y="5"/>
                    <a:pt x="28" y="6"/>
                    <a:pt x="27" y="8"/>
                  </a:cubicBezTo>
                  <a:cubicBezTo>
                    <a:pt x="25" y="9"/>
                    <a:pt x="23" y="8"/>
                    <a:pt x="21" y="9"/>
                  </a:cubicBezTo>
                  <a:cubicBezTo>
                    <a:pt x="19" y="10"/>
                    <a:pt x="17" y="12"/>
                    <a:pt x="15" y="11"/>
                  </a:cubicBezTo>
                  <a:cubicBezTo>
                    <a:pt x="14" y="10"/>
                    <a:pt x="13" y="9"/>
                    <a:pt x="11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8" y="11"/>
                    <a:pt x="5" y="13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20"/>
                    <a:pt x="3" y="23"/>
                    <a:pt x="1" y="26"/>
                  </a:cubicBezTo>
                  <a:cubicBezTo>
                    <a:pt x="0" y="27"/>
                    <a:pt x="0" y="28"/>
                    <a:pt x="1" y="29"/>
                  </a:cubicBezTo>
                  <a:cubicBezTo>
                    <a:pt x="3" y="29"/>
                    <a:pt x="5" y="29"/>
                    <a:pt x="5" y="30"/>
                  </a:cubicBezTo>
                  <a:cubicBezTo>
                    <a:pt x="6" y="31"/>
                    <a:pt x="7" y="33"/>
                    <a:pt x="7" y="34"/>
                  </a:cubicBezTo>
                  <a:cubicBezTo>
                    <a:pt x="8" y="36"/>
                    <a:pt x="9" y="39"/>
                    <a:pt x="7" y="41"/>
                  </a:cubicBezTo>
                  <a:cubicBezTo>
                    <a:pt x="6" y="42"/>
                    <a:pt x="6" y="43"/>
                    <a:pt x="7" y="44"/>
                  </a:cubicBezTo>
                  <a:cubicBezTo>
                    <a:pt x="8" y="45"/>
                    <a:pt x="9" y="45"/>
                    <a:pt x="10" y="45"/>
                  </a:cubicBezTo>
                  <a:cubicBezTo>
                    <a:pt x="12" y="46"/>
                    <a:pt x="13" y="47"/>
                    <a:pt x="15" y="47"/>
                  </a:cubicBezTo>
                  <a:cubicBezTo>
                    <a:pt x="18" y="47"/>
                    <a:pt x="21" y="47"/>
                    <a:pt x="25" y="48"/>
                  </a:cubicBezTo>
                  <a:cubicBezTo>
                    <a:pt x="27" y="50"/>
                    <a:pt x="29" y="53"/>
                    <a:pt x="31" y="55"/>
                  </a:cubicBezTo>
                  <a:cubicBezTo>
                    <a:pt x="31" y="55"/>
                    <a:pt x="39" y="56"/>
                    <a:pt x="38" y="55"/>
                  </a:cubicBezTo>
                  <a:cubicBezTo>
                    <a:pt x="40" y="56"/>
                    <a:pt x="41" y="56"/>
                    <a:pt x="43" y="55"/>
                  </a:cubicBezTo>
                  <a:cubicBezTo>
                    <a:pt x="45" y="55"/>
                    <a:pt x="46" y="55"/>
                    <a:pt x="47" y="56"/>
                  </a:cubicBezTo>
                  <a:cubicBezTo>
                    <a:pt x="48" y="56"/>
                    <a:pt x="47" y="58"/>
                    <a:pt x="46" y="59"/>
                  </a:cubicBezTo>
                  <a:cubicBezTo>
                    <a:pt x="44" y="60"/>
                    <a:pt x="44" y="63"/>
                    <a:pt x="44" y="66"/>
                  </a:cubicBezTo>
                  <a:cubicBezTo>
                    <a:pt x="44" y="67"/>
                    <a:pt x="44" y="67"/>
                    <a:pt x="43" y="68"/>
                  </a:cubicBezTo>
                  <a:cubicBezTo>
                    <a:pt x="43" y="69"/>
                    <a:pt x="43" y="70"/>
                    <a:pt x="43" y="72"/>
                  </a:cubicBezTo>
                  <a:cubicBezTo>
                    <a:pt x="43" y="72"/>
                    <a:pt x="44" y="73"/>
                    <a:pt x="44" y="73"/>
                  </a:cubicBezTo>
                  <a:cubicBezTo>
                    <a:pt x="44" y="74"/>
                    <a:pt x="44" y="75"/>
                    <a:pt x="44" y="76"/>
                  </a:cubicBezTo>
                  <a:cubicBezTo>
                    <a:pt x="44" y="77"/>
                    <a:pt x="45" y="78"/>
                    <a:pt x="46" y="79"/>
                  </a:cubicBezTo>
                  <a:cubicBezTo>
                    <a:pt x="46" y="80"/>
                    <a:pt x="46" y="81"/>
                    <a:pt x="45" y="82"/>
                  </a:cubicBezTo>
                  <a:cubicBezTo>
                    <a:pt x="44" y="83"/>
                    <a:pt x="43" y="84"/>
                    <a:pt x="42" y="85"/>
                  </a:cubicBezTo>
                  <a:cubicBezTo>
                    <a:pt x="42" y="86"/>
                    <a:pt x="42" y="88"/>
                    <a:pt x="43" y="89"/>
                  </a:cubicBezTo>
                  <a:cubicBezTo>
                    <a:pt x="44" y="90"/>
                    <a:pt x="46" y="89"/>
                    <a:pt x="46" y="90"/>
                  </a:cubicBezTo>
                  <a:cubicBezTo>
                    <a:pt x="48" y="93"/>
                    <a:pt x="49" y="95"/>
                    <a:pt x="50" y="97"/>
                  </a:cubicBezTo>
                  <a:cubicBezTo>
                    <a:pt x="50" y="98"/>
                    <a:pt x="50" y="99"/>
                    <a:pt x="50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51" y="102"/>
                    <a:pt x="53" y="104"/>
                    <a:pt x="55" y="104"/>
                  </a:cubicBezTo>
                  <a:cubicBezTo>
                    <a:pt x="56" y="105"/>
                    <a:pt x="57" y="105"/>
                    <a:pt x="58" y="104"/>
                  </a:cubicBezTo>
                  <a:cubicBezTo>
                    <a:pt x="58" y="104"/>
                    <a:pt x="59" y="103"/>
                    <a:pt x="60" y="103"/>
                  </a:cubicBezTo>
                  <a:cubicBezTo>
                    <a:pt x="60" y="103"/>
                    <a:pt x="60" y="103"/>
                    <a:pt x="61" y="103"/>
                  </a:cubicBezTo>
                  <a:cubicBezTo>
                    <a:pt x="62" y="102"/>
                    <a:pt x="63" y="101"/>
                    <a:pt x="64" y="100"/>
                  </a:cubicBezTo>
                  <a:cubicBezTo>
                    <a:pt x="65" y="99"/>
                    <a:pt x="67" y="99"/>
                    <a:pt x="68" y="98"/>
                  </a:cubicBezTo>
                  <a:cubicBezTo>
                    <a:pt x="70" y="97"/>
                    <a:pt x="70" y="95"/>
                    <a:pt x="71" y="94"/>
                  </a:cubicBezTo>
                  <a:cubicBezTo>
                    <a:pt x="71" y="93"/>
                    <a:pt x="72" y="93"/>
                    <a:pt x="72" y="93"/>
                  </a:cubicBezTo>
                  <a:cubicBezTo>
                    <a:pt x="74" y="92"/>
                    <a:pt x="77" y="92"/>
                    <a:pt x="77" y="90"/>
                  </a:cubicBezTo>
                  <a:cubicBezTo>
                    <a:pt x="75" y="89"/>
                    <a:pt x="73" y="88"/>
                    <a:pt x="71" y="88"/>
                  </a:cubicBezTo>
                  <a:cubicBezTo>
                    <a:pt x="71" y="88"/>
                    <a:pt x="71" y="88"/>
                    <a:pt x="71" y="87"/>
                  </a:cubicBezTo>
                  <a:cubicBezTo>
                    <a:pt x="71" y="86"/>
                    <a:pt x="71" y="85"/>
                    <a:pt x="71" y="84"/>
                  </a:cubicBezTo>
                  <a:cubicBezTo>
                    <a:pt x="72" y="82"/>
                    <a:pt x="72" y="80"/>
                    <a:pt x="71" y="79"/>
                  </a:cubicBezTo>
                  <a:cubicBezTo>
                    <a:pt x="71" y="77"/>
                    <a:pt x="69" y="75"/>
                    <a:pt x="69" y="74"/>
                  </a:cubicBezTo>
                  <a:cubicBezTo>
                    <a:pt x="69" y="73"/>
                    <a:pt x="70" y="73"/>
                    <a:pt x="70" y="74"/>
                  </a:cubicBezTo>
                  <a:cubicBezTo>
                    <a:pt x="74" y="75"/>
                    <a:pt x="78" y="77"/>
                    <a:pt x="82" y="77"/>
                  </a:cubicBezTo>
                  <a:cubicBezTo>
                    <a:pt x="81" y="76"/>
                    <a:pt x="83" y="74"/>
                    <a:pt x="85" y="74"/>
                  </a:cubicBezTo>
                  <a:cubicBezTo>
                    <a:pt x="88" y="74"/>
                    <a:pt x="93" y="74"/>
                    <a:pt x="96" y="71"/>
                  </a:cubicBezTo>
                  <a:cubicBezTo>
                    <a:pt x="97" y="70"/>
                    <a:pt x="99" y="70"/>
                    <a:pt x="99" y="69"/>
                  </a:cubicBezTo>
                  <a:cubicBezTo>
                    <a:pt x="100" y="68"/>
                    <a:pt x="100" y="68"/>
                    <a:pt x="100" y="67"/>
                  </a:cubicBezTo>
                  <a:cubicBezTo>
                    <a:pt x="100" y="66"/>
                    <a:pt x="101" y="65"/>
                    <a:pt x="100" y="64"/>
                  </a:cubicBezTo>
                  <a:cubicBezTo>
                    <a:pt x="99" y="63"/>
                    <a:pt x="98" y="62"/>
                    <a:pt x="97" y="60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6" y="59"/>
                    <a:pt x="95" y="58"/>
                    <a:pt x="95" y="57"/>
                  </a:cubicBezTo>
                  <a:cubicBezTo>
                    <a:pt x="94" y="56"/>
                    <a:pt x="95" y="56"/>
                    <a:pt x="95" y="55"/>
                  </a:cubicBezTo>
                  <a:cubicBezTo>
                    <a:pt x="95" y="53"/>
                    <a:pt x="96" y="52"/>
                    <a:pt x="97" y="51"/>
                  </a:cubicBezTo>
                  <a:cubicBezTo>
                    <a:pt x="98" y="50"/>
                    <a:pt x="100" y="50"/>
                    <a:pt x="101" y="49"/>
                  </a:cubicBezTo>
                  <a:cubicBezTo>
                    <a:pt x="102" y="49"/>
                    <a:pt x="102" y="48"/>
                    <a:pt x="102" y="47"/>
                  </a:cubicBezTo>
                  <a:cubicBezTo>
                    <a:pt x="102" y="46"/>
                    <a:pt x="101" y="46"/>
                    <a:pt x="100" y="46"/>
                  </a:cubicBezTo>
                  <a:cubicBezTo>
                    <a:pt x="100" y="45"/>
                    <a:pt x="100" y="44"/>
                    <a:pt x="101" y="43"/>
                  </a:cubicBezTo>
                  <a:cubicBezTo>
                    <a:pt x="101" y="41"/>
                    <a:pt x="102" y="40"/>
                    <a:pt x="104" y="38"/>
                  </a:cubicBezTo>
                  <a:cubicBezTo>
                    <a:pt x="105" y="38"/>
                    <a:pt x="105" y="36"/>
                    <a:pt x="106" y="36"/>
                  </a:cubicBezTo>
                  <a:lnTo>
                    <a:pt x="107" y="34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5" name="Freeform 401"/>
            <p:cNvSpPr>
              <a:spLocks/>
            </p:cNvSpPr>
            <p:nvPr/>
          </p:nvSpPr>
          <p:spPr bwMode="auto">
            <a:xfrm>
              <a:off x="6666637" y="3557352"/>
              <a:ext cx="145481" cy="175476"/>
            </a:xfrm>
            <a:custGeom>
              <a:avLst/>
              <a:gdLst>
                <a:gd name="T0" fmla="*/ 161478451 w 312"/>
                <a:gd name="T1" fmla="*/ 338095197 h 363"/>
                <a:gd name="T2" fmla="*/ 171739755 w 312"/>
                <a:gd name="T3" fmla="*/ 314026528 h 363"/>
                <a:gd name="T4" fmla="*/ 175817971 w 312"/>
                <a:gd name="T5" fmla="*/ 314867077 h 363"/>
                <a:gd name="T6" fmla="*/ 180519198 w 312"/>
                <a:gd name="T7" fmla="*/ 312049130 h 363"/>
                <a:gd name="T8" fmla="*/ 193706126 w 312"/>
                <a:gd name="T9" fmla="*/ 286141240 h 363"/>
                <a:gd name="T10" fmla="*/ 206839687 w 312"/>
                <a:gd name="T11" fmla="*/ 251351906 h 363"/>
                <a:gd name="T12" fmla="*/ 217945177 w 312"/>
                <a:gd name="T13" fmla="*/ 245841874 h 363"/>
                <a:gd name="T14" fmla="*/ 240701611 w 312"/>
                <a:gd name="T15" fmla="*/ 240318244 h 363"/>
                <a:gd name="T16" fmla="*/ 247035878 w 312"/>
                <a:gd name="T17" fmla="*/ 230005615 h 363"/>
                <a:gd name="T18" fmla="*/ 256669636 w 312"/>
                <a:gd name="T19" fmla="*/ 208739859 h 363"/>
                <a:gd name="T20" fmla="*/ 262229260 w 312"/>
                <a:gd name="T21" fmla="*/ 169625240 h 363"/>
                <a:gd name="T22" fmla="*/ 262229260 w 312"/>
                <a:gd name="T23" fmla="*/ 156580675 h 363"/>
                <a:gd name="T24" fmla="*/ 275352390 w 312"/>
                <a:gd name="T25" fmla="*/ 136906795 h 363"/>
                <a:gd name="T26" fmla="*/ 292368844 w 312"/>
                <a:gd name="T27" fmla="*/ 110160849 h 363"/>
                <a:gd name="T28" fmla="*/ 280912013 w 312"/>
                <a:gd name="T29" fmla="*/ 88416117 h 363"/>
                <a:gd name="T30" fmla="*/ 265782883 w 312"/>
                <a:gd name="T31" fmla="*/ 78083033 h 363"/>
                <a:gd name="T32" fmla="*/ 239499584 w 312"/>
                <a:gd name="T33" fmla="*/ 67045670 h 363"/>
                <a:gd name="T34" fmla="*/ 214391100 w 312"/>
                <a:gd name="T35" fmla="*/ 56844286 h 363"/>
                <a:gd name="T36" fmla="*/ 192507122 w 312"/>
                <a:gd name="T37" fmla="*/ 53316677 h 363"/>
                <a:gd name="T38" fmla="*/ 188941555 w 312"/>
                <a:gd name="T39" fmla="*/ 49265783 h 363"/>
                <a:gd name="T40" fmla="*/ 179367664 w 312"/>
                <a:gd name="T41" fmla="*/ 48490734 h 363"/>
                <a:gd name="T42" fmla="*/ 166183911 w 312"/>
                <a:gd name="T43" fmla="*/ 56844286 h 363"/>
                <a:gd name="T44" fmla="*/ 178680402 w 312"/>
                <a:gd name="T45" fmla="*/ 35472942 h 363"/>
                <a:gd name="T46" fmla="*/ 169106511 w 312"/>
                <a:gd name="T47" fmla="*/ 12179156 h 363"/>
                <a:gd name="T48" fmla="*/ 158849441 w 312"/>
                <a:gd name="T49" fmla="*/ 21232203 h 363"/>
                <a:gd name="T50" fmla="*/ 145662626 w 312"/>
                <a:gd name="T51" fmla="*/ 26896787 h 363"/>
                <a:gd name="T52" fmla="*/ 133189492 w 312"/>
                <a:gd name="T53" fmla="*/ 28753535 h 363"/>
                <a:gd name="T54" fmla="*/ 115721918 w 312"/>
                <a:gd name="T55" fmla="*/ 31571879 h 363"/>
                <a:gd name="T56" fmla="*/ 103368065 w 312"/>
                <a:gd name="T57" fmla="*/ 24077575 h 363"/>
                <a:gd name="T58" fmla="*/ 105452149 w 312"/>
                <a:gd name="T59" fmla="*/ 7494335 h 363"/>
                <a:gd name="T60" fmla="*/ 97823786 w 312"/>
                <a:gd name="T61" fmla="*/ 5514075 h 363"/>
                <a:gd name="T62" fmla="*/ 71589223 w 312"/>
                <a:gd name="T63" fmla="*/ 15025301 h 363"/>
                <a:gd name="T64" fmla="*/ 71589223 w 312"/>
                <a:gd name="T65" fmla="*/ 28753535 h 363"/>
                <a:gd name="T66" fmla="*/ 56384163 w 312"/>
                <a:gd name="T67" fmla="*/ 38292192 h 363"/>
                <a:gd name="T68" fmla="*/ 34715058 w 312"/>
                <a:gd name="T69" fmla="*/ 29959114 h 363"/>
                <a:gd name="T70" fmla="*/ 33017899 w 312"/>
                <a:gd name="T71" fmla="*/ 39066089 h 363"/>
                <a:gd name="T72" fmla="*/ 31815833 w 312"/>
                <a:gd name="T73" fmla="*/ 58831430 h 363"/>
                <a:gd name="T74" fmla="*/ 28939361 w 312"/>
                <a:gd name="T75" fmla="*/ 78083033 h 363"/>
                <a:gd name="T76" fmla="*/ 13132319 w 312"/>
                <a:gd name="T77" fmla="*/ 83747391 h 363"/>
                <a:gd name="T78" fmla="*/ 0 w 312"/>
                <a:gd name="T79" fmla="*/ 101435714 h 363"/>
                <a:gd name="T80" fmla="*/ 15178022 w 312"/>
                <a:gd name="T81" fmla="*/ 129312465 h 363"/>
                <a:gd name="T82" fmla="*/ 23393571 w 312"/>
                <a:gd name="T83" fmla="*/ 128692667 h 363"/>
                <a:gd name="T84" fmla="*/ 38573100 w 312"/>
                <a:gd name="T85" fmla="*/ 138894014 h 363"/>
                <a:gd name="T86" fmla="*/ 62811972 w 312"/>
                <a:gd name="T87" fmla="*/ 134202547 h 363"/>
                <a:gd name="T88" fmla="*/ 82694656 w 312"/>
                <a:gd name="T89" fmla="*/ 153901208 h 363"/>
                <a:gd name="T90" fmla="*/ 96672252 w 312"/>
                <a:gd name="T91" fmla="*/ 159426840 h 363"/>
                <a:gd name="T92" fmla="*/ 103368065 w 312"/>
                <a:gd name="T93" fmla="*/ 182629651 h 363"/>
                <a:gd name="T94" fmla="*/ 117345737 w 312"/>
                <a:gd name="T95" fmla="*/ 189019214 h 363"/>
                <a:gd name="T96" fmla="*/ 122111139 w 312"/>
                <a:gd name="T97" fmla="*/ 207552695 h 363"/>
                <a:gd name="T98" fmla="*/ 126136216 w 312"/>
                <a:gd name="T99" fmla="*/ 234804738 h 363"/>
                <a:gd name="T100" fmla="*/ 141941345 w 312"/>
                <a:gd name="T101" fmla="*/ 247822143 h 363"/>
                <a:gd name="T102" fmla="*/ 149584976 w 312"/>
                <a:gd name="T103" fmla="*/ 260867350 h 363"/>
                <a:gd name="T104" fmla="*/ 150363475 w 312"/>
                <a:gd name="T105" fmla="*/ 279394183 h 363"/>
                <a:gd name="T106" fmla="*/ 129690142 w 312"/>
                <a:gd name="T107" fmla="*/ 306523535 h 363"/>
                <a:gd name="T108" fmla="*/ 147500741 w 312"/>
                <a:gd name="T109" fmla="*/ 315733917 h 36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12"/>
                <a:gd name="T166" fmla="*/ 0 h 363"/>
                <a:gd name="T167" fmla="*/ 312 w 312"/>
                <a:gd name="T168" fmla="*/ 363 h 36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12" h="363">
                  <a:moveTo>
                    <a:pt x="173" y="352"/>
                  </a:moveTo>
                  <a:cubicBezTo>
                    <a:pt x="173" y="351"/>
                    <a:pt x="174" y="350"/>
                    <a:pt x="175" y="350"/>
                  </a:cubicBezTo>
                  <a:cubicBezTo>
                    <a:pt x="175" y="349"/>
                    <a:pt x="175" y="349"/>
                    <a:pt x="175" y="349"/>
                  </a:cubicBezTo>
                  <a:cubicBezTo>
                    <a:pt x="176" y="350"/>
                    <a:pt x="176" y="351"/>
                    <a:pt x="176" y="351"/>
                  </a:cubicBezTo>
                  <a:cubicBezTo>
                    <a:pt x="175" y="354"/>
                    <a:pt x="172" y="355"/>
                    <a:pt x="171" y="358"/>
                  </a:cubicBezTo>
                  <a:cubicBezTo>
                    <a:pt x="171" y="360"/>
                    <a:pt x="172" y="361"/>
                    <a:pt x="172" y="363"/>
                  </a:cubicBezTo>
                  <a:cubicBezTo>
                    <a:pt x="173" y="363"/>
                    <a:pt x="174" y="362"/>
                    <a:pt x="175" y="361"/>
                  </a:cubicBezTo>
                  <a:cubicBezTo>
                    <a:pt x="175" y="361"/>
                    <a:pt x="175" y="360"/>
                    <a:pt x="176" y="359"/>
                  </a:cubicBezTo>
                  <a:cubicBezTo>
                    <a:pt x="176" y="358"/>
                    <a:pt x="177" y="356"/>
                    <a:pt x="178" y="355"/>
                  </a:cubicBezTo>
                  <a:cubicBezTo>
                    <a:pt x="179" y="353"/>
                    <a:pt x="180" y="350"/>
                    <a:pt x="180" y="348"/>
                  </a:cubicBezTo>
                  <a:cubicBezTo>
                    <a:pt x="181" y="346"/>
                    <a:pt x="179" y="345"/>
                    <a:pt x="180" y="344"/>
                  </a:cubicBezTo>
                  <a:cubicBezTo>
                    <a:pt x="181" y="342"/>
                    <a:pt x="182" y="340"/>
                    <a:pt x="183" y="337"/>
                  </a:cubicBezTo>
                  <a:cubicBezTo>
                    <a:pt x="183" y="337"/>
                    <a:pt x="184" y="336"/>
                    <a:pt x="184" y="336"/>
                  </a:cubicBezTo>
                  <a:cubicBezTo>
                    <a:pt x="187" y="335"/>
                    <a:pt x="185" y="331"/>
                    <a:pt x="187" y="328"/>
                  </a:cubicBezTo>
                  <a:cubicBezTo>
                    <a:pt x="187" y="328"/>
                    <a:pt x="187" y="327"/>
                    <a:pt x="187" y="328"/>
                  </a:cubicBezTo>
                  <a:cubicBezTo>
                    <a:pt x="187" y="328"/>
                    <a:pt x="187" y="329"/>
                    <a:pt x="187" y="329"/>
                  </a:cubicBezTo>
                  <a:cubicBezTo>
                    <a:pt x="189" y="330"/>
                    <a:pt x="192" y="331"/>
                    <a:pt x="191" y="333"/>
                  </a:cubicBezTo>
                  <a:cubicBezTo>
                    <a:pt x="190" y="335"/>
                    <a:pt x="188" y="336"/>
                    <a:pt x="187" y="338"/>
                  </a:cubicBezTo>
                  <a:cubicBezTo>
                    <a:pt x="187" y="338"/>
                    <a:pt x="187" y="339"/>
                    <a:pt x="187" y="340"/>
                  </a:cubicBezTo>
                  <a:cubicBezTo>
                    <a:pt x="186" y="342"/>
                    <a:pt x="183" y="343"/>
                    <a:pt x="182" y="345"/>
                  </a:cubicBezTo>
                  <a:cubicBezTo>
                    <a:pt x="182" y="345"/>
                    <a:pt x="182" y="346"/>
                    <a:pt x="182" y="346"/>
                  </a:cubicBezTo>
                  <a:cubicBezTo>
                    <a:pt x="182" y="346"/>
                    <a:pt x="183" y="346"/>
                    <a:pt x="183" y="346"/>
                  </a:cubicBezTo>
                  <a:cubicBezTo>
                    <a:pt x="186" y="343"/>
                    <a:pt x="189" y="341"/>
                    <a:pt x="191" y="336"/>
                  </a:cubicBezTo>
                  <a:cubicBezTo>
                    <a:pt x="191" y="336"/>
                    <a:pt x="192" y="336"/>
                    <a:pt x="192" y="335"/>
                  </a:cubicBezTo>
                  <a:cubicBezTo>
                    <a:pt x="193" y="333"/>
                    <a:pt x="192" y="331"/>
                    <a:pt x="193" y="329"/>
                  </a:cubicBezTo>
                  <a:cubicBezTo>
                    <a:pt x="194" y="327"/>
                    <a:pt x="196" y="325"/>
                    <a:pt x="197" y="323"/>
                  </a:cubicBezTo>
                  <a:cubicBezTo>
                    <a:pt x="198" y="321"/>
                    <a:pt x="199" y="319"/>
                    <a:pt x="200" y="318"/>
                  </a:cubicBezTo>
                  <a:cubicBezTo>
                    <a:pt x="201" y="317"/>
                    <a:pt x="202" y="316"/>
                    <a:pt x="203" y="314"/>
                  </a:cubicBezTo>
                  <a:cubicBezTo>
                    <a:pt x="203" y="314"/>
                    <a:pt x="204" y="313"/>
                    <a:pt x="204" y="313"/>
                  </a:cubicBezTo>
                  <a:cubicBezTo>
                    <a:pt x="204" y="311"/>
                    <a:pt x="205" y="309"/>
                    <a:pt x="206" y="307"/>
                  </a:cubicBezTo>
                  <a:cubicBezTo>
                    <a:pt x="206" y="303"/>
                    <a:pt x="207" y="298"/>
                    <a:pt x="204" y="294"/>
                  </a:cubicBezTo>
                  <a:cubicBezTo>
                    <a:pt x="204" y="291"/>
                    <a:pt x="205" y="288"/>
                    <a:pt x="205" y="285"/>
                  </a:cubicBezTo>
                  <a:cubicBezTo>
                    <a:pt x="206" y="283"/>
                    <a:pt x="209" y="282"/>
                    <a:pt x="210" y="280"/>
                  </a:cubicBezTo>
                  <a:cubicBezTo>
                    <a:pt x="211" y="279"/>
                    <a:pt x="211" y="278"/>
                    <a:pt x="212" y="278"/>
                  </a:cubicBezTo>
                  <a:cubicBezTo>
                    <a:pt x="212" y="276"/>
                    <a:pt x="213" y="275"/>
                    <a:pt x="214" y="274"/>
                  </a:cubicBezTo>
                  <a:cubicBezTo>
                    <a:pt x="216" y="273"/>
                    <a:pt x="218" y="272"/>
                    <a:pt x="220" y="270"/>
                  </a:cubicBezTo>
                  <a:cubicBezTo>
                    <a:pt x="220" y="270"/>
                    <a:pt x="221" y="270"/>
                    <a:pt x="221" y="270"/>
                  </a:cubicBezTo>
                  <a:cubicBezTo>
                    <a:pt x="222" y="269"/>
                    <a:pt x="223" y="268"/>
                    <a:pt x="224" y="268"/>
                  </a:cubicBezTo>
                  <a:cubicBezTo>
                    <a:pt x="225" y="267"/>
                    <a:pt x="227" y="267"/>
                    <a:pt x="228" y="267"/>
                  </a:cubicBezTo>
                  <a:cubicBezTo>
                    <a:pt x="228" y="267"/>
                    <a:pt x="228" y="267"/>
                    <a:pt x="228" y="267"/>
                  </a:cubicBezTo>
                  <a:cubicBezTo>
                    <a:pt x="228" y="267"/>
                    <a:pt x="229" y="268"/>
                    <a:pt x="230" y="267"/>
                  </a:cubicBezTo>
                  <a:cubicBezTo>
                    <a:pt x="230" y="266"/>
                    <a:pt x="231" y="265"/>
                    <a:pt x="232" y="264"/>
                  </a:cubicBezTo>
                  <a:cubicBezTo>
                    <a:pt x="233" y="264"/>
                    <a:pt x="234" y="264"/>
                    <a:pt x="235" y="264"/>
                  </a:cubicBezTo>
                  <a:cubicBezTo>
                    <a:pt x="236" y="263"/>
                    <a:pt x="236" y="261"/>
                    <a:pt x="237" y="260"/>
                  </a:cubicBezTo>
                  <a:cubicBezTo>
                    <a:pt x="238" y="258"/>
                    <a:pt x="241" y="259"/>
                    <a:pt x="243" y="259"/>
                  </a:cubicBezTo>
                  <a:cubicBezTo>
                    <a:pt x="244" y="260"/>
                    <a:pt x="246" y="260"/>
                    <a:pt x="248" y="260"/>
                  </a:cubicBezTo>
                  <a:cubicBezTo>
                    <a:pt x="249" y="260"/>
                    <a:pt x="249" y="259"/>
                    <a:pt x="250" y="259"/>
                  </a:cubicBezTo>
                  <a:cubicBezTo>
                    <a:pt x="251" y="258"/>
                    <a:pt x="254" y="259"/>
                    <a:pt x="256" y="258"/>
                  </a:cubicBezTo>
                  <a:cubicBezTo>
                    <a:pt x="257" y="257"/>
                    <a:pt x="256" y="256"/>
                    <a:pt x="257" y="255"/>
                  </a:cubicBezTo>
                  <a:cubicBezTo>
                    <a:pt x="257" y="255"/>
                    <a:pt x="257" y="254"/>
                    <a:pt x="257" y="254"/>
                  </a:cubicBezTo>
                  <a:cubicBezTo>
                    <a:pt x="258" y="254"/>
                    <a:pt x="260" y="253"/>
                    <a:pt x="261" y="253"/>
                  </a:cubicBezTo>
                  <a:cubicBezTo>
                    <a:pt x="262" y="253"/>
                    <a:pt x="263" y="252"/>
                    <a:pt x="263" y="251"/>
                  </a:cubicBezTo>
                  <a:cubicBezTo>
                    <a:pt x="264" y="250"/>
                    <a:pt x="265" y="249"/>
                    <a:pt x="264" y="248"/>
                  </a:cubicBezTo>
                  <a:cubicBezTo>
                    <a:pt x="264" y="247"/>
                    <a:pt x="263" y="247"/>
                    <a:pt x="263" y="247"/>
                  </a:cubicBezTo>
                  <a:cubicBezTo>
                    <a:pt x="262" y="246"/>
                    <a:pt x="262" y="246"/>
                    <a:pt x="263" y="245"/>
                  </a:cubicBezTo>
                  <a:cubicBezTo>
                    <a:pt x="263" y="245"/>
                    <a:pt x="263" y="244"/>
                    <a:pt x="263" y="244"/>
                  </a:cubicBezTo>
                  <a:cubicBezTo>
                    <a:pt x="264" y="241"/>
                    <a:pt x="265" y="239"/>
                    <a:pt x="268" y="237"/>
                  </a:cubicBezTo>
                  <a:cubicBezTo>
                    <a:pt x="268" y="237"/>
                    <a:pt x="268" y="236"/>
                    <a:pt x="268" y="236"/>
                  </a:cubicBezTo>
                  <a:cubicBezTo>
                    <a:pt x="269" y="232"/>
                    <a:pt x="271" y="230"/>
                    <a:pt x="272" y="226"/>
                  </a:cubicBezTo>
                  <a:cubicBezTo>
                    <a:pt x="273" y="226"/>
                    <a:pt x="273" y="225"/>
                    <a:pt x="273" y="224"/>
                  </a:cubicBezTo>
                  <a:cubicBezTo>
                    <a:pt x="273" y="223"/>
                    <a:pt x="273" y="221"/>
                    <a:pt x="273" y="220"/>
                  </a:cubicBezTo>
                  <a:cubicBezTo>
                    <a:pt x="274" y="217"/>
                    <a:pt x="274" y="213"/>
                    <a:pt x="276" y="211"/>
                  </a:cubicBezTo>
                  <a:cubicBezTo>
                    <a:pt x="277" y="211"/>
                    <a:pt x="277" y="210"/>
                    <a:pt x="277" y="210"/>
                  </a:cubicBezTo>
                  <a:cubicBezTo>
                    <a:pt x="277" y="206"/>
                    <a:pt x="276" y="201"/>
                    <a:pt x="277" y="197"/>
                  </a:cubicBezTo>
                  <a:cubicBezTo>
                    <a:pt x="278" y="195"/>
                    <a:pt x="278" y="194"/>
                    <a:pt x="279" y="192"/>
                  </a:cubicBezTo>
                  <a:cubicBezTo>
                    <a:pt x="280" y="189"/>
                    <a:pt x="279" y="186"/>
                    <a:pt x="279" y="182"/>
                  </a:cubicBezTo>
                  <a:cubicBezTo>
                    <a:pt x="278" y="180"/>
                    <a:pt x="279" y="178"/>
                    <a:pt x="278" y="176"/>
                  </a:cubicBezTo>
                  <a:cubicBezTo>
                    <a:pt x="278" y="176"/>
                    <a:pt x="278" y="176"/>
                    <a:pt x="277" y="175"/>
                  </a:cubicBezTo>
                  <a:cubicBezTo>
                    <a:pt x="277" y="175"/>
                    <a:pt x="276" y="174"/>
                    <a:pt x="277" y="173"/>
                  </a:cubicBezTo>
                  <a:cubicBezTo>
                    <a:pt x="277" y="173"/>
                    <a:pt x="278" y="172"/>
                    <a:pt x="278" y="172"/>
                  </a:cubicBezTo>
                  <a:cubicBezTo>
                    <a:pt x="278" y="172"/>
                    <a:pt x="279" y="171"/>
                    <a:pt x="279" y="171"/>
                  </a:cubicBezTo>
                  <a:cubicBezTo>
                    <a:pt x="279" y="170"/>
                    <a:pt x="278" y="169"/>
                    <a:pt x="279" y="168"/>
                  </a:cubicBezTo>
                  <a:cubicBezTo>
                    <a:pt x="280" y="166"/>
                    <a:pt x="280" y="164"/>
                    <a:pt x="281" y="163"/>
                  </a:cubicBezTo>
                  <a:cubicBezTo>
                    <a:pt x="282" y="162"/>
                    <a:pt x="284" y="163"/>
                    <a:pt x="284" y="162"/>
                  </a:cubicBezTo>
                  <a:cubicBezTo>
                    <a:pt x="285" y="161"/>
                    <a:pt x="286" y="160"/>
                    <a:pt x="287" y="159"/>
                  </a:cubicBezTo>
                  <a:cubicBezTo>
                    <a:pt x="287" y="158"/>
                    <a:pt x="287" y="158"/>
                    <a:pt x="288" y="157"/>
                  </a:cubicBezTo>
                  <a:cubicBezTo>
                    <a:pt x="288" y="157"/>
                    <a:pt x="289" y="156"/>
                    <a:pt x="289" y="155"/>
                  </a:cubicBezTo>
                  <a:cubicBezTo>
                    <a:pt x="290" y="152"/>
                    <a:pt x="291" y="149"/>
                    <a:pt x="293" y="147"/>
                  </a:cubicBezTo>
                  <a:cubicBezTo>
                    <a:pt x="295" y="145"/>
                    <a:pt x="297" y="144"/>
                    <a:pt x="298" y="142"/>
                  </a:cubicBezTo>
                  <a:cubicBezTo>
                    <a:pt x="299" y="141"/>
                    <a:pt x="300" y="140"/>
                    <a:pt x="301" y="138"/>
                  </a:cubicBezTo>
                  <a:cubicBezTo>
                    <a:pt x="302" y="136"/>
                    <a:pt x="304" y="135"/>
                    <a:pt x="305" y="133"/>
                  </a:cubicBezTo>
                  <a:cubicBezTo>
                    <a:pt x="306" y="130"/>
                    <a:pt x="307" y="128"/>
                    <a:pt x="308" y="126"/>
                  </a:cubicBezTo>
                  <a:cubicBezTo>
                    <a:pt x="309" y="125"/>
                    <a:pt x="309" y="125"/>
                    <a:pt x="310" y="124"/>
                  </a:cubicBezTo>
                  <a:cubicBezTo>
                    <a:pt x="310" y="122"/>
                    <a:pt x="310" y="120"/>
                    <a:pt x="311" y="118"/>
                  </a:cubicBezTo>
                  <a:cubicBezTo>
                    <a:pt x="311" y="117"/>
                    <a:pt x="312" y="115"/>
                    <a:pt x="312" y="114"/>
                  </a:cubicBezTo>
                  <a:cubicBezTo>
                    <a:pt x="310" y="111"/>
                    <a:pt x="309" y="107"/>
                    <a:pt x="308" y="104"/>
                  </a:cubicBezTo>
                  <a:cubicBezTo>
                    <a:pt x="307" y="102"/>
                    <a:pt x="309" y="99"/>
                    <a:pt x="307" y="97"/>
                  </a:cubicBezTo>
                  <a:cubicBezTo>
                    <a:pt x="306" y="96"/>
                    <a:pt x="306" y="95"/>
                    <a:pt x="304" y="95"/>
                  </a:cubicBezTo>
                  <a:cubicBezTo>
                    <a:pt x="303" y="94"/>
                    <a:pt x="302" y="94"/>
                    <a:pt x="301" y="94"/>
                  </a:cubicBezTo>
                  <a:cubicBezTo>
                    <a:pt x="300" y="95"/>
                    <a:pt x="299" y="95"/>
                    <a:pt x="299" y="95"/>
                  </a:cubicBezTo>
                  <a:cubicBezTo>
                    <a:pt x="298" y="96"/>
                    <a:pt x="297" y="96"/>
                    <a:pt x="297" y="95"/>
                  </a:cubicBezTo>
                  <a:cubicBezTo>
                    <a:pt x="295" y="94"/>
                    <a:pt x="294" y="93"/>
                    <a:pt x="293" y="92"/>
                  </a:cubicBezTo>
                  <a:cubicBezTo>
                    <a:pt x="291" y="91"/>
                    <a:pt x="291" y="90"/>
                    <a:pt x="289" y="89"/>
                  </a:cubicBezTo>
                  <a:cubicBezTo>
                    <a:pt x="288" y="89"/>
                    <a:pt x="287" y="88"/>
                    <a:pt x="286" y="88"/>
                  </a:cubicBezTo>
                  <a:cubicBezTo>
                    <a:pt x="285" y="88"/>
                    <a:pt x="284" y="87"/>
                    <a:pt x="284" y="86"/>
                  </a:cubicBezTo>
                  <a:cubicBezTo>
                    <a:pt x="284" y="86"/>
                    <a:pt x="284" y="85"/>
                    <a:pt x="283" y="84"/>
                  </a:cubicBezTo>
                  <a:cubicBezTo>
                    <a:pt x="281" y="82"/>
                    <a:pt x="279" y="79"/>
                    <a:pt x="276" y="78"/>
                  </a:cubicBezTo>
                  <a:cubicBezTo>
                    <a:pt x="275" y="77"/>
                    <a:pt x="275" y="77"/>
                    <a:pt x="274" y="76"/>
                  </a:cubicBezTo>
                  <a:cubicBezTo>
                    <a:pt x="273" y="76"/>
                    <a:pt x="272" y="76"/>
                    <a:pt x="271" y="76"/>
                  </a:cubicBezTo>
                  <a:cubicBezTo>
                    <a:pt x="270" y="75"/>
                    <a:pt x="269" y="75"/>
                    <a:pt x="269" y="74"/>
                  </a:cubicBezTo>
                  <a:cubicBezTo>
                    <a:pt x="269" y="74"/>
                    <a:pt x="268" y="73"/>
                    <a:pt x="268" y="73"/>
                  </a:cubicBezTo>
                  <a:cubicBezTo>
                    <a:pt x="263" y="72"/>
                    <a:pt x="259" y="74"/>
                    <a:pt x="255" y="72"/>
                  </a:cubicBezTo>
                  <a:cubicBezTo>
                    <a:pt x="252" y="72"/>
                    <a:pt x="250" y="71"/>
                    <a:pt x="248" y="71"/>
                  </a:cubicBezTo>
                  <a:cubicBezTo>
                    <a:pt x="246" y="70"/>
                    <a:pt x="244" y="70"/>
                    <a:pt x="242" y="71"/>
                  </a:cubicBezTo>
                  <a:cubicBezTo>
                    <a:pt x="240" y="71"/>
                    <a:pt x="239" y="72"/>
                    <a:pt x="237" y="72"/>
                  </a:cubicBezTo>
                  <a:cubicBezTo>
                    <a:pt x="236" y="73"/>
                    <a:pt x="235" y="73"/>
                    <a:pt x="234" y="73"/>
                  </a:cubicBezTo>
                  <a:cubicBezTo>
                    <a:pt x="232" y="71"/>
                    <a:pt x="234" y="68"/>
                    <a:pt x="233" y="66"/>
                  </a:cubicBezTo>
                  <a:cubicBezTo>
                    <a:pt x="232" y="64"/>
                    <a:pt x="231" y="62"/>
                    <a:pt x="228" y="61"/>
                  </a:cubicBezTo>
                  <a:cubicBezTo>
                    <a:pt x="227" y="61"/>
                    <a:pt x="226" y="61"/>
                    <a:pt x="225" y="61"/>
                  </a:cubicBezTo>
                  <a:cubicBezTo>
                    <a:pt x="224" y="61"/>
                    <a:pt x="223" y="60"/>
                    <a:pt x="222" y="60"/>
                  </a:cubicBezTo>
                  <a:cubicBezTo>
                    <a:pt x="221" y="59"/>
                    <a:pt x="221" y="58"/>
                    <a:pt x="220" y="58"/>
                  </a:cubicBezTo>
                  <a:cubicBezTo>
                    <a:pt x="219" y="57"/>
                    <a:pt x="219" y="56"/>
                    <a:pt x="218" y="56"/>
                  </a:cubicBezTo>
                  <a:cubicBezTo>
                    <a:pt x="214" y="55"/>
                    <a:pt x="209" y="54"/>
                    <a:pt x="205" y="55"/>
                  </a:cubicBezTo>
                  <a:cubicBezTo>
                    <a:pt x="204" y="55"/>
                    <a:pt x="205" y="57"/>
                    <a:pt x="205" y="57"/>
                  </a:cubicBezTo>
                  <a:cubicBezTo>
                    <a:pt x="205" y="59"/>
                    <a:pt x="203" y="60"/>
                    <a:pt x="201" y="61"/>
                  </a:cubicBezTo>
                  <a:cubicBezTo>
                    <a:pt x="199" y="61"/>
                    <a:pt x="198" y="63"/>
                    <a:pt x="197" y="64"/>
                  </a:cubicBezTo>
                  <a:cubicBezTo>
                    <a:pt x="196" y="65"/>
                    <a:pt x="195" y="64"/>
                    <a:pt x="194" y="64"/>
                  </a:cubicBezTo>
                  <a:cubicBezTo>
                    <a:pt x="194" y="63"/>
                    <a:pt x="196" y="63"/>
                    <a:pt x="197" y="62"/>
                  </a:cubicBezTo>
                  <a:cubicBezTo>
                    <a:pt x="198" y="61"/>
                    <a:pt x="199" y="60"/>
                    <a:pt x="199" y="59"/>
                  </a:cubicBezTo>
                  <a:cubicBezTo>
                    <a:pt x="200" y="57"/>
                    <a:pt x="200" y="55"/>
                    <a:pt x="201" y="53"/>
                  </a:cubicBezTo>
                  <a:cubicBezTo>
                    <a:pt x="202" y="53"/>
                    <a:pt x="202" y="52"/>
                    <a:pt x="201" y="52"/>
                  </a:cubicBezTo>
                  <a:cubicBezTo>
                    <a:pt x="201" y="51"/>
                    <a:pt x="200" y="51"/>
                    <a:pt x="199" y="51"/>
                  </a:cubicBezTo>
                  <a:cubicBezTo>
                    <a:pt x="199" y="51"/>
                    <a:pt x="198" y="52"/>
                    <a:pt x="198" y="52"/>
                  </a:cubicBezTo>
                  <a:cubicBezTo>
                    <a:pt x="197" y="53"/>
                    <a:pt x="197" y="52"/>
                    <a:pt x="196" y="51"/>
                  </a:cubicBezTo>
                  <a:cubicBezTo>
                    <a:pt x="195" y="51"/>
                    <a:pt x="194" y="51"/>
                    <a:pt x="193" y="51"/>
                  </a:cubicBezTo>
                  <a:cubicBezTo>
                    <a:pt x="193" y="52"/>
                    <a:pt x="192" y="53"/>
                    <a:pt x="191" y="52"/>
                  </a:cubicBezTo>
                  <a:cubicBezTo>
                    <a:pt x="191" y="52"/>
                    <a:pt x="190" y="51"/>
                    <a:pt x="190" y="51"/>
                  </a:cubicBezTo>
                  <a:cubicBezTo>
                    <a:pt x="189" y="50"/>
                    <a:pt x="187" y="50"/>
                    <a:pt x="187" y="51"/>
                  </a:cubicBezTo>
                  <a:cubicBezTo>
                    <a:pt x="185" y="51"/>
                    <a:pt x="186" y="53"/>
                    <a:pt x="185" y="54"/>
                  </a:cubicBezTo>
                  <a:cubicBezTo>
                    <a:pt x="184" y="55"/>
                    <a:pt x="183" y="55"/>
                    <a:pt x="182" y="55"/>
                  </a:cubicBezTo>
                  <a:cubicBezTo>
                    <a:pt x="180" y="57"/>
                    <a:pt x="180" y="60"/>
                    <a:pt x="178" y="61"/>
                  </a:cubicBezTo>
                  <a:cubicBezTo>
                    <a:pt x="178" y="61"/>
                    <a:pt x="178" y="61"/>
                    <a:pt x="177" y="61"/>
                  </a:cubicBezTo>
                  <a:cubicBezTo>
                    <a:pt x="176" y="62"/>
                    <a:pt x="176" y="62"/>
                    <a:pt x="175" y="63"/>
                  </a:cubicBezTo>
                  <a:cubicBezTo>
                    <a:pt x="174" y="64"/>
                    <a:pt x="173" y="63"/>
                    <a:pt x="171" y="63"/>
                  </a:cubicBezTo>
                  <a:cubicBezTo>
                    <a:pt x="174" y="62"/>
                    <a:pt x="176" y="59"/>
                    <a:pt x="178" y="56"/>
                  </a:cubicBezTo>
                  <a:cubicBezTo>
                    <a:pt x="177" y="51"/>
                    <a:pt x="182" y="49"/>
                    <a:pt x="185" y="47"/>
                  </a:cubicBezTo>
                  <a:cubicBezTo>
                    <a:pt x="186" y="46"/>
                    <a:pt x="186" y="43"/>
                    <a:pt x="187" y="42"/>
                  </a:cubicBezTo>
                  <a:cubicBezTo>
                    <a:pt x="188" y="40"/>
                    <a:pt x="189" y="39"/>
                    <a:pt x="190" y="38"/>
                  </a:cubicBezTo>
                  <a:cubicBezTo>
                    <a:pt x="190" y="37"/>
                    <a:pt x="190" y="35"/>
                    <a:pt x="190" y="34"/>
                  </a:cubicBezTo>
                  <a:cubicBezTo>
                    <a:pt x="190" y="33"/>
                    <a:pt x="189" y="32"/>
                    <a:pt x="188" y="31"/>
                  </a:cubicBezTo>
                  <a:cubicBezTo>
                    <a:pt x="187" y="30"/>
                    <a:pt x="186" y="30"/>
                    <a:pt x="185" y="29"/>
                  </a:cubicBezTo>
                  <a:cubicBezTo>
                    <a:pt x="185" y="28"/>
                    <a:pt x="186" y="26"/>
                    <a:pt x="185" y="25"/>
                  </a:cubicBezTo>
                  <a:cubicBezTo>
                    <a:pt x="184" y="24"/>
                    <a:pt x="183" y="22"/>
                    <a:pt x="183" y="20"/>
                  </a:cubicBezTo>
                  <a:cubicBezTo>
                    <a:pt x="182" y="18"/>
                    <a:pt x="181" y="15"/>
                    <a:pt x="180" y="13"/>
                  </a:cubicBezTo>
                  <a:cubicBezTo>
                    <a:pt x="180" y="12"/>
                    <a:pt x="180" y="11"/>
                    <a:pt x="179" y="11"/>
                  </a:cubicBezTo>
                  <a:cubicBezTo>
                    <a:pt x="178" y="11"/>
                    <a:pt x="178" y="11"/>
                    <a:pt x="178" y="11"/>
                  </a:cubicBezTo>
                  <a:cubicBezTo>
                    <a:pt x="176" y="13"/>
                    <a:pt x="174" y="14"/>
                    <a:pt x="173" y="16"/>
                  </a:cubicBezTo>
                  <a:cubicBezTo>
                    <a:pt x="172" y="17"/>
                    <a:pt x="171" y="17"/>
                    <a:pt x="171" y="18"/>
                  </a:cubicBezTo>
                  <a:cubicBezTo>
                    <a:pt x="170" y="18"/>
                    <a:pt x="170" y="19"/>
                    <a:pt x="169" y="19"/>
                  </a:cubicBezTo>
                  <a:cubicBezTo>
                    <a:pt x="169" y="21"/>
                    <a:pt x="169" y="22"/>
                    <a:pt x="169" y="23"/>
                  </a:cubicBezTo>
                  <a:cubicBezTo>
                    <a:pt x="169" y="26"/>
                    <a:pt x="167" y="27"/>
                    <a:pt x="165" y="29"/>
                  </a:cubicBezTo>
                  <a:cubicBezTo>
                    <a:pt x="165" y="29"/>
                    <a:pt x="164" y="29"/>
                    <a:pt x="164" y="29"/>
                  </a:cubicBezTo>
                  <a:cubicBezTo>
                    <a:pt x="163" y="29"/>
                    <a:pt x="162" y="28"/>
                    <a:pt x="161" y="27"/>
                  </a:cubicBezTo>
                  <a:cubicBezTo>
                    <a:pt x="161" y="27"/>
                    <a:pt x="160" y="27"/>
                    <a:pt x="159" y="27"/>
                  </a:cubicBezTo>
                  <a:cubicBezTo>
                    <a:pt x="158" y="28"/>
                    <a:pt x="157" y="29"/>
                    <a:pt x="157" y="29"/>
                  </a:cubicBezTo>
                  <a:cubicBezTo>
                    <a:pt x="156" y="30"/>
                    <a:pt x="155" y="30"/>
                    <a:pt x="155" y="29"/>
                  </a:cubicBezTo>
                  <a:cubicBezTo>
                    <a:pt x="154" y="28"/>
                    <a:pt x="153" y="27"/>
                    <a:pt x="153" y="27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49" y="26"/>
                    <a:pt x="146" y="26"/>
                    <a:pt x="142" y="25"/>
                  </a:cubicBezTo>
                  <a:cubicBezTo>
                    <a:pt x="142" y="27"/>
                    <a:pt x="142" y="29"/>
                    <a:pt x="142" y="30"/>
                  </a:cubicBezTo>
                  <a:cubicBezTo>
                    <a:pt x="142" y="30"/>
                    <a:pt x="142" y="31"/>
                    <a:pt x="142" y="31"/>
                  </a:cubicBezTo>
                  <a:cubicBezTo>
                    <a:pt x="140" y="31"/>
                    <a:pt x="138" y="30"/>
                    <a:pt x="136" y="31"/>
                  </a:cubicBezTo>
                  <a:cubicBezTo>
                    <a:pt x="134" y="31"/>
                    <a:pt x="133" y="30"/>
                    <a:pt x="132" y="31"/>
                  </a:cubicBezTo>
                  <a:cubicBezTo>
                    <a:pt x="132" y="31"/>
                    <a:pt x="132" y="32"/>
                    <a:pt x="131" y="32"/>
                  </a:cubicBezTo>
                  <a:cubicBezTo>
                    <a:pt x="130" y="33"/>
                    <a:pt x="129" y="32"/>
                    <a:pt x="127" y="32"/>
                  </a:cubicBezTo>
                  <a:cubicBezTo>
                    <a:pt x="126" y="33"/>
                    <a:pt x="126" y="34"/>
                    <a:pt x="125" y="34"/>
                  </a:cubicBezTo>
                  <a:cubicBezTo>
                    <a:pt x="124" y="34"/>
                    <a:pt x="124" y="34"/>
                    <a:pt x="123" y="34"/>
                  </a:cubicBezTo>
                  <a:cubicBezTo>
                    <a:pt x="122" y="35"/>
                    <a:pt x="121" y="37"/>
                    <a:pt x="120" y="37"/>
                  </a:cubicBezTo>
                  <a:cubicBezTo>
                    <a:pt x="119" y="38"/>
                    <a:pt x="117" y="38"/>
                    <a:pt x="116" y="37"/>
                  </a:cubicBezTo>
                  <a:cubicBezTo>
                    <a:pt x="115" y="36"/>
                    <a:pt x="115" y="34"/>
                    <a:pt x="115" y="33"/>
                  </a:cubicBezTo>
                  <a:cubicBezTo>
                    <a:pt x="114" y="32"/>
                    <a:pt x="113" y="31"/>
                    <a:pt x="112" y="30"/>
                  </a:cubicBezTo>
                  <a:cubicBezTo>
                    <a:pt x="112" y="29"/>
                    <a:pt x="112" y="28"/>
                    <a:pt x="111" y="28"/>
                  </a:cubicBezTo>
                  <a:cubicBezTo>
                    <a:pt x="111" y="27"/>
                    <a:pt x="110" y="26"/>
                    <a:pt x="110" y="26"/>
                  </a:cubicBezTo>
                  <a:cubicBezTo>
                    <a:pt x="110" y="24"/>
                    <a:pt x="110" y="23"/>
                    <a:pt x="111" y="22"/>
                  </a:cubicBezTo>
                  <a:cubicBezTo>
                    <a:pt x="111" y="22"/>
                    <a:pt x="111" y="21"/>
                    <a:pt x="111" y="21"/>
                  </a:cubicBezTo>
                  <a:cubicBezTo>
                    <a:pt x="111" y="18"/>
                    <a:pt x="112" y="16"/>
                    <a:pt x="113" y="14"/>
                  </a:cubicBezTo>
                  <a:cubicBezTo>
                    <a:pt x="114" y="14"/>
                    <a:pt x="114" y="12"/>
                    <a:pt x="113" y="11"/>
                  </a:cubicBezTo>
                  <a:cubicBezTo>
                    <a:pt x="113" y="10"/>
                    <a:pt x="113" y="9"/>
                    <a:pt x="113" y="8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11" y="7"/>
                    <a:pt x="110" y="7"/>
                    <a:pt x="110" y="6"/>
                  </a:cubicBezTo>
                  <a:cubicBezTo>
                    <a:pt x="108" y="5"/>
                    <a:pt x="110" y="3"/>
                    <a:pt x="109" y="1"/>
                  </a:cubicBezTo>
                  <a:cubicBezTo>
                    <a:pt x="108" y="0"/>
                    <a:pt x="106" y="0"/>
                    <a:pt x="104" y="0"/>
                  </a:cubicBezTo>
                  <a:cubicBezTo>
                    <a:pt x="105" y="1"/>
                    <a:pt x="104" y="1"/>
                    <a:pt x="105" y="1"/>
                  </a:cubicBezTo>
                  <a:cubicBezTo>
                    <a:pt x="106" y="2"/>
                    <a:pt x="105" y="3"/>
                    <a:pt x="105" y="4"/>
                  </a:cubicBezTo>
                  <a:cubicBezTo>
                    <a:pt x="105" y="5"/>
                    <a:pt x="105" y="5"/>
                    <a:pt x="104" y="6"/>
                  </a:cubicBezTo>
                  <a:cubicBezTo>
                    <a:pt x="104" y="7"/>
                    <a:pt x="102" y="7"/>
                    <a:pt x="101" y="8"/>
                  </a:cubicBezTo>
                  <a:cubicBezTo>
                    <a:pt x="98" y="11"/>
                    <a:pt x="93" y="11"/>
                    <a:pt x="90" y="11"/>
                  </a:cubicBezTo>
                  <a:cubicBezTo>
                    <a:pt x="88" y="11"/>
                    <a:pt x="86" y="13"/>
                    <a:pt x="87" y="14"/>
                  </a:cubicBezTo>
                  <a:cubicBezTo>
                    <a:pt x="83" y="14"/>
                    <a:pt x="79" y="12"/>
                    <a:pt x="75" y="11"/>
                  </a:cubicBezTo>
                  <a:cubicBezTo>
                    <a:pt x="75" y="10"/>
                    <a:pt x="74" y="10"/>
                    <a:pt x="74" y="11"/>
                  </a:cubicBezTo>
                  <a:cubicBezTo>
                    <a:pt x="74" y="12"/>
                    <a:pt x="76" y="14"/>
                    <a:pt x="76" y="16"/>
                  </a:cubicBezTo>
                  <a:cubicBezTo>
                    <a:pt x="77" y="17"/>
                    <a:pt x="77" y="19"/>
                    <a:pt x="76" y="21"/>
                  </a:cubicBezTo>
                  <a:cubicBezTo>
                    <a:pt x="76" y="22"/>
                    <a:pt x="76" y="23"/>
                    <a:pt x="76" y="24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8" y="25"/>
                    <a:pt x="80" y="26"/>
                    <a:pt x="82" y="27"/>
                  </a:cubicBezTo>
                  <a:cubicBezTo>
                    <a:pt x="82" y="29"/>
                    <a:pt x="79" y="29"/>
                    <a:pt x="77" y="30"/>
                  </a:cubicBezTo>
                  <a:cubicBezTo>
                    <a:pt x="77" y="30"/>
                    <a:pt x="76" y="30"/>
                    <a:pt x="76" y="31"/>
                  </a:cubicBezTo>
                  <a:cubicBezTo>
                    <a:pt x="75" y="32"/>
                    <a:pt x="75" y="34"/>
                    <a:pt x="73" y="35"/>
                  </a:cubicBezTo>
                  <a:cubicBezTo>
                    <a:pt x="72" y="36"/>
                    <a:pt x="70" y="36"/>
                    <a:pt x="69" y="37"/>
                  </a:cubicBezTo>
                  <a:cubicBezTo>
                    <a:pt x="68" y="38"/>
                    <a:pt x="67" y="39"/>
                    <a:pt x="66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4" y="40"/>
                    <a:pt x="63" y="41"/>
                    <a:pt x="63" y="41"/>
                  </a:cubicBezTo>
                  <a:cubicBezTo>
                    <a:pt x="62" y="42"/>
                    <a:pt x="61" y="42"/>
                    <a:pt x="60" y="41"/>
                  </a:cubicBezTo>
                  <a:cubicBezTo>
                    <a:pt x="58" y="41"/>
                    <a:pt x="56" y="39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4" y="37"/>
                    <a:pt x="53" y="37"/>
                    <a:pt x="52" y="36"/>
                  </a:cubicBezTo>
                  <a:cubicBezTo>
                    <a:pt x="51" y="34"/>
                    <a:pt x="51" y="32"/>
                    <a:pt x="49" y="31"/>
                  </a:cubicBezTo>
                  <a:cubicBezTo>
                    <a:pt x="49" y="30"/>
                    <a:pt x="48" y="30"/>
                    <a:pt x="48" y="31"/>
                  </a:cubicBezTo>
                  <a:cubicBezTo>
                    <a:pt x="45" y="32"/>
                    <a:pt x="41" y="32"/>
                    <a:pt x="37" y="32"/>
                  </a:cubicBezTo>
                  <a:cubicBezTo>
                    <a:pt x="37" y="32"/>
                    <a:pt x="36" y="33"/>
                    <a:pt x="35" y="33"/>
                  </a:cubicBezTo>
                  <a:cubicBezTo>
                    <a:pt x="34" y="34"/>
                    <a:pt x="33" y="33"/>
                    <a:pt x="32" y="34"/>
                  </a:cubicBezTo>
                  <a:cubicBezTo>
                    <a:pt x="32" y="34"/>
                    <a:pt x="32" y="35"/>
                    <a:pt x="32" y="35"/>
                  </a:cubicBezTo>
                  <a:cubicBezTo>
                    <a:pt x="33" y="36"/>
                    <a:pt x="32" y="37"/>
                    <a:pt x="32" y="38"/>
                  </a:cubicBezTo>
                  <a:cubicBezTo>
                    <a:pt x="33" y="39"/>
                    <a:pt x="35" y="39"/>
                    <a:pt x="36" y="40"/>
                  </a:cubicBezTo>
                  <a:cubicBezTo>
                    <a:pt x="36" y="40"/>
                    <a:pt x="36" y="41"/>
                    <a:pt x="35" y="42"/>
                  </a:cubicBezTo>
                  <a:cubicBezTo>
                    <a:pt x="34" y="43"/>
                    <a:pt x="32" y="42"/>
                    <a:pt x="30" y="42"/>
                  </a:cubicBezTo>
                  <a:cubicBezTo>
                    <a:pt x="29" y="43"/>
                    <a:pt x="29" y="43"/>
                    <a:pt x="29" y="44"/>
                  </a:cubicBezTo>
                  <a:cubicBezTo>
                    <a:pt x="30" y="47"/>
                    <a:pt x="29" y="50"/>
                    <a:pt x="30" y="53"/>
                  </a:cubicBezTo>
                  <a:cubicBezTo>
                    <a:pt x="31" y="54"/>
                    <a:pt x="32" y="54"/>
                    <a:pt x="33" y="55"/>
                  </a:cubicBezTo>
                  <a:cubicBezTo>
                    <a:pt x="34" y="56"/>
                    <a:pt x="34" y="57"/>
                    <a:pt x="34" y="57"/>
                  </a:cubicBezTo>
                  <a:cubicBezTo>
                    <a:pt x="34" y="59"/>
                    <a:pt x="34" y="61"/>
                    <a:pt x="34" y="63"/>
                  </a:cubicBezTo>
                  <a:cubicBezTo>
                    <a:pt x="33" y="66"/>
                    <a:pt x="34" y="68"/>
                    <a:pt x="34" y="71"/>
                  </a:cubicBezTo>
                  <a:cubicBezTo>
                    <a:pt x="33" y="74"/>
                    <a:pt x="32" y="77"/>
                    <a:pt x="31" y="79"/>
                  </a:cubicBezTo>
                  <a:cubicBezTo>
                    <a:pt x="31" y="80"/>
                    <a:pt x="31" y="81"/>
                    <a:pt x="30" y="8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0" y="83"/>
                    <a:pt x="31" y="83"/>
                    <a:pt x="31" y="84"/>
                  </a:cubicBezTo>
                  <a:cubicBezTo>
                    <a:pt x="31" y="85"/>
                    <a:pt x="31" y="87"/>
                    <a:pt x="31" y="88"/>
                  </a:cubicBezTo>
                  <a:cubicBezTo>
                    <a:pt x="29" y="88"/>
                    <a:pt x="29" y="88"/>
                    <a:pt x="29" y="88"/>
                  </a:cubicBezTo>
                  <a:cubicBezTo>
                    <a:pt x="27" y="88"/>
                    <a:pt x="25" y="88"/>
                    <a:pt x="23" y="89"/>
                  </a:cubicBezTo>
                  <a:cubicBezTo>
                    <a:pt x="22" y="89"/>
                    <a:pt x="21" y="90"/>
                    <a:pt x="20" y="90"/>
                  </a:cubicBezTo>
                  <a:cubicBezTo>
                    <a:pt x="20" y="90"/>
                    <a:pt x="20" y="90"/>
                    <a:pt x="20" y="90"/>
                  </a:cubicBezTo>
                  <a:cubicBezTo>
                    <a:pt x="18" y="90"/>
                    <a:pt x="16" y="89"/>
                    <a:pt x="14" y="90"/>
                  </a:cubicBezTo>
                  <a:cubicBezTo>
                    <a:pt x="12" y="92"/>
                    <a:pt x="9" y="93"/>
                    <a:pt x="8" y="96"/>
                  </a:cubicBezTo>
                  <a:cubicBezTo>
                    <a:pt x="8" y="97"/>
                    <a:pt x="8" y="98"/>
                    <a:pt x="7" y="99"/>
                  </a:cubicBezTo>
                  <a:cubicBezTo>
                    <a:pt x="7" y="100"/>
                    <a:pt x="6" y="101"/>
                    <a:pt x="5" y="101"/>
                  </a:cubicBezTo>
                  <a:cubicBezTo>
                    <a:pt x="5" y="102"/>
                    <a:pt x="5" y="103"/>
                    <a:pt x="5" y="104"/>
                  </a:cubicBezTo>
                  <a:cubicBezTo>
                    <a:pt x="6" y="105"/>
                    <a:pt x="6" y="107"/>
                    <a:pt x="5" y="108"/>
                  </a:cubicBezTo>
                  <a:cubicBezTo>
                    <a:pt x="4" y="108"/>
                    <a:pt x="2" y="108"/>
                    <a:pt x="0" y="109"/>
                  </a:cubicBezTo>
                  <a:cubicBezTo>
                    <a:pt x="1" y="114"/>
                    <a:pt x="0" y="120"/>
                    <a:pt x="1" y="126"/>
                  </a:cubicBezTo>
                  <a:cubicBezTo>
                    <a:pt x="2" y="128"/>
                    <a:pt x="5" y="128"/>
                    <a:pt x="7" y="129"/>
                  </a:cubicBezTo>
                  <a:cubicBezTo>
                    <a:pt x="7" y="130"/>
                    <a:pt x="7" y="131"/>
                    <a:pt x="7" y="131"/>
                  </a:cubicBezTo>
                  <a:cubicBezTo>
                    <a:pt x="8" y="133"/>
                    <a:pt x="9" y="132"/>
                    <a:pt x="10" y="133"/>
                  </a:cubicBezTo>
                  <a:cubicBezTo>
                    <a:pt x="11" y="134"/>
                    <a:pt x="12" y="135"/>
                    <a:pt x="13" y="136"/>
                  </a:cubicBezTo>
                  <a:cubicBezTo>
                    <a:pt x="14" y="137"/>
                    <a:pt x="15" y="138"/>
                    <a:pt x="16" y="139"/>
                  </a:cubicBezTo>
                  <a:cubicBezTo>
                    <a:pt x="17" y="139"/>
                    <a:pt x="17" y="139"/>
                    <a:pt x="18" y="139"/>
                  </a:cubicBezTo>
                  <a:cubicBezTo>
                    <a:pt x="19" y="139"/>
                    <a:pt x="20" y="138"/>
                    <a:pt x="20" y="138"/>
                  </a:cubicBezTo>
                  <a:cubicBezTo>
                    <a:pt x="21" y="137"/>
                    <a:pt x="22" y="136"/>
                    <a:pt x="23" y="135"/>
                  </a:cubicBezTo>
                  <a:cubicBezTo>
                    <a:pt x="24" y="135"/>
                    <a:pt x="25" y="135"/>
                    <a:pt x="25" y="135"/>
                  </a:cubicBezTo>
                  <a:cubicBezTo>
                    <a:pt x="25" y="136"/>
                    <a:pt x="25" y="137"/>
                    <a:pt x="25" y="138"/>
                  </a:cubicBezTo>
                  <a:cubicBezTo>
                    <a:pt x="25" y="138"/>
                    <a:pt x="25" y="138"/>
                    <a:pt x="25" y="138"/>
                  </a:cubicBezTo>
                  <a:cubicBezTo>
                    <a:pt x="25" y="141"/>
                    <a:pt x="25" y="144"/>
                    <a:pt x="26" y="147"/>
                  </a:cubicBezTo>
                  <a:cubicBezTo>
                    <a:pt x="27" y="147"/>
                    <a:pt x="27" y="148"/>
                    <a:pt x="27" y="148"/>
                  </a:cubicBezTo>
                  <a:cubicBezTo>
                    <a:pt x="28" y="148"/>
                    <a:pt x="30" y="148"/>
                    <a:pt x="31" y="148"/>
                  </a:cubicBezTo>
                  <a:cubicBezTo>
                    <a:pt x="32" y="147"/>
                    <a:pt x="33" y="147"/>
                    <a:pt x="34" y="148"/>
                  </a:cubicBezTo>
                  <a:cubicBezTo>
                    <a:pt x="34" y="147"/>
                    <a:pt x="34" y="147"/>
                    <a:pt x="34" y="147"/>
                  </a:cubicBezTo>
                  <a:cubicBezTo>
                    <a:pt x="36" y="146"/>
                    <a:pt x="39" y="147"/>
                    <a:pt x="41" y="149"/>
                  </a:cubicBezTo>
                  <a:cubicBezTo>
                    <a:pt x="42" y="149"/>
                    <a:pt x="43" y="150"/>
                    <a:pt x="44" y="149"/>
                  </a:cubicBezTo>
                  <a:cubicBezTo>
                    <a:pt x="46" y="148"/>
                    <a:pt x="47" y="147"/>
                    <a:pt x="48" y="146"/>
                  </a:cubicBezTo>
                  <a:cubicBezTo>
                    <a:pt x="51" y="145"/>
                    <a:pt x="53" y="144"/>
                    <a:pt x="54" y="142"/>
                  </a:cubicBezTo>
                  <a:cubicBezTo>
                    <a:pt x="55" y="140"/>
                    <a:pt x="57" y="139"/>
                    <a:pt x="59" y="137"/>
                  </a:cubicBezTo>
                  <a:cubicBezTo>
                    <a:pt x="61" y="138"/>
                    <a:pt x="67" y="135"/>
                    <a:pt x="67" y="138"/>
                  </a:cubicBezTo>
                  <a:cubicBezTo>
                    <a:pt x="67" y="140"/>
                    <a:pt x="68" y="142"/>
                    <a:pt x="67" y="144"/>
                  </a:cubicBezTo>
                  <a:cubicBezTo>
                    <a:pt x="68" y="145"/>
                    <a:pt x="68" y="145"/>
                    <a:pt x="68" y="145"/>
                  </a:cubicBezTo>
                  <a:cubicBezTo>
                    <a:pt x="68" y="147"/>
                    <a:pt x="67" y="150"/>
                    <a:pt x="68" y="152"/>
                  </a:cubicBezTo>
                  <a:cubicBezTo>
                    <a:pt x="68" y="153"/>
                    <a:pt x="68" y="154"/>
                    <a:pt x="69" y="155"/>
                  </a:cubicBezTo>
                  <a:cubicBezTo>
                    <a:pt x="70" y="156"/>
                    <a:pt x="70" y="157"/>
                    <a:pt x="71" y="157"/>
                  </a:cubicBezTo>
                  <a:cubicBezTo>
                    <a:pt x="72" y="159"/>
                    <a:pt x="74" y="161"/>
                    <a:pt x="76" y="162"/>
                  </a:cubicBezTo>
                  <a:cubicBezTo>
                    <a:pt x="80" y="164"/>
                    <a:pt x="85" y="161"/>
                    <a:pt x="88" y="165"/>
                  </a:cubicBezTo>
                  <a:cubicBezTo>
                    <a:pt x="88" y="165"/>
                    <a:pt x="89" y="165"/>
                    <a:pt x="89" y="165"/>
                  </a:cubicBezTo>
                  <a:cubicBezTo>
                    <a:pt x="90" y="166"/>
                    <a:pt x="90" y="168"/>
                    <a:pt x="92" y="168"/>
                  </a:cubicBezTo>
                  <a:cubicBezTo>
                    <a:pt x="92" y="169"/>
                    <a:pt x="93" y="168"/>
                    <a:pt x="94" y="169"/>
                  </a:cubicBezTo>
                  <a:cubicBezTo>
                    <a:pt x="95" y="169"/>
                    <a:pt x="95" y="170"/>
                    <a:pt x="96" y="170"/>
                  </a:cubicBezTo>
                  <a:cubicBezTo>
                    <a:pt x="97" y="172"/>
                    <a:pt x="101" y="171"/>
                    <a:pt x="103" y="171"/>
                  </a:cubicBezTo>
                  <a:cubicBezTo>
                    <a:pt x="103" y="171"/>
                    <a:pt x="103" y="171"/>
                    <a:pt x="103" y="171"/>
                  </a:cubicBezTo>
                  <a:cubicBezTo>
                    <a:pt x="105" y="171"/>
                    <a:pt x="107" y="172"/>
                    <a:pt x="107" y="174"/>
                  </a:cubicBezTo>
                  <a:cubicBezTo>
                    <a:pt x="107" y="176"/>
                    <a:pt x="107" y="178"/>
                    <a:pt x="108" y="179"/>
                  </a:cubicBezTo>
                  <a:cubicBezTo>
                    <a:pt x="109" y="181"/>
                    <a:pt x="111" y="182"/>
                    <a:pt x="110" y="184"/>
                  </a:cubicBezTo>
                  <a:cubicBezTo>
                    <a:pt x="109" y="185"/>
                    <a:pt x="108" y="185"/>
                    <a:pt x="107" y="186"/>
                  </a:cubicBezTo>
                  <a:cubicBezTo>
                    <a:pt x="107" y="187"/>
                    <a:pt x="107" y="188"/>
                    <a:pt x="107" y="188"/>
                  </a:cubicBezTo>
                  <a:cubicBezTo>
                    <a:pt x="108" y="191"/>
                    <a:pt x="109" y="193"/>
                    <a:pt x="110" y="196"/>
                  </a:cubicBezTo>
                  <a:cubicBezTo>
                    <a:pt x="111" y="197"/>
                    <a:pt x="113" y="197"/>
                    <a:pt x="114" y="197"/>
                  </a:cubicBezTo>
                  <a:cubicBezTo>
                    <a:pt x="115" y="198"/>
                    <a:pt x="117" y="198"/>
                    <a:pt x="119" y="197"/>
                  </a:cubicBezTo>
                  <a:cubicBezTo>
                    <a:pt x="120" y="197"/>
                    <a:pt x="121" y="197"/>
                    <a:pt x="123" y="196"/>
                  </a:cubicBezTo>
                  <a:cubicBezTo>
                    <a:pt x="123" y="196"/>
                    <a:pt x="124" y="196"/>
                    <a:pt x="125" y="196"/>
                  </a:cubicBezTo>
                  <a:cubicBezTo>
                    <a:pt x="126" y="197"/>
                    <a:pt x="126" y="198"/>
                    <a:pt x="125" y="199"/>
                  </a:cubicBezTo>
                  <a:cubicBezTo>
                    <a:pt x="125" y="200"/>
                    <a:pt x="125" y="202"/>
                    <a:pt x="125" y="203"/>
                  </a:cubicBezTo>
                  <a:cubicBezTo>
                    <a:pt x="125" y="204"/>
                    <a:pt x="126" y="204"/>
                    <a:pt x="127" y="205"/>
                  </a:cubicBezTo>
                  <a:cubicBezTo>
                    <a:pt x="127" y="206"/>
                    <a:pt x="128" y="206"/>
                    <a:pt x="129" y="207"/>
                  </a:cubicBezTo>
                  <a:cubicBezTo>
                    <a:pt x="130" y="208"/>
                    <a:pt x="130" y="209"/>
                    <a:pt x="131" y="210"/>
                  </a:cubicBezTo>
                  <a:cubicBezTo>
                    <a:pt x="131" y="210"/>
                    <a:pt x="131" y="211"/>
                    <a:pt x="131" y="212"/>
                  </a:cubicBezTo>
                  <a:cubicBezTo>
                    <a:pt x="131" y="213"/>
                    <a:pt x="132" y="213"/>
                    <a:pt x="132" y="214"/>
                  </a:cubicBezTo>
                  <a:cubicBezTo>
                    <a:pt x="133" y="217"/>
                    <a:pt x="131" y="220"/>
                    <a:pt x="130" y="223"/>
                  </a:cubicBezTo>
                  <a:cubicBezTo>
                    <a:pt x="129" y="224"/>
                    <a:pt x="128" y="225"/>
                    <a:pt x="128" y="226"/>
                  </a:cubicBezTo>
                  <a:cubicBezTo>
                    <a:pt x="127" y="229"/>
                    <a:pt x="128" y="232"/>
                    <a:pt x="128" y="234"/>
                  </a:cubicBezTo>
                  <a:cubicBezTo>
                    <a:pt x="128" y="235"/>
                    <a:pt x="128" y="235"/>
                    <a:pt x="128" y="235"/>
                  </a:cubicBezTo>
                  <a:cubicBezTo>
                    <a:pt x="129" y="236"/>
                    <a:pt x="130" y="237"/>
                    <a:pt x="130" y="238"/>
                  </a:cubicBezTo>
                  <a:cubicBezTo>
                    <a:pt x="131" y="242"/>
                    <a:pt x="130" y="246"/>
                    <a:pt x="131" y="250"/>
                  </a:cubicBezTo>
                  <a:cubicBezTo>
                    <a:pt x="131" y="251"/>
                    <a:pt x="132" y="252"/>
                    <a:pt x="134" y="252"/>
                  </a:cubicBezTo>
                  <a:cubicBezTo>
                    <a:pt x="135" y="252"/>
                    <a:pt x="136" y="252"/>
                    <a:pt x="137" y="252"/>
                  </a:cubicBezTo>
                  <a:cubicBezTo>
                    <a:pt x="139" y="253"/>
                    <a:pt x="140" y="253"/>
                    <a:pt x="141" y="253"/>
                  </a:cubicBezTo>
                  <a:cubicBezTo>
                    <a:pt x="142" y="251"/>
                    <a:pt x="144" y="251"/>
                    <a:pt x="145" y="251"/>
                  </a:cubicBezTo>
                  <a:cubicBezTo>
                    <a:pt x="146" y="252"/>
                    <a:pt x="147" y="253"/>
                    <a:pt x="148" y="254"/>
                  </a:cubicBezTo>
                  <a:cubicBezTo>
                    <a:pt x="150" y="257"/>
                    <a:pt x="149" y="261"/>
                    <a:pt x="150" y="264"/>
                  </a:cubicBezTo>
                  <a:cubicBezTo>
                    <a:pt x="150" y="265"/>
                    <a:pt x="151" y="265"/>
                    <a:pt x="151" y="266"/>
                  </a:cubicBezTo>
                  <a:cubicBezTo>
                    <a:pt x="151" y="267"/>
                    <a:pt x="152" y="267"/>
                    <a:pt x="152" y="268"/>
                  </a:cubicBezTo>
                  <a:cubicBezTo>
                    <a:pt x="153" y="268"/>
                    <a:pt x="154" y="268"/>
                    <a:pt x="155" y="268"/>
                  </a:cubicBezTo>
                  <a:cubicBezTo>
                    <a:pt x="155" y="267"/>
                    <a:pt x="156" y="267"/>
                    <a:pt x="157" y="267"/>
                  </a:cubicBezTo>
                  <a:cubicBezTo>
                    <a:pt x="158" y="267"/>
                    <a:pt x="160" y="267"/>
                    <a:pt x="160" y="268"/>
                  </a:cubicBezTo>
                  <a:cubicBezTo>
                    <a:pt x="160" y="270"/>
                    <a:pt x="160" y="271"/>
                    <a:pt x="160" y="272"/>
                  </a:cubicBezTo>
                  <a:cubicBezTo>
                    <a:pt x="159" y="275"/>
                    <a:pt x="159" y="278"/>
                    <a:pt x="159" y="280"/>
                  </a:cubicBezTo>
                  <a:cubicBezTo>
                    <a:pt x="158" y="282"/>
                    <a:pt x="158" y="284"/>
                    <a:pt x="158" y="285"/>
                  </a:cubicBezTo>
                  <a:cubicBezTo>
                    <a:pt x="160" y="285"/>
                    <a:pt x="162" y="284"/>
                    <a:pt x="163" y="285"/>
                  </a:cubicBezTo>
                  <a:cubicBezTo>
                    <a:pt x="164" y="286"/>
                    <a:pt x="164" y="287"/>
                    <a:pt x="165" y="289"/>
                  </a:cubicBezTo>
                  <a:cubicBezTo>
                    <a:pt x="165" y="292"/>
                    <a:pt x="165" y="296"/>
                    <a:pt x="164" y="299"/>
                  </a:cubicBezTo>
                  <a:cubicBezTo>
                    <a:pt x="164" y="299"/>
                    <a:pt x="164" y="299"/>
                    <a:pt x="164" y="299"/>
                  </a:cubicBezTo>
                  <a:cubicBezTo>
                    <a:pt x="162" y="300"/>
                    <a:pt x="161" y="299"/>
                    <a:pt x="160" y="300"/>
                  </a:cubicBezTo>
                  <a:cubicBezTo>
                    <a:pt x="157" y="302"/>
                    <a:pt x="156" y="305"/>
                    <a:pt x="154" y="308"/>
                  </a:cubicBezTo>
                  <a:cubicBezTo>
                    <a:pt x="149" y="310"/>
                    <a:pt x="146" y="314"/>
                    <a:pt x="144" y="319"/>
                  </a:cubicBezTo>
                  <a:cubicBezTo>
                    <a:pt x="143" y="320"/>
                    <a:pt x="143" y="322"/>
                    <a:pt x="142" y="323"/>
                  </a:cubicBezTo>
                  <a:cubicBezTo>
                    <a:pt x="142" y="324"/>
                    <a:pt x="141" y="324"/>
                    <a:pt x="141" y="325"/>
                  </a:cubicBezTo>
                  <a:cubicBezTo>
                    <a:pt x="141" y="325"/>
                    <a:pt x="140" y="325"/>
                    <a:pt x="140" y="326"/>
                  </a:cubicBezTo>
                  <a:cubicBezTo>
                    <a:pt x="139" y="327"/>
                    <a:pt x="138" y="328"/>
                    <a:pt x="138" y="329"/>
                  </a:cubicBezTo>
                  <a:cubicBezTo>
                    <a:pt x="137" y="329"/>
                    <a:pt x="137" y="330"/>
                    <a:pt x="137" y="330"/>
                  </a:cubicBezTo>
                  <a:cubicBezTo>
                    <a:pt x="138" y="330"/>
                    <a:pt x="139" y="330"/>
                    <a:pt x="140" y="330"/>
                  </a:cubicBezTo>
                  <a:cubicBezTo>
                    <a:pt x="142" y="329"/>
                    <a:pt x="143" y="328"/>
                    <a:pt x="144" y="328"/>
                  </a:cubicBezTo>
                  <a:cubicBezTo>
                    <a:pt x="146" y="331"/>
                    <a:pt x="147" y="334"/>
                    <a:pt x="149" y="336"/>
                  </a:cubicBezTo>
                  <a:cubicBezTo>
                    <a:pt x="150" y="337"/>
                    <a:pt x="152" y="336"/>
                    <a:pt x="154" y="337"/>
                  </a:cubicBezTo>
                  <a:cubicBezTo>
                    <a:pt x="155" y="337"/>
                    <a:pt x="155" y="339"/>
                    <a:pt x="157" y="339"/>
                  </a:cubicBezTo>
                  <a:cubicBezTo>
                    <a:pt x="158" y="340"/>
                    <a:pt x="160" y="341"/>
                    <a:pt x="161" y="341"/>
                  </a:cubicBezTo>
                  <a:cubicBezTo>
                    <a:pt x="163" y="343"/>
                    <a:pt x="164" y="345"/>
                    <a:pt x="166" y="346"/>
                  </a:cubicBezTo>
                  <a:cubicBezTo>
                    <a:pt x="167" y="347"/>
                    <a:pt x="168" y="347"/>
                    <a:pt x="169" y="348"/>
                  </a:cubicBezTo>
                  <a:cubicBezTo>
                    <a:pt x="170" y="349"/>
                    <a:pt x="170" y="350"/>
                    <a:pt x="171" y="351"/>
                  </a:cubicBezTo>
                  <a:lnTo>
                    <a:pt x="173" y="352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6" name="Freeform 402"/>
            <p:cNvSpPr>
              <a:spLocks/>
            </p:cNvSpPr>
            <p:nvPr/>
          </p:nvSpPr>
          <p:spPr bwMode="auto">
            <a:xfrm>
              <a:off x="6638293" y="3580876"/>
              <a:ext cx="48912" cy="80302"/>
            </a:xfrm>
            <a:custGeom>
              <a:avLst/>
              <a:gdLst>
                <a:gd name="T0" fmla="*/ 83432391 w 105"/>
                <a:gd name="T1" fmla="*/ 153241188 h 166"/>
                <a:gd name="T2" fmla="*/ 71463414 w 105"/>
                <a:gd name="T3" fmla="*/ 142860654 h 166"/>
                <a:gd name="T4" fmla="*/ 57183039 w 105"/>
                <a:gd name="T5" fmla="*/ 133778499 h 166"/>
                <a:gd name="T6" fmla="*/ 47562154 w 105"/>
                <a:gd name="T7" fmla="*/ 127109099 h 166"/>
                <a:gd name="T8" fmla="*/ 40504746 w 105"/>
                <a:gd name="T9" fmla="*/ 119580283 h 166"/>
                <a:gd name="T10" fmla="*/ 41357715 w 105"/>
                <a:gd name="T11" fmla="*/ 113179823 h 166"/>
                <a:gd name="T12" fmla="*/ 38528655 w 105"/>
                <a:gd name="T13" fmla="*/ 109367960 h 166"/>
                <a:gd name="T14" fmla="*/ 38528655 w 105"/>
                <a:gd name="T15" fmla="*/ 109367960 h 166"/>
                <a:gd name="T16" fmla="*/ 31736574 w 105"/>
                <a:gd name="T17" fmla="*/ 98265768 h 166"/>
                <a:gd name="T18" fmla="*/ 25409487 w 105"/>
                <a:gd name="T19" fmla="*/ 84347903 h 166"/>
                <a:gd name="T20" fmla="*/ 23350719 w 105"/>
                <a:gd name="T21" fmla="*/ 77611872 h 166"/>
                <a:gd name="T22" fmla="*/ 18657337 w 105"/>
                <a:gd name="T23" fmla="*/ 67233265 h 166"/>
                <a:gd name="T24" fmla="*/ 17785426 w 105"/>
                <a:gd name="T25" fmla="*/ 64564228 h 166"/>
                <a:gd name="T26" fmla="*/ 13107694 w 105"/>
                <a:gd name="T27" fmla="*/ 56166854 h 166"/>
                <a:gd name="T28" fmla="*/ 6688272 w 105"/>
                <a:gd name="T29" fmla="*/ 52322044 h 166"/>
                <a:gd name="T30" fmla="*/ 2831728 w 105"/>
                <a:gd name="T31" fmla="*/ 47421233 h 166"/>
                <a:gd name="T32" fmla="*/ 2831728 w 105"/>
                <a:gd name="T33" fmla="*/ 43959468 h 166"/>
                <a:gd name="T34" fmla="*/ 1987498 w 105"/>
                <a:gd name="T35" fmla="*/ 33745057 h 166"/>
                <a:gd name="T36" fmla="*/ 6688272 w 105"/>
                <a:gd name="T37" fmla="*/ 28181266 h 166"/>
                <a:gd name="T38" fmla="*/ 10250442 w 105"/>
                <a:gd name="T39" fmla="*/ 26972490 h 166"/>
                <a:gd name="T40" fmla="*/ 7530121 w 105"/>
                <a:gd name="T41" fmla="*/ 32866260 h 166"/>
                <a:gd name="T42" fmla="*/ 15162068 w 105"/>
                <a:gd name="T43" fmla="*/ 36355852 h 166"/>
                <a:gd name="T44" fmla="*/ 18657337 w 105"/>
                <a:gd name="T45" fmla="*/ 39271613 h 166"/>
                <a:gd name="T46" fmla="*/ 22703671 w 105"/>
                <a:gd name="T47" fmla="*/ 28181266 h 166"/>
                <a:gd name="T48" fmla="*/ 30959111 w 105"/>
                <a:gd name="T49" fmla="*/ 22643206 h 166"/>
                <a:gd name="T50" fmla="*/ 40504746 w 105"/>
                <a:gd name="T51" fmla="*/ 17114813 h 166"/>
                <a:gd name="T52" fmla="*/ 46054012 w 105"/>
                <a:gd name="T53" fmla="*/ 2824655 h 166"/>
                <a:gd name="T54" fmla="*/ 44908167 w 105"/>
                <a:gd name="T55" fmla="*/ 0 h 166"/>
                <a:gd name="T56" fmla="*/ 50748192 w 105"/>
                <a:gd name="T57" fmla="*/ 3552753 h 166"/>
                <a:gd name="T58" fmla="*/ 61852316 w 105"/>
                <a:gd name="T59" fmla="*/ 13917860 h 166"/>
                <a:gd name="T60" fmla="*/ 67547906 w 105"/>
                <a:gd name="T61" fmla="*/ 18615502 h 166"/>
                <a:gd name="T62" fmla="*/ 74958729 w 105"/>
                <a:gd name="T63" fmla="*/ 18615502 h 166"/>
                <a:gd name="T64" fmla="*/ 79870337 w 105"/>
                <a:gd name="T65" fmla="*/ 17735618 h 166"/>
                <a:gd name="T66" fmla="*/ 84582959 w 105"/>
                <a:gd name="T67" fmla="*/ 20603616 h 166"/>
                <a:gd name="T68" fmla="*/ 82587623 w 105"/>
                <a:gd name="T69" fmla="*/ 26972490 h 166"/>
                <a:gd name="T70" fmla="*/ 85424477 w 105"/>
                <a:gd name="T71" fmla="*/ 30041632 h 166"/>
                <a:gd name="T72" fmla="*/ 86289199 w 105"/>
                <a:gd name="T73" fmla="*/ 32866260 h 166"/>
                <a:gd name="T74" fmla="*/ 84582959 w 105"/>
                <a:gd name="T75" fmla="*/ 36355852 h 166"/>
                <a:gd name="T76" fmla="*/ 75803346 w 105"/>
                <a:gd name="T77" fmla="*/ 38431241 h 166"/>
                <a:gd name="T78" fmla="*/ 70265720 w 105"/>
                <a:gd name="T79" fmla="*/ 38431241 h 166"/>
                <a:gd name="T80" fmla="*/ 63931623 w 105"/>
                <a:gd name="T81" fmla="*/ 46784097 h 166"/>
                <a:gd name="T82" fmla="*/ 61852316 w 105"/>
                <a:gd name="T83" fmla="*/ 51481672 h 166"/>
                <a:gd name="T84" fmla="*/ 57183039 w 105"/>
                <a:gd name="T85" fmla="*/ 56166854 h 166"/>
                <a:gd name="T86" fmla="*/ 63931623 w 105"/>
                <a:gd name="T87" fmla="*/ 74787055 h 166"/>
                <a:gd name="T88" fmla="*/ 66763489 w 105"/>
                <a:gd name="T89" fmla="*/ 78454171 h 166"/>
                <a:gd name="T90" fmla="*/ 72345065 w 105"/>
                <a:gd name="T91" fmla="*/ 84347903 h 166"/>
                <a:gd name="T92" fmla="*/ 75803346 w 105"/>
                <a:gd name="T93" fmla="*/ 83139977 h 166"/>
                <a:gd name="T94" fmla="*/ 80508391 w 105"/>
                <a:gd name="T95" fmla="*/ 80312893 h 166"/>
                <a:gd name="T96" fmla="*/ 80508391 w 105"/>
                <a:gd name="T97" fmla="*/ 83139977 h 166"/>
                <a:gd name="T98" fmla="*/ 82587623 w 105"/>
                <a:gd name="T99" fmla="*/ 92737720 h 166"/>
                <a:gd name="T100" fmla="*/ 88919566 w 105"/>
                <a:gd name="T101" fmla="*/ 92737720 h 166"/>
                <a:gd name="T102" fmla="*/ 95668339 w 105"/>
                <a:gd name="T103" fmla="*/ 101752621 h 166"/>
                <a:gd name="T104" fmla="*/ 96538880 w 105"/>
                <a:gd name="T105" fmla="*/ 109367960 h 166"/>
                <a:gd name="T106" fmla="*/ 93679956 w 105"/>
                <a:gd name="T107" fmla="*/ 114894497 h 166"/>
                <a:gd name="T108" fmla="*/ 95668339 w 105"/>
                <a:gd name="T109" fmla="*/ 118719508 h 166"/>
                <a:gd name="T110" fmla="*/ 93679956 w 105"/>
                <a:gd name="T111" fmla="*/ 126268122 h 166"/>
                <a:gd name="T112" fmla="*/ 96538880 w 105"/>
                <a:gd name="T113" fmla="*/ 136696943 h 166"/>
                <a:gd name="T114" fmla="*/ 91842583 w 105"/>
                <a:gd name="T115" fmla="*/ 152464896 h 166"/>
                <a:gd name="T116" fmla="*/ 87411954 w 105"/>
                <a:gd name="T117" fmla="*/ 155289487 h 16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"/>
                <a:gd name="T178" fmla="*/ 0 h 166"/>
                <a:gd name="T179" fmla="*/ 105 w 105"/>
                <a:gd name="T180" fmla="*/ 166 h 16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" h="166">
                  <a:moveTo>
                    <a:pt x="92" y="166"/>
                  </a:moveTo>
                  <a:cubicBezTo>
                    <a:pt x="91" y="165"/>
                    <a:pt x="90" y="165"/>
                    <a:pt x="89" y="164"/>
                  </a:cubicBezTo>
                  <a:cubicBezTo>
                    <a:pt x="88" y="164"/>
                    <a:pt x="86" y="163"/>
                    <a:pt x="86" y="162"/>
                  </a:cubicBezTo>
                  <a:cubicBezTo>
                    <a:pt x="83" y="158"/>
                    <a:pt x="80" y="155"/>
                    <a:pt x="76" y="153"/>
                  </a:cubicBezTo>
                  <a:cubicBezTo>
                    <a:pt x="71" y="150"/>
                    <a:pt x="67" y="148"/>
                    <a:pt x="62" y="145"/>
                  </a:cubicBezTo>
                  <a:cubicBezTo>
                    <a:pt x="62" y="145"/>
                    <a:pt x="61" y="144"/>
                    <a:pt x="61" y="143"/>
                  </a:cubicBezTo>
                  <a:cubicBezTo>
                    <a:pt x="59" y="142"/>
                    <a:pt x="57" y="142"/>
                    <a:pt x="55" y="141"/>
                  </a:cubicBezTo>
                  <a:cubicBezTo>
                    <a:pt x="53" y="140"/>
                    <a:pt x="52" y="138"/>
                    <a:pt x="51" y="136"/>
                  </a:cubicBezTo>
                  <a:cubicBezTo>
                    <a:pt x="49" y="134"/>
                    <a:pt x="47" y="133"/>
                    <a:pt x="46" y="132"/>
                  </a:cubicBezTo>
                  <a:cubicBezTo>
                    <a:pt x="45" y="131"/>
                    <a:pt x="44" y="130"/>
                    <a:pt x="43" y="128"/>
                  </a:cubicBezTo>
                  <a:cubicBezTo>
                    <a:pt x="43" y="127"/>
                    <a:pt x="43" y="125"/>
                    <a:pt x="44" y="124"/>
                  </a:cubicBezTo>
                  <a:cubicBezTo>
                    <a:pt x="44" y="123"/>
                    <a:pt x="44" y="122"/>
                    <a:pt x="44" y="121"/>
                  </a:cubicBezTo>
                  <a:cubicBezTo>
                    <a:pt x="44" y="120"/>
                    <a:pt x="43" y="119"/>
                    <a:pt x="43" y="119"/>
                  </a:cubicBezTo>
                  <a:cubicBezTo>
                    <a:pt x="42" y="118"/>
                    <a:pt x="41" y="118"/>
                    <a:pt x="41" y="117"/>
                  </a:cubicBezTo>
                  <a:cubicBezTo>
                    <a:pt x="42" y="117"/>
                    <a:pt x="42" y="118"/>
                    <a:pt x="42" y="118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39" y="114"/>
                    <a:pt x="38" y="112"/>
                    <a:pt x="37" y="109"/>
                  </a:cubicBezTo>
                  <a:cubicBezTo>
                    <a:pt x="37" y="108"/>
                    <a:pt x="35" y="106"/>
                    <a:pt x="34" y="105"/>
                  </a:cubicBezTo>
                  <a:cubicBezTo>
                    <a:pt x="34" y="104"/>
                    <a:pt x="33" y="102"/>
                    <a:pt x="32" y="101"/>
                  </a:cubicBezTo>
                  <a:cubicBezTo>
                    <a:pt x="31" y="97"/>
                    <a:pt x="29" y="94"/>
                    <a:pt x="27" y="90"/>
                  </a:cubicBezTo>
                  <a:cubicBezTo>
                    <a:pt x="27" y="89"/>
                    <a:pt x="27" y="89"/>
                    <a:pt x="27" y="88"/>
                  </a:cubicBezTo>
                  <a:cubicBezTo>
                    <a:pt x="26" y="86"/>
                    <a:pt x="25" y="85"/>
                    <a:pt x="25" y="83"/>
                  </a:cubicBezTo>
                  <a:cubicBezTo>
                    <a:pt x="25" y="82"/>
                    <a:pt x="24" y="80"/>
                    <a:pt x="24" y="79"/>
                  </a:cubicBezTo>
                  <a:cubicBezTo>
                    <a:pt x="23" y="76"/>
                    <a:pt x="21" y="74"/>
                    <a:pt x="20" y="72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0"/>
                    <a:pt x="19" y="69"/>
                    <a:pt x="19" y="69"/>
                  </a:cubicBezTo>
                  <a:cubicBezTo>
                    <a:pt x="19" y="68"/>
                    <a:pt x="18" y="68"/>
                    <a:pt x="18" y="67"/>
                  </a:cubicBezTo>
                  <a:cubicBezTo>
                    <a:pt x="17" y="64"/>
                    <a:pt x="16" y="61"/>
                    <a:pt x="14" y="60"/>
                  </a:cubicBezTo>
                  <a:cubicBezTo>
                    <a:pt x="13" y="59"/>
                    <a:pt x="13" y="59"/>
                    <a:pt x="12" y="59"/>
                  </a:cubicBezTo>
                  <a:cubicBezTo>
                    <a:pt x="10" y="58"/>
                    <a:pt x="8" y="57"/>
                    <a:pt x="7" y="56"/>
                  </a:cubicBezTo>
                  <a:cubicBezTo>
                    <a:pt x="6" y="55"/>
                    <a:pt x="4" y="55"/>
                    <a:pt x="3" y="54"/>
                  </a:cubicBezTo>
                  <a:cubicBezTo>
                    <a:pt x="3" y="53"/>
                    <a:pt x="3" y="52"/>
                    <a:pt x="3" y="51"/>
                  </a:cubicBezTo>
                  <a:cubicBezTo>
                    <a:pt x="4" y="51"/>
                    <a:pt x="5" y="51"/>
                    <a:pt x="5" y="50"/>
                  </a:cubicBezTo>
                  <a:cubicBezTo>
                    <a:pt x="6" y="49"/>
                    <a:pt x="4" y="48"/>
                    <a:pt x="3" y="47"/>
                  </a:cubicBezTo>
                  <a:cubicBezTo>
                    <a:pt x="2" y="47"/>
                    <a:pt x="3" y="45"/>
                    <a:pt x="2" y="45"/>
                  </a:cubicBezTo>
                  <a:cubicBezTo>
                    <a:pt x="1" y="42"/>
                    <a:pt x="0" y="39"/>
                    <a:pt x="2" y="36"/>
                  </a:cubicBezTo>
                  <a:cubicBezTo>
                    <a:pt x="2" y="35"/>
                    <a:pt x="3" y="35"/>
                    <a:pt x="4" y="34"/>
                  </a:cubicBezTo>
                  <a:cubicBezTo>
                    <a:pt x="5" y="33"/>
                    <a:pt x="6" y="31"/>
                    <a:pt x="7" y="30"/>
                  </a:cubicBezTo>
                  <a:cubicBezTo>
                    <a:pt x="8" y="29"/>
                    <a:pt x="9" y="29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1"/>
                    <a:pt x="11" y="33"/>
                    <a:pt x="11" y="34"/>
                  </a:cubicBezTo>
                  <a:cubicBezTo>
                    <a:pt x="10" y="35"/>
                    <a:pt x="9" y="35"/>
                    <a:pt x="8" y="35"/>
                  </a:cubicBezTo>
                  <a:cubicBezTo>
                    <a:pt x="8" y="36"/>
                    <a:pt x="8" y="38"/>
                    <a:pt x="9" y="38"/>
                  </a:cubicBezTo>
                  <a:cubicBezTo>
                    <a:pt x="11" y="39"/>
                    <a:pt x="14" y="38"/>
                    <a:pt x="16" y="39"/>
                  </a:cubicBezTo>
                  <a:cubicBezTo>
                    <a:pt x="17" y="39"/>
                    <a:pt x="17" y="41"/>
                    <a:pt x="18" y="42"/>
                  </a:cubicBezTo>
                  <a:cubicBezTo>
                    <a:pt x="19" y="43"/>
                    <a:pt x="20" y="43"/>
                    <a:pt x="20" y="42"/>
                  </a:cubicBezTo>
                  <a:cubicBezTo>
                    <a:pt x="21" y="41"/>
                    <a:pt x="22" y="40"/>
                    <a:pt x="22" y="39"/>
                  </a:cubicBezTo>
                  <a:cubicBezTo>
                    <a:pt x="23" y="37"/>
                    <a:pt x="23" y="33"/>
                    <a:pt x="24" y="30"/>
                  </a:cubicBezTo>
                  <a:cubicBezTo>
                    <a:pt x="25" y="29"/>
                    <a:pt x="26" y="28"/>
                    <a:pt x="28" y="26"/>
                  </a:cubicBezTo>
                  <a:cubicBezTo>
                    <a:pt x="30" y="25"/>
                    <a:pt x="31" y="24"/>
                    <a:pt x="33" y="24"/>
                  </a:cubicBezTo>
                  <a:cubicBezTo>
                    <a:pt x="36" y="22"/>
                    <a:pt x="39" y="21"/>
                    <a:pt x="41" y="19"/>
                  </a:cubicBezTo>
                  <a:cubicBezTo>
                    <a:pt x="42" y="18"/>
                    <a:pt x="43" y="18"/>
                    <a:pt x="43" y="18"/>
                  </a:cubicBezTo>
                  <a:cubicBezTo>
                    <a:pt x="46" y="16"/>
                    <a:pt x="48" y="13"/>
                    <a:pt x="49" y="11"/>
                  </a:cubicBezTo>
                  <a:cubicBezTo>
                    <a:pt x="50" y="8"/>
                    <a:pt x="50" y="6"/>
                    <a:pt x="49" y="3"/>
                  </a:cubicBezTo>
                  <a:cubicBezTo>
                    <a:pt x="49" y="2"/>
                    <a:pt x="48" y="2"/>
                    <a:pt x="48" y="1"/>
                  </a:cubicBezTo>
                  <a:cubicBezTo>
                    <a:pt x="48" y="1"/>
                    <a:pt x="48" y="0"/>
                    <a:pt x="48" y="0"/>
                  </a:cubicBezTo>
                  <a:cubicBezTo>
                    <a:pt x="50" y="0"/>
                    <a:pt x="51" y="2"/>
                    <a:pt x="53" y="3"/>
                  </a:cubicBezTo>
                  <a:cubicBezTo>
                    <a:pt x="54" y="3"/>
                    <a:pt x="54" y="4"/>
                    <a:pt x="54" y="4"/>
                  </a:cubicBezTo>
                  <a:cubicBezTo>
                    <a:pt x="55" y="5"/>
                    <a:pt x="56" y="6"/>
                    <a:pt x="57" y="8"/>
                  </a:cubicBezTo>
                  <a:cubicBezTo>
                    <a:pt x="60" y="9"/>
                    <a:pt x="64" y="12"/>
                    <a:pt x="66" y="15"/>
                  </a:cubicBezTo>
                  <a:cubicBezTo>
                    <a:pt x="66" y="17"/>
                    <a:pt x="66" y="19"/>
                    <a:pt x="67" y="20"/>
                  </a:cubicBezTo>
                  <a:cubicBezTo>
                    <a:pt x="68" y="20"/>
                    <a:pt x="70" y="20"/>
                    <a:pt x="72" y="20"/>
                  </a:cubicBezTo>
                  <a:cubicBezTo>
                    <a:pt x="73" y="19"/>
                    <a:pt x="74" y="19"/>
                    <a:pt x="75" y="18"/>
                  </a:cubicBezTo>
                  <a:cubicBezTo>
                    <a:pt x="77" y="17"/>
                    <a:pt x="79" y="19"/>
                    <a:pt x="80" y="20"/>
                  </a:cubicBezTo>
                  <a:cubicBezTo>
                    <a:pt x="81" y="20"/>
                    <a:pt x="82" y="20"/>
                    <a:pt x="83" y="20"/>
                  </a:cubicBezTo>
                  <a:cubicBezTo>
                    <a:pt x="84" y="20"/>
                    <a:pt x="84" y="19"/>
                    <a:pt x="85" y="19"/>
                  </a:cubicBezTo>
                  <a:cubicBezTo>
                    <a:pt x="86" y="18"/>
                    <a:pt x="87" y="18"/>
                    <a:pt x="87" y="19"/>
                  </a:cubicBezTo>
                  <a:cubicBezTo>
                    <a:pt x="89" y="20"/>
                    <a:pt x="90" y="21"/>
                    <a:pt x="90" y="22"/>
                  </a:cubicBezTo>
                  <a:cubicBezTo>
                    <a:pt x="91" y="24"/>
                    <a:pt x="91" y="26"/>
                    <a:pt x="90" y="27"/>
                  </a:cubicBezTo>
                  <a:cubicBezTo>
                    <a:pt x="89" y="27"/>
                    <a:pt x="88" y="28"/>
                    <a:pt x="88" y="29"/>
                  </a:cubicBezTo>
                  <a:cubicBezTo>
                    <a:pt x="88" y="30"/>
                    <a:pt x="87" y="32"/>
                    <a:pt x="88" y="32"/>
                  </a:cubicBezTo>
                  <a:cubicBezTo>
                    <a:pt x="89" y="31"/>
                    <a:pt x="90" y="32"/>
                    <a:pt x="91" y="32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4"/>
                    <a:pt x="92" y="34"/>
                    <a:pt x="92" y="35"/>
                  </a:cubicBezTo>
                  <a:cubicBezTo>
                    <a:pt x="92" y="36"/>
                    <a:pt x="92" y="38"/>
                    <a:pt x="92" y="39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88" y="39"/>
                    <a:pt x="86" y="39"/>
                    <a:pt x="84" y="40"/>
                  </a:cubicBezTo>
                  <a:cubicBezTo>
                    <a:pt x="83" y="40"/>
                    <a:pt x="82" y="41"/>
                    <a:pt x="81" y="41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79" y="41"/>
                    <a:pt x="77" y="40"/>
                    <a:pt x="75" y="41"/>
                  </a:cubicBezTo>
                  <a:cubicBezTo>
                    <a:pt x="73" y="43"/>
                    <a:pt x="70" y="44"/>
                    <a:pt x="69" y="47"/>
                  </a:cubicBezTo>
                  <a:cubicBezTo>
                    <a:pt x="69" y="48"/>
                    <a:pt x="69" y="49"/>
                    <a:pt x="68" y="50"/>
                  </a:cubicBezTo>
                  <a:cubicBezTo>
                    <a:pt x="68" y="51"/>
                    <a:pt x="67" y="52"/>
                    <a:pt x="66" y="52"/>
                  </a:cubicBezTo>
                  <a:cubicBezTo>
                    <a:pt x="66" y="53"/>
                    <a:pt x="66" y="54"/>
                    <a:pt x="66" y="55"/>
                  </a:cubicBezTo>
                  <a:cubicBezTo>
                    <a:pt x="67" y="56"/>
                    <a:pt x="67" y="58"/>
                    <a:pt x="66" y="59"/>
                  </a:cubicBezTo>
                  <a:cubicBezTo>
                    <a:pt x="65" y="59"/>
                    <a:pt x="63" y="59"/>
                    <a:pt x="61" y="60"/>
                  </a:cubicBezTo>
                  <a:cubicBezTo>
                    <a:pt x="62" y="65"/>
                    <a:pt x="61" y="71"/>
                    <a:pt x="62" y="77"/>
                  </a:cubicBezTo>
                  <a:cubicBezTo>
                    <a:pt x="63" y="79"/>
                    <a:pt x="66" y="79"/>
                    <a:pt x="68" y="80"/>
                  </a:cubicBezTo>
                  <a:cubicBezTo>
                    <a:pt x="68" y="81"/>
                    <a:pt x="68" y="82"/>
                    <a:pt x="68" y="82"/>
                  </a:cubicBezTo>
                  <a:cubicBezTo>
                    <a:pt x="69" y="84"/>
                    <a:pt x="70" y="83"/>
                    <a:pt x="71" y="84"/>
                  </a:cubicBezTo>
                  <a:cubicBezTo>
                    <a:pt x="72" y="85"/>
                    <a:pt x="73" y="86"/>
                    <a:pt x="74" y="87"/>
                  </a:cubicBezTo>
                  <a:cubicBezTo>
                    <a:pt x="75" y="88"/>
                    <a:pt x="76" y="89"/>
                    <a:pt x="77" y="90"/>
                  </a:cubicBezTo>
                  <a:cubicBezTo>
                    <a:pt x="78" y="90"/>
                    <a:pt x="78" y="90"/>
                    <a:pt x="79" y="90"/>
                  </a:cubicBezTo>
                  <a:cubicBezTo>
                    <a:pt x="80" y="90"/>
                    <a:pt x="81" y="89"/>
                    <a:pt x="81" y="89"/>
                  </a:cubicBezTo>
                  <a:cubicBezTo>
                    <a:pt x="82" y="88"/>
                    <a:pt x="83" y="87"/>
                    <a:pt x="84" y="86"/>
                  </a:cubicBezTo>
                  <a:cubicBezTo>
                    <a:pt x="85" y="86"/>
                    <a:pt x="86" y="86"/>
                    <a:pt x="86" y="86"/>
                  </a:cubicBezTo>
                  <a:cubicBezTo>
                    <a:pt x="86" y="87"/>
                    <a:pt x="86" y="88"/>
                    <a:pt x="86" y="89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86" y="92"/>
                    <a:pt x="86" y="95"/>
                    <a:pt x="87" y="98"/>
                  </a:cubicBezTo>
                  <a:cubicBezTo>
                    <a:pt x="88" y="98"/>
                    <a:pt x="88" y="99"/>
                    <a:pt x="88" y="99"/>
                  </a:cubicBezTo>
                  <a:cubicBezTo>
                    <a:pt x="89" y="99"/>
                    <a:pt x="91" y="99"/>
                    <a:pt x="92" y="99"/>
                  </a:cubicBezTo>
                  <a:cubicBezTo>
                    <a:pt x="93" y="98"/>
                    <a:pt x="94" y="98"/>
                    <a:pt x="95" y="99"/>
                  </a:cubicBezTo>
                  <a:cubicBezTo>
                    <a:pt x="96" y="99"/>
                    <a:pt x="97" y="99"/>
                    <a:pt x="97" y="100"/>
                  </a:cubicBezTo>
                  <a:cubicBezTo>
                    <a:pt x="99" y="103"/>
                    <a:pt x="100" y="106"/>
                    <a:pt x="102" y="109"/>
                  </a:cubicBezTo>
                  <a:cubicBezTo>
                    <a:pt x="102" y="110"/>
                    <a:pt x="104" y="110"/>
                    <a:pt x="104" y="111"/>
                  </a:cubicBezTo>
                  <a:cubicBezTo>
                    <a:pt x="105" y="113"/>
                    <a:pt x="104" y="115"/>
                    <a:pt x="103" y="117"/>
                  </a:cubicBezTo>
                  <a:cubicBezTo>
                    <a:pt x="102" y="118"/>
                    <a:pt x="103" y="120"/>
                    <a:pt x="102" y="122"/>
                  </a:cubicBezTo>
                  <a:cubicBezTo>
                    <a:pt x="102" y="123"/>
                    <a:pt x="101" y="123"/>
                    <a:pt x="100" y="123"/>
                  </a:cubicBezTo>
                  <a:cubicBezTo>
                    <a:pt x="100" y="124"/>
                    <a:pt x="100" y="124"/>
                    <a:pt x="100" y="125"/>
                  </a:cubicBezTo>
                  <a:cubicBezTo>
                    <a:pt x="100" y="126"/>
                    <a:pt x="102" y="126"/>
                    <a:pt x="102" y="127"/>
                  </a:cubicBezTo>
                  <a:cubicBezTo>
                    <a:pt x="102" y="128"/>
                    <a:pt x="102" y="130"/>
                    <a:pt x="101" y="131"/>
                  </a:cubicBezTo>
                  <a:cubicBezTo>
                    <a:pt x="101" y="132"/>
                    <a:pt x="100" y="134"/>
                    <a:pt x="100" y="135"/>
                  </a:cubicBezTo>
                  <a:cubicBezTo>
                    <a:pt x="100" y="137"/>
                    <a:pt x="99" y="140"/>
                    <a:pt x="100" y="143"/>
                  </a:cubicBezTo>
                  <a:cubicBezTo>
                    <a:pt x="100" y="144"/>
                    <a:pt x="102" y="145"/>
                    <a:pt x="103" y="146"/>
                  </a:cubicBezTo>
                  <a:cubicBezTo>
                    <a:pt x="104" y="150"/>
                    <a:pt x="100" y="152"/>
                    <a:pt x="98" y="155"/>
                  </a:cubicBezTo>
                  <a:cubicBezTo>
                    <a:pt x="96" y="157"/>
                    <a:pt x="98" y="160"/>
                    <a:pt x="98" y="163"/>
                  </a:cubicBezTo>
                  <a:cubicBezTo>
                    <a:pt x="98" y="163"/>
                    <a:pt x="98" y="163"/>
                    <a:pt x="98" y="163"/>
                  </a:cubicBezTo>
                  <a:cubicBezTo>
                    <a:pt x="96" y="164"/>
                    <a:pt x="95" y="166"/>
                    <a:pt x="93" y="166"/>
                  </a:cubicBezTo>
                  <a:lnTo>
                    <a:pt x="92" y="16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7" name="Freeform 403"/>
            <p:cNvSpPr>
              <a:spLocks/>
            </p:cNvSpPr>
            <p:nvPr/>
          </p:nvSpPr>
          <p:spPr bwMode="auto">
            <a:xfrm>
              <a:off x="6682439" y="3622514"/>
              <a:ext cx="46153" cy="59754"/>
            </a:xfrm>
            <a:custGeom>
              <a:avLst/>
              <a:gdLst>
                <a:gd name="T0" fmla="*/ 6840539 w 99"/>
                <a:gd name="T1" fmla="*/ 75575173 h 124"/>
                <a:gd name="T2" fmla="*/ 11216146 w 99"/>
                <a:gd name="T3" fmla="*/ 88819544 h 124"/>
                <a:gd name="T4" fmla="*/ 12441474 w 99"/>
                <a:gd name="T5" fmla="*/ 91488226 h 124"/>
                <a:gd name="T6" fmla="*/ 11216146 w 99"/>
                <a:gd name="T7" fmla="*/ 92694176 h 124"/>
                <a:gd name="T8" fmla="*/ 13226484 w 99"/>
                <a:gd name="T9" fmla="*/ 99935773 h 124"/>
                <a:gd name="T10" fmla="*/ 18036114 w 99"/>
                <a:gd name="T11" fmla="*/ 109446664 h 124"/>
                <a:gd name="T12" fmla="*/ 18819603 w 99"/>
                <a:gd name="T13" fmla="*/ 116381424 h 124"/>
                <a:gd name="T14" fmla="*/ 22924760 w 99"/>
                <a:gd name="T15" fmla="*/ 115177894 h 124"/>
                <a:gd name="T16" fmla="*/ 31262589 w 99"/>
                <a:gd name="T17" fmla="*/ 107575774 h 124"/>
                <a:gd name="T18" fmla="*/ 38886751 w 99"/>
                <a:gd name="T19" fmla="*/ 110293831 h 124"/>
                <a:gd name="T20" fmla="*/ 43839712 w 99"/>
                <a:gd name="T21" fmla="*/ 114330727 h 124"/>
                <a:gd name="T22" fmla="*/ 46582134 w 99"/>
                <a:gd name="T23" fmla="*/ 109446664 h 124"/>
                <a:gd name="T24" fmla="*/ 55921671 w 99"/>
                <a:gd name="T25" fmla="*/ 109446664 h 124"/>
                <a:gd name="T26" fmla="*/ 58931733 w 99"/>
                <a:gd name="T27" fmla="*/ 104732654 h 124"/>
                <a:gd name="T28" fmla="*/ 60658170 w 99"/>
                <a:gd name="T29" fmla="*/ 89486148 h 124"/>
                <a:gd name="T30" fmla="*/ 62662080 w 99"/>
                <a:gd name="T31" fmla="*/ 87973134 h 124"/>
                <a:gd name="T32" fmla="*/ 80698265 w 99"/>
                <a:gd name="T33" fmla="*/ 83040527 h 124"/>
                <a:gd name="T34" fmla="*/ 89188141 w 99"/>
                <a:gd name="T35" fmla="*/ 85882816 h 124"/>
                <a:gd name="T36" fmla="*/ 91196210 w 99"/>
                <a:gd name="T37" fmla="*/ 83040527 h 124"/>
                <a:gd name="T38" fmla="*/ 91914075 w 99"/>
                <a:gd name="T39" fmla="*/ 72732998 h 124"/>
                <a:gd name="T40" fmla="*/ 90329947 w 99"/>
                <a:gd name="T41" fmla="*/ 68011956 h 124"/>
                <a:gd name="T42" fmla="*/ 86319179 w 99"/>
                <a:gd name="T43" fmla="*/ 64285262 h 124"/>
                <a:gd name="T44" fmla="*/ 86319179 w 99"/>
                <a:gd name="T45" fmla="*/ 57465320 h 124"/>
                <a:gd name="T46" fmla="*/ 80698265 w 99"/>
                <a:gd name="T47" fmla="*/ 58707261 h 124"/>
                <a:gd name="T48" fmla="*/ 72217975 w 99"/>
                <a:gd name="T49" fmla="*/ 57465320 h 124"/>
                <a:gd name="T50" fmla="*/ 69507698 w 99"/>
                <a:gd name="T51" fmla="*/ 48385725 h 124"/>
                <a:gd name="T52" fmla="*/ 70357132 w 99"/>
                <a:gd name="T53" fmla="*/ 41589185 h 124"/>
                <a:gd name="T54" fmla="*/ 65404162 w 99"/>
                <a:gd name="T55" fmla="*/ 33986186 h 124"/>
                <a:gd name="T56" fmla="*/ 58931733 w 99"/>
                <a:gd name="T57" fmla="*/ 33141326 h 124"/>
                <a:gd name="T58" fmla="*/ 55073902 w 99"/>
                <a:gd name="T59" fmla="*/ 31138889 h 124"/>
                <a:gd name="T60" fmla="*/ 51443168 w 99"/>
                <a:gd name="T61" fmla="*/ 28408885 h 124"/>
                <a:gd name="T62" fmla="*/ 35002579 w 99"/>
                <a:gd name="T63" fmla="*/ 20844516 h 124"/>
                <a:gd name="T64" fmla="*/ 32133920 w 99"/>
                <a:gd name="T65" fmla="*/ 16027441 h 124"/>
                <a:gd name="T66" fmla="*/ 31262589 w 99"/>
                <a:gd name="T67" fmla="*/ 8447734 h 124"/>
                <a:gd name="T68" fmla="*/ 23659170 w 99"/>
                <a:gd name="T69" fmla="*/ 2002076 h 124"/>
                <a:gd name="T70" fmla="*/ 13226484 w 99"/>
                <a:gd name="T71" fmla="*/ 10292336 h 124"/>
                <a:gd name="T72" fmla="*/ 6840539 w 99"/>
                <a:gd name="T73" fmla="*/ 13178234 h 124"/>
                <a:gd name="T74" fmla="*/ 0 w 99"/>
                <a:gd name="T75" fmla="*/ 12293875 h 124"/>
                <a:gd name="T76" fmla="*/ 6840539 w 99"/>
                <a:gd name="T77" fmla="*/ 21628017 h 124"/>
                <a:gd name="T78" fmla="*/ 7630664 w 99"/>
                <a:gd name="T79" fmla="*/ 29049232 h 124"/>
                <a:gd name="T80" fmla="*/ 4745295 w 99"/>
                <a:gd name="T81" fmla="*/ 34870347 h 124"/>
                <a:gd name="T82" fmla="*/ 6840539 w 99"/>
                <a:gd name="T83" fmla="*/ 38718589 h 124"/>
                <a:gd name="T84" fmla="*/ 4745295 w 99"/>
                <a:gd name="T85" fmla="*/ 46318733 h 124"/>
                <a:gd name="T86" fmla="*/ 7630664 w 99"/>
                <a:gd name="T87" fmla="*/ 56833423 h 124"/>
                <a:gd name="T88" fmla="*/ 2894074 w 99"/>
                <a:gd name="T89" fmla="*/ 72732998 h 12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9"/>
                <a:gd name="T136" fmla="*/ 0 h 124"/>
                <a:gd name="T137" fmla="*/ 99 w 99"/>
                <a:gd name="T138" fmla="*/ 124 h 12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9" h="124">
                  <a:moveTo>
                    <a:pt x="3" y="77"/>
                  </a:moveTo>
                  <a:cubicBezTo>
                    <a:pt x="5" y="76"/>
                    <a:pt x="7" y="78"/>
                    <a:pt x="7" y="80"/>
                  </a:cubicBezTo>
                  <a:cubicBezTo>
                    <a:pt x="8" y="84"/>
                    <a:pt x="10" y="86"/>
                    <a:pt x="12" y="90"/>
                  </a:cubicBezTo>
                  <a:cubicBezTo>
                    <a:pt x="13" y="91"/>
                    <a:pt x="12" y="93"/>
                    <a:pt x="12" y="94"/>
                  </a:cubicBezTo>
                  <a:cubicBezTo>
                    <a:pt x="12" y="94"/>
                    <a:pt x="13" y="95"/>
                    <a:pt x="13" y="95"/>
                  </a:cubicBezTo>
                  <a:cubicBezTo>
                    <a:pt x="14" y="96"/>
                    <a:pt x="14" y="96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12" y="99"/>
                    <a:pt x="12" y="100"/>
                    <a:pt x="12" y="100"/>
                  </a:cubicBezTo>
                  <a:cubicBezTo>
                    <a:pt x="13" y="102"/>
                    <a:pt x="12" y="104"/>
                    <a:pt x="14" y="106"/>
                  </a:cubicBezTo>
                  <a:cubicBezTo>
                    <a:pt x="16" y="109"/>
                    <a:pt x="16" y="112"/>
                    <a:pt x="18" y="115"/>
                  </a:cubicBezTo>
                  <a:cubicBezTo>
                    <a:pt x="18" y="115"/>
                    <a:pt x="19" y="116"/>
                    <a:pt x="19" y="116"/>
                  </a:cubicBezTo>
                  <a:cubicBezTo>
                    <a:pt x="19" y="118"/>
                    <a:pt x="18" y="121"/>
                    <a:pt x="19" y="123"/>
                  </a:cubicBezTo>
                  <a:cubicBezTo>
                    <a:pt x="19" y="123"/>
                    <a:pt x="19" y="123"/>
                    <a:pt x="20" y="123"/>
                  </a:cubicBezTo>
                  <a:cubicBezTo>
                    <a:pt x="21" y="124"/>
                    <a:pt x="23" y="123"/>
                    <a:pt x="25" y="123"/>
                  </a:cubicBezTo>
                  <a:cubicBezTo>
                    <a:pt x="24" y="122"/>
                    <a:pt x="24" y="122"/>
                    <a:pt x="24" y="122"/>
                  </a:cubicBezTo>
                  <a:cubicBezTo>
                    <a:pt x="27" y="119"/>
                    <a:pt x="28" y="118"/>
                    <a:pt x="31" y="115"/>
                  </a:cubicBezTo>
                  <a:cubicBezTo>
                    <a:pt x="32" y="115"/>
                    <a:pt x="32" y="114"/>
                    <a:pt x="33" y="114"/>
                  </a:cubicBezTo>
                  <a:cubicBezTo>
                    <a:pt x="34" y="115"/>
                    <a:pt x="35" y="116"/>
                    <a:pt x="36" y="116"/>
                  </a:cubicBezTo>
                  <a:cubicBezTo>
                    <a:pt x="38" y="117"/>
                    <a:pt x="40" y="116"/>
                    <a:pt x="41" y="117"/>
                  </a:cubicBezTo>
                  <a:cubicBezTo>
                    <a:pt x="43" y="117"/>
                    <a:pt x="43" y="119"/>
                    <a:pt x="44" y="120"/>
                  </a:cubicBezTo>
                  <a:cubicBezTo>
                    <a:pt x="45" y="121"/>
                    <a:pt x="46" y="122"/>
                    <a:pt x="46" y="121"/>
                  </a:cubicBezTo>
                  <a:cubicBezTo>
                    <a:pt x="47" y="120"/>
                    <a:pt x="48" y="118"/>
                    <a:pt x="48" y="117"/>
                  </a:cubicBezTo>
                  <a:cubicBezTo>
                    <a:pt x="48" y="117"/>
                    <a:pt x="49" y="116"/>
                    <a:pt x="49" y="116"/>
                  </a:cubicBezTo>
                  <a:cubicBezTo>
                    <a:pt x="51" y="116"/>
                    <a:pt x="53" y="116"/>
                    <a:pt x="54" y="115"/>
                  </a:cubicBezTo>
                  <a:cubicBezTo>
                    <a:pt x="56" y="115"/>
                    <a:pt x="57" y="115"/>
                    <a:pt x="59" y="116"/>
                  </a:cubicBezTo>
                  <a:cubicBezTo>
                    <a:pt x="59" y="116"/>
                    <a:pt x="60" y="116"/>
                    <a:pt x="60" y="116"/>
                  </a:cubicBezTo>
                  <a:cubicBezTo>
                    <a:pt x="61" y="114"/>
                    <a:pt x="62" y="113"/>
                    <a:pt x="62" y="111"/>
                  </a:cubicBezTo>
                  <a:cubicBezTo>
                    <a:pt x="62" y="108"/>
                    <a:pt x="62" y="106"/>
                    <a:pt x="62" y="103"/>
                  </a:cubicBezTo>
                  <a:cubicBezTo>
                    <a:pt x="63" y="100"/>
                    <a:pt x="63" y="98"/>
                    <a:pt x="64" y="95"/>
                  </a:cubicBezTo>
                  <a:cubicBezTo>
                    <a:pt x="64" y="95"/>
                    <a:pt x="64" y="94"/>
                    <a:pt x="64" y="94"/>
                  </a:cubicBezTo>
                  <a:cubicBezTo>
                    <a:pt x="65" y="93"/>
                    <a:pt x="65" y="93"/>
                    <a:pt x="66" y="93"/>
                  </a:cubicBezTo>
                  <a:cubicBezTo>
                    <a:pt x="67" y="93"/>
                    <a:pt x="69" y="92"/>
                    <a:pt x="71" y="92"/>
                  </a:cubicBezTo>
                  <a:cubicBezTo>
                    <a:pt x="75" y="90"/>
                    <a:pt x="80" y="87"/>
                    <a:pt x="85" y="88"/>
                  </a:cubicBezTo>
                  <a:cubicBezTo>
                    <a:pt x="86" y="88"/>
                    <a:pt x="87" y="89"/>
                    <a:pt x="88" y="90"/>
                  </a:cubicBezTo>
                  <a:cubicBezTo>
                    <a:pt x="90" y="91"/>
                    <a:pt x="92" y="91"/>
                    <a:pt x="94" y="91"/>
                  </a:cubicBezTo>
                  <a:cubicBezTo>
                    <a:pt x="94" y="91"/>
                    <a:pt x="94" y="91"/>
                    <a:pt x="94" y="91"/>
                  </a:cubicBezTo>
                  <a:cubicBezTo>
                    <a:pt x="94" y="90"/>
                    <a:pt x="95" y="89"/>
                    <a:pt x="96" y="88"/>
                  </a:cubicBezTo>
                  <a:cubicBezTo>
                    <a:pt x="97" y="85"/>
                    <a:pt x="99" y="82"/>
                    <a:pt x="98" y="79"/>
                  </a:cubicBezTo>
                  <a:cubicBezTo>
                    <a:pt x="98" y="78"/>
                    <a:pt x="97" y="78"/>
                    <a:pt x="97" y="77"/>
                  </a:cubicBezTo>
                  <a:cubicBezTo>
                    <a:pt x="97" y="76"/>
                    <a:pt x="97" y="75"/>
                    <a:pt x="97" y="75"/>
                  </a:cubicBezTo>
                  <a:cubicBezTo>
                    <a:pt x="96" y="74"/>
                    <a:pt x="96" y="73"/>
                    <a:pt x="95" y="72"/>
                  </a:cubicBezTo>
                  <a:cubicBezTo>
                    <a:pt x="94" y="71"/>
                    <a:pt x="93" y="71"/>
                    <a:pt x="93" y="70"/>
                  </a:cubicBezTo>
                  <a:cubicBezTo>
                    <a:pt x="92" y="69"/>
                    <a:pt x="91" y="69"/>
                    <a:pt x="91" y="68"/>
                  </a:cubicBezTo>
                  <a:cubicBezTo>
                    <a:pt x="91" y="67"/>
                    <a:pt x="91" y="65"/>
                    <a:pt x="91" y="64"/>
                  </a:cubicBezTo>
                  <a:cubicBezTo>
                    <a:pt x="92" y="63"/>
                    <a:pt x="92" y="62"/>
                    <a:pt x="91" y="61"/>
                  </a:cubicBezTo>
                  <a:cubicBezTo>
                    <a:pt x="90" y="61"/>
                    <a:pt x="89" y="61"/>
                    <a:pt x="89" y="61"/>
                  </a:cubicBezTo>
                  <a:cubicBezTo>
                    <a:pt x="87" y="62"/>
                    <a:pt x="86" y="62"/>
                    <a:pt x="85" y="62"/>
                  </a:cubicBezTo>
                  <a:cubicBezTo>
                    <a:pt x="83" y="63"/>
                    <a:pt x="81" y="63"/>
                    <a:pt x="80" y="62"/>
                  </a:cubicBezTo>
                  <a:cubicBezTo>
                    <a:pt x="79" y="62"/>
                    <a:pt x="77" y="62"/>
                    <a:pt x="76" y="61"/>
                  </a:cubicBezTo>
                  <a:cubicBezTo>
                    <a:pt x="75" y="58"/>
                    <a:pt x="74" y="56"/>
                    <a:pt x="73" y="53"/>
                  </a:cubicBezTo>
                  <a:cubicBezTo>
                    <a:pt x="73" y="53"/>
                    <a:pt x="73" y="52"/>
                    <a:pt x="73" y="51"/>
                  </a:cubicBezTo>
                  <a:cubicBezTo>
                    <a:pt x="74" y="50"/>
                    <a:pt x="75" y="50"/>
                    <a:pt x="76" y="49"/>
                  </a:cubicBezTo>
                  <a:cubicBezTo>
                    <a:pt x="77" y="47"/>
                    <a:pt x="75" y="46"/>
                    <a:pt x="74" y="44"/>
                  </a:cubicBezTo>
                  <a:cubicBezTo>
                    <a:pt x="73" y="43"/>
                    <a:pt x="73" y="41"/>
                    <a:pt x="73" y="39"/>
                  </a:cubicBezTo>
                  <a:cubicBezTo>
                    <a:pt x="73" y="37"/>
                    <a:pt x="71" y="36"/>
                    <a:pt x="69" y="36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67" y="36"/>
                    <a:pt x="63" y="37"/>
                    <a:pt x="62" y="35"/>
                  </a:cubicBezTo>
                  <a:cubicBezTo>
                    <a:pt x="61" y="35"/>
                    <a:pt x="61" y="34"/>
                    <a:pt x="60" y="34"/>
                  </a:cubicBezTo>
                  <a:cubicBezTo>
                    <a:pt x="59" y="33"/>
                    <a:pt x="58" y="34"/>
                    <a:pt x="58" y="33"/>
                  </a:cubicBezTo>
                  <a:cubicBezTo>
                    <a:pt x="56" y="33"/>
                    <a:pt x="56" y="31"/>
                    <a:pt x="55" y="30"/>
                  </a:cubicBezTo>
                  <a:cubicBezTo>
                    <a:pt x="55" y="30"/>
                    <a:pt x="54" y="30"/>
                    <a:pt x="54" y="30"/>
                  </a:cubicBezTo>
                  <a:cubicBezTo>
                    <a:pt x="51" y="26"/>
                    <a:pt x="46" y="29"/>
                    <a:pt x="42" y="27"/>
                  </a:cubicBezTo>
                  <a:cubicBezTo>
                    <a:pt x="40" y="26"/>
                    <a:pt x="38" y="24"/>
                    <a:pt x="37" y="22"/>
                  </a:cubicBezTo>
                  <a:cubicBezTo>
                    <a:pt x="36" y="22"/>
                    <a:pt x="36" y="21"/>
                    <a:pt x="35" y="20"/>
                  </a:cubicBezTo>
                  <a:cubicBezTo>
                    <a:pt x="34" y="19"/>
                    <a:pt x="34" y="18"/>
                    <a:pt x="34" y="17"/>
                  </a:cubicBezTo>
                  <a:cubicBezTo>
                    <a:pt x="33" y="15"/>
                    <a:pt x="34" y="12"/>
                    <a:pt x="34" y="10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4" y="7"/>
                    <a:pt x="33" y="5"/>
                    <a:pt x="33" y="3"/>
                  </a:cubicBezTo>
                  <a:cubicBezTo>
                    <a:pt x="33" y="0"/>
                    <a:pt x="27" y="3"/>
                    <a:pt x="25" y="2"/>
                  </a:cubicBezTo>
                  <a:cubicBezTo>
                    <a:pt x="23" y="4"/>
                    <a:pt x="21" y="5"/>
                    <a:pt x="20" y="7"/>
                  </a:cubicBezTo>
                  <a:cubicBezTo>
                    <a:pt x="19" y="9"/>
                    <a:pt x="17" y="10"/>
                    <a:pt x="14" y="11"/>
                  </a:cubicBezTo>
                  <a:cubicBezTo>
                    <a:pt x="13" y="12"/>
                    <a:pt x="12" y="13"/>
                    <a:pt x="10" y="14"/>
                  </a:cubicBezTo>
                  <a:cubicBezTo>
                    <a:pt x="9" y="15"/>
                    <a:pt x="8" y="14"/>
                    <a:pt x="7" y="14"/>
                  </a:cubicBezTo>
                  <a:cubicBezTo>
                    <a:pt x="5" y="12"/>
                    <a:pt x="2" y="11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3"/>
                    <a:pt x="2" y="13"/>
                    <a:pt x="2" y="14"/>
                  </a:cubicBezTo>
                  <a:cubicBezTo>
                    <a:pt x="4" y="17"/>
                    <a:pt x="5" y="20"/>
                    <a:pt x="7" y="23"/>
                  </a:cubicBezTo>
                  <a:cubicBezTo>
                    <a:pt x="7" y="24"/>
                    <a:pt x="9" y="24"/>
                    <a:pt x="9" y="25"/>
                  </a:cubicBezTo>
                  <a:cubicBezTo>
                    <a:pt x="10" y="27"/>
                    <a:pt x="9" y="29"/>
                    <a:pt x="8" y="31"/>
                  </a:cubicBezTo>
                  <a:cubicBezTo>
                    <a:pt x="7" y="32"/>
                    <a:pt x="8" y="34"/>
                    <a:pt x="7" y="36"/>
                  </a:cubicBezTo>
                  <a:cubicBezTo>
                    <a:pt x="7" y="37"/>
                    <a:pt x="6" y="37"/>
                    <a:pt x="5" y="37"/>
                  </a:cubicBezTo>
                  <a:cubicBezTo>
                    <a:pt x="5" y="38"/>
                    <a:pt x="5" y="38"/>
                    <a:pt x="5" y="39"/>
                  </a:cubicBezTo>
                  <a:cubicBezTo>
                    <a:pt x="5" y="40"/>
                    <a:pt x="7" y="40"/>
                    <a:pt x="7" y="41"/>
                  </a:cubicBezTo>
                  <a:cubicBezTo>
                    <a:pt x="7" y="42"/>
                    <a:pt x="7" y="44"/>
                    <a:pt x="6" y="45"/>
                  </a:cubicBezTo>
                  <a:cubicBezTo>
                    <a:pt x="6" y="46"/>
                    <a:pt x="5" y="48"/>
                    <a:pt x="5" y="49"/>
                  </a:cubicBezTo>
                  <a:cubicBezTo>
                    <a:pt x="5" y="51"/>
                    <a:pt x="4" y="54"/>
                    <a:pt x="5" y="57"/>
                  </a:cubicBezTo>
                  <a:cubicBezTo>
                    <a:pt x="5" y="58"/>
                    <a:pt x="7" y="59"/>
                    <a:pt x="8" y="60"/>
                  </a:cubicBezTo>
                  <a:cubicBezTo>
                    <a:pt x="9" y="64"/>
                    <a:pt x="5" y="66"/>
                    <a:pt x="3" y="69"/>
                  </a:cubicBezTo>
                  <a:cubicBezTo>
                    <a:pt x="1" y="71"/>
                    <a:pt x="3" y="74"/>
                    <a:pt x="3" y="77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8" name="Freeform 404"/>
            <p:cNvSpPr>
              <a:spLocks/>
            </p:cNvSpPr>
            <p:nvPr/>
          </p:nvSpPr>
          <p:spPr bwMode="auto">
            <a:xfrm>
              <a:off x="6710532" y="3664693"/>
              <a:ext cx="30601" cy="38664"/>
            </a:xfrm>
            <a:custGeom>
              <a:avLst/>
              <a:gdLst>
                <a:gd name="T0" fmla="*/ 60658161 w 66"/>
                <a:gd name="T1" fmla="*/ 59440232 h 80"/>
                <a:gd name="T2" fmla="*/ 61811426 w 66"/>
                <a:gd name="T3" fmla="*/ 54630864 h 80"/>
                <a:gd name="T4" fmla="*/ 62662070 w 66"/>
                <a:gd name="T5" fmla="*/ 47063949 h 80"/>
                <a:gd name="T6" fmla="*/ 62662070 w 66"/>
                <a:gd name="T7" fmla="*/ 43558832 h 80"/>
                <a:gd name="T8" fmla="*/ 59808765 w 66"/>
                <a:gd name="T9" fmla="*/ 42205782 h 80"/>
                <a:gd name="T10" fmla="*/ 57773467 w 66"/>
                <a:gd name="T11" fmla="*/ 43558832 h 80"/>
                <a:gd name="T12" fmla="*/ 55073742 w 66"/>
                <a:gd name="T13" fmla="*/ 43558832 h 80"/>
                <a:gd name="T14" fmla="*/ 54185658 w 66"/>
                <a:gd name="T15" fmla="*/ 41511169 h 80"/>
                <a:gd name="T16" fmla="*/ 52962808 w 66"/>
                <a:gd name="T17" fmla="*/ 39476103 h 80"/>
                <a:gd name="T18" fmla="*/ 51443122 w 66"/>
                <a:gd name="T19" fmla="*/ 30352925 h 80"/>
                <a:gd name="T20" fmla="*/ 48586036 w 66"/>
                <a:gd name="T21" fmla="*/ 27510234 h 80"/>
                <a:gd name="T22" fmla="*/ 44482614 w 66"/>
                <a:gd name="T23" fmla="*/ 28993222 h 80"/>
                <a:gd name="T24" fmla="*/ 40962007 w 66"/>
                <a:gd name="T25" fmla="*/ 28355631 h 80"/>
                <a:gd name="T26" fmla="*/ 38216494 w 66"/>
                <a:gd name="T27" fmla="*/ 28355631 h 80"/>
                <a:gd name="T28" fmla="*/ 35002574 w 66"/>
                <a:gd name="T29" fmla="*/ 26361304 h 80"/>
                <a:gd name="T30" fmla="*/ 34141530 w 66"/>
                <a:gd name="T31" fmla="*/ 15205172 h 80"/>
                <a:gd name="T32" fmla="*/ 32133915 w 66"/>
                <a:gd name="T33" fmla="*/ 12272271 h 80"/>
                <a:gd name="T34" fmla="*/ 32133915 w 66"/>
                <a:gd name="T35" fmla="*/ 11158230 h 80"/>
                <a:gd name="T36" fmla="*/ 32133915 w 66"/>
                <a:gd name="T37" fmla="*/ 3569220 h 80"/>
                <a:gd name="T38" fmla="*/ 32133915 w 66"/>
                <a:gd name="T39" fmla="*/ 3569220 h 80"/>
                <a:gd name="T40" fmla="*/ 26510883 w 66"/>
                <a:gd name="T41" fmla="*/ 2865554 h 80"/>
                <a:gd name="T42" fmla="*/ 23659148 w 66"/>
                <a:gd name="T43" fmla="*/ 846214 h 80"/>
                <a:gd name="T44" fmla="*/ 10341117 w 66"/>
                <a:gd name="T45" fmla="*/ 4723062 h 80"/>
                <a:gd name="T46" fmla="*/ 5595819 w 66"/>
                <a:gd name="T47" fmla="*/ 5569282 h 80"/>
                <a:gd name="T48" fmla="*/ 3587761 w 66"/>
                <a:gd name="T49" fmla="*/ 6769871 h 80"/>
                <a:gd name="T50" fmla="*/ 3587761 w 66"/>
                <a:gd name="T51" fmla="*/ 7561856 h 80"/>
                <a:gd name="T52" fmla="*/ 2007625 w 66"/>
                <a:gd name="T53" fmla="*/ 15205172 h 80"/>
                <a:gd name="T54" fmla="*/ 2007625 w 66"/>
                <a:gd name="T55" fmla="*/ 22792248 h 80"/>
                <a:gd name="T56" fmla="*/ 0 w 66"/>
                <a:gd name="T57" fmla="*/ 27510234 h 80"/>
                <a:gd name="T58" fmla="*/ 2894072 w 66"/>
                <a:gd name="T59" fmla="*/ 33923399 h 80"/>
                <a:gd name="T60" fmla="*/ 6840533 w 66"/>
                <a:gd name="T61" fmla="*/ 39476103 h 80"/>
                <a:gd name="T62" fmla="*/ 10341117 w 66"/>
                <a:gd name="T63" fmla="*/ 40628729 h 80"/>
                <a:gd name="T64" fmla="*/ 15293841 w 66"/>
                <a:gd name="T65" fmla="*/ 45069622 h 80"/>
                <a:gd name="T66" fmla="*/ 17330084 w 66"/>
                <a:gd name="T67" fmla="*/ 46218553 h 80"/>
                <a:gd name="T68" fmla="*/ 22924719 w 66"/>
                <a:gd name="T69" fmla="*/ 47063949 h 80"/>
                <a:gd name="T70" fmla="*/ 27670974 w 66"/>
                <a:gd name="T71" fmla="*/ 50905146 h 80"/>
                <a:gd name="T72" fmla="*/ 33265604 w 66"/>
                <a:gd name="T73" fmla="*/ 52631471 h 80"/>
                <a:gd name="T74" fmla="*/ 38216494 w 66"/>
                <a:gd name="T75" fmla="*/ 54630864 h 80"/>
                <a:gd name="T76" fmla="*/ 38216494 w 66"/>
                <a:gd name="T77" fmla="*/ 61432329 h 80"/>
                <a:gd name="T78" fmla="*/ 34141530 w 66"/>
                <a:gd name="T79" fmla="*/ 64146708 h 80"/>
                <a:gd name="T80" fmla="*/ 31262565 w 66"/>
                <a:gd name="T81" fmla="*/ 70559891 h 80"/>
                <a:gd name="T82" fmla="*/ 31262565 w 66"/>
                <a:gd name="T83" fmla="*/ 73436886 h 80"/>
                <a:gd name="T84" fmla="*/ 39736169 w 66"/>
                <a:gd name="T85" fmla="*/ 74551229 h 80"/>
                <a:gd name="T86" fmla="*/ 46582089 w 66"/>
                <a:gd name="T87" fmla="*/ 75425430 h 80"/>
                <a:gd name="T88" fmla="*/ 48586036 w 66"/>
                <a:gd name="T89" fmla="*/ 74551229 h 80"/>
                <a:gd name="T90" fmla="*/ 54185658 w 66"/>
                <a:gd name="T91" fmla="*/ 74551229 h 80"/>
                <a:gd name="T92" fmla="*/ 55921587 w 66"/>
                <a:gd name="T93" fmla="*/ 72554823 h 80"/>
                <a:gd name="T94" fmla="*/ 55921587 w 66"/>
                <a:gd name="T95" fmla="*/ 70559891 h 80"/>
                <a:gd name="T96" fmla="*/ 59808765 w 66"/>
                <a:gd name="T97" fmla="*/ 65789079 h 80"/>
                <a:gd name="T98" fmla="*/ 60658161 w 66"/>
                <a:gd name="T99" fmla="*/ 59440232 h 8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6"/>
                <a:gd name="T151" fmla="*/ 0 h 80"/>
                <a:gd name="T152" fmla="*/ 66 w 66"/>
                <a:gd name="T153" fmla="*/ 80 h 8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6" h="80">
                  <a:moveTo>
                    <a:pt x="64" y="63"/>
                  </a:moveTo>
                  <a:cubicBezTo>
                    <a:pt x="64" y="62"/>
                    <a:pt x="64" y="60"/>
                    <a:pt x="65" y="58"/>
                  </a:cubicBezTo>
                  <a:cubicBezTo>
                    <a:pt x="65" y="56"/>
                    <a:pt x="65" y="53"/>
                    <a:pt x="66" y="50"/>
                  </a:cubicBezTo>
                  <a:cubicBezTo>
                    <a:pt x="66" y="49"/>
                    <a:pt x="66" y="48"/>
                    <a:pt x="66" y="46"/>
                  </a:cubicBezTo>
                  <a:cubicBezTo>
                    <a:pt x="66" y="45"/>
                    <a:pt x="64" y="45"/>
                    <a:pt x="63" y="45"/>
                  </a:cubicBezTo>
                  <a:cubicBezTo>
                    <a:pt x="62" y="45"/>
                    <a:pt x="61" y="45"/>
                    <a:pt x="61" y="46"/>
                  </a:cubicBezTo>
                  <a:cubicBezTo>
                    <a:pt x="60" y="46"/>
                    <a:pt x="59" y="46"/>
                    <a:pt x="58" y="46"/>
                  </a:cubicBezTo>
                  <a:cubicBezTo>
                    <a:pt x="58" y="45"/>
                    <a:pt x="57" y="45"/>
                    <a:pt x="57" y="44"/>
                  </a:cubicBezTo>
                  <a:cubicBezTo>
                    <a:pt x="57" y="43"/>
                    <a:pt x="56" y="43"/>
                    <a:pt x="56" y="42"/>
                  </a:cubicBezTo>
                  <a:cubicBezTo>
                    <a:pt x="55" y="39"/>
                    <a:pt x="56" y="35"/>
                    <a:pt x="54" y="32"/>
                  </a:cubicBezTo>
                  <a:cubicBezTo>
                    <a:pt x="53" y="31"/>
                    <a:pt x="52" y="30"/>
                    <a:pt x="51" y="29"/>
                  </a:cubicBezTo>
                  <a:cubicBezTo>
                    <a:pt x="50" y="29"/>
                    <a:pt x="48" y="29"/>
                    <a:pt x="47" y="31"/>
                  </a:cubicBezTo>
                  <a:cubicBezTo>
                    <a:pt x="46" y="31"/>
                    <a:pt x="45" y="31"/>
                    <a:pt x="43" y="30"/>
                  </a:cubicBezTo>
                  <a:cubicBezTo>
                    <a:pt x="42" y="30"/>
                    <a:pt x="41" y="30"/>
                    <a:pt x="40" y="30"/>
                  </a:cubicBezTo>
                  <a:cubicBezTo>
                    <a:pt x="38" y="30"/>
                    <a:pt x="37" y="29"/>
                    <a:pt x="37" y="28"/>
                  </a:cubicBezTo>
                  <a:cubicBezTo>
                    <a:pt x="36" y="24"/>
                    <a:pt x="37" y="20"/>
                    <a:pt x="36" y="16"/>
                  </a:cubicBezTo>
                  <a:cubicBezTo>
                    <a:pt x="36" y="15"/>
                    <a:pt x="35" y="14"/>
                    <a:pt x="34" y="13"/>
                  </a:cubicBezTo>
                  <a:cubicBezTo>
                    <a:pt x="34" y="13"/>
                    <a:pt x="34" y="13"/>
                    <a:pt x="34" y="12"/>
                  </a:cubicBezTo>
                  <a:cubicBezTo>
                    <a:pt x="34" y="10"/>
                    <a:pt x="33" y="7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2" y="4"/>
                    <a:pt x="30" y="4"/>
                    <a:pt x="28" y="3"/>
                  </a:cubicBezTo>
                  <a:cubicBezTo>
                    <a:pt x="27" y="2"/>
                    <a:pt x="26" y="1"/>
                    <a:pt x="25" y="1"/>
                  </a:cubicBezTo>
                  <a:cubicBezTo>
                    <a:pt x="20" y="0"/>
                    <a:pt x="15" y="3"/>
                    <a:pt x="11" y="5"/>
                  </a:cubicBezTo>
                  <a:cubicBezTo>
                    <a:pt x="9" y="5"/>
                    <a:pt x="7" y="6"/>
                    <a:pt x="6" y="6"/>
                  </a:cubicBezTo>
                  <a:cubicBezTo>
                    <a:pt x="5" y="6"/>
                    <a:pt x="5" y="6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3" y="11"/>
                    <a:pt x="3" y="13"/>
                    <a:pt x="2" y="16"/>
                  </a:cubicBezTo>
                  <a:cubicBezTo>
                    <a:pt x="2" y="19"/>
                    <a:pt x="2" y="21"/>
                    <a:pt x="2" y="24"/>
                  </a:cubicBezTo>
                  <a:cubicBezTo>
                    <a:pt x="2" y="26"/>
                    <a:pt x="1" y="27"/>
                    <a:pt x="0" y="29"/>
                  </a:cubicBezTo>
                  <a:cubicBezTo>
                    <a:pt x="0" y="32"/>
                    <a:pt x="1" y="33"/>
                    <a:pt x="3" y="36"/>
                  </a:cubicBezTo>
                  <a:cubicBezTo>
                    <a:pt x="4" y="38"/>
                    <a:pt x="5" y="41"/>
                    <a:pt x="7" y="42"/>
                  </a:cubicBezTo>
                  <a:cubicBezTo>
                    <a:pt x="8" y="43"/>
                    <a:pt x="9" y="43"/>
                    <a:pt x="11" y="43"/>
                  </a:cubicBezTo>
                  <a:cubicBezTo>
                    <a:pt x="13" y="44"/>
                    <a:pt x="15" y="46"/>
                    <a:pt x="16" y="48"/>
                  </a:cubicBezTo>
                  <a:cubicBezTo>
                    <a:pt x="17" y="48"/>
                    <a:pt x="18" y="48"/>
                    <a:pt x="18" y="49"/>
                  </a:cubicBezTo>
                  <a:cubicBezTo>
                    <a:pt x="20" y="49"/>
                    <a:pt x="22" y="49"/>
                    <a:pt x="24" y="50"/>
                  </a:cubicBezTo>
                  <a:cubicBezTo>
                    <a:pt x="25" y="51"/>
                    <a:pt x="27" y="52"/>
                    <a:pt x="29" y="54"/>
                  </a:cubicBezTo>
                  <a:cubicBezTo>
                    <a:pt x="31" y="55"/>
                    <a:pt x="33" y="55"/>
                    <a:pt x="35" y="56"/>
                  </a:cubicBezTo>
                  <a:cubicBezTo>
                    <a:pt x="37" y="57"/>
                    <a:pt x="38" y="58"/>
                    <a:pt x="40" y="58"/>
                  </a:cubicBezTo>
                  <a:cubicBezTo>
                    <a:pt x="40" y="60"/>
                    <a:pt x="41" y="63"/>
                    <a:pt x="40" y="65"/>
                  </a:cubicBezTo>
                  <a:cubicBezTo>
                    <a:pt x="39" y="66"/>
                    <a:pt x="37" y="67"/>
                    <a:pt x="36" y="68"/>
                  </a:cubicBezTo>
                  <a:cubicBezTo>
                    <a:pt x="34" y="70"/>
                    <a:pt x="34" y="73"/>
                    <a:pt x="33" y="75"/>
                  </a:cubicBezTo>
                  <a:cubicBezTo>
                    <a:pt x="33" y="76"/>
                    <a:pt x="33" y="77"/>
                    <a:pt x="33" y="78"/>
                  </a:cubicBezTo>
                  <a:cubicBezTo>
                    <a:pt x="36" y="79"/>
                    <a:pt x="39" y="78"/>
                    <a:pt x="42" y="79"/>
                  </a:cubicBezTo>
                  <a:cubicBezTo>
                    <a:pt x="44" y="79"/>
                    <a:pt x="46" y="80"/>
                    <a:pt x="49" y="80"/>
                  </a:cubicBezTo>
                  <a:cubicBezTo>
                    <a:pt x="49" y="80"/>
                    <a:pt x="50" y="79"/>
                    <a:pt x="51" y="79"/>
                  </a:cubicBezTo>
                  <a:cubicBezTo>
                    <a:pt x="53" y="78"/>
                    <a:pt x="55" y="80"/>
                    <a:pt x="57" y="79"/>
                  </a:cubicBezTo>
                  <a:cubicBezTo>
                    <a:pt x="58" y="79"/>
                    <a:pt x="58" y="78"/>
                    <a:pt x="59" y="77"/>
                  </a:cubicBezTo>
                  <a:cubicBezTo>
                    <a:pt x="59" y="77"/>
                    <a:pt x="59" y="76"/>
                    <a:pt x="59" y="75"/>
                  </a:cubicBezTo>
                  <a:cubicBezTo>
                    <a:pt x="60" y="73"/>
                    <a:pt x="62" y="72"/>
                    <a:pt x="63" y="70"/>
                  </a:cubicBezTo>
                  <a:cubicBezTo>
                    <a:pt x="64" y="68"/>
                    <a:pt x="64" y="66"/>
                    <a:pt x="64" y="6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9" name="Freeform 405"/>
            <p:cNvSpPr>
              <a:spLocks/>
            </p:cNvSpPr>
            <p:nvPr/>
          </p:nvSpPr>
          <p:spPr bwMode="auto">
            <a:xfrm>
              <a:off x="6728341" y="3715794"/>
              <a:ext cx="18812" cy="22712"/>
            </a:xfrm>
            <a:custGeom>
              <a:avLst/>
              <a:gdLst>
                <a:gd name="T0" fmla="*/ 39423198 w 41"/>
                <a:gd name="T1" fmla="*/ 22667487 h 47"/>
                <a:gd name="T2" fmla="*/ 36655170 w 41"/>
                <a:gd name="T3" fmla="*/ 27001473 h 47"/>
                <a:gd name="T4" fmla="*/ 35798050 w 41"/>
                <a:gd name="T5" fmla="*/ 28875172 h 47"/>
                <a:gd name="T6" fmla="*/ 37551430 w 41"/>
                <a:gd name="T7" fmla="*/ 31710196 h 47"/>
                <a:gd name="T8" fmla="*/ 37551430 w 41"/>
                <a:gd name="T9" fmla="*/ 34407504 h 47"/>
                <a:gd name="T10" fmla="*/ 29765882 w 41"/>
                <a:gd name="T11" fmla="*/ 44022661 h 47"/>
                <a:gd name="T12" fmla="*/ 25304773 w 41"/>
                <a:gd name="T13" fmla="*/ 43179666 h 47"/>
                <a:gd name="T14" fmla="*/ 17537106 w 41"/>
                <a:gd name="T15" fmla="*/ 43179666 h 47"/>
                <a:gd name="T16" fmla="*/ 14272456 w 41"/>
                <a:gd name="T17" fmla="*/ 41308292 h 47"/>
                <a:gd name="T18" fmla="*/ 2924127 w 41"/>
                <a:gd name="T19" fmla="*/ 37279843 h 47"/>
                <a:gd name="T20" fmla="*/ 0 w 41"/>
                <a:gd name="T21" fmla="*/ 37279843 h 47"/>
                <a:gd name="T22" fmla="*/ 0 w 41"/>
                <a:gd name="T23" fmla="*/ 37279843 h 47"/>
                <a:gd name="T24" fmla="*/ 0 w 41"/>
                <a:gd name="T25" fmla="*/ 32907276 h 47"/>
                <a:gd name="T26" fmla="*/ 0 w 41"/>
                <a:gd name="T27" fmla="*/ 32907276 h 47"/>
                <a:gd name="T28" fmla="*/ 0 w 41"/>
                <a:gd name="T29" fmla="*/ 28237493 h 47"/>
                <a:gd name="T30" fmla="*/ 2026602 w 41"/>
                <a:gd name="T31" fmla="*/ 25383254 h 47"/>
                <a:gd name="T32" fmla="*/ 2026602 w 41"/>
                <a:gd name="T33" fmla="*/ 21467591 h 47"/>
                <a:gd name="T34" fmla="*/ 2026602 w 41"/>
                <a:gd name="T35" fmla="*/ 17759659 h 47"/>
                <a:gd name="T36" fmla="*/ 3624641 w 41"/>
                <a:gd name="T37" fmla="*/ 10235609 h 47"/>
                <a:gd name="T38" fmla="*/ 3624641 w 41"/>
                <a:gd name="T39" fmla="*/ 4690279 h 47"/>
                <a:gd name="T40" fmla="*/ 5692164 w 41"/>
                <a:gd name="T41" fmla="*/ 840908 h 47"/>
                <a:gd name="T42" fmla="*/ 4794643 w 41"/>
                <a:gd name="T43" fmla="*/ 1985974 h 47"/>
                <a:gd name="T44" fmla="*/ 7718763 w 41"/>
                <a:gd name="T45" fmla="*/ 1985974 h 47"/>
                <a:gd name="T46" fmla="*/ 11343417 w 41"/>
                <a:gd name="T47" fmla="*/ 0 h 47"/>
                <a:gd name="T48" fmla="*/ 16367097 w 41"/>
                <a:gd name="T49" fmla="*/ 7519858 h 47"/>
                <a:gd name="T50" fmla="*/ 21161749 w 41"/>
                <a:gd name="T51" fmla="*/ 8399771 h 47"/>
                <a:gd name="T52" fmla="*/ 24073773 w 41"/>
                <a:gd name="T53" fmla="*/ 10235609 h 47"/>
                <a:gd name="T54" fmla="*/ 28074865 w 41"/>
                <a:gd name="T55" fmla="*/ 12226429 h 47"/>
                <a:gd name="T56" fmla="*/ 32535444 w 41"/>
                <a:gd name="T57" fmla="*/ 17133383 h 47"/>
                <a:gd name="T58" fmla="*/ 35798050 w 41"/>
                <a:gd name="T59" fmla="*/ 18640233 h 47"/>
                <a:gd name="T60" fmla="*/ 37551430 w 41"/>
                <a:gd name="T61" fmla="*/ 21467591 h 47"/>
                <a:gd name="T62" fmla="*/ 39423198 w 41"/>
                <a:gd name="T63" fmla="*/ 22667487 h 4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1"/>
                <a:gd name="T97" fmla="*/ 0 h 47"/>
                <a:gd name="T98" fmla="*/ 41 w 41"/>
                <a:gd name="T99" fmla="*/ 47 h 4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1" h="47">
                  <a:moveTo>
                    <a:pt x="41" y="24"/>
                  </a:moveTo>
                  <a:cubicBezTo>
                    <a:pt x="40" y="26"/>
                    <a:pt x="38" y="27"/>
                    <a:pt x="38" y="29"/>
                  </a:cubicBezTo>
                  <a:cubicBezTo>
                    <a:pt x="37" y="30"/>
                    <a:pt x="37" y="31"/>
                    <a:pt x="37" y="31"/>
                  </a:cubicBezTo>
                  <a:cubicBezTo>
                    <a:pt x="38" y="32"/>
                    <a:pt x="38" y="33"/>
                    <a:pt x="39" y="34"/>
                  </a:cubicBezTo>
                  <a:cubicBezTo>
                    <a:pt x="39" y="35"/>
                    <a:pt x="39" y="36"/>
                    <a:pt x="39" y="37"/>
                  </a:cubicBezTo>
                  <a:cubicBezTo>
                    <a:pt x="39" y="42"/>
                    <a:pt x="34" y="44"/>
                    <a:pt x="31" y="47"/>
                  </a:cubicBezTo>
                  <a:cubicBezTo>
                    <a:pt x="29" y="46"/>
                    <a:pt x="27" y="47"/>
                    <a:pt x="26" y="46"/>
                  </a:cubicBezTo>
                  <a:cubicBezTo>
                    <a:pt x="23" y="46"/>
                    <a:pt x="21" y="47"/>
                    <a:pt x="18" y="46"/>
                  </a:cubicBezTo>
                  <a:cubicBezTo>
                    <a:pt x="17" y="46"/>
                    <a:pt x="16" y="44"/>
                    <a:pt x="15" y="44"/>
                  </a:cubicBezTo>
                  <a:cubicBezTo>
                    <a:pt x="11" y="44"/>
                    <a:pt x="6" y="43"/>
                    <a:pt x="3" y="40"/>
                  </a:cubicBezTo>
                  <a:cubicBezTo>
                    <a:pt x="2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8"/>
                    <a:pt x="0" y="37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4"/>
                    <a:pt x="0" y="32"/>
                    <a:pt x="0" y="30"/>
                  </a:cubicBezTo>
                  <a:cubicBezTo>
                    <a:pt x="1" y="29"/>
                    <a:pt x="2" y="28"/>
                    <a:pt x="2" y="27"/>
                  </a:cubicBezTo>
                  <a:cubicBezTo>
                    <a:pt x="3" y="26"/>
                    <a:pt x="3" y="24"/>
                    <a:pt x="2" y="23"/>
                  </a:cubicBezTo>
                  <a:cubicBezTo>
                    <a:pt x="1" y="21"/>
                    <a:pt x="1" y="20"/>
                    <a:pt x="2" y="19"/>
                  </a:cubicBezTo>
                  <a:cubicBezTo>
                    <a:pt x="3" y="17"/>
                    <a:pt x="4" y="13"/>
                    <a:pt x="4" y="11"/>
                  </a:cubicBezTo>
                  <a:cubicBezTo>
                    <a:pt x="4" y="9"/>
                    <a:pt x="4" y="7"/>
                    <a:pt x="4" y="5"/>
                  </a:cubicBezTo>
                  <a:cubicBezTo>
                    <a:pt x="5" y="4"/>
                    <a:pt x="5" y="2"/>
                    <a:pt x="6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7" y="2"/>
                    <a:pt x="8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4" y="3"/>
                    <a:pt x="15" y="6"/>
                    <a:pt x="17" y="8"/>
                  </a:cubicBezTo>
                  <a:cubicBezTo>
                    <a:pt x="18" y="9"/>
                    <a:pt x="20" y="8"/>
                    <a:pt x="22" y="9"/>
                  </a:cubicBezTo>
                  <a:cubicBezTo>
                    <a:pt x="23" y="9"/>
                    <a:pt x="23" y="11"/>
                    <a:pt x="25" y="11"/>
                  </a:cubicBezTo>
                  <a:cubicBezTo>
                    <a:pt x="26" y="12"/>
                    <a:pt x="28" y="13"/>
                    <a:pt x="29" y="13"/>
                  </a:cubicBezTo>
                  <a:cubicBezTo>
                    <a:pt x="31" y="15"/>
                    <a:pt x="32" y="17"/>
                    <a:pt x="34" y="18"/>
                  </a:cubicBezTo>
                  <a:cubicBezTo>
                    <a:pt x="35" y="19"/>
                    <a:pt x="36" y="19"/>
                    <a:pt x="37" y="20"/>
                  </a:cubicBezTo>
                  <a:cubicBezTo>
                    <a:pt x="38" y="21"/>
                    <a:pt x="38" y="22"/>
                    <a:pt x="39" y="23"/>
                  </a:cubicBezTo>
                  <a:lnTo>
                    <a:pt x="41" y="24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0" name="Freeform 406"/>
            <p:cNvSpPr>
              <a:spLocks/>
            </p:cNvSpPr>
            <p:nvPr/>
          </p:nvSpPr>
          <p:spPr bwMode="auto">
            <a:xfrm>
              <a:off x="6639798" y="3573846"/>
              <a:ext cx="21571" cy="28119"/>
            </a:xfrm>
            <a:custGeom>
              <a:avLst/>
              <a:gdLst>
                <a:gd name="T0" fmla="*/ 5793355 w 46"/>
                <a:gd name="T1" fmla="*/ 40869557 h 57"/>
                <a:gd name="T2" fmla="*/ 7958275 w 46"/>
                <a:gd name="T3" fmla="*/ 40225006 h 57"/>
                <a:gd name="T4" fmla="*/ 8768159 w 46"/>
                <a:gd name="T5" fmla="*/ 37200467 h 57"/>
                <a:gd name="T6" fmla="*/ 7958275 w 46"/>
                <a:gd name="T7" fmla="*/ 33584552 h 57"/>
                <a:gd name="T8" fmla="*/ 7048897 w 46"/>
                <a:gd name="T9" fmla="*/ 33584552 h 57"/>
                <a:gd name="T10" fmla="*/ 4894156 w 46"/>
                <a:gd name="T11" fmla="*/ 35106196 h 57"/>
                <a:gd name="T12" fmla="*/ 2974764 w 46"/>
                <a:gd name="T13" fmla="*/ 35106196 h 57"/>
                <a:gd name="T14" fmla="*/ 871647 w 46"/>
                <a:gd name="T15" fmla="*/ 34448893 h 57"/>
                <a:gd name="T16" fmla="*/ 0 w 46"/>
                <a:gd name="T17" fmla="*/ 25674880 h 57"/>
                <a:gd name="T18" fmla="*/ 0 w 46"/>
                <a:gd name="T19" fmla="*/ 22374856 h 57"/>
                <a:gd name="T20" fmla="*/ 2974764 w 46"/>
                <a:gd name="T21" fmla="*/ 20597764 h 57"/>
                <a:gd name="T22" fmla="*/ 3700325 w 46"/>
                <a:gd name="T23" fmla="*/ 15706867 h 57"/>
                <a:gd name="T24" fmla="*/ 5793355 w 46"/>
                <a:gd name="T25" fmla="*/ 11496706 h 57"/>
                <a:gd name="T26" fmla="*/ 7048897 w 46"/>
                <a:gd name="T27" fmla="*/ 7008798 h 57"/>
                <a:gd name="T28" fmla="*/ 10909138 w 46"/>
                <a:gd name="T29" fmla="*/ 2959271 h 57"/>
                <a:gd name="T30" fmla="*/ 15826221 w 46"/>
                <a:gd name="T31" fmla="*/ 0 h 57"/>
                <a:gd name="T32" fmla="*/ 16702818 w 46"/>
                <a:gd name="T33" fmla="*/ 865360 h 57"/>
                <a:gd name="T34" fmla="*/ 20776711 w 46"/>
                <a:gd name="T35" fmla="*/ 2959271 h 57"/>
                <a:gd name="T36" fmla="*/ 23751424 w 46"/>
                <a:gd name="T37" fmla="*/ 4854166 h 57"/>
                <a:gd name="T38" fmla="*/ 25849910 w 46"/>
                <a:gd name="T39" fmla="*/ 5759328 h 57"/>
                <a:gd name="T40" fmla="*/ 25849910 w 46"/>
                <a:gd name="T41" fmla="*/ 7881243 h 57"/>
                <a:gd name="T42" fmla="*/ 26726516 w 46"/>
                <a:gd name="T43" fmla="*/ 8696837 h 57"/>
                <a:gd name="T44" fmla="*/ 37501248 w 46"/>
                <a:gd name="T45" fmla="*/ 8696837 h 57"/>
                <a:gd name="T46" fmla="*/ 39578408 w 46"/>
                <a:gd name="T47" fmla="*/ 10840511 h 57"/>
                <a:gd name="T48" fmla="*/ 43266332 w 46"/>
                <a:gd name="T49" fmla="*/ 13640515 h 57"/>
                <a:gd name="T50" fmla="*/ 43266332 w 46"/>
                <a:gd name="T51" fmla="*/ 13640515 h 57"/>
                <a:gd name="T52" fmla="*/ 43266332 w 46"/>
                <a:gd name="T53" fmla="*/ 14822622 h 57"/>
                <a:gd name="T54" fmla="*/ 44684393 w 46"/>
                <a:gd name="T55" fmla="*/ 16599780 h 57"/>
                <a:gd name="T56" fmla="*/ 44684393 w 46"/>
                <a:gd name="T57" fmla="*/ 24492679 h 57"/>
                <a:gd name="T58" fmla="*/ 38388792 w 46"/>
                <a:gd name="T59" fmla="*/ 31441226 h 57"/>
                <a:gd name="T60" fmla="*/ 36758930 w 46"/>
                <a:gd name="T61" fmla="*/ 32306477 h 57"/>
                <a:gd name="T62" fmla="*/ 28898004 w 46"/>
                <a:gd name="T63" fmla="*/ 37200467 h 57"/>
                <a:gd name="T64" fmla="*/ 23751424 w 46"/>
                <a:gd name="T65" fmla="*/ 39315258 h 57"/>
                <a:gd name="T66" fmla="*/ 19514591 w 46"/>
                <a:gd name="T67" fmla="*/ 43024972 h 57"/>
                <a:gd name="T68" fmla="*/ 17957910 w 46"/>
                <a:gd name="T69" fmla="*/ 52088329 h 57"/>
                <a:gd name="T70" fmla="*/ 15826221 w 46"/>
                <a:gd name="T71" fmla="*/ 55049651 h 57"/>
                <a:gd name="T72" fmla="*/ 13727726 w 46"/>
                <a:gd name="T73" fmla="*/ 55049651 h 57"/>
                <a:gd name="T74" fmla="*/ 11597023 w 46"/>
                <a:gd name="T75" fmla="*/ 52088329 h 57"/>
                <a:gd name="T76" fmla="*/ 4894156 w 46"/>
                <a:gd name="T77" fmla="*/ 50840607 h 57"/>
                <a:gd name="T78" fmla="*/ 3700325 w 46"/>
                <a:gd name="T79" fmla="*/ 48033859 h 57"/>
                <a:gd name="T80" fmla="*/ 7048897 w 46"/>
                <a:gd name="T81" fmla="*/ 47128705 h 57"/>
                <a:gd name="T82" fmla="*/ 7048897 w 46"/>
                <a:gd name="T83" fmla="*/ 42274542 h 57"/>
                <a:gd name="T84" fmla="*/ 5793355 w 46"/>
                <a:gd name="T85" fmla="*/ 40869557 h 5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6"/>
                <a:gd name="T130" fmla="*/ 0 h 57"/>
                <a:gd name="T131" fmla="*/ 46 w 46"/>
                <a:gd name="T132" fmla="*/ 57 h 5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6" h="57">
                  <a:moveTo>
                    <a:pt x="6" y="42"/>
                  </a:moveTo>
                  <a:cubicBezTo>
                    <a:pt x="7" y="42"/>
                    <a:pt x="7" y="41"/>
                    <a:pt x="8" y="41"/>
                  </a:cubicBezTo>
                  <a:cubicBezTo>
                    <a:pt x="8" y="40"/>
                    <a:pt x="9" y="40"/>
                    <a:pt x="9" y="38"/>
                  </a:cubicBezTo>
                  <a:cubicBezTo>
                    <a:pt x="9" y="37"/>
                    <a:pt x="9" y="35"/>
                    <a:pt x="8" y="34"/>
                  </a:cubicBezTo>
                  <a:cubicBezTo>
                    <a:pt x="8" y="34"/>
                    <a:pt x="7" y="34"/>
                    <a:pt x="7" y="34"/>
                  </a:cubicBezTo>
                  <a:cubicBezTo>
                    <a:pt x="6" y="35"/>
                    <a:pt x="6" y="36"/>
                    <a:pt x="5" y="36"/>
                  </a:cubicBezTo>
                  <a:cubicBezTo>
                    <a:pt x="5" y="37"/>
                    <a:pt x="4" y="37"/>
                    <a:pt x="3" y="36"/>
                  </a:cubicBezTo>
                  <a:cubicBezTo>
                    <a:pt x="2" y="36"/>
                    <a:pt x="1" y="35"/>
                    <a:pt x="1" y="35"/>
                  </a:cubicBezTo>
                  <a:cubicBezTo>
                    <a:pt x="0" y="32"/>
                    <a:pt x="1" y="29"/>
                    <a:pt x="0" y="26"/>
                  </a:cubicBezTo>
                  <a:cubicBezTo>
                    <a:pt x="0" y="25"/>
                    <a:pt x="0" y="24"/>
                    <a:pt x="0" y="23"/>
                  </a:cubicBezTo>
                  <a:cubicBezTo>
                    <a:pt x="1" y="22"/>
                    <a:pt x="2" y="22"/>
                    <a:pt x="3" y="21"/>
                  </a:cubicBezTo>
                  <a:cubicBezTo>
                    <a:pt x="3" y="19"/>
                    <a:pt x="3" y="17"/>
                    <a:pt x="4" y="16"/>
                  </a:cubicBezTo>
                  <a:cubicBezTo>
                    <a:pt x="4" y="14"/>
                    <a:pt x="5" y="13"/>
                    <a:pt x="6" y="12"/>
                  </a:cubicBezTo>
                  <a:cubicBezTo>
                    <a:pt x="7" y="10"/>
                    <a:pt x="7" y="9"/>
                    <a:pt x="7" y="7"/>
                  </a:cubicBezTo>
                  <a:cubicBezTo>
                    <a:pt x="8" y="6"/>
                    <a:pt x="10" y="4"/>
                    <a:pt x="11" y="3"/>
                  </a:cubicBezTo>
                  <a:cubicBezTo>
                    <a:pt x="13" y="2"/>
                    <a:pt x="14" y="1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"/>
                    <a:pt x="20" y="2"/>
                    <a:pt x="21" y="3"/>
                  </a:cubicBezTo>
                  <a:cubicBezTo>
                    <a:pt x="21" y="4"/>
                    <a:pt x="23" y="4"/>
                    <a:pt x="24" y="5"/>
                  </a:cubicBezTo>
                  <a:cubicBezTo>
                    <a:pt x="25" y="5"/>
                    <a:pt x="25" y="5"/>
                    <a:pt x="26" y="6"/>
                  </a:cubicBezTo>
                  <a:cubicBezTo>
                    <a:pt x="26" y="6"/>
                    <a:pt x="26" y="7"/>
                    <a:pt x="26" y="8"/>
                  </a:cubicBezTo>
                  <a:cubicBezTo>
                    <a:pt x="26" y="8"/>
                    <a:pt x="27" y="9"/>
                    <a:pt x="27" y="9"/>
                  </a:cubicBezTo>
                  <a:cubicBezTo>
                    <a:pt x="31" y="10"/>
                    <a:pt x="34" y="8"/>
                    <a:pt x="38" y="9"/>
                  </a:cubicBezTo>
                  <a:cubicBezTo>
                    <a:pt x="39" y="10"/>
                    <a:pt x="39" y="11"/>
                    <a:pt x="40" y="11"/>
                  </a:cubicBezTo>
                  <a:cubicBezTo>
                    <a:pt x="41" y="12"/>
                    <a:pt x="42" y="13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5"/>
                    <a:pt x="44" y="15"/>
                  </a:cubicBezTo>
                  <a:cubicBezTo>
                    <a:pt x="44" y="16"/>
                    <a:pt x="45" y="16"/>
                    <a:pt x="45" y="17"/>
                  </a:cubicBezTo>
                  <a:cubicBezTo>
                    <a:pt x="46" y="20"/>
                    <a:pt x="46" y="22"/>
                    <a:pt x="45" y="25"/>
                  </a:cubicBezTo>
                  <a:cubicBezTo>
                    <a:pt x="44" y="27"/>
                    <a:pt x="42" y="30"/>
                    <a:pt x="39" y="32"/>
                  </a:cubicBezTo>
                  <a:cubicBezTo>
                    <a:pt x="39" y="32"/>
                    <a:pt x="38" y="32"/>
                    <a:pt x="37" y="33"/>
                  </a:cubicBezTo>
                  <a:cubicBezTo>
                    <a:pt x="35" y="35"/>
                    <a:pt x="32" y="36"/>
                    <a:pt x="29" y="38"/>
                  </a:cubicBezTo>
                  <a:cubicBezTo>
                    <a:pt x="27" y="38"/>
                    <a:pt x="26" y="39"/>
                    <a:pt x="24" y="40"/>
                  </a:cubicBezTo>
                  <a:cubicBezTo>
                    <a:pt x="22" y="42"/>
                    <a:pt x="21" y="43"/>
                    <a:pt x="20" y="44"/>
                  </a:cubicBezTo>
                  <a:cubicBezTo>
                    <a:pt x="19" y="47"/>
                    <a:pt x="19" y="51"/>
                    <a:pt x="18" y="53"/>
                  </a:cubicBezTo>
                  <a:cubicBezTo>
                    <a:pt x="18" y="54"/>
                    <a:pt x="17" y="55"/>
                    <a:pt x="16" y="56"/>
                  </a:cubicBezTo>
                  <a:cubicBezTo>
                    <a:pt x="16" y="57"/>
                    <a:pt x="15" y="57"/>
                    <a:pt x="14" y="56"/>
                  </a:cubicBezTo>
                  <a:cubicBezTo>
                    <a:pt x="13" y="55"/>
                    <a:pt x="13" y="53"/>
                    <a:pt x="12" y="53"/>
                  </a:cubicBezTo>
                  <a:cubicBezTo>
                    <a:pt x="10" y="52"/>
                    <a:pt x="7" y="53"/>
                    <a:pt x="5" y="52"/>
                  </a:cubicBezTo>
                  <a:cubicBezTo>
                    <a:pt x="4" y="52"/>
                    <a:pt x="4" y="50"/>
                    <a:pt x="4" y="49"/>
                  </a:cubicBezTo>
                  <a:cubicBezTo>
                    <a:pt x="5" y="49"/>
                    <a:pt x="6" y="49"/>
                    <a:pt x="7" y="48"/>
                  </a:cubicBezTo>
                  <a:cubicBezTo>
                    <a:pt x="7" y="47"/>
                    <a:pt x="7" y="45"/>
                    <a:pt x="7" y="43"/>
                  </a:cubicBezTo>
                  <a:lnTo>
                    <a:pt x="6" y="42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1" name="Freeform 407"/>
            <p:cNvSpPr>
              <a:spLocks/>
            </p:cNvSpPr>
            <p:nvPr/>
          </p:nvSpPr>
          <p:spPr bwMode="auto">
            <a:xfrm>
              <a:off x="6685348" y="3677671"/>
              <a:ext cx="60199" cy="149519"/>
            </a:xfrm>
            <a:custGeom>
              <a:avLst/>
              <a:gdLst>
                <a:gd name="T0" fmla="*/ 236432257 w 129"/>
                <a:gd name="T1" fmla="*/ 277999817 h 309"/>
                <a:gd name="T2" fmla="*/ 252825417 w 129"/>
                <a:gd name="T3" fmla="*/ 302197814 h 309"/>
                <a:gd name="T4" fmla="*/ 225024713 w 129"/>
                <a:gd name="T5" fmla="*/ 351850574 h 309"/>
                <a:gd name="T6" fmla="*/ 162040664 w 129"/>
                <a:gd name="T7" fmla="*/ 358452471 h 309"/>
                <a:gd name="T8" fmla="*/ 164932800 w 129"/>
                <a:gd name="T9" fmla="*/ 382298962 h 309"/>
                <a:gd name="T10" fmla="*/ 150773354 w 129"/>
                <a:gd name="T11" fmla="*/ 410781155 h 309"/>
                <a:gd name="T12" fmla="*/ 122145850 w 129"/>
                <a:gd name="T13" fmla="*/ 399840101 h 309"/>
                <a:gd name="T14" fmla="*/ 125902314 w 129"/>
                <a:gd name="T15" fmla="*/ 436593237 h 309"/>
                <a:gd name="T16" fmla="*/ 135428523 w 129"/>
                <a:gd name="T17" fmla="*/ 447794599 h 309"/>
                <a:gd name="T18" fmla="*/ 123888653 w 129"/>
                <a:gd name="T19" fmla="*/ 460700640 h 309"/>
                <a:gd name="T20" fmla="*/ 115279807 w 129"/>
                <a:gd name="T21" fmla="*/ 495518081 h 309"/>
                <a:gd name="T22" fmla="*/ 85998837 w 129"/>
                <a:gd name="T23" fmla="*/ 519624880 h 309"/>
                <a:gd name="T24" fmla="*/ 104028348 w 129"/>
                <a:gd name="T25" fmla="*/ 540827230 h 309"/>
                <a:gd name="T26" fmla="*/ 119412446 w 129"/>
                <a:gd name="T27" fmla="*/ 554362900 h 309"/>
                <a:gd name="T28" fmla="*/ 107653392 w 129"/>
                <a:gd name="T29" fmla="*/ 575886256 h 309"/>
                <a:gd name="T30" fmla="*/ 97249540 w 129"/>
                <a:gd name="T31" fmla="*/ 599730935 h 309"/>
                <a:gd name="T32" fmla="*/ 83029151 w 129"/>
                <a:gd name="T33" fmla="*/ 617273282 h 309"/>
                <a:gd name="T34" fmla="*/ 76253236 w 129"/>
                <a:gd name="T35" fmla="*/ 625414072 h 309"/>
                <a:gd name="T36" fmla="*/ 76253236 w 129"/>
                <a:gd name="T37" fmla="*/ 651991221 h 309"/>
                <a:gd name="T38" fmla="*/ 90759748 w 129"/>
                <a:gd name="T39" fmla="*/ 666926571 h 309"/>
                <a:gd name="T40" fmla="*/ 76253236 w 129"/>
                <a:gd name="T41" fmla="*/ 669532058 h 309"/>
                <a:gd name="T42" fmla="*/ 24537905 w 129"/>
                <a:gd name="T43" fmla="*/ 643079778 h 309"/>
                <a:gd name="T44" fmla="*/ 4760429 w 129"/>
                <a:gd name="T45" fmla="*/ 618758724 h 309"/>
                <a:gd name="T46" fmla="*/ 13270827 w 129"/>
                <a:gd name="T47" fmla="*/ 580170151 h 309"/>
                <a:gd name="T48" fmla="*/ 6866944 w 129"/>
                <a:gd name="T49" fmla="*/ 558343305 h 309"/>
                <a:gd name="T50" fmla="*/ 16235795 w 129"/>
                <a:gd name="T51" fmla="*/ 521329861 h 309"/>
                <a:gd name="T52" fmla="*/ 13270827 w 129"/>
                <a:gd name="T53" fmla="*/ 497482766 h 309"/>
                <a:gd name="T54" fmla="*/ 13270827 w 129"/>
                <a:gd name="T55" fmla="*/ 484578839 h 309"/>
                <a:gd name="T56" fmla="*/ 2013428 w 129"/>
                <a:gd name="T57" fmla="*/ 454134377 h 309"/>
                <a:gd name="T58" fmla="*/ 4760429 w 129"/>
                <a:gd name="T59" fmla="*/ 412746746 h 309"/>
                <a:gd name="T60" fmla="*/ 4760429 w 129"/>
                <a:gd name="T61" fmla="*/ 361101141 h 309"/>
                <a:gd name="T62" fmla="*/ 2013428 w 129"/>
                <a:gd name="T63" fmla="*/ 321400676 h 309"/>
                <a:gd name="T64" fmla="*/ 8515277 w 129"/>
                <a:gd name="T65" fmla="*/ 282689121 h 309"/>
                <a:gd name="T66" fmla="*/ 20133007 w 129"/>
                <a:gd name="T67" fmla="*/ 239261159 h 309"/>
                <a:gd name="T68" fmla="*/ 6866944 w 129"/>
                <a:gd name="T69" fmla="*/ 206226158 h 309"/>
                <a:gd name="T70" fmla="*/ 11255275 w 129"/>
                <a:gd name="T71" fmla="*/ 169479665 h 309"/>
                <a:gd name="T72" fmla="*/ 13270827 w 129"/>
                <a:gd name="T73" fmla="*/ 147082265 h 309"/>
                <a:gd name="T74" fmla="*/ 36373280 w 129"/>
                <a:gd name="T75" fmla="*/ 100314475 h 309"/>
                <a:gd name="T76" fmla="*/ 29504419 w 129"/>
                <a:gd name="T77" fmla="*/ 80101337 h 309"/>
                <a:gd name="T78" fmla="*/ 44668870 w 129"/>
                <a:gd name="T79" fmla="*/ 46025126 h 309"/>
                <a:gd name="T80" fmla="*/ 65669997 w 129"/>
                <a:gd name="T81" fmla="*/ 1965688 h 309"/>
                <a:gd name="T82" fmla="*/ 94296422 w 129"/>
                <a:gd name="T83" fmla="*/ 12906574 h 309"/>
                <a:gd name="T84" fmla="*/ 117398937 w 129"/>
                <a:gd name="T85" fmla="*/ 1965688 h 309"/>
                <a:gd name="T86" fmla="*/ 146903327 w 129"/>
                <a:gd name="T87" fmla="*/ 32415140 h 309"/>
                <a:gd name="T88" fmla="*/ 185082424 w 129"/>
                <a:gd name="T89" fmla="*/ 49651798 h 309"/>
                <a:gd name="T90" fmla="*/ 221427285 w 129"/>
                <a:gd name="T91" fmla="*/ 82771524 h 309"/>
                <a:gd name="T92" fmla="*/ 225024713 w 129"/>
                <a:gd name="T93" fmla="*/ 113221120 h 309"/>
                <a:gd name="T94" fmla="*/ 264195887 w 129"/>
                <a:gd name="T95" fmla="*/ 108583530 h 309"/>
                <a:gd name="T96" fmla="*/ 285932683 w 129"/>
                <a:gd name="T97" fmla="*/ 78440275 h 309"/>
                <a:gd name="T98" fmla="*/ 279427382 w 129"/>
                <a:gd name="T99" fmla="*/ 110549197 h 309"/>
                <a:gd name="T100" fmla="*/ 236432257 w 129"/>
                <a:gd name="T101" fmla="*/ 164843208 h 309"/>
                <a:gd name="T102" fmla="*/ 229931040 w 129"/>
                <a:gd name="T103" fmla="*/ 174117179 h 309"/>
                <a:gd name="T104" fmla="*/ 221427285 w 129"/>
                <a:gd name="T105" fmla="*/ 222071374 h 309"/>
                <a:gd name="T106" fmla="*/ 216661986 w 129"/>
                <a:gd name="T107" fmla="*/ 247881343 h 30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29"/>
                <a:gd name="T163" fmla="*/ 0 h 309"/>
                <a:gd name="T164" fmla="*/ 129 w 129"/>
                <a:gd name="T165" fmla="*/ 309 h 30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29" h="309">
                  <a:moveTo>
                    <a:pt x="96" y="119"/>
                  </a:moveTo>
                  <a:cubicBezTo>
                    <a:pt x="95" y="120"/>
                    <a:pt x="96" y="122"/>
                    <a:pt x="98" y="122"/>
                  </a:cubicBezTo>
                  <a:cubicBezTo>
                    <a:pt x="98" y="123"/>
                    <a:pt x="100" y="123"/>
                    <a:pt x="101" y="124"/>
                  </a:cubicBezTo>
                  <a:cubicBezTo>
                    <a:pt x="103" y="125"/>
                    <a:pt x="104" y="126"/>
                    <a:pt x="105" y="128"/>
                  </a:cubicBezTo>
                  <a:cubicBezTo>
                    <a:pt x="106" y="128"/>
                    <a:pt x="106" y="129"/>
                    <a:pt x="107" y="129"/>
                  </a:cubicBezTo>
                  <a:cubicBezTo>
                    <a:pt x="109" y="130"/>
                    <a:pt x="108" y="132"/>
                    <a:pt x="107" y="133"/>
                  </a:cubicBezTo>
                  <a:cubicBezTo>
                    <a:pt x="106" y="135"/>
                    <a:pt x="107" y="138"/>
                    <a:pt x="109" y="139"/>
                  </a:cubicBezTo>
                  <a:cubicBezTo>
                    <a:pt x="110" y="140"/>
                    <a:pt x="111" y="139"/>
                    <a:pt x="112" y="139"/>
                  </a:cubicBezTo>
                  <a:cubicBezTo>
                    <a:pt x="114" y="144"/>
                    <a:pt x="111" y="149"/>
                    <a:pt x="109" y="153"/>
                  </a:cubicBezTo>
                  <a:cubicBezTo>
                    <a:pt x="108" y="155"/>
                    <a:pt x="107" y="156"/>
                    <a:pt x="105" y="157"/>
                  </a:cubicBezTo>
                  <a:cubicBezTo>
                    <a:pt x="105" y="158"/>
                    <a:pt x="104" y="159"/>
                    <a:pt x="103" y="160"/>
                  </a:cubicBezTo>
                  <a:cubicBezTo>
                    <a:pt x="102" y="161"/>
                    <a:pt x="100" y="162"/>
                    <a:pt x="100" y="162"/>
                  </a:cubicBezTo>
                  <a:cubicBezTo>
                    <a:pt x="97" y="163"/>
                    <a:pt x="95" y="165"/>
                    <a:pt x="93" y="165"/>
                  </a:cubicBezTo>
                  <a:cubicBezTo>
                    <a:pt x="90" y="165"/>
                    <a:pt x="87" y="166"/>
                    <a:pt x="85" y="167"/>
                  </a:cubicBezTo>
                  <a:cubicBezTo>
                    <a:pt x="81" y="167"/>
                    <a:pt x="78" y="168"/>
                    <a:pt x="74" y="167"/>
                  </a:cubicBezTo>
                  <a:cubicBezTo>
                    <a:pt x="73" y="167"/>
                    <a:pt x="73" y="166"/>
                    <a:pt x="72" y="165"/>
                  </a:cubicBezTo>
                  <a:cubicBezTo>
                    <a:pt x="72" y="165"/>
                    <a:pt x="71" y="165"/>
                    <a:pt x="71" y="165"/>
                  </a:cubicBezTo>
                  <a:cubicBezTo>
                    <a:pt x="71" y="167"/>
                    <a:pt x="71" y="168"/>
                    <a:pt x="71" y="170"/>
                  </a:cubicBezTo>
                  <a:cubicBezTo>
                    <a:pt x="72" y="170"/>
                    <a:pt x="73" y="171"/>
                    <a:pt x="73" y="172"/>
                  </a:cubicBezTo>
                  <a:cubicBezTo>
                    <a:pt x="73" y="173"/>
                    <a:pt x="73" y="175"/>
                    <a:pt x="73" y="176"/>
                  </a:cubicBezTo>
                  <a:cubicBezTo>
                    <a:pt x="72" y="177"/>
                    <a:pt x="71" y="178"/>
                    <a:pt x="71" y="178"/>
                  </a:cubicBezTo>
                  <a:cubicBezTo>
                    <a:pt x="70" y="180"/>
                    <a:pt x="72" y="181"/>
                    <a:pt x="72" y="183"/>
                  </a:cubicBezTo>
                  <a:cubicBezTo>
                    <a:pt x="73" y="184"/>
                    <a:pt x="73" y="185"/>
                    <a:pt x="72" y="186"/>
                  </a:cubicBezTo>
                  <a:cubicBezTo>
                    <a:pt x="71" y="187"/>
                    <a:pt x="69" y="189"/>
                    <a:pt x="67" y="189"/>
                  </a:cubicBezTo>
                  <a:cubicBezTo>
                    <a:pt x="65" y="190"/>
                    <a:pt x="63" y="190"/>
                    <a:pt x="61" y="189"/>
                  </a:cubicBezTo>
                  <a:cubicBezTo>
                    <a:pt x="61" y="189"/>
                    <a:pt x="61" y="187"/>
                    <a:pt x="60" y="187"/>
                  </a:cubicBezTo>
                  <a:cubicBezTo>
                    <a:pt x="59" y="186"/>
                    <a:pt x="58" y="187"/>
                    <a:pt x="56" y="186"/>
                  </a:cubicBezTo>
                  <a:cubicBezTo>
                    <a:pt x="55" y="186"/>
                    <a:pt x="55" y="185"/>
                    <a:pt x="54" y="184"/>
                  </a:cubicBezTo>
                  <a:cubicBezTo>
                    <a:pt x="53" y="184"/>
                    <a:pt x="51" y="184"/>
                    <a:pt x="51" y="185"/>
                  </a:cubicBezTo>
                  <a:cubicBezTo>
                    <a:pt x="51" y="187"/>
                    <a:pt x="51" y="189"/>
                    <a:pt x="53" y="190"/>
                  </a:cubicBezTo>
                  <a:cubicBezTo>
                    <a:pt x="53" y="193"/>
                    <a:pt x="52" y="196"/>
                    <a:pt x="53" y="198"/>
                  </a:cubicBezTo>
                  <a:cubicBezTo>
                    <a:pt x="54" y="199"/>
                    <a:pt x="55" y="200"/>
                    <a:pt x="56" y="201"/>
                  </a:cubicBezTo>
                  <a:cubicBezTo>
                    <a:pt x="57" y="201"/>
                    <a:pt x="58" y="201"/>
                    <a:pt x="58" y="202"/>
                  </a:cubicBezTo>
                  <a:cubicBezTo>
                    <a:pt x="59" y="204"/>
                    <a:pt x="56" y="204"/>
                    <a:pt x="55" y="205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6" y="207"/>
                    <a:pt x="58" y="206"/>
                    <a:pt x="60" y="206"/>
                  </a:cubicBezTo>
                  <a:cubicBezTo>
                    <a:pt x="60" y="207"/>
                    <a:pt x="60" y="207"/>
                    <a:pt x="60" y="207"/>
                  </a:cubicBezTo>
                  <a:cubicBezTo>
                    <a:pt x="59" y="208"/>
                    <a:pt x="58" y="209"/>
                    <a:pt x="58" y="210"/>
                  </a:cubicBezTo>
                  <a:cubicBezTo>
                    <a:pt x="58" y="210"/>
                    <a:pt x="58" y="210"/>
                    <a:pt x="58" y="210"/>
                  </a:cubicBezTo>
                  <a:cubicBezTo>
                    <a:pt x="57" y="211"/>
                    <a:pt x="56" y="211"/>
                    <a:pt x="55" y="212"/>
                  </a:cubicBezTo>
                  <a:cubicBezTo>
                    <a:pt x="54" y="213"/>
                    <a:pt x="54" y="214"/>
                    <a:pt x="54" y="215"/>
                  </a:cubicBezTo>
                  <a:cubicBezTo>
                    <a:pt x="52" y="218"/>
                    <a:pt x="53" y="221"/>
                    <a:pt x="53" y="224"/>
                  </a:cubicBezTo>
                  <a:cubicBezTo>
                    <a:pt x="53" y="225"/>
                    <a:pt x="52" y="225"/>
                    <a:pt x="52" y="226"/>
                  </a:cubicBezTo>
                  <a:cubicBezTo>
                    <a:pt x="52" y="227"/>
                    <a:pt x="52" y="228"/>
                    <a:pt x="51" y="228"/>
                  </a:cubicBezTo>
                  <a:cubicBezTo>
                    <a:pt x="51" y="230"/>
                    <a:pt x="48" y="228"/>
                    <a:pt x="47" y="229"/>
                  </a:cubicBezTo>
                  <a:cubicBezTo>
                    <a:pt x="46" y="230"/>
                    <a:pt x="46" y="231"/>
                    <a:pt x="45" y="232"/>
                  </a:cubicBezTo>
                  <a:cubicBezTo>
                    <a:pt x="44" y="232"/>
                    <a:pt x="43" y="232"/>
                    <a:pt x="43" y="232"/>
                  </a:cubicBezTo>
                  <a:cubicBezTo>
                    <a:pt x="41" y="234"/>
                    <a:pt x="39" y="236"/>
                    <a:pt x="38" y="239"/>
                  </a:cubicBezTo>
                  <a:cubicBezTo>
                    <a:pt x="37" y="240"/>
                    <a:pt x="37" y="241"/>
                    <a:pt x="38" y="243"/>
                  </a:cubicBezTo>
                  <a:cubicBezTo>
                    <a:pt x="38" y="244"/>
                    <a:pt x="38" y="245"/>
                    <a:pt x="39" y="245"/>
                  </a:cubicBezTo>
                  <a:cubicBezTo>
                    <a:pt x="40" y="246"/>
                    <a:pt x="41" y="247"/>
                    <a:pt x="42" y="247"/>
                  </a:cubicBezTo>
                  <a:cubicBezTo>
                    <a:pt x="43" y="248"/>
                    <a:pt x="44" y="249"/>
                    <a:pt x="46" y="249"/>
                  </a:cubicBezTo>
                  <a:cubicBezTo>
                    <a:pt x="46" y="250"/>
                    <a:pt x="47" y="250"/>
                    <a:pt x="47" y="251"/>
                  </a:cubicBezTo>
                  <a:cubicBezTo>
                    <a:pt x="48" y="251"/>
                    <a:pt x="49" y="251"/>
                    <a:pt x="50" y="251"/>
                  </a:cubicBezTo>
                  <a:cubicBezTo>
                    <a:pt x="51" y="251"/>
                    <a:pt x="53" y="252"/>
                    <a:pt x="53" y="253"/>
                  </a:cubicBezTo>
                  <a:cubicBezTo>
                    <a:pt x="54" y="254"/>
                    <a:pt x="54" y="255"/>
                    <a:pt x="53" y="255"/>
                  </a:cubicBezTo>
                  <a:cubicBezTo>
                    <a:pt x="52" y="257"/>
                    <a:pt x="52" y="258"/>
                    <a:pt x="53" y="260"/>
                  </a:cubicBezTo>
                  <a:cubicBezTo>
                    <a:pt x="54" y="261"/>
                    <a:pt x="53" y="261"/>
                    <a:pt x="53" y="262"/>
                  </a:cubicBezTo>
                  <a:cubicBezTo>
                    <a:pt x="52" y="263"/>
                    <a:pt x="51" y="262"/>
                    <a:pt x="50" y="263"/>
                  </a:cubicBezTo>
                  <a:cubicBezTo>
                    <a:pt x="49" y="263"/>
                    <a:pt x="48" y="264"/>
                    <a:pt x="48" y="265"/>
                  </a:cubicBezTo>
                  <a:cubicBezTo>
                    <a:pt x="47" y="267"/>
                    <a:pt x="45" y="267"/>
                    <a:pt x="44" y="269"/>
                  </a:cubicBezTo>
                  <a:cubicBezTo>
                    <a:pt x="43" y="270"/>
                    <a:pt x="42" y="271"/>
                    <a:pt x="42" y="272"/>
                  </a:cubicBezTo>
                  <a:cubicBezTo>
                    <a:pt x="42" y="272"/>
                    <a:pt x="42" y="273"/>
                    <a:pt x="42" y="274"/>
                  </a:cubicBezTo>
                  <a:cubicBezTo>
                    <a:pt x="42" y="275"/>
                    <a:pt x="43" y="275"/>
                    <a:pt x="43" y="276"/>
                  </a:cubicBezTo>
                  <a:cubicBezTo>
                    <a:pt x="43" y="277"/>
                    <a:pt x="43" y="278"/>
                    <a:pt x="43" y="279"/>
                  </a:cubicBezTo>
                  <a:cubicBezTo>
                    <a:pt x="42" y="281"/>
                    <a:pt x="41" y="282"/>
                    <a:pt x="41" y="283"/>
                  </a:cubicBezTo>
                  <a:cubicBezTo>
                    <a:pt x="41" y="284"/>
                    <a:pt x="40" y="284"/>
                    <a:pt x="40" y="284"/>
                  </a:cubicBezTo>
                  <a:cubicBezTo>
                    <a:pt x="39" y="285"/>
                    <a:pt x="38" y="285"/>
                    <a:pt x="37" y="284"/>
                  </a:cubicBezTo>
                  <a:cubicBezTo>
                    <a:pt x="37" y="284"/>
                    <a:pt x="36" y="284"/>
                    <a:pt x="36" y="284"/>
                  </a:cubicBezTo>
                  <a:cubicBezTo>
                    <a:pt x="36" y="284"/>
                    <a:pt x="35" y="284"/>
                    <a:pt x="35" y="284"/>
                  </a:cubicBezTo>
                  <a:cubicBezTo>
                    <a:pt x="35" y="285"/>
                    <a:pt x="36" y="286"/>
                    <a:pt x="34" y="287"/>
                  </a:cubicBezTo>
                  <a:cubicBezTo>
                    <a:pt x="34" y="287"/>
                    <a:pt x="34" y="288"/>
                    <a:pt x="34" y="288"/>
                  </a:cubicBezTo>
                  <a:cubicBezTo>
                    <a:pt x="34" y="288"/>
                    <a:pt x="34" y="288"/>
                    <a:pt x="34" y="288"/>
                  </a:cubicBezTo>
                  <a:cubicBezTo>
                    <a:pt x="33" y="291"/>
                    <a:pt x="34" y="293"/>
                    <a:pt x="34" y="296"/>
                  </a:cubicBezTo>
                  <a:cubicBezTo>
                    <a:pt x="35" y="296"/>
                    <a:pt x="35" y="296"/>
                    <a:pt x="35" y="296"/>
                  </a:cubicBezTo>
                  <a:cubicBezTo>
                    <a:pt x="34" y="297"/>
                    <a:pt x="33" y="298"/>
                    <a:pt x="34" y="300"/>
                  </a:cubicBezTo>
                  <a:cubicBezTo>
                    <a:pt x="34" y="300"/>
                    <a:pt x="35" y="300"/>
                    <a:pt x="35" y="301"/>
                  </a:cubicBezTo>
                  <a:cubicBezTo>
                    <a:pt x="36" y="302"/>
                    <a:pt x="36" y="303"/>
                    <a:pt x="36" y="304"/>
                  </a:cubicBezTo>
                  <a:cubicBezTo>
                    <a:pt x="37" y="305"/>
                    <a:pt x="38" y="306"/>
                    <a:pt x="39" y="306"/>
                  </a:cubicBezTo>
                  <a:cubicBezTo>
                    <a:pt x="40" y="307"/>
                    <a:pt x="40" y="307"/>
                    <a:pt x="40" y="307"/>
                  </a:cubicBezTo>
                  <a:cubicBezTo>
                    <a:pt x="41" y="307"/>
                    <a:pt x="41" y="308"/>
                    <a:pt x="41" y="308"/>
                  </a:cubicBezTo>
                  <a:cubicBezTo>
                    <a:pt x="40" y="309"/>
                    <a:pt x="40" y="309"/>
                    <a:pt x="40" y="309"/>
                  </a:cubicBezTo>
                  <a:cubicBezTo>
                    <a:pt x="38" y="309"/>
                    <a:pt x="36" y="309"/>
                    <a:pt x="34" y="309"/>
                  </a:cubicBezTo>
                  <a:cubicBezTo>
                    <a:pt x="34" y="308"/>
                    <a:pt x="34" y="308"/>
                    <a:pt x="34" y="308"/>
                  </a:cubicBezTo>
                  <a:cubicBezTo>
                    <a:pt x="35" y="306"/>
                    <a:pt x="33" y="305"/>
                    <a:pt x="31" y="305"/>
                  </a:cubicBezTo>
                  <a:cubicBezTo>
                    <a:pt x="25" y="304"/>
                    <a:pt x="20" y="306"/>
                    <a:pt x="14" y="305"/>
                  </a:cubicBezTo>
                  <a:cubicBezTo>
                    <a:pt x="14" y="305"/>
                    <a:pt x="14" y="304"/>
                    <a:pt x="13" y="303"/>
                  </a:cubicBezTo>
                  <a:cubicBezTo>
                    <a:pt x="13" y="300"/>
                    <a:pt x="11" y="298"/>
                    <a:pt x="11" y="296"/>
                  </a:cubicBezTo>
                  <a:cubicBezTo>
                    <a:pt x="10" y="294"/>
                    <a:pt x="11" y="292"/>
                    <a:pt x="10" y="290"/>
                  </a:cubicBezTo>
                  <a:cubicBezTo>
                    <a:pt x="9" y="288"/>
                    <a:pt x="6" y="290"/>
                    <a:pt x="4" y="291"/>
                  </a:cubicBezTo>
                  <a:cubicBezTo>
                    <a:pt x="4" y="291"/>
                    <a:pt x="3" y="291"/>
                    <a:pt x="3" y="291"/>
                  </a:cubicBezTo>
                  <a:cubicBezTo>
                    <a:pt x="2" y="289"/>
                    <a:pt x="2" y="287"/>
                    <a:pt x="2" y="285"/>
                  </a:cubicBezTo>
                  <a:cubicBezTo>
                    <a:pt x="1" y="283"/>
                    <a:pt x="1" y="281"/>
                    <a:pt x="1" y="278"/>
                  </a:cubicBezTo>
                  <a:cubicBezTo>
                    <a:pt x="0" y="277"/>
                    <a:pt x="0" y="277"/>
                    <a:pt x="1" y="275"/>
                  </a:cubicBezTo>
                  <a:cubicBezTo>
                    <a:pt x="2" y="274"/>
                    <a:pt x="3" y="271"/>
                    <a:pt x="4" y="270"/>
                  </a:cubicBezTo>
                  <a:cubicBezTo>
                    <a:pt x="5" y="269"/>
                    <a:pt x="6" y="268"/>
                    <a:pt x="6" y="267"/>
                  </a:cubicBezTo>
                  <a:cubicBezTo>
                    <a:pt x="6" y="266"/>
                    <a:pt x="6" y="265"/>
                    <a:pt x="6" y="263"/>
                  </a:cubicBezTo>
                  <a:cubicBezTo>
                    <a:pt x="6" y="263"/>
                    <a:pt x="6" y="263"/>
                    <a:pt x="6" y="262"/>
                  </a:cubicBezTo>
                  <a:cubicBezTo>
                    <a:pt x="5" y="261"/>
                    <a:pt x="4" y="261"/>
                    <a:pt x="4" y="260"/>
                  </a:cubicBezTo>
                  <a:cubicBezTo>
                    <a:pt x="3" y="259"/>
                    <a:pt x="3" y="258"/>
                    <a:pt x="3" y="257"/>
                  </a:cubicBezTo>
                  <a:cubicBezTo>
                    <a:pt x="5" y="255"/>
                    <a:pt x="6" y="253"/>
                    <a:pt x="7" y="251"/>
                  </a:cubicBezTo>
                  <a:cubicBezTo>
                    <a:pt x="8" y="250"/>
                    <a:pt x="8" y="248"/>
                    <a:pt x="8" y="247"/>
                  </a:cubicBezTo>
                  <a:cubicBezTo>
                    <a:pt x="8" y="246"/>
                    <a:pt x="8" y="245"/>
                    <a:pt x="8" y="244"/>
                  </a:cubicBezTo>
                  <a:cubicBezTo>
                    <a:pt x="7" y="242"/>
                    <a:pt x="8" y="241"/>
                    <a:pt x="7" y="240"/>
                  </a:cubicBezTo>
                  <a:cubicBezTo>
                    <a:pt x="7" y="238"/>
                    <a:pt x="6" y="237"/>
                    <a:pt x="7" y="236"/>
                  </a:cubicBezTo>
                  <a:cubicBezTo>
                    <a:pt x="8" y="235"/>
                    <a:pt x="9" y="233"/>
                    <a:pt x="9" y="230"/>
                  </a:cubicBezTo>
                  <a:cubicBezTo>
                    <a:pt x="8" y="230"/>
                    <a:pt x="8" y="230"/>
                    <a:pt x="8" y="229"/>
                  </a:cubicBezTo>
                  <a:cubicBezTo>
                    <a:pt x="7" y="229"/>
                    <a:pt x="6" y="229"/>
                    <a:pt x="6" y="229"/>
                  </a:cubicBezTo>
                  <a:cubicBezTo>
                    <a:pt x="5" y="228"/>
                    <a:pt x="4" y="228"/>
                    <a:pt x="5" y="227"/>
                  </a:cubicBezTo>
                  <a:cubicBezTo>
                    <a:pt x="5" y="226"/>
                    <a:pt x="5" y="226"/>
                    <a:pt x="5" y="226"/>
                  </a:cubicBezTo>
                  <a:cubicBezTo>
                    <a:pt x="7" y="226"/>
                    <a:pt x="10" y="227"/>
                    <a:pt x="9" y="225"/>
                  </a:cubicBezTo>
                  <a:cubicBezTo>
                    <a:pt x="9" y="224"/>
                    <a:pt x="7" y="223"/>
                    <a:pt x="6" y="223"/>
                  </a:cubicBezTo>
                  <a:cubicBezTo>
                    <a:pt x="6" y="222"/>
                    <a:pt x="4" y="223"/>
                    <a:pt x="4" y="222"/>
                  </a:cubicBezTo>
                  <a:cubicBezTo>
                    <a:pt x="4" y="220"/>
                    <a:pt x="4" y="217"/>
                    <a:pt x="4" y="215"/>
                  </a:cubicBezTo>
                  <a:cubicBezTo>
                    <a:pt x="4" y="214"/>
                    <a:pt x="3" y="212"/>
                    <a:pt x="3" y="211"/>
                  </a:cubicBezTo>
                  <a:cubicBezTo>
                    <a:pt x="3" y="210"/>
                    <a:pt x="2" y="209"/>
                    <a:pt x="1" y="209"/>
                  </a:cubicBezTo>
                  <a:cubicBezTo>
                    <a:pt x="1" y="208"/>
                    <a:pt x="2" y="206"/>
                    <a:pt x="1" y="205"/>
                  </a:cubicBezTo>
                  <a:cubicBezTo>
                    <a:pt x="1" y="205"/>
                    <a:pt x="0" y="205"/>
                    <a:pt x="0" y="204"/>
                  </a:cubicBezTo>
                  <a:cubicBezTo>
                    <a:pt x="0" y="203"/>
                    <a:pt x="0" y="201"/>
                    <a:pt x="1" y="199"/>
                  </a:cubicBezTo>
                  <a:cubicBezTo>
                    <a:pt x="2" y="196"/>
                    <a:pt x="2" y="193"/>
                    <a:pt x="2" y="190"/>
                  </a:cubicBezTo>
                  <a:cubicBezTo>
                    <a:pt x="0" y="186"/>
                    <a:pt x="0" y="182"/>
                    <a:pt x="0" y="177"/>
                  </a:cubicBezTo>
                  <a:cubicBezTo>
                    <a:pt x="2" y="174"/>
                    <a:pt x="1" y="171"/>
                    <a:pt x="1" y="168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1" y="167"/>
                    <a:pt x="1" y="166"/>
                    <a:pt x="2" y="166"/>
                  </a:cubicBezTo>
                  <a:cubicBezTo>
                    <a:pt x="2" y="164"/>
                    <a:pt x="4" y="164"/>
                    <a:pt x="4" y="163"/>
                  </a:cubicBezTo>
                  <a:cubicBezTo>
                    <a:pt x="5" y="163"/>
                    <a:pt x="5" y="162"/>
                    <a:pt x="4" y="161"/>
                  </a:cubicBezTo>
                  <a:cubicBezTo>
                    <a:pt x="2" y="158"/>
                    <a:pt x="2" y="155"/>
                    <a:pt x="2" y="151"/>
                  </a:cubicBezTo>
                  <a:cubicBezTo>
                    <a:pt x="2" y="150"/>
                    <a:pt x="1" y="149"/>
                    <a:pt x="1" y="148"/>
                  </a:cubicBezTo>
                  <a:cubicBezTo>
                    <a:pt x="1" y="146"/>
                    <a:pt x="1" y="145"/>
                    <a:pt x="1" y="144"/>
                  </a:cubicBezTo>
                  <a:cubicBezTo>
                    <a:pt x="2" y="142"/>
                    <a:pt x="4" y="141"/>
                    <a:pt x="5" y="139"/>
                  </a:cubicBezTo>
                  <a:cubicBezTo>
                    <a:pt x="6" y="137"/>
                    <a:pt x="6" y="135"/>
                    <a:pt x="6" y="133"/>
                  </a:cubicBezTo>
                  <a:cubicBezTo>
                    <a:pt x="5" y="132"/>
                    <a:pt x="5" y="131"/>
                    <a:pt x="4" y="130"/>
                  </a:cubicBezTo>
                  <a:cubicBezTo>
                    <a:pt x="4" y="129"/>
                    <a:pt x="4" y="128"/>
                    <a:pt x="4" y="128"/>
                  </a:cubicBezTo>
                  <a:cubicBezTo>
                    <a:pt x="5" y="127"/>
                    <a:pt x="5" y="126"/>
                    <a:pt x="6" y="126"/>
                  </a:cubicBezTo>
                  <a:cubicBezTo>
                    <a:pt x="6" y="124"/>
                    <a:pt x="7" y="122"/>
                    <a:pt x="7" y="121"/>
                  </a:cubicBezTo>
                  <a:cubicBezTo>
                    <a:pt x="8" y="117"/>
                    <a:pt x="9" y="114"/>
                    <a:pt x="9" y="110"/>
                  </a:cubicBezTo>
                  <a:cubicBezTo>
                    <a:pt x="8" y="109"/>
                    <a:pt x="6" y="109"/>
                    <a:pt x="6" y="108"/>
                  </a:cubicBezTo>
                  <a:cubicBezTo>
                    <a:pt x="5" y="106"/>
                    <a:pt x="6" y="104"/>
                    <a:pt x="6" y="101"/>
                  </a:cubicBezTo>
                  <a:cubicBezTo>
                    <a:pt x="5" y="100"/>
                    <a:pt x="4" y="100"/>
                    <a:pt x="3" y="99"/>
                  </a:cubicBezTo>
                  <a:cubicBezTo>
                    <a:pt x="3" y="98"/>
                    <a:pt x="4" y="96"/>
                    <a:pt x="3" y="95"/>
                  </a:cubicBezTo>
                  <a:cubicBezTo>
                    <a:pt x="2" y="94"/>
                    <a:pt x="1" y="94"/>
                    <a:pt x="1" y="93"/>
                  </a:cubicBezTo>
                  <a:cubicBezTo>
                    <a:pt x="0" y="92"/>
                    <a:pt x="0" y="90"/>
                    <a:pt x="1" y="89"/>
                  </a:cubicBezTo>
                  <a:cubicBezTo>
                    <a:pt x="2" y="88"/>
                    <a:pt x="4" y="87"/>
                    <a:pt x="5" y="85"/>
                  </a:cubicBezTo>
                  <a:cubicBezTo>
                    <a:pt x="5" y="83"/>
                    <a:pt x="5" y="80"/>
                    <a:pt x="5" y="78"/>
                  </a:cubicBezTo>
                  <a:cubicBezTo>
                    <a:pt x="4" y="77"/>
                    <a:pt x="4" y="76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3"/>
                    <a:pt x="4" y="72"/>
                    <a:pt x="4" y="71"/>
                  </a:cubicBezTo>
                  <a:cubicBezTo>
                    <a:pt x="4" y="69"/>
                    <a:pt x="6" y="69"/>
                    <a:pt x="6" y="68"/>
                  </a:cubicBezTo>
                  <a:cubicBezTo>
                    <a:pt x="7" y="65"/>
                    <a:pt x="6" y="63"/>
                    <a:pt x="7" y="61"/>
                  </a:cubicBezTo>
                  <a:cubicBezTo>
                    <a:pt x="8" y="59"/>
                    <a:pt x="10" y="57"/>
                    <a:pt x="11" y="55"/>
                  </a:cubicBezTo>
                  <a:cubicBezTo>
                    <a:pt x="11" y="54"/>
                    <a:pt x="10" y="52"/>
                    <a:pt x="12" y="52"/>
                  </a:cubicBezTo>
                  <a:cubicBezTo>
                    <a:pt x="14" y="51"/>
                    <a:pt x="17" y="48"/>
                    <a:pt x="16" y="46"/>
                  </a:cubicBezTo>
                  <a:cubicBezTo>
                    <a:pt x="15" y="45"/>
                    <a:pt x="14" y="45"/>
                    <a:pt x="14" y="44"/>
                  </a:cubicBezTo>
                  <a:cubicBezTo>
                    <a:pt x="13" y="43"/>
                    <a:pt x="14" y="42"/>
                    <a:pt x="14" y="41"/>
                  </a:cubicBezTo>
                  <a:cubicBezTo>
                    <a:pt x="14" y="40"/>
                    <a:pt x="15" y="39"/>
                    <a:pt x="14" y="39"/>
                  </a:cubicBezTo>
                  <a:cubicBezTo>
                    <a:pt x="14" y="38"/>
                    <a:pt x="13" y="37"/>
                    <a:pt x="13" y="37"/>
                  </a:cubicBezTo>
                  <a:cubicBezTo>
                    <a:pt x="13" y="35"/>
                    <a:pt x="13" y="33"/>
                    <a:pt x="15" y="31"/>
                  </a:cubicBezTo>
                  <a:cubicBezTo>
                    <a:pt x="16" y="30"/>
                    <a:pt x="15" y="28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6" y="24"/>
                    <a:pt x="18" y="23"/>
                    <a:pt x="20" y="21"/>
                  </a:cubicBezTo>
                  <a:cubicBezTo>
                    <a:pt x="21" y="20"/>
                    <a:pt x="22" y="20"/>
                    <a:pt x="22" y="19"/>
                  </a:cubicBezTo>
                  <a:cubicBezTo>
                    <a:pt x="23" y="16"/>
                    <a:pt x="23" y="12"/>
                    <a:pt x="23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5" y="5"/>
                    <a:pt x="26" y="4"/>
                    <a:pt x="29" y="1"/>
                  </a:cubicBezTo>
                  <a:cubicBezTo>
                    <a:pt x="30" y="1"/>
                    <a:pt x="30" y="0"/>
                    <a:pt x="31" y="0"/>
                  </a:cubicBezTo>
                  <a:cubicBezTo>
                    <a:pt x="32" y="1"/>
                    <a:pt x="33" y="2"/>
                    <a:pt x="34" y="2"/>
                  </a:cubicBezTo>
                  <a:cubicBezTo>
                    <a:pt x="36" y="3"/>
                    <a:pt x="38" y="2"/>
                    <a:pt x="39" y="3"/>
                  </a:cubicBezTo>
                  <a:cubicBezTo>
                    <a:pt x="41" y="3"/>
                    <a:pt x="41" y="5"/>
                    <a:pt x="42" y="6"/>
                  </a:cubicBezTo>
                  <a:cubicBezTo>
                    <a:pt x="43" y="7"/>
                    <a:pt x="44" y="8"/>
                    <a:pt x="44" y="7"/>
                  </a:cubicBezTo>
                  <a:cubicBezTo>
                    <a:pt x="45" y="6"/>
                    <a:pt x="46" y="4"/>
                    <a:pt x="46" y="3"/>
                  </a:cubicBezTo>
                  <a:cubicBezTo>
                    <a:pt x="46" y="3"/>
                    <a:pt x="47" y="2"/>
                    <a:pt x="47" y="2"/>
                  </a:cubicBezTo>
                  <a:cubicBezTo>
                    <a:pt x="49" y="2"/>
                    <a:pt x="51" y="2"/>
                    <a:pt x="52" y="1"/>
                  </a:cubicBezTo>
                  <a:cubicBezTo>
                    <a:pt x="54" y="1"/>
                    <a:pt x="55" y="1"/>
                    <a:pt x="57" y="2"/>
                  </a:cubicBezTo>
                  <a:cubicBezTo>
                    <a:pt x="57" y="2"/>
                    <a:pt x="58" y="2"/>
                    <a:pt x="58" y="2"/>
                  </a:cubicBezTo>
                  <a:cubicBezTo>
                    <a:pt x="58" y="5"/>
                    <a:pt x="59" y="6"/>
                    <a:pt x="61" y="9"/>
                  </a:cubicBezTo>
                  <a:cubicBezTo>
                    <a:pt x="62" y="11"/>
                    <a:pt x="63" y="14"/>
                    <a:pt x="65" y="15"/>
                  </a:cubicBezTo>
                  <a:cubicBezTo>
                    <a:pt x="66" y="16"/>
                    <a:pt x="67" y="16"/>
                    <a:pt x="69" y="16"/>
                  </a:cubicBezTo>
                  <a:cubicBezTo>
                    <a:pt x="71" y="17"/>
                    <a:pt x="73" y="19"/>
                    <a:pt x="74" y="21"/>
                  </a:cubicBezTo>
                  <a:cubicBezTo>
                    <a:pt x="75" y="21"/>
                    <a:pt x="76" y="21"/>
                    <a:pt x="76" y="22"/>
                  </a:cubicBezTo>
                  <a:cubicBezTo>
                    <a:pt x="78" y="22"/>
                    <a:pt x="80" y="22"/>
                    <a:pt x="82" y="23"/>
                  </a:cubicBezTo>
                  <a:cubicBezTo>
                    <a:pt x="83" y="24"/>
                    <a:pt x="85" y="25"/>
                    <a:pt x="87" y="27"/>
                  </a:cubicBezTo>
                  <a:cubicBezTo>
                    <a:pt x="89" y="28"/>
                    <a:pt x="91" y="28"/>
                    <a:pt x="93" y="29"/>
                  </a:cubicBezTo>
                  <a:cubicBezTo>
                    <a:pt x="95" y="30"/>
                    <a:pt x="96" y="31"/>
                    <a:pt x="98" y="31"/>
                  </a:cubicBezTo>
                  <a:cubicBezTo>
                    <a:pt x="98" y="33"/>
                    <a:pt x="99" y="36"/>
                    <a:pt x="98" y="38"/>
                  </a:cubicBezTo>
                  <a:cubicBezTo>
                    <a:pt x="97" y="39"/>
                    <a:pt x="95" y="40"/>
                    <a:pt x="94" y="41"/>
                  </a:cubicBezTo>
                  <a:cubicBezTo>
                    <a:pt x="92" y="43"/>
                    <a:pt x="92" y="46"/>
                    <a:pt x="91" y="48"/>
                  </a:cubicBezTo>
                  <a:cubicBezTo>
                    <a:pt x="91" y="49"/>
                    <a:pt x="91" y="50"/>
                    <a:pt x="91" y="51"/>
                  </a:cubicBezTo>
                  <a:cubicBezTo>
                    <a:pt x="94" y="52"/>
                    <a:pt x="97" y="51"/>
                    <a:pt x="100" y="52"/>
                  </a:cubicBezTo>
                  <a:cubicBezTo>
                    <a:pt x="102" y="52"/>
                    <a:pt x="104" y="53"/>
                    <a:pt x="107" y="53"/>
                  </a:cubicBezTo>
                  <a:cubicBezTo>
                    <a:pt x="107" y="53"/>
                    <a:pt x="108" y="52"/>
                    <a:pt x="109" y="52"/>
                  </a:cubicBezTo>
                  <a:cubicBezTo>
                    <a:pt x="111" y="51"/>
                    <a:pt x="113" y="53"/>
                    <a:pt x="115" y="52"/>
                  </a:cubicBezTo>
                  <a:cubicBezTo>
                    <a:pt x="116" y="52"/>
                    <a:pt x="116" y="51"/>
                    <a:pt x="117" y="50"/>
                  </a:cubicBezTo>
                  <a:cubicBezTo>
                    <a:pt x="117" y="50"/>
                    <a:pt x="117" y="49"/>
                    <a:pt x="117" y="48"/>
                  </a:cubicBezTo>
                  <a:cubicBezTo>
                    <a:pt x="118" y="46"/>
                    <a:pt x="120" y="45"/>
                    <a:pt x="121" y="43"/>
                  </a:cubicBezTo>
                  <a:cubicBezTo>
                    <a:pt x="122" y="41"/>
                    <a:pt x="122" y="39"/>
                    <a:pt x="122" y="36"/>
                  </a:cubicBezTo>
                  <a:cubicBezTo>
                    <a:pt x="124" y="36"/>
                    <a:pt x="126" y="35"/>
                    <a:pt x="127" y="36"/>
                  </a:cubicBezTo>
                  <a:cubicBezTo>
                    <a:pt x="128" y="37"/>
                    <a:pt x="128" y="38"/>
                    <a:pt x="129" y="40"/>
                  </a:cubicBezTo>
                  <a:cubicBezTo>
                    <a:pt x="129" y="43"/>
                    <a:pt x="129" y="47"/>
                    <a:pt x="128" y="50"/>
                  </a:cubicBezTo>
                  <a:cubicBezTo>
                    <a:pt x="128" y="50"/>
                    <a:pt x="128" y="50"/>
                    <a:pt x="128" y="50"/>
                  </a:cubicBezTo>
                  <a:cubicBezTo>
                    <a:pt x="126" y="51"/>
                    <a:pt x="125" y="50"/>
                    <a:pt x="124" y="51"/>
                  </a:cubicBezTo>
                  <a:cubicBezTo>
                    <a:pt x="121" y="53"/>
                    <a:pt x="120" y="56"/>
                    <a:pt x="118" y="59"/>
                  </a:cubicBezTo>
                  <a:cubicBezTo>
                    <a:pt x="113" y="61"/>
                    <a:pt x="110" y="65"/>
                    <a:pt x="108" y="70"/>
                  </a:cubicBezTo>
                  <a:cubicBezTo>
                    <a:pt x="107" y="71"/>
                    <a:pt x="107" y="73"/>
                    <a:pt x="106" y="74"/>
                  </a:cubicBezTo>
                  <a:cubicBezTo>
                    <a:pt x="106" y="75"/>
                    <a:pt x="105" y="75"/>
                    <a:pt x="105" y="76"/>
                  </a:cubicBezTo>
                  <a:cubicBezTo>
                    <a:pt x="105" y="76"/>
                    <a:pt x="104" y="76"/>
                    <a:pt x="104" y="77"/>
                  </a:cubicBezTo>
                  <a:cubicBezTo>
                    <a:pt x="103" y="78"/>
                    <a:pt x="102" y="79"/>
                    <a:pt x="102" y="80"/>
                  </a:cubicBezTo>
                  <a:cubicBezTo>
                    <a:pt x="101" y="80"/>
                    <a:pt x="101" y="81"/>
                    <a:pt x="101" y="81"/>
                  </a:cubicBezTo>
                  <a:cubicBezTo>
                    <a:pt x="102" y="80"/>
                    <a:pt x="102" y="80"/>
                    <a:pt x="102" y="80"/>
                  </a:cubicBezTo>
                  <a:cubicBezTo>
                    <a:pt x="101" y="81"/>
                    <a:pt x="101" y="83"/>
                    <a:pt x="100" y="84"/>
                  </a:cubicBezTo>
                  <a:cubicBezTo>
                    <a:pt x="100" y="86"/>
                    <a:pt x="100" y="88"/>
                    <a:pt x="100" y="90"/>
                  </a:cubicBezTo>
                  <a:cubicBezTo>
                    <a:pt x="100" y="92"/>
                    <a:pt x="99" y="96"/>
                    <a:pt x="98" y="98"/>
                  </a:cubicBezTo>
                  <a:cubicBezTo>
                    <a:pt x="97" y="99"/>
                    <a:pt x="97" y="100"/>
                    <a:pt x="98" y="102"/>
                  </a:cubicBezTo>
                  <a:cubicBezTo>
                    <a:pt x="99" y="103"/>
                    <a:pt x="99" y="105"/>
                    <a:pt x="98" y="106"/>
                  </a:cubicBezTo>
                  <a:cubicBezTo>
                    <a:pt x="98" y="107"/>
                    <a:pt x="97" y="108"/>
                    <a:pt x="96" y="109"/>
                  </a:cubicBezTo>
                  <a:cubicBezTo>
                    <a:pt x="96" y="111"/>
                    <a:pt x="96" y="113"/>
                    <a:pt x="96" y="114"/>
                  </a:cubicBezTo>
                  <a:cubicBezTo>
                    <a:pt x="96" y="114"/>
                    <a:pt x="96" y="114"/>
                    <a:pt x="96" y="114"/>
                  </a:cubicBezTo>
                  <a:cubicBezTo>
                    <a:pt x="96" y="116"/>
                    <a:pt x="96" y="117"/>
                    <a:pt x="96" y="119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2" name="Freeform 408"/>
            <p:cNvSpPr>
              <a:spLocks/>
            </p:cNvSpPr>
            <p:nvPr/>
          </p:nvSpPr>
          <p:spPr bwMode="auto">
            <a:xfrm>
              <a:off x="6702506" y="3828813"/>
              <a:ext cx="12040" cy="13519"/>
            </a:xfrm>
            <a:custGeom>
              <a:avLst/>
              <a:gdLst>
                <a:gd name="T0" fmla="*/ 1839936 w 26"/>
                <a:gd name="T1" fmla="*/ 23498568 h 28"/>
                <a:gd name="T2" fmla="*/ 5038211 w 26"/>
                <a:gd name="T3" fmla="*/ 23498568 h 28"/>
                <a:gd name="T4" fmla="*/ 11156751 w 26"/>
                <a:gd name="T5" fmla="*/ 23498568 h 28"/>
                <a:gd name="T6" fmla="*/ 16821088 w 26"/>
                <a:gd name="T7" fmla="*/ 25511586 h 28"/>
                <a:gd name="T8" fmla="*/ 21921488 w 26"/>
                <a:gd name="T9" fmla="*/ 21914983 h 28"/>
                <a:gd name="T10" fmla="*/ 16821088 w 26"/>
                <a:gd name="T11" fmla="*/ 20744539 h 28"/>
                <a:gd name="T12" fmla="*/ 12522682 w 26"/>
                <a:gd name="T13" fmla="*/ 17326122 h 28"/>
                <a:gd name="T14" fmla="*/ 6922623 w 26"/>
                <a:gd name="T15" fmla="*/ 12766089 h 28"/>
                <a:gd name="T16" fmla="*/ 1839936 w 26"/>
                <a:gd name="T17" fmla="*/ 6527726 h 28"/>
                <a:gd name="T18" fmla="*/ 0 w 26"/>
                <a:gd name="T19" fmla="*/ 0 h 28"/>
                <a:gd name="T20" fmla="*/ 0 w 26"/>
                <a:gd name="T21" fmla="*/ 826407 h 28"/>
                <a:gd name="T22" fmla="*/ 1839936 w 26"/>
                <a:gd name="T23" fmla="*/ 22742189 h 28"/>
                <a:gd name="T24" fmla="*/ 1839936 w 26"/>
                <a:gd name="T25" fmla="*/ 23498568 h 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28"/>
                <a:gd name="T41" fmla="*/ 26 w 26"/>
                <a:gd name="T42" fmla="*/ 28 h 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28">
                  <a:moveTo>
                    <a:pt x="2" y="26"/>
                  </a:moveTo>
                  <a:cubicBezTo>
                    <a:pt x="3" y="26"/>
                    <a:pt x="5" y="26"/>
                    <a:pt x="6" y="26"/>
                  </a:cubicBezTo>
                  <a:cubicBezTo>
                    <a:pt x="8" y="26"/>
                    <a:pt x="10" y="25"/>
                    <a:pt x="13" y="26"/>
                  </a:cubicBezTo>
                  <a:cubicBezTo>
                    <a:pt x="15" y="27"/>
                    <a:pt x="17" y="28"/>
                    <a:pt x="20" y="28"/>
                  </a:cubicBezTo>
                  <a:cubicBezTo>
                    <a:pt x="22" y="27"/>
                    <a:pt x="26" y="27"/>
                    <a:pt x="26" y="24"/>
                  </a:cubicBezTo>
                  <a:cubicBezTo>
                    <a:pt x="24" y="23"/>
                    <a:pt x="22" y="24"/>
                    <a:pt x="20" y="23"/>
                  </a:cubicBezTo>
                  <a:cubicBezTo>
                    <a:pt x="18" y="22"/>
                    <a:pt x="17" y="19"/>
                    <a:pt x="15" y="19"/>
                  </a:cubicBezTo>
                  <a:cubicBezTo>
                    <a:pt x="12" y="18"/>
                    <a:pt x="10" y="17"/>
                    <a:pt x="8" y="14"/>
                  </a:cubicBezTo>
                  <a:cubicBezTo>
                    <a:pt x="6" y="12"/>
                    <a:pt x="3" y="10"/>
                    <a:pt x="2" y="7"/>
                  </a:cubicBezTo>
                  <a:cubicBezTo>
                    <a:pt x="1" y="5"/>
                    <a:pt x="2" y="2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25"/>
                    <a:pt x="2" y="25"/>
                    <a:pt x="2" y="25"/>
                  </a:cubicBezTo>
                  <a:lnTo>
                    <a:pt x="2" y="26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3" name="Freeform 409"/>
            <p:cNvSpPr>
              <a:spLocks/>
            </p:cNvSpPr>
            <p:nvPr/>
          </p:nvSpPr>
          <p:spPr bwMode="auto">
            <a:xfrm>
              <a:off x="6711034" y="3773385"/>
              <a:ext cx="2007" cy="4056"/>
            </a:xfrm>
            <a:custGeom>
              <a:avLst/>
              <a:gdLst>
                <a:gd name="T0" fmla="*/ 1500783 w 5"/>
                <a:gd name="T1" fmla="*/ 4351847 h 8"/>
                <a:gd name="T2" fmla="*/ 1245675 w 5"/>
                <a:gd name="T3" fmla="*/ 0 h 8"/>
                <a:gd name="T4" fmla="*/ 566216 w 5"/>
                <a:gd name="T5" fmla="*/ 0 h 8"/>
                <a:gd name="T6" fmla="*/ 257371 w 5"/>
                <a:gd name="T7" fmla="*/ 896786 h 8"/>
                <a:gd name="T8" fmla="*/ 257371 w 5"/>
                <a:gd name="T9" fmla="*/ 4351847 h 8"/>
                <a:gd name="T10" fmla="*/ 940581 w 5"/>
                <a:gd name="T11" fmla="*/ 7279645 h 8"/>
                <a:gd name="T12" fmla="*/ 1500783 w 5"/>
                <a:gd name="T13" fmla="*/ 7279645 h 8"/>
                <a:gd name="T14" fmla="*/ 1500783 w 5"/>
                <a:gd name="T15" fmla="*/ 43518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8"/>
                <a:gd name="T26" fmla="*/ 5 w 5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8">
                  <a:moveTo>
                    <a:pt x="5" y="4"/>
                  </a:moveTo>
                  <a:cubicBezTo>
                    <a:pt x="5" y="3"/>
                    <a:pt x="5" y="1"/>
                    <a:pt x="4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2" y="5"/>
                    <a:pt x="2" y="6"/>
                    <a:pt x="3" y="7"/>
                  </a:cubicBezTo>
                  <a:cubicBezTo>
                    <a:pt x="3" y="8"/>
                    <a:pt x="4" y="7"/>
                    <a:pt x="5" y="7"/>
                  </a:cubicBezTo>
                  <a:cubicBezTo>
                    <a:pt x="5" y="6"/>
                    <a:pt x="5" y="5"/>
                    <a:pt x="5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4" name="Freeform 410"/>
            <p:cNvSpPr>
              <a:spLocks/>
            </p:cNvSpPr>
            <p:nvPr/>
          </p:nvSpPr>
          <p:spPr bwMode="auto">
            <a:xfrm>
              <a:off x="6673660" y="3659285"/>
              <a:ext cx="26086" cy="176287"/>
            </a:xfrm>
            <a:custGeom>
              <a:avLst/>
              <a:gdLst>
                <a:gd name="T0" fmla="*/ 16148475 w 56"/>
                <a:gd name="T1" fmla="*/ 18720100 h 364"/>
                <a:gd name="T2" fmla="*/ 17326122 w 56"/>
                <a:gd name="T3" fmla="*/ 43600303 h 364"/>
                <a:gd name="T4" fmla="*/ 17326122 w 56"/>
                <a:gd name="T5" fmla="*/ 58259953 h 364"/>
                <a:gd name="T6" fmla="*/ 14716077 w 56"/>
                <a:gd name="T7" fmla="*/ 87851258 h 364"/>
                <a:gd name="T8" fmla="*/ 12766089 w 56"/>
                <a:gd name="T9" fmla="*/ 100979654 h 364"/>
                <a:gd name="T10" fmla="*/ 10823097 w 56"/>
                <a:gd name="T11" fmla="*/ 116137423 h 364"/>
                <a:gd name="T12" fmla="*/ 13592494 w 56"/>
                <a:gd name="T13" fmla="*/ 132873962 h 364"/>
                <a:gd name="T14" fmla="*/ 13592494 w 56"/>
                <a:gd name="T15" fmla="*/ 143247336 h 364"/>
                <a:gd name="T16" fmla="*/ 7350477 w 56"/>
                <a:gd name="T17" fmla="*/ 168685674 h 364"/>
                <a:gd name="T18" fmla="*/ 4591618 w 56"/>
                <a:gd name="T19" fmla="*/ 180033587 h 364"/>
                <a:gd name="T20" fmla="*/ 5415918 w 56"/>
                <a:gd name="T21" fmla="*/ 213132576 h 364"/>
                <a:gd name="T22" fmla="*/ 10823097 w 56"/>
                <a:gd name="T23" fmla="*/ 219353454 h 364"/>
                <a:gd name="T24" fmla="*/ 13592494 w 56"/>
                <a:gd name="T25" fmla="*/ 217848323 h 364"/>
                <a:gd name="T26" fmla="*/ 15386779 w 56"/>
                <a:gd name="T27" fmla="*/ 226925383 h 364"/>
                <a:gd name="T28" fmla="*/ 13592494 w 56"/>
                <a:gd name="T29" fmla="*/ 241292028 h 364"/>
                <a:gd name="T30" fmla="*/ 14716077 w 56"/>
                <a:gd name="T31" fmla="*/ 249742480 h 364"/>
                <a:gd name="T32" fmla="*/ 12766089 w 56"/>
                <a:gd name="T33" fmla="*/ 260024674 h 364"/>
                <a:gd name="T34" fmla="*/ 6527726 w 56"/>
                <a:gd name="T35" fmla="*/ 260896241 h 364"/>
                <a:gd name="T36" fmla="*/ 826407 w 56"/>
                <a:gd name="T37" fmla="*/ 265822622 h 364"/>
                <a:gd name="T38" fmla="*/ 2769339 w 56"/>
                <a:gd name="T39" fmla="*/ 266949883 h 364"/>
                <a:gd name="T40" fmla="*/ 9297269 w 56"/>
                <a:gd name="T41" fmla="*/ 273237899 h 364"/>
                <a:gd name="T42" fmla="*/ 7350477 w 56"/>
                <a:gd name="T43" fmla="*/ 278833681 h 364"/>
                <a:gd name="T44" fmla="*/ 10823097 w 56"/>
                <a:gd name="T45" fmla="*/ 284887474 h 364"/>
                <a:gd name="T46" fmla="*/ 9297269 w 56"/>
                <a:gd name="T47" fmla="*/ 291333049 h 364"/>
                <a:gd name="T48" fmla="*/ 5415918 w 56"/>
                <a:gd name="T49" fmla="*/ 280205446 h 364"/>
                <a:gd name="T50" fmla="*/ 3468116 w 56"/>
                <a:gd name="T51" fmla="*/ 288400204 h 364"/>
                <a:gd name="T52" fmla="*/ 8174845 w 56"/>
                <a:gd name="T53" fmla="*/ 296898135 h 364"/>
                <a:gd name="T54" fmla="*/ 10823097 w 56"/>
                <a:gd name="T55" fmla="*/ 295212914 h 364"/>
                <a:gd name="T56" fmla="*/ 14716077 w 56"/>
                <a:gd name="T57" fmla="*/ 296898135 h 364"/>
                <a:gd name="T58" fmla="*/ 14716077 w 56"/>
                <a:gd name="T59" fmla="*/ 306491725 h 364"/>
                <a:gd name="T60" fmla="*/ 16148475 w 56"/>
                <a:gd name="T61" fmla="*/ 313932858 h 364"/>
                <a:gd name="T62" fmla="*/ 20120368 w 56"/>
                <a:gd name="T63" fmla="*/ 323216697 h 364"/>
                <a:gd name="T64" fmla="*/ 28094995 w 56"/>
                <a:gd name="T65" fmla="*/ 322344222 h 364"/>
                <a:gd name="T66" fmla="*/ 21914983 w 56"/>
                <a:gd name="T67" fmla="*/ 331995574 h 364"/>
                <a:gd name="T68" fmla="*/ 27333808 w 56"/>
                <a:gd name="T69" fmla="*/ 333508871 h 364"/>
                <a:gd name="T70" fmla="*/ 38064254 w 56"/>
                <a:gd name="T71" fmla="*/ 333508871 h 364"/>
                <a:gd name="T72" fmla="*/ 38064254 w 56"/>
                <a:gd name="T73" fmla="*/ 343149940 h 364"/>
                <a:gd name="T74" fmla="*/ 41687418 w 56"/>
                <a:gd name="T75" fmla="*/ 330781973 h 364"/>
                <a:gd name="T76" fmla="*/ 47426588 w 56"/>
                <a:gd name="T77" fmla="*/ 323216697 h 364"/>
                <a:gd name="T78" fmla="*/ 28094995 w 56"/>
                <a:gd name="T79" fmla="*/ 309217111 h 364"/>
                <a:gd name="T80" fmla="*/ 20120368 w 56"/>
                <a:gd name="T81" fmla="*/ 298052916 h 364"/>
                <a:gd name="T82" fmla="*/ 24685191 w 56"/>
                <a:gd name="T83" fmla="*/ 283674780 h 364"/>
                <a:gd name="T84" fmla="*/ 25511586 w 56"/>
                <a:gd name="T85" fmla="*/ 272549294 h 364"/>
                <a:gd name="T86" fmla="*/ 25511586 w 56"/>
                <a:gd name="T87" fmla="*/ 258179927 h 364"/>
                <a:gd name="T88" fmla="*/ 23498568 w 56"/>
                <a:gd name="T89" fmla="*/ 249742480 h 364"/>
                <a:gd name="T90" fmla="*/ 22742189 w 56"/>
                <a:gd name="T91" fmla="*/ 245014938 h 364"/>
                <a:gd name="T92" fmla="*/ 20120368 w 56"/>
                <a:gd name="T93" fmla="*/ 229012517 h 364"/>
                <a:gd name="T94" fmla="*/ 19269275 w 56"/>
                <a:gd name="T95" fmla="*/ 202635211 h 364"/>
                <a:gd name="T96" fmla="*/ 22742189 w 56"/>
                <a:gd name="T97" fmla="*/ 189470676 h 364"/>
                <a:gd name="T98" fmla="*/ 20120368 w 56"/>
                <a:gd name="T99" fmla="*/ 171530515 h 364"/>
                <a:gd name="T100" fmla="*/ 22742189 w 56"/>
                <a:gd name="T101" fmla="*/ 156372632 h 364"/>
                <a:gd name="T102" fmla="*/ 24685191 w 56"/>
                <a:gd name="T103" fmla="*/ 137647093 h 364"/>
                <a:gd name="T104" fmla="*/ 20120368 w 56"/>
                <a:gd name="T105" fmla="*/ 123578481 h 364"/>
                <a:gd name="T106" fmla="*/ 22742189 w 56"/>
                <a:gd name="T107" fmla="*/ 106587759 h 364"/>
                <a:gd name="T108" fmla="*/ 25511586 w 56"/>
                <a:gd name="T109" fmla="*/ 93423300 h 364"/>
                <a:gd name="T110" fmla="*/ 32039437 w 56"/>
                <a:gd name="T111" fmla="*/ 77327526 h 364"/>
                <a:gd name="T112" fmla="*/ 32648221 w 56"/>
                <a:gd name="T113" fmla="*/ 65045710 h 364"/>
                <a:gd name="T114" fmla="*/ 38890650 w 56"/>
                <a:gd name="T115" fmla="*/ 53881326 h 364"/>
                <a:gd name="T116" fmla="*/ 34687884 w 56"/>
                <a:gd name="T117" fmla="*/ 37812704 h 364"/>
                <a:gd name="T118" fmla="*/ 28094995 w 56"/>
                <a:gd name="T119" fmla="*/ 20805519 h 364"/>
                <a:gd name="T120" fmla="*/ 28094995 w 56"/>
                <a:gd name="T121" fmla="*/ 17206491 h 364"/>
                <a:gd name="T122" fmla="*/ 15386779 w 56"/>
                <a:gd name="T123" fmla="*/ 3571885 h 3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6"/>
                <a:gd name="T187" fmla="*/ 0 h 364"/>
                <a:gd name="T188" fmla="*/ 56 w 56"/>
                <a:gd name="T189" fmla="*/ 364 h 3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6" h="364">
                  <a:moveTo>
                    <a:pt x="16" y="4"/>
                  </a:moveTo>
                  <a:cubicBezTo>
                    <a:pt x="17" y="6"/>
                    <a:pt x="17" y="9"/>
                    <a:pt x="17" y="11"/>
                  </a:cubicBezTo>
                  <a:cubicBezTo>
                    <a:pt x="16" y="12"/>
                    <a:pt x="16" y="14"/>
                    <a:pt x="16" y="15"/>
                  </a:cubicBezTo>
                  <a:cubicBezTo>
                    <a:pt x="17" y="17"/>
                    <a:pt x="18" y="18"/>
                    <a:pt x="18" y="20"/>
                  </a:cubicBezTo>
                  <a:cubicBezTo>
                    <a:pt x="18" y="22"/>
                    <a:pt x="18" y="24"/>
                    <a:pt x="18" y="27"/>
                  </a:cubicBezTo>
                  <a:cubicBezTo>
                    <a:pt x="20" y="30"/>
                    <a:pt x="20" y="35"/>
                    <a:pt x="20" y="39"/>
                  </a:cubicBezTo>
                  <a:cubicBezTo>
                    <a:pt x="20" y="39"/>
                    <a:pt x="19" y="40"/>
                    <a:pt x="19" y="40"/>
                  </a:cubicBezTo>
                  <a:cubicBezTo>
                    <a:pt x="18" y="42"/>
                    <a:pt x="19" y="44"/>
                    <a:pt x="19" y="46"/>
                  </a:cubicBezTo>
                  <a:cubicBezTo>
                    <a:pt x="18" y="48"/>
                    <a:pt x="18" y="49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4"/>
                    <a:pt x="18" y="57"/>
                    <a:pt x="18" y="60"/>
                  </a:cubicBezTo>
                  <a:cubicBezTo>
                    <a:pt x="18" y="61"/>
                    <a:pt x="19" y="61"/>
                    <a:pt x="19" y="62"/>
                  </a:cubicBezTo>
                  <a:cubicBezTo>
                    <a:pt x="19" y="64"/>
                    <a:pt x="19" y="67"/>
                    <a:pt x="19" y="69"/>
                  </a:cubicBezTo>
                  <a:cubicBezTo>
                    <a:pt x="19" y="70"/>
                    <a:pt x="18" y="70"/>
                    <a:pt x="18" y="71"/>
                  </a:cubicBezTo>
                  <a:cubicBezTo>
                    <a:pt x="18" y="75"/>
                    <a:pt x="18" y="79"/>
                    <a:pt x="18" y="82"/>
                  </a:cubicBezTo>
                  <a:cubicBezTo>
                    <a:pt x="16" y="87"/>
                    <a:pt x="17" y="89"/>
                    <a:pt x="16" y="93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7"/>
                    <a:pt x="15" y="99"/>
                    <a:pt x="15" y="100"/>
                  </a:cubicBezTo>
                  <a:cubicBezTo>
                    <a:pt x="14" y="101"/>
                    <a:pt x="14" y="101"/>
                    <a:pt x="14" y="102"/>
                  </a:cubicBezTo>
                  <a:cubicBezTo>
                    <a:pt x="13" y="104"/>
                    <a:pt x="13" y="105"/>
                    <a:pt x="14" y="107"/>
                  </a:cubicBezTo>
                  <a:cubicBezTo>
                    <a:pt x="14" y="107"/>
                    <a:pt x="14" y="107"/>
                    <a:pt x="14" y="108"/>
                  </a:cubicBezTo>
                  <a:cubicBezTo>
                    <a:pt x="15" y="110"/>
                    <a:pt x="15" y="113"/>
                    <a:pt x="14" y="116"/>
                  </a:cubicBezTo>
                  <a:cubicBezTo>
                    <a:pt x="14" y="117"/>
                    <a:pt x="12" y="118"/>
                    <a:pt x="12" y="119"/>
                  </a:cubicBezTo>
                  <a:cubicBezTo>
                    <a:pt x="11" y="120"/>
                    <a:pt x="11" y="122"/>
                    <a:pt x="12" y="123"/>
                  </a:cubicBezTo>
                  <a:cubicBezTo>
                    <a:pt x="13" y="125"/>
                    <a:pt x="12" y="128"/>
                    <a:pt x="13" y="130"/>
                  </a:cubicBezTo>
                  <a:cubicBezTo>
                    <a:pt x="14" y="131"/>
                    <a:pt x="14" y="132"/>
                    <a:pt x="14" y="134"/>
                  </a:cubicBezTo>
                  <a:cubicBezTo>
                    <a:pt x="14" y="134"/>
                    <a:pt x="15" y="135"/>
                    <a:pt x="15" y="135"/>
                  </a:cubicBezTo>
                  <a:cubicBezTo>
                    <a:pt x="15" y="138"/>
                    <a:pt x="15" y="139"/>
                    <a:pt x="15" y="141"/>
                  </a:cubicBezTo>
                  <a:cubicBezTo>
                    <a:pt x="14" y="142"/>
                    <a:pt x="14" y="143"/>
                    <a:pt x="14" y="144"/>
                  </a:cubicBezTo>
                  <a:cubicBezTo>
                    <a:pt x="14" y="145"/>
                    <a:pt x="14" y="146"/>
                    <a:pt x="14" y="147"/>
                  </a:cubicBezTo>
                  <a:cubicBezTo>
                    <a:pt x="14" y="148"/>
                    <a:pt x="15" y="148"/>
                    <a:pt x="15" y="149"/>
                  </a:cubicBezTo>
                  <a:cubicBezTo>
                    <a:pt x="15" y="150"/>
                    <a:pt x="15" y="151"/>
                    <a:pt x="15" y="152"/>
                  </a:cubicBezTo>
                  <a:cubicBezTo>
                    <a:pt x="14" y="156"/>
                    <a:pt x="13" y="160"/>
                    <a:pt x="11" y="164"/>
                  </a:cubicBezTo>
                  <a:cubicBezTo>
                    <a:pt x="11" y="166"/>
                    <a:pt x="10" y="167"/>
                    <a:pt x="10" y="168"/>
                  </a:cubicBezTo>
                  <a:cubicBezTo>
                    <a:pt x="8" y="172"/>
                    <a:pt x="9" y="175"/>
                    <a:pt x="8" y="179"/>
                  </a:cubicBezTo>
                  <a:cubicBezTo>
                    <a:pt x="8" y="179"/>
                    <a:pt x="8" y="179"/>
                    <a:pt x="8" y="179"/>
                  </a:cubicBezTo>
                  <a:cubicBezTo>
                    <a:pt x="8" y="181"/>
                    <a:pt x="8" y="182"/>
                    <a:pt x="7" y="183"/>
                  </a:cubicBezTo>
                  <a:cubicBezTo>
                    <a:pt x="7" y="184"/>
                    <a:pt x="6" y="185"/>
                    <a:pt x="5" y="186"/>
                  </a:cubicBezTo>
                  <a:cubicBezTo>
                    <a:pt x="4" y="187"/>
                    <a:pt x="5" y="188"/>
                    <a:pt x="4" y="189"/>
                  </a:cubicBezTo>
                  <a:cubicBezTo>
                    <a:pt x="4" y="190"/>
                    <a:pt x="4" y="190"/>
                    <a:pt x="5" y="191"/>
                  </a:cubicBezTo>
                  <a:cubicBezTo>
                    <a:pt x="6" y="193"/>
                    <a:pt x="6" y="195"/>
                    <a:pt x="6" y="198"/>
                  </a:cubicBezTo>
                  <a:cubicBezTo>
                    <a:pt x="6" y="200"/>
                    <a:pt x="5" y="202"/>
                    <a:pt x="6" y="204"/>
                  </a:cubicBezTo>
                  <a:cubicBezTo>
                    <a:pt x="8" y="206"/>
                    <a:pt x="7" y="209"/>
                    <a:pt x="7" y="211"/>
                  </a:cubicBezTo>
                  <a:cubicBezTo>
                    <a:pt x="6" y="216"/>
                    <a:pt x="6" y="221"/>
                    <a:pt x="6" y="226"/>
                  </a:cubicBezTo>
                  <a:cubicBezTo>
                    <a:pt x="6" y="227"/>
                    <a:pt x="6" y="227"/>
                    <a:pt x="6" y="228"/>
                  </a:cubicBezTo>
                  <a:cubicBezTo>
                    <a:pt x="6" y="228"/>
                    <a:pt x="7" y="229"/>
                    <a:pt x="7" y="229"/>
                  </a:cubicBezTo>
                  <a:cubicBezTo>
                    <a:pt x="8" y="230"/>
                    <a:pt x="8" y="231"/>
                    <a:pt x="8" y="231"/>
                  </a:cubicBezTo>
                  <a:cubicBezTo>
                    <a:pt x="9" y="233"/>
                    <a:pt x="11" y="233"/>
                    <a:pt x="12" y="233"/>
                  </a:cubicBezTo>
                  <a:cubicBezTo>
                    <a:pt x="13" y="233"/>
                    <a:pt x="12" y="230"/>
                    <a:pt x="13" y="230"/>
                  </a:cubicBezTo>
                  <a:cubicBezTo>
                    <a:pt x="13" y="229"/>
                    <a:pt x="14" y="229"/>
                    <a:pt x="14" y="230"/>
                  </a:cubicBezTo>
                  <a:cubicBezTo>
                    <a:pt x="14" y="230"/>
                    <a:pt x="14" y="230"/>
                    <a:pt x="14" y="229"/>
                  </a:cubicBezTo>
                  <a:cubicBezTo>
                    <a:pt x="14" y="230"/>
                    <a:pt x="15" y="230"/>
                    <a:pt x="15" y="231"/>
                  </a:cubicBezTo>
                  <a:cubicBezTo>
                    <a:pt x="16" y="232"/>
                    <a:pt x="16" y="232"/>
                    <a:pt x="16" y="232"/>
                  </a:cubicBezTo>
                  <a:cubicBezTo>
                    <a:pt x="16" y="232"/>
                    <a:pt x="16" y="233"/>
                    <a:pt x="16" y="234"/>
                  </a:cubicBezTo>
                  <a:cubicBezTo>
                    <a:pt x="16" y="235"/>
                    <a:pt x="17" y="235"/>
                    <a:pt x="18" y="236"/>
                  </a:cubicBezTo>
                  <a:cubicBezTo>
                    <a:pt x="18" y="238"/>
                    <a:pt x="18" y="239"/>
                    <a:pt x="17" y="241"/>
                  </a:cubicBezTo>
                  <a:cubicBezTo>
                    <a:pt x="17" y="242"/>
                    <a:pt x="16" y="242"/>
                    <a:pt x="16" y="243"/>
                  </a:cubicBezTo>
                  <a:cubicBezTo>
                    <a:pt x="15" y="244"/>
                    <a:pt x="15" y="245"/>
                    <a:pt x="16" y="246"/>
                  </a:cubicBezTo>
                  <a:cubicBezTo>
                    <a:pt x="16" y="247"/>
                    <a:pt x="17" y="248"/>
                    <a:pt x="16" y="249"/>
                  </a:cubicBezTo>
                  <a:cubicBezTo>
                    <a:pt x="15" y="251"/>
                    <a:pt x="15" y="253"/>
                    <a:pt x="15" y="256"/>
                  </a:cubicBezTo>
                  <a:cubicBezTo>
                    <a:pt x="15" y="257"/>
                    <a:pt x="15" y="258"/>
                    <a:pt x="15" y="259"/>
                  </a:cubicBezTo>
                  <a:cubicBezTo>
                    <a:pt x="16" y="259"/>
                    <a:pt x="17" y="259"/>
                    <a:pt x="18" y="260"/>
                  </a:cubicBezTo>
                  <a:cubicBezTo>
                    <a:pt x="18" y="261"/>
                    <a:pt x="18" y="262"/>
                    <a:pt x="18" y="264"/>
                  </a:cubicBezTo>
                  <a:cubicBezTo>
                    <a:pt x="18" y="264"/>
                    <a:pt x="17" y="265"/>
                    <a:pt x="16" y="265"/>
                  </a:cubicBezTo>
                  <a:cubicBezTo>
                    <a:pt x="15" y="267"/>
                    <a:pt x="15" y="269"/>
                    <a:pt x="15" y="271"/>
                  </a:cubicBezTo>
                  <a:cubicBezTo>
                    <a:pt x="15" y="271"/>
                    <a:pt x="14" y="272"/>
                    <a:pt x="14" y="272"/>
                  </a:cubicBezTo>
                  <a:cubicBezTo>
                    <a:pt x="14" y="273"/>
                    <a:pt x="14" y="274"/>
                    <a:pt x="14" y="275"/>
                  </a:cubicBezTo>
                  <a:cubicBezTo>
                    <a:pt x="14" y="275"/>
                    <a:pt x="14" y="275"/>
                    <a:pt x="14" y="276"/>
                  </a:cubicBezTo>
                  <a:cubicBezTo>
                    <a:pt x="13" y="278"/>
                    <a:pt x="14" y="279"/>
                    <a:pt x="14" y="281"/>
                  </a:cubicBezTo>
                  <a:cubicBezTo>
                    <a:pt x="14" y="281"/>
                    <a:pt x="13" y="281"/>
                    <a:pt x="13" y="281"/>
                  </a:cubicBezTo>
                  <a:cubicBezTo>
                    <a:pt x="13" y="280"/>
                    <a:pt x="13" y="279"/>
                    <a:pt x="12" y="278"/>
                  </a:cubicBezTo>
                  <a:cubicBezTo>
                    <a:pt x="11" y="277"/>
                    <a:pt x="9" y="277"/>
                    <a:pt x="7" y="277"/>
                  </a:cubicBezTo>
                  <a:cubicBezTo>
                    <a:pt x="7" y="276"/>
                    <a:pt x="6" y="276"/>
                    <a:pt x="6" y="276"/>
                  </a:cubicBezTo>
                  <a:cubicBezTo>
                    <a:pt x="5" y="275"/>
                    <a:pt x="4" y="276"/>
                    <a:pt x="3" y="277"/>
                  </a:cubicBezTo>
                  <a:cubicBezTo>
                    <a:pt x="3" y="278"/>
                    <a:pt x="3" y="278"/>
                    <a:pt x="3" y="279"/>
                  </a:cubicBezTo>
                  <a:cubicBezTo>
                    <a:pt x="2" y="280"/>
                    <a:pt x="1" y="281"/>
                    <a:pt x="1" y="282"/>
                  </a:cubicBezTo>
                  <a:cubicBezTo>
                    <a:pt x="0" y="283"/>
                    <a:pt x="0" y="284"/>
                    <a:pt x="0" y="285"/>
                  </a:cubicBezTo>
                  <a:cubicBezTo>
                    <a:pt x="0" y="285"/>
                    <a:pt x="0" y="285"/>
                    <a:pt x="0" y="285"/>
                  </a:cubicBezTo>
                  <a:cubicBezTo>
                    <a:pt x="1" y="285"/>
                    <a:pt x="1" y="284"/>
                    <a:pt x="1" y="283"/>
                  </a:cubicBezTo>
                  <a:cubicBezTo>
                    <a:pt x="2" y="283"/>
                    <a:pt x="3" y="283"/>
                    <a:pt x="3" y="283"/>
                  </a:cubicBezTo>
                  <a:cubicBezTo>
                    <a:pt x="5" y="284"/>
                    <a:pt x="6" y="286"/>
                    <a:pt x="8" y="285"/>
                  </a:cubicBezTo>
                  <a:cubicBezTo>
                    <a:pt x="8" y="285"/>
                    <a:pt x="9" y="285"/>
                    <a:pt x="10" y="285"/>
                  </a:cubicBezTo>
                  <a:cubicBezTo>
                    <a:pt x="11" y="286"/>
                    <a:pt x="13" y="288"/>
                    <a:pt x="12" y="289"/>
                  </a:cubicBezTo>
                  <a:cubicBezTo>
                    <a:pt x="12" y="290"/>
                    <a:pt x="11" y="290"/>
                    <a:pt x="10" y="290"/>
                  </a:cubicBezTo>
                  <a:cubicBezTo>
                    <a:pt x="10" y="291"/>
                    <a:pt x="9" y="292"/>
                    <a:pt x="9" y="293"/>
                  </a:cubicBezTo>
                  <a:cubicBezTo>
                    <a:pt x="9" y="293"/>
                    <a:pt x="9" y="293"/>
                    <a:pt x="9" y="293"/>
                  </a:cubicBezTo>
                  <a:cubicBezTo>
                    <a:pt x="10" y="293"/>
                    <a:pt x="10" y="294"/>
                    <a:pt x="10" y="294"/>
                  </a:cubicBezTo>
                  <a:cubicBezTo>
                    <a:pt x="9" y="295"/>
                    <a:pt x="8" y="295"/>
                    <a:pt x="8" y="296"/>
                  </a:cubicBezTo>
                  <a:cubicBezTo>
                    <a:pt x="9" y="297"/>
                    <a:pt x="10" y="296"/>
                    <a:pt x="11" y="297"/>
                  </a:cubicBezTo>
                  <a:cubicBezTo>
                    <a:pt x="12" y="297"/>
                    <a:pt x="12" y="298"/>
                    <a:pt x="11" y="298"/>
                  </a:cubicBezTo>
                  <a:cubicBezTo>
                    <a:pt x="10" y="299"/>
                    <a:pt x="9" y="299"/>
                    <a:pt x="10" y="301"/>
                  </a:cubicBezTo>
                  <a:cubicBezTo>
                    <a:pt x="10" y="301"/>
                    <a:pt x="11" y="301"/>
                    <a:pt x="12" y="302"/>
                  </a:cubicBezTo>
                  <a:cubicBezTo>
                    <a:pt x="12" y="302"/>
                    <a:pt x="12" y="303"/>
                    <a:pt x="12" y="304"/>
                  </a:cubicBezTo>
                  <a:cubicBezTo>
                    <a:pt x="11" y="304"/>
                    <a:pt x="11" y="305"/>
                    <a:pt x="11" y="305"/>
                  </a:cubicBezTo>
                  <a:cubicBezTo>
                    <a:pt x="10" y="307"/>
                    <a:pt x="11" y="308"/>
                    <a:pt x="11" y="309"/>
                  </a:cubicBezTo>
                  <a:cubicBezTo>
                    <a:pt x="11" y="309"/>
                    <a:pt x="10" y="309"/>
                    <a:pt x="10" y="309"/>
                  </a:cubicBezTo>
                  <a:cubicBezTo>
                    <a:pt x="10" y="307"/>
                    <a:pt x="10" y="306"/>
                    <a:pt x="9" y="305"/>
                  </a:cubicBezTo>
                  <a:cubicBezTo>
                    <a:pt x="8" y="304"/>
                    <a:pt x="9" y="303"/>
                    <a:pt x="9" y="302"/>
                  </a:cubicBezTo>
                  <a:cubicBezTo>
                    <a:pt x="8" y="302"/>
                    <a:pt x="7" y="301"/>
                    <a:pt x="7" y="301"/>
                  </a:cubicBezTo>
                  <a:cubicBezTo>
                    <a:pt x="6" y="299"/>
                    <a:pt x="7" y="298"/>
                    <a:pt x="6" y="297"/>
                  </a:cubicBezTo>
                  <a:cubicBezTo>
                    <a:pt x="6" y="297"/>
                    <a:pt x="5" y="297"/>
                    <a:pt x="5" y="297"/>
                  </a:cubicBezTo>
                  <a:cubicBezTo>
                    <a:pt x="5" y="298"/>
                    <a:pt x="5" y="299"/>
                    <a:pt x="5" y="300"/>
                  </a:cubicBezTo>
                  <a:cubicBezTo>
                    <a:pt x="5" y="300"/>
                    <a:pt x="4" y="300"/>
                    <a:pt x="4" y="301"/>
                  </a:cubicBezTo>
                  <a:cubicBezTo>
                    <a:pt x="4" y="302"/>
                    <a:pt x="3" y="304"/>
                    <a:pt x="4" y="306"/>
                  </a:cubicBezTo>
                  <a:cubicBezTo>
                    <a:pt x="4" y="307"/>
                    <a:pt x="6" y="307"/>
                    <a:pt x="6" y="308"/>
                  </a:cubicBezTo>
                  <a:cubicBezTo>
                    <a:pt x="7" y="309"/>
                    <a:pt x="7" y="310"/>
                    <a:pt x="6" y="311"/>
                  </a:cubicBezTo>
                  <a:cubicBezTo>
                    <a:pt x="5" y="312"/>
                    <a:pt x="6" y="313"/>
                    <a:pt x="6" y="314"/>
                  </a:cubicBezTo>
                  <a:cubicBezTo>
                    <a:pt x="6" y="315"/>
                    <a:pt x="8" y="314"/>
                    <a:pt x="9" y="315"/>
                  </a:cubicBezTo>
                  <a:cubicBezTo>
                    <a:pt x="10" y="316"/>
                    <a:pt x="9" y="318"/>
                    <a:pt x="10" y="319"/>
                  </a:cubicBezTo>
                  <a:cubicBezTo>
                    <a:pt x="10" y="319"/>
                    <a:pt x="11" y="319"/>
                    <a:pt x="11" y="319"/>
                  </a:cubicBezTo>
                  <a:cubicBezTo>
                    <a:pt x="12" y="318"/>
                    <a:pt x="12" y="318"/>
                    <a:pt x="12" y="317"/>
                  </a:cubicBezTo>
                  <a:cubicBezTo>
                    <a:pt x="12" y="316"/>
                    <a:pt x="12" y="314"/>
                    <a:pt x="12" y="313"/>
                  </a:cubicBezTo>
                  <a:cubicBezTo>
                    <a:pt x="13" y="313"/>
                    <a:pt x="13" y="314"/>
                    <a:pt x="14" y="314"/>
                  </a:cubicBezTo>
                  <a:cubicBezTo>
                    <a:pt x="14" y="314"/>
                    <a:pt x="15" y="314"/>
                    <a:pt x="15" y="314"/>
                  </a:cubicBezTo>
                  <a:cubicBezTo>
                    <a:pt x="15" y="314"/>
                    <a:pt x="16" y="313"/>
                    <a:pt x="16" y="314"/>
                  </a:cubicBezTo>
                  <a:cubicBezTo>
                    <a:pt x="16" y="314"/>
                    <a:pt x="16" y="315"/>
                    <a:pt x="16" y="315"/>
                  </a:cubicBezTo>
                  <a:cubicBezTo>
                    <a:pt x="15" y="316"/>
                    <a:pt x="15" y="317"/>
                    <a:pt x="14" y="318"/>
                  </a:cubicBezTo>
                  <a:cubicBezTo>
                    <a:pt x="14" y="318"/>
                    <a:pt x="14" y="318"/>
                    <a:pt x="14" y="319"/>
                  </a:cubicBezTo>
                  <a:cubicBezTo>
                    <a:pt x="13" y="320"/>
                    <a:pt x="13" y="322"/>
                    <a:pt x="13" y="323"/>
                  </a:cubicBezTo>
                  <a:cubicBezTo>
                    <a:pt x="13" y="324"/>
                    <a:pt x="15" y="324"/>
                    <a:pt x="16" y="325"/>
                  </a:cubicBezTo>
                  <a:cubicBezTo>
                    <a:pt x="16" y="325"/>
                    <a:pt x="17" y="325"/>
                    <a:pt x="17" y="325"/>
                  </a:cubicBezTo>
                  <a:cubicBezTo>
                    <a:pt x="17" y="327"/>
                    <a:pt x="17" y="328"/>
                    <a:pt x="17" y="329"/>
                  </a:cubicBezTo>
                  <a:cubicBezTo>
                    <a:pt x="17" y="329"/>
                    <a:pt x="18" y="329"/>
                    <a:pt x="18" y="329"/>
                  </a:cubicBezTo>
                  <a:cubicBezTo>
                    <a:pt x="18" y="330"/>
                    <a:pt x="17" y="332"/>
                    <a:pt x="18" y="333"/>
                  </a:cubicBezTo>
                  <a:cubicBezTo>
                    <a:pt x="18" y="334"/>
                    <a:pt x="19" y="334"/>
                    <a:pt x="20" y="335"/>
                  </a:cubicBezTo>
                  <a:cubicBezTo>
                    <a:pt x="21" y="336"/>
                    <a:pt x="20" y="337"/>
                    <a:pt x="20" y="338"/>
                  </a:cubicBezTo>
                  <a:cubicBezTo>
                    <a:pt x="21" y="338"/>
                    <a:pt x="21" y="339"/>
                    <a:pt x="21" y="339"/>
                  </a:cubicBezTo>
                  <a:cubicBezTo>
                    <a:pt x="21" y="340"/>
                    <a:pt x="22" y="342"/>
                    <a:pt x="22" y="343"/>
                  </a:cubicBezTo>
                  <a:cubicBezTo>
                    <a:pt x="22" y="343"/>
                    <a:pt x="23" y="344"/>
                    <a:pt x="24" y="344"/>
                  </a:cubicBezTo>
                  <a:cubicBezTo>
                    <a:pt x="26" y="343"/>
                    <a:pt x="26" y="340"/>
                    <a:pt x="29" y="340"/>
                  </a:cubicBezTo>
                  <a:cubicBezTo>
                    <a:pt x="29" y="340"/>
                    <a:pt x="30" y="339"/>
                    <a:pt x="31" y="339"/>
                  </a:cubicBezTo>
                  <a:cubicBezTo>
                    <a:pt x="31" y="340"/>
                    <a:pt x="31" y="341"/>
                    <a:pt x="31" y="342"/>
                  </a:cubicBezTo>
                  <a:cubicBezTo>
                    <a:pt x="31" y="343"/>
                    <a:pt x="30" y="343"/>
                    <a:pt x="30" y="343"/>
                  </a:cubicBezTo>
                  <a:cubicBezTo>
                    <a:pt x="29" y="344"/>
                    <a:pt x="29" y="345"/>
                    <a:pt x="29" y="345"/>
                  </a:cubicBezTo>
                  <a:cubicBezTo>
                    <a:pt x="28" y="345"/>
                    <a:pt x="26" y="345"/>
                    <a:pt x="24" y="345"/>
                  </a:cubicBezTo>
                  <a:cubicBezTo>
                    <a:pt x="23" y="347"/>
                    <a:pt x="22" y="350"/>
                    <a:pt x="24" y="352"/>
                  </a:cubicBezTo>
                  <a:cubicBezTo>
                    <a:pt x="24" y="352"/>
                    <a:pt x="24" y="352"/>
                    <a:pt x="25" y="353"/>
                  </a:cubicBezTo>
                  <a:cubicBezTo>
                    <a:pt x="25" y="354"/>
                    <a:pt x="25" y="355"/>
                    <a:pt x="26" y="356"/>
                  </a:cubicBezTo>
                  <a:cubicBezTo>
                    <a:pt x="27" y="356"/>
                    <a:pt x="28" y="357"/>
                    <a:pt x="28" y="356"/>
                  </a:cubicBezTo>
                  <a:cubicBezTo>
                    <a:pt x="29" y="356"/>
                    <a:pt x="29" y="355"/>
                    <a:pt x="30" y="354"/>
                  </a:cubicBezTo>
                  <a:cubicBezTo>
                    <a:pt x="30" y="352"/>
                    <a:pt x="30" y="351"/>
                    <a:pt x="31" y="350"/>
                  </a:cubicBezTo>
                  <a:cubicBezTo>
                    <a:pt x="34" y="350"/>
                    <a:pt x="36" y="350"/>
                    <a:pt x="38" y="350"/>
                  </a:cubicBezTo>
                  <a:cubicBezTo>
                    <a:pt x="39" y="350"/>
                    <a:pt x="40" y="350"/>
                    <a:pt x="41" y="351"/>
                  </a:cubicBezTo>
                  <a:cubicBezTo>
                    <a:pt x="42" y="352"/>
                    <a:pt x="42" y="353"/>
                    <a:pt x="42" y="354"/>
                  </a:cubicBezTo>
                  <a:cubicBezTo>
                    <a:pt x="41" y="356"/>
                    <a:pt x="40" y="358"/>
                    <a:pt x="38" y="357"/>
                  </a:cubicBezTo>
                  <a:cubicBezTo>
                    <a:pt x="37" y="356"/>
                    <a:pt x="35" y="356"/>
                    <a:pt x="35" y="356"/>
                  </a:cubicBezTo>
                  <a:cubicBezTo>
                    <a:pt x="34" y="360"/>
                    <a:pt x="37" y="362"/>
                    <a:pt x="40" y="362"/>
                  </a:cubicBezTo>
                  <a:cubicBezTo>
                    <a:pt x="41" y="363"/>
                    <a:pt x="41" y="363"/>
                    <a:pt x="42" y="364"/>
                  </a:cubicBezTo>
                  <a:cubicBezTo>
                    <a:pt x="42" y="364"/>
                    <a:pt x="43" y="364"/>
                    <a:pt x="44" y="364"/>
                  </a:cubicBezTo>
                  <a:cubicBezTo>
                    <a:pt x="45" y="363"/>
                    <a:pt x="45" y="362"/>
                    <a:pt x="45" y="360"/>
                  </a:cubicBezTo>
                  <a:cubicBezTo>
                    <a:pt x="46" y="357"/>
                    <a:pt x="45" y="354"/>
                    <a:pt x="45" y="352"/>
                  </a:cubicBezTo>
                  <a:cubicBezTo>
                    <a:pt x="45" y="351"/>
                    <a:pt x="46" y="351"/>
                    <a:pt x="46" y="351"/>
                  </a:cubicBezTo>
                  <a:cubicBezTo>
                    <a:pt x="48" y="349"/>
                    <a:pt x="50" y="349"/>
                    <a:pt x="52" y="347"/>
                  </a:cubicBezTo>
                  <a:cubicBezTo>
                    <a:pt x="53" y="347"/>
                    <a:pt x="54" y="347"/>
                    <a:pt x="55" y="347"/>
                  </a:cubicBezTo>
                  <a:cubicBezTo>
                    <a:pt x="55" y="346"/>
                    <a:pt x="55" y="346"/>
                    <a:pt x="55" y="346"/>
                  </a:cubicBezTo>
                  <a:cubicBezTo>
                    <a:pt x="56" y="344"/>
                    <a:pt x="54" y="343"/>
                    <a:pt x="52" y="343"/>
                  </a:cubicBezTo>
                  <a:cubicBezTo>
                    <a:pt x="46" y="342"/>
                    <a:pt x="41" y="344"/>
                    <a:pt x="35" y="343"/>
                  </a:cubicBezTo>
                  <a:cubicBezTo>
                    <a:pt x="35" y="343"/>
                    <a:pt x="35" y="342"/>
                    <a:pt x="34" y="341"/>
                  </a:cubicBezTo>
                  <a:cubicBezTo>
                    <a:pt x="34" y="338"/>
                    <a:pt x="32" y="336"/>
                    <a:pt x="32" y="334"/>
                  </a:cubicBezTo>
                  <a:cubicBezTo>
                    <a:pt x="31" y="332"/>
                    <a:pt x="32" y="330"/>
                    <a:pt x="31" y="328"/>
                  </a:cubicBezTo>
                  <a:cubicBezTo>
                    <a:pt x="30" y="326"/>
                    <a:pt x="27" y="328"/>
                    <a:pt x="25" y="329"/>
                  </a:cubicBezTo>
                  <a:cubicBezTo>
                    <a:pt x="25" y="329"/>
                    <a:pt x="24" y="329"/>
                    <a:pt x="24" y="329"/>
                  </a:cubicBezTo>
                  <a:cubicBezTo>
                    <a:pt x="23" y="327"/>
                    <a:pt x="23" y="325"/>
                    <a:pt x="23" y="323"/>
                  </a:cubicBezTo>
                  <a:cubicBezTo>
                    <a:pt x="22" y="321"/>
                    <a:pt x="22" y="319"/>
                    <a:pt x="22" y="316"/>
                  </a:cubicBezTo>
                  <a:cubicBezTo>
                    <a:pt x="21" y="315"/>
                    <a:pt x="21" y="315"/>
                    <a:pt x="22" y="313"/>
                  </a:cubicBezTo>
                  <a:cubicBezTo>
                    <a:pt x="23" y="312"/>
                    <a:pt x="24" y="309"/>
                    <a:pt x="25" y="308"/>
                  </a:cubicBezTo>
                  <a:cubicBezTo>
                    <a:pt x="26" y="307"/>
                    <a:pt x="27" y="306"/>
                    <a:pt x="27" y="305"/>
                  </a:cubicBezTo>
                  <a:cubicBezTo>
                    <a:pt x="27" y="304"/>
                    <a:pt x="27" y="303"/>
                    <a:pt x="27" y="301"/>
                  </a:cubicBezTo>
                  <a:cubicBezTo>
                    <a:pt x="27" y="301"/>
                    <a:pt x="27" y="301"/>
                    <a:pt x="27" y="300"/>
                  </a:cubicBezTo>
                  <a:cubicBezTo>
                    <a:pt x="26" y="299"/>
                    <a:pt x="25" y="299"/>
                    <a:pt x="25" y="298"/>
                  </a:cubicBezTo>
                  <a:cubicBezTo>
                    <a:pt x="24" y="297"/>
                    <a:pt x="24" y="296"/>
                    <a:pt x="24" y="295"/>
                  </a:cubicBezTo>
                  <a:cubicBezTo>
                    <a:pt x="26" y="293"/>
                    <a:pt x="27" y="291"/>
                    <a:pt x="28" y="289"/>
                  </a:cubicBezTo>
                  <a:cubicBezTo>
                    <a:pt x="29" y="288"/>
                    <a:pt x="29" y="286"/>
                    <a:pt x="29" y="285"/>
                  </a:cubicBezTo>
                  <a:cubicBezTo>
                    <a:pt x="29" y="284"/>
                    <a:pt x="29" y="283"/>
                    <a:pt x="29" y="282"/>
                  </a:cubicBezTo>
                  <a:cubicBezTo>
                    <a:pt x="28" y="280"/>
                    <a:pt x="29" y="279"/>
                    <a:pt x="28" y="278"/>
                  </a:cubicBezTo>
                  <a:cubicBezTo>
                    <a:pt x="28" y="276"/>
                    <a:pt x="27" y="275"/>
                    <a:pt x="28" y="274"/>
                  </a:cubicBezTo>
                  <a:cubicBezTo>
                    <a:pt x="29" y="273"/>
                    <a:pt x="30" y="271"/>
                    <a:pt x="30" y="268"/>
                  </a:cubicBezTo>
                  <a:cubicBezTo>
                    <a:pt x="29" y="268"/>
                    <a:pt x="29" y="268"/>
                    <a:pt x="29" y="267"/>
                  </a:cubicBezTo>
                  <a:cubicBezTo>
                    <a:pt x="28" y="267"/>
                    <a:pt x="27" y="267"/>
                    <a:pt x="27" y="267"/>
                  </a:cubicBezTo>
                  <a:cubicBezTo>
                    <a:pt x="26" y="266"/>
                    <a:pt x="25" y="266"/>
                    <a:pt x="26" y="265"/>
                  </a:cubicBezTo>
                  <a:cubicBezTo>
                    <a:pt x="26" y="264"/>
                    <a:pt x="26" y="264"/>
                    <a:pt x="26" y="264"/>
                  </a:cubicBezTo>
                  <a:cubicBezTo>
                    <a:pt x="28" y="264"/>
                    <a:pt x="31" y="265"/>
                    <a:pt x="30" y="263"/>
                  </a:cubicBezTo>
                  <a:cubicBezTo>
                    <a:pt x="30" y="262"/>
                    <a:pt x="28" y="261"/>
                    <a:pt x="27" y="261"/>
                  </a:cubicBezTo>
                  <a:cubicBezTo>
                    <a:pt x="27" y="260"/>
                    <a:pt x="25" y="261"/>
                    <a:pt x="25" y="260"/>
                  </a:cubicBezTo>
                  <a:cubicBezTo>
                    <a:pt x="25" y="258"/>
                    <a:pt x="25" y="255"/>
                    <a:pt x="25" y="253"/>
                  </a:cubicBezTo>
                  <a:cubicBezTo>
                    <a:pt x="25" y="252"/>
                    <a:pt x="24" y="250"/>
                    <a:pt x="24" y="249"/>
                  </a:cubicBezTo>
                  <a:cubicBezTo>
                    <a:pt x="24" y="248"/>
                    <a:pt x="23" y="247"/>
                    <a:pt x="22" y="247"/>
                  </a:cubicBezTo>
                  <a:cubicBezTo>
                    <a:pt x="22" y="246"/>
                    <a:pt x="23" y="244"/>
                    <a:pt x="22" y="243"/>
                  </a:cubicBezTo>
                  <a:cubicBezTo>
                    <a:pt x="22" y="243"/>
                    <a:pt x="21" y="243"/>
                    <a:pt x="21" y="242"/>
                  </a:cubicBezTo>
                  <a:cubicBezTo>
                    <a:pt x="21" y="241"/>
                    <a:pt x="21" y="239"/>
                    <a:pt x="22" y="237"/>
                  </a:cubicBezTo>
                  <a:cubicBezTo>
                    <a:pt x="23" y="234"/>
                    <a:pt x="23" y="231"/>
                    <a:pt x="23" y="228"/>
                  </a:cubicBezTo>
                  <a:cubicBezTo>
                    <a:pt x="21" y="224"/>
                    <a:pt x="21" y="220"/>
                    <a:pt x="21" y="215"/>
                  </a:cubicBezTo>
                  <a:cubicBezTo>
                    <a:pt x="23" y="212"/>
                    <a:pt x="22" y="209"/>
                    <a:pt x="22" y="206"/>
                  </a:cubicBezTo>
                  <a:cubicBezTo>
                    <a:pt x="22" y="206"/>
                    <a:pt x="22" y="206"/>
                    <a:pt x="22" y="206"/>
                  </a:cubicBezTo>
                  <a:cubicBezTo>
                    <a:pt x="22" y="205"/>
                    <a:pt x="22" y="204"/>
                    <a:pt x="23" y="204"/>
                  </a:cubicBezTo>
                  <a:cubicBezTo>
                    <a:pt x="23" y="202"/>
                    <a:pt x="25" y="202"/>
                    <a:pt x="25" y="201"/>
                  </a:cubicBezTo>
                  <a:cubicBezTo>
                    <a:pt x="26" y="201"/>
                    <a:pt x="26" y="200"/>
                    <a:pt x="25" y="199"/>
                  </a:cubicBezTo>
                  <a:cubicBezTo>
                    <a:pt x="23" y="196"/>
                    <a:pt x="23" y="193"/>
                    <a:pt x="23" y="189"/>
                  </a:cubicBezTo>
                  <a:cubicBezTo>
                    <a:pt x="23" y="188"/>
                    <a:pt x="22" y="187"/>
                    <a:pt x="22" y="186"/>
                  </a:cubicBezTo>
                  <a:cubicBezTo>
                    <a:pt x="22" y="184"/>
                    <a:pt x="22" y="183"/>
                    <a:pt x="22" y="182"/>
                  </a:cubicBezTo>
                  <a:cubicBezTo>
                    <a:pt x="23" y="180"/>
                    <a:pt x="25" y="179"/>
                    <a:pt x="26" y="177"/>
                  </a:cubicBezTo>
                  <a:cubicBezTo>
                    <a:pt x="27" y="175"/>
                    <a:pt x="27" y="173"/>
                    <a:pt x="27" y="171"/>
                  </a:cubicBezTo>
                  <a:cubicBezTo>
                    <a:pt x="26" y="170"/>
                    <a:pt x="26" y="169"/>
                    <a:pt x="25" y="168"/>
                  </a:cubicBezTo>
                  <a:cubicBezTo>
                    <a:pt x="25" y="167"/>
                    <a:pt x="25" y="166"/>
                    <a:pt x="25" y="166"/>
                  </a:cubicBezTo>
                  <a:cubicBezTo>
                    <a:pt x="26" y="165"/>
                    <a:pt x="26" y="164"/>
                    <a:pt x="27" y="164"/>
                  </a:cubicBezTo>
                  <a:cubicBezTo>
                    <a:pt x="27" y="162"/>
                    <a:pt x="28" y="160"/>
                    <a:pt x="28" y="159"/>
                  </a:cubicBezTo>
                  <a:cubicBezTo>
                    <a:pt x="29" y="155"/>
                    <a:pt x="30" y="152"/>
                    <a:pt x="30" y="148"/>
                  </a:cubicBezTo>
                  <a:cubicBezTo>
                    <a:pt x="29" y="147"/>
                    <a:pt x="27" y="147"/>
                    <a:pt x="27" y="146"/>
                  </a:cubicBezTo>
                  <a:cubicBezTo>
                    <a:pt x="26" y="144"/>
                    <a:pt x="27" y="142"/>
                    <a:pt x="27" y="139"/>
                  </a:cubicBezTo>
                  <a:cubicBezTo>
                    <a:pt x="26" y="138"/>
                    <a:pt x="25" y="138"/>
                    <a:pt x="24" y="137"/>
                  </a:cubicBezTo>
                  <a:cubicBezTo>
                    <a:pt x="24" y="136"/>
                    <a:pt x="25" y="134"/>
                    <a:pt x="24" y="133"/>
                  </a:cubicBezTo>
                  <a:cubicBezTo>
                    <a:pt x="23" y="132"/>
                    <a:pt x="22" y="132"/>
                    <a:pt x="22" y="131"/>
                  </a:cubicBezTo>
                  <a:cubicBezTo>
                    <a:pt x="21" y="130"/>
                    <a:pt x="21" y="128"/>
                    <a:pt x="22" y="127"/>
                  </a:cubicBezTo>
                  <a:cubicBezTo>
                    <a:pt x="23" y="126"/>
                    <a:pt x="25" y="125"/>
                    <a:pt x="26" y="123"/>
                  </a:cubicBezTo>
                  <a:cubicBezTo>
                    <a:pt x="26" y="121"/>
                    <a:pt x="26" y="118"/>
                    <a:pt x="26" y="116"/>
                  </a:cubicBezTo>
                  <a:cubicBezTo>
                    <a:pt x="25" y="115"/>
                    <a:pt x="25" y="114"/>
                    <a:pt x="25" y="113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5" y="111"/>
                    <a:pt x="25" y="110"/>
                    <a:pt x="25" y="109"/>
                  </a:cubicBezTo>
                  <a:cubicBezTo>
                    <a:pt x="25" y="107"/>
                    <a:pt x="27" y="107"/>
                    <a:pt x="27" y="106"/>
                  </a:cubicBezTo>
                  <a:cubicBezTo>
                    <a:pt x="28" y="103"/>
                    <a:pt x="27" y="101"/>
                    <a:pt x="28" y="99"/>
                  </a:cubicBezTo>
                  <a:cubicBezTo>
                    <a:pt x="29" y="97"/>
                    <a:pt x="31" y="95"/>
                    <a:pt x="32" y="93"/>
                  </a:cubicBezTo>
                  <a:cubicBezTo>
                    <a:pt x="32" y="92"/>
                    <a:pt x="31" y="90"/>
                    <a:pt x="33" y="90"/>
                  </a:cubicBezTo>
                  <a:cubicBezTo>
                    <a:pt x="35" y="89"/>
                    <a:pt x="38" y="86"/>
                    <a:pt x="37" y="84"/>
                  </a:cubicBezTo>
                  <a:cubicBezTo>
                    <a:pt x="36" y="83"/>
                    <a:pt x="35" y="83"/>
                    <a:pt x="35" y="82"/>
                  </a:cubicBezTo>
                  <a:cubicBezTo>
                    <a:pt x="34" y="81"/>
                    <a:pt x="35" y="80"/>
                    <a:pt x="35" y="79"/>
                  </a:cubicBezTo>
                  <a:cubicBezTo>
                    <a:pt x="35" y="78"/>
                    <a:pt x="36" y="77"/>
                    <a:pt x="35" y="77"/>
                  </a:cubicBezTo>
                  <a:cubicBezTo>
                    <a:pt x="35" y="76"/>
                    <a:pt x="34" y="75"/>
                    <a:pt x="34" y="75"/>
                  </a:cubicBezTo>
                  <a:cubicBezTo>
                    <a:pt x="34" y="73"/>
                    <a:pt x="34" y="71"/>
                    <a:pt x="36" y="69"/>
                  </a:cubicBezTo>
                  <a:cubicBezTo>
                    <a:pt x="37" y="68"/>
                    <a:pt x="36" y="66"/>
                    <a:pt x="35" y="64"/>
                  </a:cubicBezTo>
                  <a:cubicBezTo>
                    <a:pt x="35" y="64"/>
                    <a:pt x="35" y="64"/>
                    <a:pt x="35" y="64"/>
                  </a:cubicBezTo>
                  <a:cubicBezTo>
                    <a:pt x="37" y="62"/>
                    <a:pt x="39" y="61"/>
                    <a:pt x="41" y="59"/>
                  </a:cubicBezTo>
                  <a:cubicBezTo>
                    <a:pt x="42" y="58"/>
                    <a:pt x="43" y="58"/>
                    <a:pt x="43" y="57"/>
                  </a:cubicBezTo>
                  <a:cubicBezTo>
                    <a:pt x="44" y="54"/>
                    <a:pt x="44" y="50"/>
                    <a:pt x="44" y="47"/>
                  </a:cubicBezTo>
                  <a:cubicBezTo>
                    <a:pt x="42" y="47"/>
                    <a:pt x="40" y="48"/>
                    <a:pt x="39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5"/>
                    <a:pt x="38" y="42"/>
                    <a:pt x="38" y="40"/>
                  </a:cubicBezTo>
                  <a:cubicBezTo>
                    <a:pt x="38" y="40"/>
                    <a:pt x="37" y="39"/>
                    <a:pt x="37" y="39"/>
                  </a:cubicBezTo>
                  <a:cubicBezTo>
                    <a:pt x="35" y="36"/>
                    <a:pt x="35" y="33"/>
                    <a:pt x="33" y="30"/>
                  </a:cubicBezTo>
                  <a:cubicBezTo>
                    <a:pt x="31" y="28"/>
                    <a:pt x="32" y="26"/>
                    <a:pt x="31" y="24"/>
                  </a:cubicBezTo>
                  <a:cubicBezTo>
                    <a:pt x="31" y="24"/>
                    <a:pt x="31" y="23"/>
                    <a:pt x="31" y="22"/>
                  </a:cubicBezTo>
                  <a:cubicBezTo>
                    <a:pt x="31" y="22"/>
                    <a:pt x="31" y="22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3" y="20"/>
                    <a:pt x="33" y="20"/>
                    <a:pt x="32" y="19"/>
                  </a:cubicBezTo>
                  <a:cubicBezTo>
                    <a:pt x="32" y="19"/>
                    <a:pt x="31" y="18"/>
                    <a:pt x="31" y="18"/>
                  </a:cubicBezTo>
                  <a:cubicBezTo>
                    <a:pt x="31" y="17"/>
                    <a:pt x="32" y="15"/>
                    <a:pt x="31" y="14"/>
                  </a:cubicBezTo>
                  <a:cubicBezTo>
                    <a:pt x="29" y="10"/>
                    <a:pt x="27" y="8"/>
                    <a:pt x="26" y="4"/>
                  </a:cubicBezTo>
                  <a:cubicBezTo>
                    <a:pt x="26" y="2"/>
                    <a:pt x="24" y="0"/>
                    <a:pt x="22" y="1"/>
                  </a:cubicBezTo>
                  <a:cubicBezTo>
                    <a:pt x="20" y="2"/>
                    <a:pt x="19" y="4"/>
                    <a:pt x="17" y="4"/>
                  </a:cubicBezTo>
                  <a:lnTo>
                    <a:pt x="16" y="4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5" name="Freeform 411"/>
            <p:cNvSpPr>
              <a:spLocks/>
            </p:cNvSpPr>
            <p:nvPr/>
          </p:nvSpPr>
          <p:spPr bwMode="auto">
            <a:xfrm>
              <a:off x="6692222" y="3827731"/>
              <a:ext cx="14046" cy="18386"/>
            </a:xfrm>
            <a:custGeom>
              <a:avLst/>
              <a:gdLst>
                <a:gd name="T0" fmla="*/ 23379470 w 30"/>
                <a:gd name="T1" fmla="*/ 27228977 h 38"/>
                <a:gd name="T2" fmla="*/ 22140284 w 30"/>
                <a:gd name="T3" fmla="*/ 28478632 h 38"/>
                <a:gd name="T4" fmla="*/ 23379470 w 30"/>
                <a:gd name="T5" fmla="*/ 29374918 h 38"/>
                <a:gd name="T6" fmla="*/ 25441348 w 30"/>
                <a:gd name="T7" fmla="*/ 31441222 h 38"/>
                <a:gd name="T8" fmla="*/ 28219852 w 30"/>
                <a:gd name="T9" fmla="*/ 33584529 h 38"/>
                <a:gd name="T10" fmla="*/ 29078989 w 30"/>
                <a:gd name="T11" fmla="*/ 37200348 h 38"/>
                <a:gd name="T12" fmla="*/ 26957264 w 30"/>
                <a:gd name="T13" fmla="*/ 37200348 h 38"/>
                <a:gd name="T14" fmla="*/ 26091007 w 30"/>
                <a:gd name="T15" fmla="*/ 35106153 h 38"/>
                <a:gd name="T16" fmla="*/ 21278912 w 30"/>
                <a:gd name="T17" fmla="*/ 32306434 h 38"/>
                <a:gd name="T18" fmla="*/ 19205386 w 30"/>
                <a:gd name="T19" fmla="*/ 34448850 h 38"/>
                <a:gd name="T20" fmla="*/ 17602945 w 30"/>
                <a:gd name="T21" fmla="*/ 34448850 h 38"/>
                <a:gd name="T22" fmla="*/ 17602945 w 30"/>
                <a:gd name="T23" fmla="*/ 31441222 h 38"/>
                <a:gd name="T24" fmla="*/ 13529051 w 30"/>
                <a:gd name="T25" fmla="*/ 31441222 h 38"/>
                <a:gd name="T26" fmla="*/ 13529051 w 30"/>
                <a:gd name="T27" fmla="*/ 30251953 h 38"/>
                <a:gd name="T28" fmla="*/ 16449385 w 30"/>
                <a:gd name="T29" fmla="*/ 28478632 h 38"/>
                <a:gd name="T30" fmla="*/ 16449385 w 30"/>
                <a:gd name="T31" fmla="*/ 26570670 h 38"/>
                <a:gd name="T32" fmla="*/ 7817668 w 30"/>
                <a:gd name="T33" fmla="*/ 25674877 h 38"/>
                <a:gd name="T34" fmla="*/ 5716500 w 30"/>
                <a:gd name="T35" fmla="*/ 24492638 h 38"/>
                <a:gd name="T36" fmla="*/ 0 w 30"/>
                <a:gd name="T37" fmla="*/ 22374834 h 38"/>
                <a:gd name="T38" fmla="*/ 0 w 30"/>
                <a:gd name="T39" fmla="*/ 20597761 h 38"/>
                <a:gd name="T40" fmla="*/ 4812844 w 30"/>
                <a:gd name="T41" fmla="*/ 19416389 h 38"/>
                <a:gd name="T42" fmla="*/ 8611898 w 30"/>
                <a:gd name="T43" fmla="*/ 20597761 h 38"/>
                <a:gd name="T44" fmla="*/ 13529051 w 30"/>
                <a:gd name="T45" fmla="*/ 20597761 h 38"/>
                <a:gd name="T46" fmla="*/ 16449385 w 30"/>
                <a:gd name="T47" fmla="*/ 22374834 h 38"/>
                <a:gd name="T48" fmla="*/ 18501814 w 30"/>
                <a:gd name="T49" fmla="*/ 22374834 h 38"/>
                <a:gd name="T50" fmla="*/ 17602945 w 30"/>
                <a:gd name="T51" fmla="*/ 20597761 h 38"/>
                <a:gd name="T52" fmla="*/ 15562709 w 30"/>
                <a:gd name="T53" fmla="*/ 20597761 h 38"/>
                <a:gd name="T54" fmla="*/ 11390399 w 30"/>
                <a:gd name="T55" fmla="*/ 17849252 h 38"/>
                <a:gd name="T56" fmla="*/ 11390399 w 30"/>
                <a:gd name="T57" fmla="*/ 13640503 h 38"/>
                <a:gd name="T58" fmla="*/ 15562709 w 30"/>
                <a:gd name="T59" fmla="*/ 11496685 h 38"/>
                <a:gd name="T60" fmla="*/ 15562709 w 30"/>
                <a:gd name="T61" fmla="*/ 10840510 h 38"/>
                <a:gd name="T62" fmla="*/ 12629529 w 30"/>
                <a:gd name="T63" fmla="*/ 9968069 h 38"/>
                <a:gd name="T64" fmla="*/ 8611898 w 30"/>
                <a:gd name="T65" fmla="*/ 14822601 h 38"/>
                <a:gd name="T66" fmla="*/ 7817668 w 30"/>
                <a:gd name="T67" fmla="*/ 14822601 h 38"/>
                <a:gd name="T68" fmla="*/ 8611898 w 30"/>
                <a:gd name="T69" fmla="*/ 8696832 h 38"/>
                <a:gd name="T70" fmla="*/ 8611898 w 30"/>
                <a:gd name="T71" fmla="*/ 3671997 h 38"/>
                <a:gd name="T72" fmla="*/ 12629529 w 30"/>
                <a:gd name="T73" fmla="*/ 865359 h 38"/>
                <a:gd name="T74" fmla="*/ 13529051 w 30"/>
                <a:gd name="T75" fmla="*/ 865359 h 38"/>
                <a:gd name="T76" fmla="*/ 15562709 w 30"/>
                <a:gd name="T77" fmla="*/ 2049534 h 38"/>
                <a:gd name="T78" fmla="*/ 17602945 w 30"/>
                <a:gd name="T79" fmla="*/ 2049534 h 38"/>
                <a:gd name="T80" fmla="*/ 20381491 w 30"/>
                <a:gd name="T81" fmla="*/ 865359 h 38"/>
                <a:gd name="T82" fmla="*/ 21278912 w 30"/>
                <a:gd name="T83" fmla="*/ 2049534 h 38"/>
                <a:gd name="T84" fmla="*/ 21278912 w 30"/>
                <a:gd name="T85" fmla="*/ 2959271 h 38"/>
                <a:gd name="T86" fmla="*/ 23379470 w 30"/>
                <a:gd name="T87" fmla="*/ 26570670 h 38"/>
                <a:gd name="T88" fmla="*/ 23379470 w 30"/>
                <a:gd name="T89" fmla="*/ 27228977 h 3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0"/>
                <a:gd name="T136" fmla="*/ 0 h 38"/>
                <a:gd name="T137" fmla="*/ 30 w 30"/>
                <a:gd name="T138" fmla="*/ 38 h 3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0" h="38">
                  <a:moveTo>
                    <a:pt x="24" y="28"/>
                  </a:moveTo>
                  <a:cubicBezTo>
                    <a:pt x="24" y="28"/>
                    <a:pt x="24" y="28"/>
                    <a:pt x="23" y="29"/>
                  </a:cubicBezTo>
                  <a:cubicBezTo>
                    <a:pt x="23" y="29"/>
                    <a:pt x="23" y="29"/>
                    <a:pt x="24" y="30"/>
                  </a:cubicBezTo>
                  <a:cubicBezTo>
                    <a:pt x="25" y="30"/>
                    <a:pt x="25" y="31"/>
                    <a:pt x="26" y="32"/>
                  </a:cubicBezTo>
                  <a:cubicBezTo>
                    <a:pt x="27" y="33"/>
                    <a:pt x="28" y="33"/>
                    <a:pt x="29" y="34"/>
                  </a:cubicBezTo>
                  <a:cubicBezTo>
                    <a:pt x="30" y="35"/>
                    <a:pt x="30" y="36"/>
                    <a:pt x="30" y="38"/>
                  </a:cubicBezTo>
                  <a:cubicBezTo>
                    <a:pt x="30" y="38"/>
                    <a:pt x="29" y="38"/>
                    <a:pt x="28" y="38"/>
                  </a:cubicBezTo>
                  <a:cubicBezTo>
                    <a:pt x="28" y="37"/>
                    <a:pt x="27" y="36"/>
                    <a:pt x="27" y="36"/>
                  </a:cubicBezTo>
                  <a:cubicBezTo>
                    <a:pt x="25" y="35"/>
                    <a:pt x="24" y="35"/>
                    <a:pt x="22" y="33"/>
                  </a:cubicBezTo>
                  <a:cubicBezTo>
                    <a:pt x="21" y="32"/>
                    <a:pt x="20" y="34"/>
                    <a:pt x="20" y="35"/>
                  </a:cubicBezTo>
                  <a:cubicBezTo>
                    <a:pt x="20" y="35"/>
                    <a:pt x="19" y="35"/>
                    <a:pt x="18" y="35"/>
                  </a:cubicBezTo>
                  <a:cubicBezTo>
                    <a:pt x="18" y="34"/>
                    <a:pt x="19" y="33"/>
                    <a:pt x="18" y="32"/>
                  </a:cubicBezTo>
                  <a:cubicBezTo>
                    <a:pt x="17" y="32"/>
                    <a:pt x="16" y="33"/>
                    <a:pt x="14" y="32"/>
                  </a:cubicBezTo>
                  <a:cubicBezTo>
                    <a:pt x="14" y="32"/>
                    <a:pt x="14" y="31"/>
                    <a:pt x="14" y="31"/>
                  </a:cubicBezTo>
                  <a:cubicBezTo>
                    <a:pt x="15" y="30"/>
                    <a:pt x="17" y="30"/>
                    <a:pt x="17" y="29"/>
                  </a:cubicBezTo>
                  <a:cubicBezTo>
                    <a:pt x="18" y="29"/>
                    <a:pt x="18" y="28"/>
                    <a:pt x="17" y="27"/>
                  </a:cubicBezTo>
                  <a:cubicBezTo>
                    <a:pt x="14" y="26"/>
                    <a:pt x="11" y="27"/>
                    <a:pt x="8" y="26"/>
                  </a:cubicBezTo>
                  <a:cubicBezTo>
                    <a:pt x="8" y="26"/>
                    <a:pt x="7" y="25"/>
                    <a:pt x="6" y="25"/>
                  </a:cubicBezTo>
                  <a:cubicBezTo>
                    <a:pt x="4" y="24"/>
                    <a:pt x="2" y="25"/>
                    <a:pt x="0" y="23"/>
                  </a:cubicBezTo>
                  <a:cubicBezTo>
                    <a:pt x="0" y="23"/>
                    <a:pt x="0" y="22"/>
                    <a:pt x="0" y="21"/>
                  </a:cubicBezTo>
                  <a:cubicBezTo>
                    <a:pt x="2" y="21"/>
                    <a:pt x="3" y="21"/>
                    <a:pt x="5" y="20"/>
                  </a:cubicBezTo>
                  <a:cubicBezTo>
                    <a:pt x="6" y="20"/>
                    <a:pt x="7" y="20"/>
                    <a:pt x="9" y="21"/>
                  </a:cubicBezTo>
                  <a:cubicBezTo>
                    <a:pt x="10" y="21"/>
                    <a:pt x="12" y="20"/>
                    <a:pt x="14" y="21"/>
                  </a:cubicBezTo>
                  <a:cubicBezTo>
                    <a:pt x="15" y="22"/>
                    <a:pt x="16" y="22"/>
                    <a:pt x="17" y="23"/>
                  </a:cubicBezTo>
                  <a:cubicBezTo>
                    <a:pt x="17" y="23"/>
                    <a:pt x="18" y="23"/>
                    <a:pt x="19" y="23"/>
                  </a:cubicBezTo>
                  <a:cubicBezTo>
                    <a:pt x="19" y="22"/>
                    <a:pt x="19" y="22"/>
                    <a:pt x="18" y="21"/>
                  </a:cubicBezTo>
                  <a:cubicBezTo>
                    <a:pt x="17" y="21"/>
                    <a:pt x="16" y="21"/>
                    <a:pt x="16" y="21"/>
                  </a:cubicBezTo>
                  <a:cubicBezTo>
                    <a:pt x="15" y="20"/>
                    <a:pt x="13" y="19"/>
                    <a:pt x="12" y="18"/>
                  </a:cubicBezTo>
                  <a:cubicBezTo>
                    <a:pt x="12" y="17"/>
                    <a:pt x="11" y="15"/>
                    <a:pt x="12" y="14"/>
                  </a:cubicBezTo>
                  <a:cubicBezTo>
                    <a:pt x="13" y="13"/>
                    <a:pt x="15" y="13"/>
                    <a:pt x="16" y="12"/>
                  </a:cubicBezTo>
                  <a:cubicBezTo>
                    <a:pt x="16" y="12"/>
                    <a:pt x="16" y="11"/>
                    <a:pt x="16" y="11"/>
                  </a:cubicBezTo>
                  <a:cubicBezTo>
                    <a:pt x="16" y="10"/>
                    <a:pt x="14" y="9"/>
                    <a:pt x="13" y="10"/>
                  </a:cubicBezTo>
                  <a:cubicBezTo>
                    <a:pt x="11" y="10"/>
                    <a:pt x="11" y="13"/>
                    <a:pt x="9" y="15"/>
                  </a:cubicBezTo>
                  <a:cubicBezTo>
                    <a:pt x="9" y="15"/>
                    <a:pt x="8" y="15"/>
                    <a:pt x="8" y="15"/>
                  </a:cubicBezTo>
                  <a:cubicBezTo>
                    <a:pt x="7" y="13"/>
                    <a:pt x="8" y="11"/>
                    <a:pt x="9" y="9"/>
                  </a:cubicBezTo>
                  <a:cubicBezTo>
                    <a:pt x="9" y="7"/>
                    <a:pt x="9" y="5"/>
                    <a:pt x="9" y="4"/>
                  </a:cubicBezTo>
                  <a:cubicBezTo>
                    <a:pt x="10" y="2"/>
                    <a:pt x="12" y="2"/>
                    <a:pt x="13" y="1"/>
                  </a:cubicBezTo>
                  <a:cubicBezTo>
                    <a:pt x="13" y="0"/>
                    <a:pt x="14" y="0"/>
                    <a:pt x="14" y="1"/>
                  </a:cubicBezTo>
                  <a:cubicBezTo>
                    <a:pt x="15" y="1"/>
                    <a:pt x="15" y="2"/>
                    <a:pt x="16" y="2"/>
                  </a:cubicBezTo>
                  <a:cubicBezTo>
                    <a:pt x="17" y="2"/>
                    <a:pt x="17" y="2"/>
                    <a:pt x="18" y="2"/>
                  </a:cubicBezTo>
                  <a:cubicBezTo>
                    <a:pt x="19" y="1"/>
                    <a:pt x="19" y="0"/>
                    <a:pt x="21" y="1"/>
                  </a:cubicBezTo>
                  <a:cubicBezTo>
                    <a:pt x="21" y="1"/>
                    <a:pt x="22" y="2"/>
                    <a:pt x="22" y="2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4" y="27"/>
                    <a:pt x="24" y="27"/>
                    <a:pt x="24" y="27"/>
                  </a:cubicBezTo>
                  <a:lnTo>
                    <a:pt x="24" y="28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6" name="Freeform 412"/>
            <p:cNvSpPr>
              <a:spLocks/>
            </p:cNvSpPr>
            <p:nvPr/>
          </p:nvSpPr>
          <p:spPr bwMode="auto">
            <a:xfrm>
              <a:off x="6675416" y="3772844"/>
              <a:ext cx="2759" cy="7300"/>
            </a:xfrm>
            <a:custGeom>
              <a:avLst/>
              <a:gdLst>
                <a:gd name="T0" fmla="*/ 2243220 w 6"/>
                <a:gd name="T1" fmla="*/ 0 h 16"/>
                <a:gd name="T2" fmla="*/ 1697572 w 6"/>
                <a:gd name="T3" fmla="*/ 0 h 16"/>
                <a:gd name="T4" fmla="*/ 727531 w 6"/>
                <a:gd name="T5" fmla="*/ 7250847 h 16"/>
                <a:gd name="T6" fmla="*/ 0 w 6"/>
                <a:gd name="T7" fmla="*/ 10102323 h 16"/>
                <a:gd name="T8" fmla="*/ 3961001 w 6"/>
                <a:gd name="T9" fmla="*/ 10759007 h 16"/>
                <a:gd name="T10" fmla="*/ 4688532 w 6"/>
                <a:gd name="T11" fmla="*/ 6110753 h 16"/>
                <a:gd name="T12" fmla="*/ 3961001 w 6"/>
                <a:gd name="T13" fmla="*/ 3508474 h 16"/>
                <a:gd name="T14" fmla="*/ 3961001 w 6"/>
                <a:gd name="T15" fmla="*/ 656077 h 16"/>
                <a:gd name="T16" fmla="*/ 2243220 w 6"/>
                <a:gd name="T17" fmla="*/ 0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16"/>
                <a:gd name="T29" fmla="*/ 6 w 6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16">
                  <a:moveTo>
                    <a:pt x="3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4"/>
                    <a:pt x="1" y="7"/>
                    <a:pt x="1" y="11"/>
                  </a:cubicBezTo>
                  <a:cubicBezTo>
                    <a:pt x="0" y="12"/>
                    <a:pt x="0" y="14"/>
                    <a:pt x="0" y="15"/>
                  </a:cubicBezTo>
                  <a:cubicBezTo>
                    <a:pt x="2" y="16"/>
                    <a:pt x="4" y="16"/>
                    <a:pt x="5" y="16"/>
                  </a:cubicBezTo>
                  <a:cubicBezTo>
                    <a:pt x="6" y="14"/>
                    <a:pt x="5" y="12"/>
                    <a:pt x="6" y="9"/>
                  </a:cubicBezTo>
                  <a:cubicBezTo>
                    <a:pt x="4" y="9"/>
                    <a:pt x="5" y="7"/>
                    <a:pt x="5" y="5"/>
                  </a:cubicBezTo>
                  <a:cubicBezTo>
                    <a:pt x="5" y="4"/>
                    <a:pt x="6" y="2"/>
                    <a:pt x="5" y="1"/>
                  </a:cubicBezTo>
                  <a:cubicBezTo>
                    <a:pt x="5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7" name="Freeform 413"/>
            <p:cNvSpPr>
              <a:spLocks/>
            </p:cNvSpPr>
            <p:nvPr/>
          </p:nvSpPr>
          <p:spPr bwMode="auto">
            <a:xfrm>
              <a:off x="6680182" y="3785552"/>
              <a:ext cx="1505" cy="2163"/>
            </a:xfrm>
            <a:custGeom>
              <a:avLst/>
              <a:gdLst>
                <a:gd name="T0" fmla="*/ 1697572 w 3"/>
                <a:gd name="T1" fmla="*/ 0 h 4"/>
                <a:gd name="T2" fmla="*/ 727531 w 3"/>
                <a:gd name="T3" fmla="*/ 0 h 4"/>
                <a:gd name="T4" fmla="*/ 0 w 3"/>
                <a:gd name="T5" fmla="*/ 9219213 h 4"/>
                <a:gd name="T6" fmla="*/ 1697572 w 3"/>
                <a:gd name="T7" fmla="*/ 9219213 h 4"/>
                <a:gd name="T8" fmla="*/ 1697572 w 3"/>
                <a:gd name="T9" fmla="*/ 0 h 4"/>
                <a:gd name="T10" fmla="*/ 1697572 w 3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2"/>
                    <a:pt x="3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8" name="Freeform 414"/>
            <p:cNvSpPr>
              <a:spLocks/>
            </p:cNvSpPr>
            <p:nvPr/>
          </p:nvSpPr>
          <p:spPr bwMode="auto">
            <a:xfrm>
              <a:off x="6678175" y="3817998"/>
              <a:ext cx="2508" cy="2974"/>
            </a:xfrm>
            <a:custGeom>
              <a:avLst/>
              <a:gdLst>
                <a:gd name="T0" fmla="*/ 5085394 w 5"/>
                <a:gd name="T1" fmla="*/ 1697572 h 6"/>
                <a:gd name="T2" fmla="*/ 3577445 w 5"/>
                <a:gd name="T3" fmla="*/ 727531 h 6"/>
                <a:gd name="T4" fmla="*/ 0 w 5"/>
                <a:gd name="T5" fmla="*/ 727531 h 6"/>
                <a:gd name="T6" fmla="*/ 1064436 w 5"/>
                <a:gd name="T7" fmla="*/ 2970751 h 6"/>
                <a:gd name="T8" fmla="*/ 2554647 w 5"/>
                <a:gd name="T9" fmla="*/ 4688532 h 6"/>
                <a:gd name="T10" fmla="*/ 5085394 w 5"/>
                <a:gd name="T11" fmla="*/ 4688532 h 6"/>
                <a:gd name="T12" fmla="*/ 5085394 w 5"/>
                <a:gd name="T13" fmla="*/ 1697572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4" y="2"/>
                  </a:move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1" y="5"/>
                    <a:pt x="2" y="5"/>
                    <a:pt x="2" y="6"/>
                  </a:cubicBezTo>
                  <a:cubicBezTo>
                    <a:pt x="2" y="6"/>
                    <a:pt x="3" y="6"/>
                    <a:pt x="4" y="6"/>
                  </a:cubicBezTo>
                  <a:cubicBezTo>
                    <a:pt x="5" y="5"/>
                    <a:pt x="5" y="4"/>
                    <a:pt x="4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9" name="Freeform 415"/>
            <p:cNvSpPr>
              <a:spLocks/>
            </p:cNvSpPr>
            <p:nvPr/>
          </p:nvSpPr>
          <p:spPr bwMode="auto">
            <a:xfrm>
              <a:off x="6680182" y="3823405"/>
              <a:ext cx="3010" cy="3245"/>
            </a:xfrm>
            <a:custGeom>
              <a:avLst/>
              <a:gdLst>
                <a:gd name="T0" fmla="*/ 2243220 w 6"/>
                <a:gd name="T1" fmla="*/ 1724631 h 7"/>
                <a:gd name="T2" fmla="*/ 1697572 w 6"/>
                <a:gd name="T3" fmla="*/ 1156064 h 7"/>
                <a:gd name="T4" fmla="*/ 0 w 6"/>
                <a:gd name="T5" fmla="*/ 505778 h 7"/>
                <a:gd name="T6" fmla="*/ 0 w 6"/>
                <a:gd name="T7" fmla="*/ 1156064 h 7"/>
                <a:gd name="T8" fmla="*/ 4688532 w 6"/>
                <a:gd name="T9" fmla="*/ 3942014 h 7"/>
                <a:gd name="T10" fmla="*/ 4688532 w 6"/>
                <a:gd name="T11" fmla="*/ 2642432 h 7"/>
                <a:gd name="T12" fmla="*/ 2243220 w 6"/>
                <a:gd name="T13" fmla="*/ 1724631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7"/>
                <a:gd name="T23" fmla="*/ 6 w 6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7">
                  <a:moveTo>
                    <a:pt x="3" y="3"/>
                  </a:moveTo>
                  <a:cubicBezTo>
                    <a:pt x="3" y="3"/>
                    <a:pt x="2" y="2"/>
                    <a:pt x="2" y="2"/>
                  </a:cubicBezTo>
                  <a:cubicBezTo>
                    <a:pt x="2" y="1"/>
                    <a:pt x="1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4"/>
                    <a:pt x="3" y="7"/>
                    <a:pt x="6" y="7"/>
                  </a:cubicBezTo>
                  <a:cubicBezTo>
                    <a:pt x="6" y="6"/>
                    <a:pt x="6" y="5"/>
                    <a:pt x="6" y="5"/>
                  </a:cubicBezTo>
                  <a:cubicBezTo>
                    <a:pt x="5" y="4"/>
                    <a:pt x="4" y="4"/>
                    <a:pt x="3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0" name="Freeform 416"/>
            <p:cNvSpPr>
              <a:spLocks/>
            </p:cNvSpPr>
            <p:nvPr/>
          </p:nvSpPr>
          <p:spPr bwMode="auto">
            <a:xfrm>
              <a:off x="6681687" y="3822324"/>
              <a:ext cx="1505" cy="1893"/>
            </a:xfrm>
            <a:custGeom>
              <a:avLst/>
              <a:gdLst>
                <a:gd name="T0" fmla="*/ 1697572 w 3"/>
                <a:gd name="T1" fmla="*/ 418284 h 4"/>
                <a:gd name="T2" fmla="*/ 1697572 w 3"/>
                <a:gd name="T3" fmla="*/ 418284 h 4"/>
                <a:gd name="T4" fmla="*/ 0 w 3"/>
                <a:gd name="T5" fmla="*/ 418284 h 4"/>
                <a:gd name="T6" fmla="*/ 0 w 3"/>
                <a:gd name="T7" fmla="*/ 1359459 h 4"/>
                <a:gd name="T8" fmla="*/ 1697572 w 3"/>
                <a:gd name="T9" fmla="*/ 1359459 h 4"/>
                <a:gd name="T10" fmla="*/ 1697572 w 3"/>
                <a:gd name="T11" fmla="*/ 418284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0"/>
                    <a:pt x="0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2" y="4"/>
                    <a:pt x="2" y="3"/>
                  </a:cubicBezTo>
                  <a:cubicBezTo>
                    <a:pt x="3" y="3"/>
                    <a:pt x="2" y="2"/>
                    <a:pt x="2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1" name="Freeform 417"/>
            <p:cNvSpPr>
              <a:spLocks/>
            </p:cNvSpPr>
            <p:nvPr/>
          </p:nvSpPr>
          <p:spPr bwMode="auto">
            <a:xfrm>
              <a:off x="6680182" y="3828272"/>
              <a:ext cx="4013" cy="3785"/>
            </a:xfrm>
            <a:custGeom>
              <a:avLst/>
              <a:gdLst>
                <a:gd name="T0" fmla="*/ 5234180 w 9"/>
                <a:gd name="T1" fmla="*/ 5058432 h 8"/>
                <a:gd name="T2" fmla="*/ 3961001 w 9"/>
                <a:gd name="T3" fmla="*/ 4351847 h 8"/>
                <a:gd name="T4" fmla="*/ 2243220 w 9"/>
                <a:gd name="T5" fmla="*/ 896786 h 8"/>
                <a:gd name="T6" fmla="*/ 727531 w 9"/>
                <a:gd name="T7" fmla="*/ 896786 h 8"/>
                <a:gd name="T8" fmla="*/ 3961001 w 9"/>
                <a:gd name="T9" fmla="*/ 7279645 h 8"/>
                <a:gd name="T10" fmla="*/ 6931749 w 9"/>
                <a:gd name="T11" fmla="*/ 7279645 h 8"/>
                <a:gd name="T12" fmla="*/ 6931749 w 9"/>
                <a:gd name="T13" fmla="*/ 5955246 h 8"/>
                <a:gd name="T14" fmla="*/ 5234180 w 9"/>
                <a:gd name="T15" fmla="*/ 5058432 h 8"/>
                <a:gd name="T16" fmla="*/ 5234180 w 9"/>
                <a:gd name="T17" fmla="*/ 5058432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8"/>
                <a:gd name="T29" fmla="*/ 9 w 9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8">
                  <a:moveTo>
                    <a:pt x="7" y="5"/>
                  </a:moveTo>
                  <a:cubicBezTo>
                    <a:pt x="6" y="5"/>
                    <a:pt x="6" y="4"/>
                    <a:pt x="5" y="4"/>
                  </a:cubicBezTo>
                  <a:cubicBezTo>
                    <a:pt x="5" y="3"/>
                    <a:pt x="4" y="2"/>
                    <a:pt x="3" y="1"/>
                  </a:cubicBezTo>
                  <a:cubicBezTo>
                    <a:pt x="3" y="1"/>
                    <a:pt x="1" y="0"/>
                    <a:pt x="1" y="1"/>
                  </a:cubicBezTo>
                  <a:cubicBezTo>
                    <a:pt x="0" y="3"/>
                    <a:pt x="3" y="6"/>
                    <a:pt x="5" y="7"/>
                  </a:cubicBezTo>
                  <a:cubicBezTo>
                    <a:pt x="6" y="7"/>
                    <a:pt x="8" y="8"/>
                    <a:pt x="9" y="7"/>
                  </a:cubicBezTo>
                  <a:cubicBezTo>
                    <a:pt x="9" y="7"/>
                    <a:pt x="9" y="6"/>
                    <a:pt x="9" y="6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2" name="Freeform 418"/>
            <p:cNvSpPr>
              <a:spLocks/>
            </p:cNvSpPr>
            <p:nvPr/>
          </p:nvSpPr>
          <p:spPr bwMode="auto">
            <a:xfrm>
              <a:off x="6685199" y="3832328"/>
              <a:ext cx="4515" cy="4867"/>
            </a:xfrm>
            <a:custGeom>
              <a:avLst/>
              <a:gdLst>
                <a:gd name="T0" fmla="*/ 4267293 w 10"/>
                <a:gd name="T1" fmla="*/ 3238158 h 9"/>
                <a:gd name="T2" fmla="*/ 1399401 w 10"/>
                <a:gd name="T3" fmla="*/ 1324701 h 9"/>
                <a:gd name="T4" fmla="*/ 0 w 10"/>
                <a:gd name="T5" fmla="*/ 0 h 9"/>
                <a:gd name="T6" fmla="*/ 0 w 10"/>
                <a:gd name="T7" fmla="*/ 3238158 h 9"/>
                <a:gd name="T8" fmla="*/ 1399401 w 10"/>
                <a:gd name="T9" fmla="*/ 4692541 h 9"/>
                <a:gd name="T10" fmla="*/ 1399401 w 10"/>
                <a:gd name="T11" fmla="*/ 11470653 h 9"/>
                <a:gd name="T12" fmla="*/ 2411948 w 10"/>
                <a:gd name="T13" fmla="*/ 13330806 h 9"/>
                <a:gd name="T14" fmla="*/ 4267293 w 10"/>
                <a:gd name="T15" fmla="*/ 13330806 h 9"/>
                <a:gd name="T16" fmla="*/ 5547481 w 10"/>
                <a:gd name="T17" fmla="*/ 10015063 h 9"/>
                <a:gd name="T18" fmla="*/ 5547481 w 10"/>
                <a:gd name="T19" fmla="*/ 6550065 h 9"/>
                <a:gd name="T20" fmla="*/ 4267293 w 10"/>
                <a:gd name="T21" fmla="*/ 3238158 h 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"/>
                <a:gd name="T34" fmla="*/ 0 h 9"/>
                <a:gd name="T35" fmla="*/ 10 w 10"/>
                <a:gd name="T36" fmla="*/ 9 h 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" h="9">
                  <a:moveTo>
                    <a:pt x="7" y="2"/>
                  </a:moveTo>
                  <a:cubicBezTo>
                    <a:pt x="6" y="1"/>
                    <a:pt x="4" y="1"/>
                    <a:pt x="2" y="1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2"/>
                    <a:pt x="1" y="3"/>
                    <a:pt x="2" y="3"/>
                  </a:cubicBezTo>
                  <a:cubicBezTo>
                    <a:pt x="2" y="4"/>
                    <a:pt x="2" y="6"/>
                    <a:pt x="2" y="7"/>
                  </a:cubicBezTo>
                  <a:cubicBezTo>
                    <a:pt x="2" y="7"/>
                    <a:pt x="3" y="8"/>
                    <a:pt x="4" y="8"/>
                  </a:cubicBezTo>
                  <a:cubicBezTo>
                    <a:pt x="5" y="8"/>
                    <a:pt x="6" y="9"/>
                    <a:pt x="7" y="8"/>
                  </a:cubicBezTo>
                  <a:cubicBezTo>
                    <a:pt x="8" y="8"/>
                    <a:pt x="9" y="7"/>
                    <a:pt x="9" y="6"/>
                  </a:cubicBezTo>
                  <a:cubicBezTo>
                    <a:pt x="10" y="5"/>
                    <a:pt x="10" y="4"/>
                    <a:pt x="9" y="4"/>
                  </a:cubicBezTo>
                  <a:cubicBezTo>
                    <a:pt x="9" y="3"/>
                    <a:pt x="8" y="3"/>
                    <a:pt x="7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3" name="Freeform 419"/>
            <p:cNvSpPr>
              <a:spLocks/>
            </p:cNvSpPr>
            <p:nvPr/>
          </p:nvSpPr>
          <p:spPr bwMode="auto">
            <a:xfrm>
              <a:off x="6690466" y="3835572"/>
              <a:ext cx="1756" cy="2163"/>
            </a:xfrm>
            <a:custGeom>
              <a:avLst/>
              <a:gdLst>
                <a:gd name="T0" fmla="*/ 1699274 w 4"/>
                <a:gd name="T1" fmla="*/ 566216 h 5"/>
                <a:gd name="T2" fmla="*/ 1699274 w 4"/>
                <a:gd name="T3" fmla="*/ 257371 h 5"/>
                <a:gd name="T4" fmla="*/ 1359459 w 4"/>
                <a:gd name="T5" fmla="*/ 0 h 5"/>
                <a:gd name="T6" fmla="*/ 418284 w 4"/>
                <a:gd name="T7" fmla="*/ 0 h 5"/>
                <a:gd name="T8" fmla="*/ 418284 w 4"/>
                <a:gd name="T9" fmla="*/ 257371 h 5"/>
                <a:gd name="T10" fmla="*/ 418284 w 4"/>
                <a:gd name="T11" fmla="*/ 940581 h 5"/>
                <a:gd name="T12" fmla="*/ 1359459 w 4"/>
                <a:gd name="T13" fmla="*/ 1245675 h 5"/>
                <a:gd name="T14" fmla="*/ 1699274 w 4"/>
                <a:gd name="T15" fmla="*/ 566216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5"/>
                <a:gd name="T26" fmla="*/ 4 w 4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5">
                  <a:moveTo>
                    <a:pt x="4" y="2"/>
                  </a:moveTo>
                  <a:cubicBezTo>
                    <a:pt x="4" y="2"/>
                    <a:pt x="4" y="1"/>
                    <a:pt x="4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1" y="4"/>
                    <a:pt x="2" y="5"/>
                    <a:pt x="3" y="4"/>
                  </a:cubicBezTo>
                  <a:cubicBezTo>
                    <a:pt x="4" y="3"/>
                    <a:pt x="4" y="2"/>
                    <a:pt x="4" y="2"/>
                  </a:cubicBezTo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4" name="Freeform 420"/>
            <p:cNvSpPr>
              <a:spLocks/>
            </p:cNvSpPr>
            <p:nvPr/>
          </p:nvSpPr>
          <p:spPr bwMode="auto">
            <a:xfrm>
              <a:off x="6706017" y="3841791"/>
              <a:ext cx="2508" cy="1352"/>
            </a:xfrm>
            <a:custGeom>
              <a:avLst/>
              <a:gdLst>
                <a:gd name="T0" fmla="*/ 1697572 w 6"/>
                <a:gd name="T1" fmla="*/ 0 h 3"/>
                <a:gd name="T2" fmla="*/ 0 w 6"/>
                <a:gd name="T3" fmla="*/ 0 h 3"/>
                <a:gd name="T4" fmla="*/ 0 w 6"/>
                <a:gd name="T5" fmla="*/ 1697572 h 3"/>
                <a:gd name="T6" fmla="*/ 3961001 w 6"/>
                <a:gd name="T7" fmla="*/ 1697572 h 3"/>
                <a:gd name="T8" fmla="*/ 3961001 w 6"/>
                <a:gd name="T9" fmla="*/ 727531 h 3"/>
                <a:gd name="T10" fmla="*/ 1697572 w 6"/>
                <a:gd name="T11" fmla="*/ 0 h 3"/>
                <a:gd name="T12" fmla="*/ 1697572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3" y="3"/>
                    <a:pt x="5" y="2"/>
                  </a:cubicBezTo>
                  <a:cubicBezTo>
                    <a:pt x="5" y="2"/>
                    <a:pt x="6" y="1"/>
                    <a:pt x="5" y="1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5" name="Freeform 421"/>
            <p:cNvSpPr>
              <a:spLocks/>
            </p:cNvSpPr>
            <p:nvPr/>
          </p:nvSpPr>
          <p:spPr bwMode="auto">
            <a:xfrm>
              <a:off x="6688208" y="3829083"/>
              <a:ext cx="4013" cy="2974"/>
            </a:xfrm>
            <a:custGeom>
              <a:avLst/>
              <a:gdLst>
                <a:gd name="T0" fmla="*/ 2970751 w 9"/>
                <a:gd name="T1" fmla="*/ 0 h 6"/>
                <a:gd name="T2" fmla="*/ 1697572 w 9"/>
                <a:gd name="T3" fmla="*/ 0 h 6"/>
                <a:gd name="T4" fmla="*/ 727531 w 9"/>
                <a:gd name="T5" fmla="*/ 727531 h 6"/>
                <a:gd name="T6" fmla="*/ 0 w 9"/>
                <a:gd name="T7" fmla="*/ 3961001 h 6"/>
                <a:gd name="T8" fmla="*/ 727531 w 9"/>
                <a:gd name="T9" fmla="*/ 3961001 h 6"/>
                <a:gd name="T10" fmla="*/ 1697572 w 9"/>
                <a:gd name="T11" fmla="*/ 2970751 h 6"/>
                <a:gd name="T12" fmla="*/ 2970751 w 9"/>
                <a:gd name="T13" fmla="*/ 2970751 h 6"/>
                <a:gd name="T14" fmla="*/ 3961001 w 9"/>
                <a:gd name="T15" fmla="*/ 2970751 h 6"/>
                <a:gd name="T16" fmla="*/ 6253179 w 9"/>
                <a:gd name="T17" fmla="*/ 727531 h 6"/>
                <a:gd name="T18" fmla="*/ 2970751 w 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6"/>
                <a:gd name="T32" fmla="*/ 9 w 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6">
                  <a:moveTo>
                    <a:pt x="4" y="0"/>
                  </a:move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1" y="6"/>
                    <a:pt x="1" y="5"/>
                  </a:cubicBezTo>
                  <a:cubicBezTo>
                    <a:pt x="1" y="5"/>
                    <a:pt x="2" y="5"/>
                    <a:pt x="2" y="4"/>
                  </a:cubicBezTo>
                  <a:cubicBezTo>
                    <a:pt x="3" y="4"/>
                    <a:pt x="4" y="5"/>
                    <a:pt x="4" y="4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6" y="3"/>
                    <a:pt x="9" y="2"/>
                    <a:pt x="8" y="1"/>
                  </a:cubicBezTo>
                  <a:cubicBezTo>
                    <a:pt x="7" y="1"/>
                    <a:pt x="6" y="0"/>
                    <a:pt x="4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6" name="Freeform 422"/>
            <p:cNvSpPr>
              <a:spLocks/>
            </p:cNvSpPr>
            <p:nvPr/>
          </p:nvSpPr>
          <p:spPr bwMode="auto">
            <a:xfrm>
              <a:off x="6692723" y="3835843"/>
              <a:ext cx="2007" cy="1352"/>
            </a:xfrm>
            <a:custGeom>
              <a:avLst/>
              <a:gdLst>
                <a:gd name="T0" fmla="*/ 6243820 w 4"/>
                <a:gd name="T1" fmla="*/ 727531 h 3"/>
                <a:gd name="T2" fmla="*/ 4450654 w 4"/>
                <a:gd name="T3" fmla="*/ 727531 h 3"/>
                <a:gd name="T4" fmla="*/ 0 w 4"/>
                <a:gd name="T5" fmla="*/ 727531 h 3"/>
                <a:gd name="T6" fmla="*/ 0 w 4"/>
                <a:gd name="T7" fmla="*/ 1697572 h 3"/>
                <a:gd name="T8" fmla="*/ 6243820 w 4"/>
                <a:gd name="T9" fmla="*/ 1697572 h 3"/>
                <a:gd name="T10" fmla="*/ 6243820 w 4"/>
                <a:gd name="T11" fmla="*/ 727531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3" y="1"/>
                  </a:moveTo>
                  <a:cubicBezTo>
                    <a:pt x="3" y="1"/>
                    <a:pt x="2" y="1"/>
                    <a:pt x="2" y="1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3"/>
                    <a:pt x="3" y="2"/>
                  </a:cubicBezTo>
                  <a:cubicBezTo>
                    <a:pt x="4" y="2"/>
                    <a:pt x="3" y="2"/>
                    <a:pt x="3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pic>
          <p:nvPicPr>
            <p:cNvPr id="937" name="Picture 522" descr="PuceCapGem7"/>
            <p:cNvPicPr preferRelativeResize="0"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875824" y="3397377"/>
              <a:ext cx="109732" cy="1170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38" name="Picture 522" descr="PuceCapGem7"/>
            <p:cNvPicPr preferRelativeResize="0"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757370" y="3603749"/>
              <a:ext cx="56205" cy="586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39" name="Picture 522" descr="PuceCapGem7"/>
            <p:cNvPicPr preferRelativeResize="0"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347872" y="3420891"/>
              <a:ext cx="56205" cy="593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40" name="Freeform 222"/>
            <p:cNvSpPr>
              <a:spLocks/>
            </p:cNvSpPr>
            <p:nvPr/>
          </p:nvSpPr>
          <p:spPr bwMode="auto">
            <a:xfrm>
              <a:off x="7197142" y="3415674"/>
              <a:ext cx="105348" cy="125997"/>
            </a:xfrm>
            <a:custGeom>
              <a:avLst/>
              <a:gdLst>
                <a:gd name="T0" fmla="*/ 29041530 w 226"/>
                <a:gd name="T1" fmla="*/ 269458364 h 260"/>
                <a:gd name="T2" fmla="*/ 24310121 w 226"/>
                <a:gd name="T3" fmla="*/ 282556622 h 260"/>
                <a:gd name="T4" fmla="*/ 33129757 w 226"/>
                <a:gd name="T5" fmla="*/ 304993720 h 260"/>
                <a:gd name="T6" fmla="*/ 53969239 w 226"/>
                <a:gd name="T7" fmla="*/ 313386284 h 260"/>
                <a:gd name="T8" fmla="*/ 75553078 w 226"/>
                <a:gd name="T9" fmla="*/ 287244330 h 260"/>
                <a:gd name="T10" fmla="*/ 86724714 w 226"/>
                <a:gd name="T11" fmla="*/ 327654277 h 260"/>
                <a:gd name="T12" fmla="*/ 91456274 w 226"/>
                <a:gd name="T13" fmla="*/ 373286585 h 260"/>
                <a:gd name="T14" fmla="*/ 98235672 w 226"/>
                <a:gd name="T15" fmla="*/ 410864123 h 260"/>
                <a:gd name="T16" fmla="*/ 127520186 w 226"/>
                <a:gd name="T17" fmla="*/ 450777656 h 260"/>
                <a:gd name="T18" fmla="*/ 135722727 w 226"/>
                <a:gd name="T19" fmla="*/ 488560440 h 260"/>
                <a:gd name="T20" fmla="*/ 155920888 w 226"/>
                <a:gd name="T21" fmla="*/ 541571928 h 260"/>
                <a:gd name="T22" fmla="*/ 180247427 w 226"/>
                <a:gd name="T23" fmla="*/ 572478822 h 260"/>
                <a:gd name="T24" fmla="*/ 202865732 w 226"/>
                <a:gd name="T25" fmla="*/ 538869573 h 260"/>
                <a:gd name="T26" fmla="*/ 216095773 w 226"/>
                <a:gd name="T27" fmla="*/ 490065476 h 260"/>
                <a:gd name="T28" fmla="*/ 216095773 w 226"/>
                <a:gd name="T29" fmla="*/ 433030684 h 260"/>
                <a:gd name="T30" fmla="*/ 245288571 w 226"/>
                <a:gd name="T31" fmla="*/ 404180178 h 260"/>
                <a:gd name="T32" fmla="*/ 263247449 w 226"/>
                <a:gd name="T33" fmla="*/ 382725782 h 260"/>
                <a:gd name="T34" fmla="*/ 289646285 w 226"/>
                <a:gd name="T35" fmla="*/ 364892963 h 260"/>
                <a:gd name="T36" fmla="*/ 312459818 w 226"/>
                <a:gd name="T37" fmla="*/ 337871232 h 260"/>
                <a:gd name="T38" fmla="*/ 333928616 w 226"/>
                <a:gd name="T39" fmla="*/ 316213932 h 260"/>
                <a:gd name="T40" fmla="*/ 363479657 w 226"/>
                <a:gd name="T41" fmla="*/ 295600621 h 260"/>
                <a:gd name="T42" fmla="*/ 369930149 w 226"/>
                <a:gd name="T43" fmla="*/ 285259430 h 260"/>
                <a:gd name="T44" fmla="*/ 356765134 w 226"/>
                <a:gd name="T45" fmla="*/ 238570967 h 260"/>
                <a:gd name="T46" fmla="*/ 351969607 w 226"/>
                <a:gd name="T47" fmla="*/ 227496150 h 260"/>
                <a:gd name="T48" fmla="*/ 350305266 w 226"/>
                <a:gd name="T49" fmla="*/ 189777751 h 260"/>
                <a:gd name="T50" fmla="*/ 372772200 w 226"/>
                <a:gd name="T51" fmla="*/ 212428862 h 260"/>
                <a:gd name="T52" fmla="*/ 412720304 w 226"/>
                <a:gd name="T53" fmla="*/ 223498389 h 260"/>
                <a:gd name="T54" fmla="*/ 401058427 w 226"/>
                <a:gd name="T55" fmla="*/ 256312801 h 260"/>
                <a:gd name="T56" fmla="*/ 417081523 w 226"/>
                <a:gd name="T57" fmla="*/ 251652448 h 260"/>
                <a:gd name="T58" fmla="*/ 430256519 w 226"/>
                <a:gd name="T59" fmla="*/ 289229079 h 260"/>
                <a:gd name="T60" fmla="*/ 443761177 w 226"/>
                <a:gd name="T61" fmla="*/ 254328051 h 260"/>
                <a:gd name="T62" fmla="*/ 456990309 w 226"/>
                <a:gd name="T63" fmla="*/ 233725773 h 260"/>
                <a:gd name="T64" fmla="*/ 461384495 w 226"/>
                <a:gd name="T65" fmla="*/ 209596529 h 260"/>
                <a:gd name="T66" fmla="*/ 479337476 w 226"/>
                <a:gd name="T67" fmla="*/ 178670893 h 260"/>
                <a:gd name="T68" fmla="*/ 497358203 w 226"/>
                <a:gd name="T69" fmla="*/ 175125640 h 260"/>
                <a:gd name="T70" fmla="*/ 490999050 w 226"/>
                <a:gd name="T71" fmla="*/ 154515011 h 260"/>
                <a:gd name="T72" fmla="*/ 481340249 w 226"/>
                <a:gd name="T73" fmla="*/ 144285814 h 260"/>
                <a:gd name="T74" fmla="*/ 461384495 w 226"/>
                <a:gd name="T75" fmla="*/ 139381751 h 260"/>
                <a:gd name="T76" fmla="*/ 428584315 w 226"/>
                <a:gd name="T77" fmla="*/ 157368051 h 260"/>
                <a:gd name="T78" fmla="*/ 410631637 w 226"/>
                <a:gd name="T79" fmla="*/ 172300410 h 260"/>
                <a:gd name="T80" fmla="*/ 381592025 w 226"/>
                <a:gd name="T81" fmla="*/ 188272413 h 260"/>
                <a:gd name="T82" fmla="*/ 343523903 w 226"/>
                <a:gd name="T83" fmla="*/ 178670893 h 260"/>
                <a:gd name="T84" fmla="*/ 325636552 w 226"/>
                <a:gd name="T85" fmla="*/ 196449907 h 260"/>
                <a:gd name="T86" fmla="*/ 296372150 w 226"/>
                <a:gd name="T87" fmla="*/ 189777751 h 260"/>
                <a:gd name="T88" fmla="*/ 256799075 w 226"/>
                <a:gd name="T89" fmla="*/ 176679494 h 260"/>
                <a:gd name="T90" fmla="*/ 216095773 w 226"/>
                <a:gd name="T91" fmla="*/ 154515011 h 260"/>
                <a:gd name="T92" fmla="*/ 214008920 w 226"/>
                <a:gd name="T93" fmla="*/ 116935357 h 260"/>
                <a:gd name="T94" fmla="*/ 200984087 w 226"/>
                <a:gd name="T95" fmla="*/ 103876849 h 260"/>
                <a:gd name="T96" fmla="*/ 167009220 w 226"/>
                <a:gd name="T97" fmla="*/ 79724481 h 260"/>
                <a:gd name="T98" fmla="*/ 182965779 w 226"/>
                <a:gd name="T99" fmla="*/ 61733968 h 260"/>
                <a:gd name="T100" fmla="*/ 153832221 w 226"/>
                <a:gd name="T101" fmla="*/ 8395225 h 260"/>
                <a:gd name="T102" fmla="*/ 124586798 w 226"/>
                <a:gd name="T103" fmla="*/ 15757051 h 260"/>
                <a:gd name="T104" fmla="*/ 89459928 w 226"/>
                <a:gd name="T105" fmla="*/ 24152340 h 260"/>
                <a:gd name="T106" fmla="*/ 106681225 w 226"/>
                <a:gd name="T107" fmla="*/ 68143067 h 260"/>
                <a:gd name="T108" fmla="*/ 93506380 w 226"/>
                <a:gd name="T109" fmla="*/ 103876849 h 260"/>
                <a:gd name="T110" fmla="*/ 67107412 w 226"/>
                <a:gd name="T111" fmla="*/ 144285814 h 260"/>
                <a:gd name="T112" fmla="*/ 33129757 w 226"/>
                <a:gd name="T113" fmla="*/ 163533930 h 260"/>
                <a:gd name="T114" fmla="*/ 26399734 w 226"/>
                <a:gd name="T115" fmla="*/ 191751921 h 260"/>
                <a:gd name="T116" fmla="*/ 49240590 w 226"/>
                <a:gd name="T117" fmla="*/ 227496150 h 260"/>
                <a:gd name="T118" fmla="*/ 4728617 w 226"/>
                <a:gd name="T119" fmla="*/ 240404880 h 26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26"/>
                <a:gd name="T181" fmla="*/ 0 h 260"/>
                <a:gd name="T182" fmla="*/ 226 w 226"/>
                <a:gd name="T183" fmla="*/ 260 h 26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26" h="260">
                  <a:moveTo>
                    <a:pt x="0" y="115"/>
                  </a:moveTo>
                  <a:cubicBezTo>
                    <a:pt x="2" y="115"/>
                    <a:pt x="2" y="117"/>
                    <a:pt x="3" y="118"/>
                  </a:cubicBezTo>
                  <a:cubicBezTo>
                    <a:pt x="3" y="118"/>
                    <a:pt x="3" y="118"/>
                    <a:pt x="3" y="118"/>
                  </a:cubicBezTo>
                  <a:cubicBezTo>
                    <a:pt x="4" y="120"/>
                    <a:pt x="5" y="122"/>
                    <a:pt x="6" y="122"/>
                  </a:cubicBezTo>
                  <a:cubicBezTo>
                    <a:pt x="9" y="123"/>
                    <a:pt x="11" y="123"/>
                    <a:pt x="13" y="122"/>
                  </a:cubicBezTo>
                  <a:cubicBezTo>
                    <a:pt x="14" y="122"/>
                    <a:pt x="15" y="121"/>
                    <a:pt x="16" y="121"/>
                  </a:cubicBezTo>
                  <a:cubicBezTo>
                    <a:pt x="17" y="121"/>
                    <a:pt x="17" y="120"/>
                    <a:pt x="17" y="120"/>
                  </a:cubicBezTo>
                  <a:cubicBezTo>
                    <a:pt x="18" y="120"/>
                    <a:pt x="18" y="120"/>
                    <a:pt x="19" y="120"/>
                  </a:cubicBezTo>
                  <a:cubicBezTo>
                    <a:pt x="19" y="120"/>
                    <a:pt x="19" y="121"/>
                    <a:pt x="19" y="121"/>
                  </a:cubicBezTo>
                  <a:cubicBezTo>
                    <a:pt x="16" y="123"/>
                    <a:pt x="15" y="127"/>
                    <a:pt x="11" y="128"/>
                  </a:cubicBezTo>
                  <a:cubicBezTo>
                    <a:pt x="10" y="128"/>
                    <a:pt x="8" y="128"/>
                    <a:pt x="7" y="128"/>
                  </a:cubicBezTo>
                  <a:cubicBezTo>
                    <a:pt x="7" y="128"/>
                    <a:pt x="7" y="129"/>
                    <a:pt x="7" y="129"/>
                  </a:cubicBezTo>
                  <a:cubicBezTo>
                    <a:pt x="8" y="130"/>
                    <a:pt x="8" y="130"/>
                    <a:pt x="9" y="131"/>
                  </a:cubicBezTo>
                  <a:cubicBezTo>
                    <a:pt x="10" y="133"/>
                    <a:pt x="12" y="135"/>
                    <a:pt x="14" y="137"/>
                  </a:cubicBezTo>
                  <a:cubicBezTo>
                    <a:pt x="15" y="137"/>
                    <a:pt x="15" y="138"/>
                    <a:pt x="15" y="138"/>
                  </a:cubicBezTo>
                  <a:cubicBezTo>
                    <a:pt x="16" y="138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8" y="140"/>
                    <a:pt x="20" y="141"/>
                    <a:pt x="21" y="142"/>
                  </a:cubicBezTo>
                  <a:cubicBezTo>
                    <a:pt x="22" y="142"/>
                    <a:pt x="23" y="142"/>
                    <a:pt x="24" y="142"/>
                  </a:cubicBezTo>
                  <a:cubicBezTo>
                    <a:pt x="24" y="142"/>
                    <a:pt x="24" y="142"/>
                    <a:pt x="25" y="142"/>
                  </a:cubicBezTo>
                  <a:cubicBezTo>
                    <a:pt x="27" y="140"/>
                    <a:pt x="31" y="141"/>
                    <a:pt x="32" y="139"/>
                  </a:cubicBezTo>
                  <a:cubicBezTo>
                    <a:pt x="33" y="136"/>
                    <a:pt x="32" y="134"/>
                    <a:pt x="33" y="131"/>
                  </a:cubicBezTo>
                  <a:cubicBezTo>
                    <a:pt x="33" y="131"/>
                    <a:pt x="33" y="131"/>
                    <a:pt x="34" y="130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34" y="130"/>
                    <a:pt x="34" y="129"/>
                    <a:pt x="35" y="130"/>
                  </a:cubicBezTo>
                  <a:cubicBezTo>
                    <a:pt x="35" y="131"/>
                    <a:pt x="35" y="133"/>
                    <a:pt x="36" y="134"/>
                  </a:cubicBezTo>
                  <a:cubicBezTo>
                    <a:pt x="38" y="136"/>
                    <a:pt x="37" y="138"/>
                    <a:pt x="38" y="141"/>
                  </a:cubicBezTo>
                  <a:cubicBezTo>
                    <a:pt x="38" y="141"/>
                    <a:pt x="38" y="142"/>
                    <a:pt x="39" y="142"/>
                  </a:cubicBezTo>
                  <a:cubicBezTo>
                    <a:pt x="39" y="144"/>
                    <a:pt x="39" y="146"/>
                    <a:pt x="39" y="148"/>
                  </a:cubicBezTo>
                  <a:cubicBezTo>
                    <a:pt x="38" y="149"/>
                    <a:pt x="38" y="151"/>
                    <a:pt x="38" y="153"/>
                  </a:cubicBezTo>
                  <a:cubicBezTo>
                    <a:pt x="38" y="154"/>
                    <a:pt x="39" y="155"/>
                    <a:pt x="39" y="156"/>
                  </a:cubicBezTo>
                  <a:cubicBezTo>
                    <a:pt x="39" y="157"/>
                    <a:pt x="39" y="159"/>
                    <a:pt x="39" y="160"/>
                  </a:cubicBezTo>
                  <a:cubicBezTo>
                    <a:pt x="40" y="162"/>
                    <a:pt x="40" y="163"/>
                    <a:pt x="40" y="165"/>
                  </a:cubicBezTo>
                  <a:cubicBezTo>
                    <a:pt x="41" y="166"/>
                    <a:pt x="41" y="168"/>
                    <a:pt x="41" y="169"/>
                  </a:cubicBezTo>
                  <a:cubicBezTo>
                    <a:pt x="41" y="171"/>
                    <a:pt x="42" y="171"/>
                    <a:pt x="42" y="172"/>
                  </a:cubicBezTo>
                  <a:cubicBezTo>
                    <a:pt x="42" y="175"/>
                    <a:pt x="41" y="177"/>
                    <a:pt x="42" y="179"/>
                  </a:cubicBezTo>
                  <a:cubicBezTo>
                    <a:pt x="42" y="180"/>
                    <a:pt x="42" y="180"/>
                    <a:pt x="43" y="181"/>
                  </a:cubicBezTo>
                  <a:cubicBezTo>
                    <a:pt x="43" y="182"/>
                    <a:pt x="43" y="184"/>
                    <a:pt x="44" y="185"/>
                  </a:cubicBezTo>
                  <a:cubicBezTo>
                    <a:pt x="44" y="185"/>
                    <a:pt x="43" y="185"/>
                    <a:pt x="44" y="186"/>
                  </a:cubicBezTo>
                  <a:cubicBezTo>
                    <a:pt x="44" y="186"/>
                    <a:pt x="44" y="186"/>
                    <a:pt x="45" y="187"/>
                  </a:cubicBezTo>
                  <a:cubicBezTo>
                    <a:pt x="46" y="189"/>
                    <a:pt x="46" y="192"/>
                    <a:pt x="49" y="194"/>
                  </a:cubicBezTo>
                  <a:cubicBezTo>
                    <a:pt x="50" y="195"/>
                    <a:pt x="50" y="197"/>
                    <a:pt x="52" y="198"/>
                  </a:cubicBezTo>
                  <a:cubicBezTo>
                    <a:pt x="53" y="199"/>
                    <a:pt x="54" y="200"/>
                    <a:pt x="54" y="201"/>
                  </a:cubicBezTo>
                  <a:cubicBezTo>
                    <a:pt x="55" y="202"/>
                    <a:pt x="56" y="203"/>
                    <a:pt x="57" y="204"/>
                  </a:cubicBezTo>
                  <a:cubicBezTo>
                    <a:pt x="57" y="205"/>
                    <a:pt x="57" y="206"/>
                    <a:pt x="57" y="207"/>
                  </a:cubicBezTo>
                  <a:cubicBezTo>
                    <a:pt x="57" y="208"/>
                    <a:pt x="57" y="209"/>
                    <a:pt x="57" y="211"/>
                  </a:cubicBezTo>
                  <a:cubicBezTo>
                    <a:pt x="58" y="212"/>
                    <a:pt x="58" y="214"/>
                    <a:pt x="58" y="216"/>
                  </a:cubicBezTo>
                  <a:cubicBezTo>
                    <a:pt x="59" y="217"/>
                    <a:pt x="59" y="218"/>
                    <a:pt x="60" y="219"/>
                  </a:cubicBezTo>
                  <a:cubicBezTo>
                    <a:pt x="60" y="220"/>
                    <a:pt x="60" y="220"/>
                    <a:pt x="61" y="221"/>
                  </a:cubicBezTo>
                  <a:cubicBezTo>
                    <a:pt x="62" y="223"/>
                    <a:pt x="63" y="225"/>
                    <a:pt x="65" y="228"/>
                  </a:cubicBezTo>
                  <a:cubicBezTo>
                    <a:pt x="65" y="229"/>
                    <a:pt x="65" y="230"/>
                    <a:pt x="66" y="232"/>
                  </a:cubicBezTo>
                  <a:cubicBezTo>
                    <a:pt x="67" y="233"/>
                    <a:pt x="66" y="235"/>
                    <a:pt x="67" y="236"/>
                  </a:cubicBezTo>
                  <a:cubicBezTo>
                    <a:pt x="68" y="237"/>
                    <a:pt x="69" y="238"/>
                    <a:pt x="70" y="240"/>
                  </a:cubicBezTo>
                  <a:cubicBezTo>
                    <a:pt x="70" y="241"/>
                    <a:pt x="70" y="243"/>
                    <a:pt x="70" y="245"/>
                  </a:cubicBezTo>
                  <a:cubicBezTo>
                    <a:pt x="71" y="247"/>
                    <a:pt x="72" y="249"/>
                    <a:pt x="73" y="251"/>
                  </a:cubicBezTo>
                  <a:cubicBezTo>
                    <a:pt x="73" y="252"/>
                    <a:pt x="74" y="254"/>
                    <a:pt x="74" y="256"/>
                  </a:cubicBezTo>
                  <a:cubicBezTo>
                    <a:pt x="74" y="257"/>
                    <a:pt x="76" y="258"/>
                    <a:pt x="77" y="258"/>
                  </a:cubicBezTo>
                  <a:cubicBezTo>
                    <a:pt x="78" y="258"/>
                    <a:pt x="78" y="258"/>
                    <a:pt x="79" y="259"/>
                  </a:cubicBezTo>
                  <a:cubicBezTo>
                    <a:pt x="80" y="259"/>
                    <a:pt x="80" y="260"/>
                    <a:pt x="81" y="259"/>
                  </a:cubicBezTo>
                  <a:cubicBezTo>
                    <a:pt x="83" y="259"/>
                    <a:pt x="84" y="258"/>
                    <a:pt x="84" y="256"/>
                  </a:cubicBezTo>
                  <a:cubicBezTo>
                    <a:pt x="85" y="255"/>
                    <a:pt x="85" y="253"/>
                    <a:pt x="86" y="252"/>
                  </a:cubicBezTo>
                  <a:cubicBezTo>
                    <a:pt x="86" y="251"/>
                    <a:pt x="87" y="250"/>
                    <a:pt x="89" y="249"/>
                  </a:cubicBezTo>
                  <a:cubicBezTo>
                    <a:pt x="89" y="249"/>
                    <a:pt x="90" y="249"/>
                    <a:pt x="91" y="248"/>
                  </a:cubicBezTo>
                  <a:cubicBezTo>
                    <a:pt x="91" y="247"/>
                    <a:pt x="90" y="246"/>
                    <a:pt x="91" y="244"/>
                  </a:cubicBezTo>
                  <a:cubicBezTo>
                    <a:pt x="91" y="244"/>
                    <a:pt x="91" y="244"/>
                    <a:pt x="92" y="243"/>
                  </a:cubicBezTo>
                  <a:cubicBezTo>
                    <a:pt x="92" y="242"/>
                    <a:pt x="93" y="240"/>
                    <a:pt x="94" y="239"/>
                  </a:cubicBezTo>
                  <a:cubicBezTo>
                    <a:pt x="94" y="239"/>
                    <a:pt x="95" y="239"/>
                    <a:pt x="96" y="239"/>
                  </a:cubicBezTo>
                  <a:cubicBezTo>
                    <a:pt x="96" y="238"/>
                    <a:pt x="96" y="238"/>
                    <a:pt x="97" y="238"/>
                  </a:cubicBezTo>
                  <a:cubicBezTo>
                    <a:pt x="97" y="233"/>
                    <a:pt x="96" y="227"/>
                    <a:pt x="97" y="222"/>
                  </a:cubicBezTo>
                  <a:cubicBezTo>
                    <a:pt x="97" y="222"/>
                    <a:pt x="97" y="221"/>
                    <a:pt x="97" y="221"/>
                  </a:cubicBezTo>
                  <a:cubicBezTo>
                    <a:pt x="98" y="220"/>
                    <a:pt x="98" y="219"/>
                    <a:pt x="98" y="219"/>
                  </a:cubicBezTo>
                  <a:cubicBezTo>
                    <a:pt x="99" y="217"/>
                    <a:pt x="100" y="215"/>
                    <a:pt x="100" y="214"/>
                  </a:cubicBezTo>
                  <a:cubicBezTo>
                    <a:pt x="101" y="211"/>
                    <a:pt x="101" y="208"/>
                    <a:pt x="100" y="205"/>
                  </a:cubicBezTo>
                  <a:cubicBezTo>
                    <a:pt x="99" y="202"/>
                    <a:pt x="98" y="199"/>
                    <a:pt x="97" y="196"/>
                  </a:cubicBezTo>
                  <a:cubicBezTo>
                    <a:pt x="97" y="195"/>
                    <a:pt x="97" y="194"/>
                    <a:pt x="97" y="193"/>
                  </a:cubicBezTo>
                  <a:cubicBezTo>
                    <a:pt x="97" y="193"/>
                    <a:pt x="97" y="192"/>
                    <a:pt x="97" y="192"/>
                  </a:cubicBezTo>
                  <a:cubicBezTo>
                    <a:pt x="98" y="191"/>
                    <a:pt x="98" y="189"/>
                    <a:pt x="100" y="188"/>
                  </a:cubicBezTo>
                  <a:cubicBezTo>
                    <a:pt x="102" y="188"/>
                    <a:pt x="105" y="189"/>
                    <a:pt x="106" y="187"/>
                  </a:cubicBezTo>
                  <a:cubicBezTo>
                    <a:pt x="106" y="185"/>
                    <a:pt x="107" y="183"/>
                    <a:pt x="110" y="183"/>
                  </a:cubicBezTo>
                  <a:cubicBezTo>
                    <a:pt x="110" y="184"/>
                    <a:pt x="110" y="183"/>
                    <a:pt x="110" y="183"/>
                  </a:cubicBezTo>
                  <a:cubicBezTo>
                    <a:pt x="112" y="183"/>
                    <a:pt x="113" y="183"/>
                    <a:pt x="114" y="183"/>
                  </a:cubicBezTo>
                  <a:cubicBezTo>
                    <a:pt x="114" y="183"/>
                    <a:pt x="115" y="182"/>
                    <a:pt x="115" y="182"/>
                  </a:cubicBezTo>
                  <a:cubicBezTo>
                    <a:pt x="115" y="180"/>
                    <a:pt x="115" y="178"/>
                    <a:pt x="115" y="176"/>
                  </a:cubicBezTo>
                  <a:cubicBezTo>
                    <a:pt x="115" y="175"/>
                    <a:pt x="117" y="174"/>
                    <a:pt x="118" y="173"/>
                  </a:cubicBezTo>
                  <a:cubicBezTo>
                    <a:pt x="119" y="173"/>
                    <a:pt x="120" y="174"/>
                    <a:pt x="120" y="173"/>
                  </a:cubicBezTo>
                  <a:cubicBezTo>
                    <a:pt x="122" y="172"/>
                    <a:pt x="122" y="171"/>
                    <a:pt x="123" y="170"/>
                  </a:cubicBezTo>
                  <a:cubicBezTo>
                    <a:pt x="124" y="169"/>
                    <a:pt x="125" y="170"/>
                    <a:pt x="126" y="170"/>
                  </a:cubicBezTo>
                  <a:cubicBezTo>
                    <a:pt x="127" y="169"/>
                    <a:pt x="127" y="168"/>
                    <a:pt x="128" y="166"/>
                  </a:cubicBezTo>
                  <a:cubicBezTo>
                    <a:pt x="129" y="166"/>
                    <a:pt x="129" y="166"/>
                    <a:pt x="130" y="165"/>
                  </a:cubicBezTo>
                  <a:cubicBezTo>
                    <a:pt x="130" y="164"/>
                    <a:pt x="130" y="163"/>
                    <a:pt x="131" y="162"/>
                  </a:cubicBezTo>
                  <a:cubicBezTo>
                    <a:pt x="131" y="162"/>
                    <a:pt x="131" y="161"/>
                    <a:pt x="132" y="161"/>
                  </a:cubicBezTo>
                  <a:cubicBezTo>
                    <a:pt x="132" y="160"/>
                    <a:pt x="132" y="158"/>
                    <a:pt x="133" y="157"/>
                  </a:cubicBezTo>
                  <a:cubicBezTo>
                    <a:pt x="134" y="156"/>
                    <a:pt x="135" y="156"/>
                    <a:pt x="136" y="155"/>
                  </a:cubicBezTo>
                  <a:cubicBezTo>
                    <a:pt x="137" y="154"/>
                    <a:pt x="139" y="154"/>
                    <a:pt x="140" y="153"/>
                  </a:cubicBezTo>
                  <a:cubicBezTo>
                    <a:pt x="140" y="153"/>
                    <a:pt x="141" y="153"/>
                    <a:pt x="141" y="152"/>
                  </a:cubicBezTo>
                  <a:cubicBezTo>
                    <a:pt x="142" y="152"/>
                    <a:pt x="143" y="152"/>
                    <a:pt x="144" y="151"/>
                  </a:cubicBezTo>
                  <a:cubicBezTo>
                    <a:pt x="146" y="151"/>
                    <a:pt x="147" y="148"/>
                    <a:pt x="148" y="146"/>
                  </a:cubicBezTo>
                  <a:cubicBezTo>
                    <a:pt x="148" y="146"/>
                    <a:pt x="148" y="146"/>
                    <a:pt x="148" y="146"/>
                  </a:cubicBezTo>
                  <a:cubicBezTo>
                    <a:pt x="148" y="144"/>
                    <a:pt x="149" y="144"/>
                    <a:pt x="150" y="143"/>
                  </a:cubicBezTo>
                  <a:cubicBezTo>
                    <a:pt x="150" y="142"/>
                    <a:pt x="151" y="141"/>
                    <a:pt x="150" y="141"/>
                  </a:cubicBezTo>
                  <a:cubicBezTo>
                    <a:pt x="149" y="140"/>
                    <a:pt x="148" y="138"/>
                    <a:pt x="149" y="136"/>
                  </a:cubicBezTo>
                  <a:cubicBezTo>
                    <a:pt x="150" y="135"/>
                    <a:pt x="152" y="135"/>
                    <a:pt x="153" y="133"/>
                  </a:cubicBezTo>
                  <a:cubicBezTo>
                    <a:pt x="155" y="131"/>
                    <a:pt x="158" y="132"/>
                    <a:pt x="160" y="134"/>
                  </a:cubicBezTo>
                  <a:cubicBezTo>
                    <a:pt x="161" y="134"/>
                    <a:pt x="162" y="134"/>
                    <a:pt x="163" y="134"/>
                  </a:cubicBezTo>
                  <a:cubicBezTo>
                    <a:pt x="163" y="134"/>
                    <a:pt x="164" y="133"/>
                    <a:pt x="165" y="132"/>
                  </a:cubicBezTo>
                  <a:cubicBezTo>
                    <a:pt x="165" y="132"/>
                    <a:pt x="166" y="133"/>
                    <a:pt x="167" y="132"/>
                  </a:cubicBezTo>
                  <a:cubicBezTo>
                    <a:pt x="168" y="132"/>
                    <a:pt x="167" y="131"/>
                    <a:pt x="168" y="131"/>
                  </a:cubicBezTo>
                  <a:cubicBezTo>
                    <a:pt x="166" y="130"/>
                    <a:pt x="166" y="130"/>
                    <a:pt x="166" y="130"/>
                  </a:cubicBezTo>
                  <a:cubicBezTo>
                    <a:pt x="166" y="130"/>
                    <a:pt x="166" y="129"/>
                    <a:pt x="166" y="129"/>
                  </a:cubicBezTo>
                  <a:cubicBezTo>
                    <a:pt x="165" y="129"/>
                    <a:pt x="165" y="128"/>
                    <a:pt x="164" y="128"/>
                  </a:cubicBezTo>
                  <a:cubicBezTo>
                    <a:pt x="163" y="127"/>
                    <a:pt x="163" y="125"/>
                    <a:pt x="163" y="124"/>
                  </a:cubicBezTo>
                  <a:cubicBezTo>
                    <a:pt x="162" y="122"/>
                    <a:pt x="163" y="120"/>
                    <a:pt x="162" y="118"/>
                  </a:cubicBezTo>
                  <a:cubicBezTo>
                    <a:pt x="162" y="117"/>
                    <a:pt x="161" y="117"/>
                    <a:pt x="161" y="116"/>
                  </a:cubicBezTo>
                  <a:cubicBezTo>
                    <a:pt x="160" y="113"/>
                    <a:pt x="162" y="110"/>
                    <a:pt x="160" y="108"/>
                  </a:cubicBezTo>
                  <a:cubicBezTo>
                    <a:pt x="160" y="108"/>
                    <a:pt x="159" y="108"/>
                    <a:pt x="158" y="108"/>
                  </a:cubicBezTo>
                  <a:cubicBezTo>
                    <a:pt x="158" y="108"/>
                    <a:pt x="158" y="107"/>
                    <a:pt x="158" y="107"/>
                  </a:cubicBezTo>
                  <a:cubicBezTo>
                    <a:pt x="157" y="106"/>
                    <a:pt x="156" y="107"/>
                    <a:pt x="156" y="106"/>
                  </a:cubicBezTo>
                  <a:cubicBezTo>
                    <a:pt x="155" y="106"/>
                    <a:pt x="156" y="105"/>
                    <a:pt x="156" y="104"/>
                  </a:cubicBezTo>
                  <a:cubicBezTo>
                    <a:pt x="157" y="104"/>
                    <a:pt x="158" y="104"/>
                    <a:pt x="158" y="103"/>
                  </a:cubicBezTo>
                  <a:cubicBezTo>
                    <a:pt x="159" y="101"/>
                    <a:pt x="158" y="98"/>
                    <a:pt x="158" y="96"/>
                  </a:cubicBezTo>
                  <a:cubicBezTo>
                    <a:pt x="158" y="95"/>
                    <a:pt x="156" y="95"/>
                    <a:pt x="156" y="94"/>
                  </a:cubicBezTo>
                  <a:cubicBezTo>
                    <a:pt x="156" y="93"/>
                    <a:pt x="155" y="91"/>
                    <a:pt x="156" y="90"/>
                  </a:cubicBezTo>
                  <a:cubicBezTo>
                    <a:pt x="157" y="89"/>
                    <a:pt x="156" y="88"/>
                    <a:pt x="157" y="86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8" y="88"/>
                    <a:pt x="160" y="89"/>
                    <a:pt x="161" y="90"/>
                  </a:cubicBezTo>
                  <a:cubicBezTo>
                    <a:pt x="161" y="91"/>
                    <a:pt x="161" y="90"/>
                    <a:pt x="162" y="90"/>
                  </a:cubicBezTo>
                  <a:cubicBezTo>
                    <a:pt x="162" y="90"/>
                    <a:pt x="162" y="89"/>
                    <a:pt x="162" y="89"/>
                  </a:cubicBezTo>
                  <a:cubicBezTo>
                    <a:pt x="164" y="89"/>
                    <a:pt x="166" y="91"/>
                    <a:pt x="166" y="92"/>
                  </a:cubicBezTo>
                  <a:cubicBezTo>
                    <a:pt x="167" y="93"/>
                    <a:pt x="167" y="95"/>
                    <a:pt x="167" y="96"/>
                  </a:cubicBezTo>
                  <a:cubicBezTo>
                    <a:pt x="168" y="96"/>
                    <a:pt x="168" y="97"/>
                    <a:pt x="169" y="97"/>
                  </a:cubicBezTo>
                  <a:cubicBezTo>
                    <a:pt x="171" y="98"/>
                    <a:pt x="173" y="99"/>
                    <a:pt x="175" y="100"/>
                  </a:cubicBezTo>
                  <a:cubicBezTo>
                    <a:pt x="175" y="101"/>
                    <a:pt x="176" y="101"/>
                    <a:pt x="176" y="100"/>
                  </a:cubicBezTo>
                  <a:cubicBezTo>
                    <a:pt x="178" y="98"/>
                    <a:pt x="181" y="100"/>
                    <a:pt x="183" y="101"/>
                  </a:cubicBezTo>
                  <a:cubicBezTo>
                    <a:pt x="184" y="101"/>
                    <a:pt x="185" y="101"/>
                    <a:pt x="185" y="101"/>
                  </a:cubicBezTo>
                  <a:cubicBezTo>
                    <a:pt x="186" y="100"/>
                    <a:pt x="187" y="100"/>
                    <a:pt x="188" y="101"/>
                  </a:cubicBezTo>
                  <a:cubicBezTo>
                    <a:pt x="190" y="101"/>
                    <a:pt x="191" y="104"/>
                    <a:pt x="189" y="105"/>
                  </a:cubicBezTo>
                  <a:cubicBezTo>
                    <a:pt x="189" y="106"/>
                    <a:pt x="187" y="106"/>
                    <a:pt x="187" y="106"/>
                  </a:cubicBezTo>
                  <a:cubicBezTo>
                    <a:pt x="185" y="109"/>
                    <a:pt x="182" y="111"/>
                    <a:pt x="180" y="113"/>
                  </a:cubicBezTo>
                  <a:cubicBezTo>
                    <a:pt x="179" y="114"/>
                    <a:pt x="180" y="115"/>
                    <a:pt x="180" y="116"/>
                  </a:cubicBezTo>
                  <a:cubicBezTo>
                    <a:pt x="181" y="117"/>
                    <a:pt x="183" y="118"/>
                    <a:pt x="184" y="119"/>
                  </a:cubicBezTo>
                  <a:cubicBezTo>
                    <a:pt x="184" y="119"/>
                    <a:pt x="184" y="119"/>
                    <a:pt x="185" y="119"/>
                  </a:cubicBezTo>
                  <a:cubicBezTo>
                    <a:pt x="185" y="119"/>
                    <a:pt x="186" y="118"/>
                    <a:pt x="186" y="117"/>
                  </a:cubicBezTo>
                  <a:cubicBezTo>
                    <a:pt x="186" y="117"/>
                    <a:pt x="186" y="116"/>
                    <a:pt x="186" y="115"/>
                  </a:cubicBezTo>
                  <a:cubicBezTo>
                    <a:pt x="186" y="115"/>
                    <a:pt x="186" y="114"/>
                    <a:pt x="187" y="114"/>
                  </a:cubicBezTo>
                  <a:cubicBezTo>
                    <a:pt x="188" y="113"/>
                    <a:pt x="190" y="114"/>
                    <a:pt x="190" y="116"/>
                  </a:cubicBezTo>
                  <a:cubicBezTo>
                    <a:pt x="191" y="117"/>
                    <a:pt x="190" y="119"/>
                    <a:pt x="191" y="121"/>
                  </a:cubicBezTo>
                  <a:cubicBezTo>
                    <a:pt x="191" y="122"/>
                    <a:pt x="191" y="123"/>
                    <a:pt x="192" y="123"/>
                  </a:cubicBezTo>
                  <a:cubicBezTo>
                    <a:pt x="192" y="126"/>
                    <a:pt x="191" y="128"/>
                    <a:pt x="192" y="131"/>
                  </a:cubicBezTo>
                  <a:cubicBezTo>
                    <a:pt x="192" y="131"/>
                    <a:pt x="192" y="131"/>
                    <a:pt x="193" y="131"/>
                  </a:cubicBezTo>
                  <a:cubicBezTo>
                    <a:pt x="193" y="131"/>
                    <a:pt x="193" y="131"/>
                    <a:pt x="193" y="131"/>
                  </a:cubicBezTo>
                  <a:cubicBezTo>
                    <a:pt x="194" y="130"/>
                    <a:pt x="196" y="130"/>
                    <a:pt x="197" y="129"/>
                  </a:cubicBezTo>
                  <a:cubicBezTo>
                    <a:pt x="197" y="128"/>
                    <a:pt x="197" y="127"/>
                    <a:pt x="197" y="127"/>
                  </a:cubicBezTo>
                  <a:cubicBezTo>
                    <a:pt x="196" y="125"/>
                    <a:pt x="197" y="123"/>
                    <a:pt x="196" y="121"/>
                  </a:cubicBezTo>
                  <a:cubicBezTo>
                    <a:pt x="198" y="120"/>
                    <a:pt x="198" y="117"/>
                    <a:pt x="199" y="115"/>
                  </a:cubicBezTo>
                  <a:cubicBezTo>
                    <a:pt x="199" y="114"/>
                    <a:pt x="199" y="114"/>
                    <a:pt x="200" y="114"/>
                  </a:cubicBezTo>
                  <a:cubicBezTo>
                    <a:pt x="200" y="114"/>
                    <a:pt x="201" y="114"/>
                    <a:pt x="202" y="114"/>
                  </a:cubicBezTo>
                  <a:cubicBezTo>
                    <a:pt x="202" y="113"/>
                    <a:pt x="203" y="113"/>
                    <a:pt x="203" y="113"/>
                  </a:cubicBezTo>
                  <a:cubicBezTo>
                    <a:pt x="204" y="110"/>
                    <a:pt x="204" y="108"/>
                    <a:pt x="205" y="106"/>
                  </a:cubicBezTo>
                  <a:cubicBezTo>
                    <a:pt x="205" y="106"/>
                    <a:pt x="205" y="106"/>
                    <a:pt x="205" y="106"/>
                  </a:cubicBezTo>
                  <a:cubicBezTo>
                    <a:pt x="205" y="105"/>
                    <a:pt x="205" y="103"/>
                    <a:pt x="206" y="102"/>
                  </a:cubicBezTo>
                  <a:cubicBezTo>
                    <a:pt x="206" y="101"/>
                    <a:pt x="207" y="100"/>
                    <a:pt x="206" y="99"/>
                  </a:cubicBezTo>
                  <a:cubicBezTo>
                    <a:pt x="206" y="98"/>
                    <a:pt x="204" y="98"/>
                    <a:pt x="204" y="96"/>
                  </a:cubicBezTo>
                  <a:cubicBezTo>
                    <a:pt x="204" y="96"/>
                    <a:pt x="205" y="96"/>
                    <a:pt x="205" y="96"/>
                  </a:cubicBezTo>
                  <a:cubicBezTo>
                    <a:pt x="206" y="96"/>
                    <a:pt x="207" y="96"/>
                    <a:pt x="207" y="95"/>
                  </a:cubicBezTo>
                  <a:cubicBezTo>
                    <a:pt x="208" y="95"/>
                    <a:pt x="209" y="94"/>
                    <a:pt x="209" y="94"/>
                  </a:cubicBezTo>
                  <a:cubicBezTo>
                    <a:pt x="210" y="92"/>
                    <a:pt x="210" y="90"/>
                    <a:pt x="209" y="89"/>
                  </a:cubicBezTo>
                  <a:cubicBezTo>
                    <a:pt x="209" y="88"/>
                    <a:pt x="208" y="87"/>
                    <a:pt x="209" y="87"/>
                  </a:cubicBezTo>
                  <a:cubicBezTo>
                    <a:pt x="211" y="85"/>
                    <a:pt x="212" y="83"/>
                    <a:pt x="214" y="81"/>
                  </a:cubicBezTo>
                  <a:cubicBezTo>
                    <a:pt x="214" y="81"/>
                    <a:pt x="215" y="81"/>
                    <a:pt x="215" y="81"/>
                  </a:cubicBezTo>
                  <a:cubicBezTo>
                    <a:pt x="216" y="80"/>
                    <a:pt x="218" y="79"/>
                    <a:pt x="219" y="80"/>
                  </a:cubicBezTo>
                  <a:cubicBezTo>
                    <a:pt x="219" y="80"/>
                    <a:pt x="219" y="80"/>
                    <a:pt x="220" y="80"/>
                  </a:cubicBezTo>
                  <a:cubicBezTo>
                    <a:pt x="221" y="81"/>
                    <a:pt x="221" y="81"/>
                    <a:pt x="222" y="82"/>
                  </a:cubicBezTo>
                  <a:cubicBezTo>
                    <a:pt x="222" y="82"/>
                    <a:pt x="223" y="82"/>
                    <a:pt x="223" y="82"/>
                  </a:cubicBezTo>
                  <a:cubicBezTo>
                    <a:pt x="223" y="81"/>
                    <a:pt x="223" y="80"/>
                    <a:pt x="223" y="79"/>
                  </a:cubicBezTo>
                  <a:cubicBezTo>
                    <a:pt x="222" y="79"/>
                    <a:pt x="222" y="77"/>
                    <a:pt x="222" y="77"/>
                  </a:cubicBezTo>
                  <a:cubicBezTo>
                    <a:pt x="222" y="75"/>
                    <a:pt x="224" y="75"/>
                    <a:pt x="225" y="75"/>
                  </a:cubicBezTo>
                  <a:cubicBezTo>
                    <a:pt x="225" y="74"/>
                    <a:pt x="226" y="71"/>
                    <a:pt x="225" y="70"/>
                  </a:cubicBezTo>
                  <a:cubicBezTo>
                    <a:pt x="225" y="70"/>
                    <a:pt x="223" y="70"/>
                    <a:pt x="222" y="70"/>
                  </a:cubicBezTo>
                  <a:cubicBezTo>
                    <a:pt x="221" y="70"/>
                    <a:pt x="221" y="70"/>
                    <a:pt x="220" y="70"/>
                  </a:cubicBezTo>
                  <a:cubicBezTo>
                    <a:pt x="219" y="69"/>
                    <a:pt x="218" y="70"/>
                    <a:pt x="216" y="70"/>
                  </a:cubicBezTo>
                  <a:cubicBezTo>
                    <a:pt x="216" y="69"/>
                    <a:pt x="217" y="69"/>
                    <a:pt x="217" y="68"/>
                  </a:cubicBezTo>
                  <a:cubicBezTo>
                    <a:pt x="218" y="68"/>
                    <a:pt x="218" y="67"/>
                    <a:pt x="218" y="67"/>
                  </a:cubicBezTo>
                  <a:cubicBezTo>
                    <a:pt x="219" y="66"/>
                    <a:pt x="219" y="65"/>
                    <a:pt x="218" y="64"/>
                  </a:cubicBezTo>
                  <a:cubicBezTo>
                    <a:pt x="218" y="64"/>
                    <a:pt x="217" y="64"/>
                    <a:pt x="216" y="65"/>
                  </a:cubicBezTo>
                  <a:cubicBezTo>
                    <a:pt x="216" y="65"/>
                    <a:pt x="215" y="65"/>
                    <a:pt x="215" y="65"/>
                  </a:cubicBezTo>
                  <a:cubicBezTo>
                    <a:pt x="215" y="64"/>
                    <a:pt x="215" y="63"/>
                    <a:pt x="216" y="62"/>
                  </a:cubicBezTo>
                  <a:cubicBezTo>
                    <a:pt x="216" y="61"/>
                    <a:pt x="216" y="60"/>
                    <a:pt x="216" y="58"/>
                  </a:cubicBezTo>
                  <a:cubicBezTo>
                    <a:pt x="213" y="58"/>
                    <a:pt x="210" y="60"/>
                    <a:pt x="209" y="63"/>
                  </a:cubicBezTo>
                  <a:cubicBezTo>
                    <a:pt x="208" y="63"/>
                    <a:pt x="208" y="63"/>
                    <a:pt x="207" y="63"/>
                  </a:cubicBezTo>
                  <a:cubicBezTo>
                    <a:pt x="207" y="63"/>
                    <a:pt x="206" y="63"/>
                    <a:pt x="205" y="62"/>
                  </a:cubicBezTo>
                  <a:cubicBezTo>
                    <a:pt x="203" y="61"/>
                    <a:pt x="201" y="59"/>
                    <a:pt x="200" y="61"/>
                  </a:cubicBezTo>
                  <a:cubicBezTo>
                    <a:pt x="199" y="63"/>
                    <a:pt x="199" y="66"/>
                    <a:pt x="197" y="66"/>
                  </a:cubicBezTo>
                  <a:cubicBezTo>
                    <a:pt x="196" y="67"/>
                    <a:pt x="194" y="66"/>
                    <a:pt x="193" y="67"/>
                  </a:cubicBezTo>
                  <a:cubicBezTo>
                    <a:pt x="192" y="67"/>
                    <a:pt x="193" y="70"/>
                    <a:pt x="192" y="71"/>
                  </a:cubicBezTo>
                  <a:cubicBezTo>
                    <a:pt x="191" y="71"/>
                    <a:pt x="190" y="71"/>
                    <a:pt x="189" y="71"/>
                  </a:cubicBezTo>
                  <a:cubicBezTo>
                    <a:pt x="188" y="73"/>
                    <a:pt x="187" y="74"/>
                    <a:pt x="185" y="75"/>
                  </a:cubicBezTo>
                  <a:cubicBezTo>
                    <a:pt x="185" y="76"/>
                    <a:pt x="184" y="76"/>
                    <a:pt x="184" y="77"/>
                  </a:cubicBezTo>
                  <a:cubicBezTo>
                    <a:pt x="184" y="77"/>
                    <a:pt x="184" y="77"/>
                    <a:pt x="184" y="77"/>
                  </a:cubicBezTo>
                  <a:cubicBezTo>
                    <a:pt x="183" y="78"/>
                    <a:pt x="184" y="78"/>
                    <a:pt x="184" y="78"/>
                  </a:cubicBezTo>
                  <a:cubicBezTo>
                    <a:pt x="184" y="79"/>
                    <a:pt x="184" y="80"/>
                    <a:pt x="184" y="81"/>
                  </a:cubicBezTo>
                  <a:cubicBezTo>
                    <a:pt x="185" y="81"/>
                    <a:pt x="185" y="82"/>
                    <a:pt x="185" y="83"/>
                  </a:cubicBezTo>
                  <a:cubicBezTo>
                    <a:pt x="184" y="83"/>
                    <a:pt x="184" y="83"/>
                    <a:pt x="184" y="83"/>
                  </a:cubicBezTo>
                  <a:cubicBezTo>
                    <a:pt x="183" y="83"/>
                    <a:pt x="183" y="84"/>
                    <a:pt x="182" y="84"/>
                  </a:cubicBezTo>
                  <a:cubicBezTo>
                    <a:pt x="178" y="85"/>
                    <a:pt x="174" y="83"/>
                    <a:pt x="171" y="85"/>
                  </a:cubicBezTo>
                  <a:cubicBezTo>
                    <a:pt x="168" y="85"/>
                    <a:pt x="165" y="86"/>
                    <a:pt x="163" y="85"/>
                  </a:cubicBezTo>
                  <a:cubicBezTo>
                    <a:pt x="162" y="84"/>
                    <a:pt x="160" y="84"/>
                    <a:pt x="159" y="83"/>
                  </a:cubicBezTo>
                  <a:cubicBezTo>
                    <a:pt x="159" y="83"/>
                    <a:pt x="159" y="82"/>
                    <a:pt x="159" y="82"/>
                  </a:cubicBezTo>
                  <a:cubicBezTo>
                    <a:pt x="159" y="81"/>
                    <a:pt x="159" y="81"/>
                    <a:pt x="159" y="81"/>
                  </a:cubicBezTo>
                  <a:cubicBezTo>
                    <a:pt x="158" y="82"/>
                    <a:pt x="156" y="81"/>
                    <a:pt x="154" y="81"/>
                  </a:cubicBezTo>
                  <a:cubicBezTo>
                    <a:pt x="154" y="81"/>
                    <a:pt x="154" y="81"/>
                    <a:pt x="154" y="81"/>
                  </a:cubicBezTo>
                  <a:cubicBezTo>
                    <a:pt x="154" y="83"/>
                    <a:pt x="154" y="85"/>
                    <a:pt x="154" y="88"/>
                  </a:cubicBezTo>
                  <a:cubicBezTo>
                    <a:pt x="153" y="88"/>
                    <a:pt x="152" y="89"/>
                    <a:pt x="151" y="90"/>
                  </a:cubicBezTo>
                  <a:cubicBezTo>
                    <a:pt x="150" y="90"/>
                    <a:pt x="148" y="90"/>
                    <a:pt x="147" y="90"/>
                  </a:cubicBezTo>
                  <a:cubicBezTo>
                    <a:pt x="147" y="89"/>
                    <a:pt x="146" y="89"/>
                    <a:pt x="146" y="89"/>
                  </a:cubicBezTo>
                  <a:cubicBezTo>
                    <a:pt x="145" y="88"/>
                    <a:pt x="143" y="89"/>
                    <a:pt x="142" y="89"/>
                  </a:cubicBezTo>
                  <a:cubicBezTo>
                    <a:pt x="141" y="88"/>
                    <a:pt x="141" y="88"/>
                    <a:pt x="140" y="88"/>
                  </a:cubicBezTo>
                  <a:cubicBezTo>
                    <a:pt x="138" y="87"/>
                    <a:pt x="136" y="88"/>
                    <a:pt x="134" y="87"/>
                  </a:cubicBezTo>
                  <a:cubicBezTo>
                    <a:pt x="134" y="87"/>
                    <a:pt x="134" y="87"/>
                    <a:pt x="134" y="87"/>
                  </a:cubicBezTo>
                  <a:cubicBezTo>
                    <a:pt x="133" y="87"/>
                    <a:pt x="133" y="86"/>
                    <a:pt x="133" y="86"/>
                  </a:cubicBezTo>
                  <a:cubicBezTo>
                    <a:pt x="132" y="85"/>
                    <a:pt x="130" y="86"/>
                    <a:pt x="129" y="85"/>
                  </a:cubicBezTo>
                  <a:cubicBezTo>
                    <a:pt x="128" y="84"/>
                    <a:pt x="127" y="83"/>
                    <a:pt x="126" y="82"/>
                  </a:cubicBezTo>
                  <a:cubicBezTo>
                    <a:pt x="126" y="81"/>
                    <a:pt x="127" y="80"/>
                    <a:pt x="126" y="79"/>
                  </a:cubicBezTo>
                  <a:cubicBezTo>
                    <a:pt x="124" y="78"/>
                    <a:pt x="122" y="78"/>
                    <a:pt x="120" y="79"/>
                  </a:cubicBezTo>
                  <a:cubicBezTo>
                    <a:pt x="119" y="81"/>
                    <a:pt x="117" y="80"/>
                    <a:pt x="115" y="80"/>
                  </a:cubicBezTo>
                  <a:cubicBezTo>
                    <a:pt x="114" y="80"/>
                    <a:pt x="113" y="79"/>
                    <a:pt x="112" y="78"/>
                  </a:cubicBezTo>
                  <a:cubicBezTo>
                    <a:pt x="110" y="77"/>
                    <a:pt x="108" y="76"/>
                    <a:pt x="106" y="76"/>
                  </a:cubicBezTo>
                  <a:cubicBezTo>
                    <a:pt x="104" y="75"/>
                    <a:pt x="103" y="74"/>
                    <a:pt x="102" y="73"/>
                  </a:cubicBezTo>
                  <a:cubicBezTo>
                    <a:pt x="100" y="72"/>
                    <a:pt x="99" y="71"/>
                    <a:pt x="98" y="70"/>
                  </a:cubicBezTo>
                  <a:cubicBezTo>
                    <a:pt x="98" y="70"/>
                    <a:pt x="97" y="70"/>
                    <a:pt x="97" y="70"/>
                  </a:cubicBezTo>
                  <a:cubicBezTo>
                    <a:pt x="95" y="69"/>
                    <a:pt x="93" y="69"/>
                    <a:pt x="92" y="68"/>
                  </a:cubicBezTo>
                  <a:cubicBezTo>
                    <a:pt x="89" y="66"/>
                    <a:pt x="90" y="62"/>
                    <a:pt x="90" y="59"/>
                  </a:cubicBezTo>
                  <a:cubicBezTo>
                    <a:pt x="91" y="58"/>
                    <a:pt x="93" y="56"/>
                    <a:pt x="94" y="54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94" y="53"/>
                    <a:pt x="96" y="54"/>
                    <a:pt x="96" y="53"/>
                  </a:cubicBezTo>
                  <a:cubicBezTo>
                    <a:pt x="97" y="52"/>
                    <a:pt x="96" y="52"/>
                    <a:pt x="96" y="51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4" y="52"/>
                    <a:pt x="92" y="51"/>
                    <a:pt x="91" y="50"/>
                  </a:cubicBezTo>
                  <a:cubicBezTo>
                    <a:pt x="91" y="50"/>
                    <a:pt x="91" y="49"/>
                    <a:pt x="91" y="49"/>
                  </a:cubicBezTo>
                  <a:cubicBezTo>
                    <a:pt x="91" y="48"/>
                    <a:pt x="90" y="48"/>
                    <a:pt x="90" y="47"/>
                  </a:cubicBezTo>
                  <a:cubicBezTo>
                    <a:pt x="89" y="47"/>
                    <a:pt x="88" y="46"/>
                    <a:pt x="87" y="45"/>
                  </a:cubicBezTo>
                  <a:cubicBezTo>
                    <a:pt x="86" y="45"/>
                    <a:pt x="84" y="46"/>
                    <a:pt x="82" y="45"/>
                  </a:cubicBezTo>
                  <a:cubicBezTo>
                    <a:pt x="82" y="44"/>
                    <a:pt x="81" y="42"/>
                    <a:pt x="80" y="42"/>
                  </a:cubicBezTo>
                  <a:cubicBezTo>
                    <a:pt x="79" y="42"/>
                    <a:pt x="78" y="42"/>
                    <a:pt x="77" y="41"/>
                  </a:cubicBezTo>
                  <a:cubicBezTo>
                    <a:pt x="75" y="40"/>
                    <a:pt x="77" y="38"/>
                    <a:pt x="75" y="36"/>
                  </a:cubicBezTo>
                  <a:cubicBezTo>
                    <a:pt x="76" y="34"/>
                    <a:pt x="74" y="33"/>
                    <a:pt x="73" y="32"/>
                  </a:cubicBezTo>
                  <a:cubicBezTo>
                    <a:pt x="72" y="31"/>
                    <a:pt x="74" y="30"/>
                    <a:pt x="74" y="29"/>
                  </a:cubicBezTo>
                  <a:cubicBezTo>
                    <a:pt x="76" y="29"/>
                    <a:pt x="76" y="31"/>
                    <a:pt x="77" y="32"/>
                  </a:cubicBezTo>
                  <a:cubicBezTo>
                    <a:pt x="79" y="32"/>
                    <a:pt x="79" y="30"/>
                    <a:pt x="81" y="29"/>
                  </a:cubicBezTo>
                  <a:cubicBezTo>
                    <a:pt x="81" y="29"/>
                    <a:pt x="82" y="29"/>
                    <a:pt x="82" y="28"/>
                  </a:cubicBezTo>
                  <a:cubicBezTo>
                    <a:pt x="83" y="28"/>
                    <a:pt x="83" y="27"/>
                    <a:pt x="82" y="26"/>
                  </a:cubicBezTo>
                  <a:cubicBezTo>
                    <a:pt x="80" y="24"/>
                    <a:pt x="78" y="22"/>
                    <a:pt x="76" y="19"/>
                  </a:cubicBezTo>
                  <a:cubicBezTo>
                    <a:pt x="75" y="18"/>
                    <a:pt x="75" y="17"/>
                    <a:pt x="75" y="16"/>
                  </a:cubicBezTo>
                  <a:cubicBezTo>
                    <a:pt x="74" y="14"/>
                    <a:pt x="75" y="12"/>
                    <a:pt x="74" y="11"/>
                  </a:cubicBezTo>
                  <a:cubicBezTo>
                    <a:pt x="73" y="8"/>
                    <a:pt x="71" y="6"/>
                    <a:pt x="69" y="4"/>
                  </a:cubicBezTo>
                  <a:cubicBezTo>
                    <a:pt x="68" y="3"/>
                    <a:pt x="67" y="3"/>
                    <a:pt x="66" y="3"/>
                  </a:cubicBezTo>
                  <a:cubicBezTo>
                    <a:pt x="65" y="2"/>
                    <a:pt x="64" y="1"/>
                    <a:pt x="63" y="0"/>
                  </a:cubicBezTo>
                  <a:cubicBezTo>
                    <a:pt x="62" y="1"/>
                    <a:pt x="61" y="2"/>
                    <a:pt x="59" y="2"/>
                  </a:cubicBezTo>
                  <a:cubicBezTo>
                    <a:pt x="59" y="2"/>
                    <a:pt x="58" y="3"/>
                    <a:pt x="58" y="3"/>
                  </a:cubicBezTo>
                  <a:cubicBezTo>
                    <a:pt x="58" y="5"/>
                    <a:pt x="57" y="6"/>
                    <a:pt x="56" y="7"/>
                  </a:cubicBezTo>
                  <a:cubicBezTo>
                    <a:pt x="55" y="7"/>
                    <a:pt x="54" y="8"/>
                    <a:pt x="53" y="8"/>
                  </a:cubicBezTo>
                  <a:cubicBezTo>
                    <a:pt x="51" y="8"/>
                    <a:pt x="50" y="8"/>
                    <a:pt x="48" y="9"/>
                  </a:cubicBezTo>
                  <a:cubicBezTo>
                    <a:pt x="48" y="9"/>
                    <a:pt x="47" y="10"/>
                    <a:pt x="47" y="10"/>
                  </a:cubicBezTo>
                  <a:cubicBezTo>
                    <a:pt x="45" y="10"/>
                    <a:pt x="43" y="10"/>
                    <a:pt x="41" y="10"/>
                  </a:cubicBezTo>
                  <a:cubicBezTo>
                    <a:pt x="41" y="10"/>
                    <a:pt x="40" y="11"/>
                    <a:pt x="40" y="11"/>
                  </a:cubicBezTo>
                  <a:cubicBezTo>
                    <a:pt x="40" y="15"/>
                    <a:pt x="40" y="17"/>
                    <a:pt x="41" y="21"/>
                  </a:cubicBezTo>
                  <a:cubicBezTo>
                    <a:pt x="42" y="23"/>
                    <a:pt x="42" y="24"/>
                    <a:pt x="43" y="25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4" y="28"/>
                    <a:pt x="44" y="29"/>
                    <a:pt x="45" y="30"/>
                  </a:cubicBezTo>
                  <a:cubicBezTo>
                    <a:pt x="45" y="31"/>
                    <a:pt x="47" y="31"/>
                    <a:pt x="48" y="31"/>
                  </a:cubicBezTo>
                  <a:cubicBezTo>
                    <a:pt x="48" y="31"/>
                    <a:pt x="48" y="32"/>
                    <a:pt x="48" y="33"/>
                  </a:cubicBezTo>
                  <a:cubicBezTo>
                    <a:pt x="47" y="34"/>
                    <a:pt x="45" y="34"/>
                    <a:pt x="45" y="35"/>
                  </a:cubicBezTo>
                  <a:cubicBezTo>
                    <a:pt x="44" y="36"/>
                    <a:pt x="44" y="37"/>
                    <a:pt x="45" y="38"/>
                  </a:cubicBezTo>
                  <a:cubicBezTo>
                    <a:pt x="45" y="39"/>
                    <a:pt x="45" y="40"/>
                    <a:pt x="45" y="41"/>
                  </a:cubicBezTo>
                  <a:cubicBezTo>
                    <a:pt x="44" y="43"/>
                    <a:pt x="43" y="45"/>
                    <a:pt x="42" y="47"/>
                  </a:cubicBezTo>
                  <a:cubicBezTo>
                    <a:pt x="41" y="49"/>
                    <a:pt x="39" y="51"/>
                    <a:pt x="38" y="52"/>
                  </a:cubicBezTo>
                  <a:cubicBezTo>
                    <a:pt x="37" y="53"/>
                    <a:pt x="38" y="54"/>
                    <a:pt x="37" y="55"/>
                  </a:cubicBezTo>
                  <a:cubicBezTo>
                    <a:pt x="36" y="56"/>
                    <a:pt x="36" y="57"/>
                    <a:pt x="35" y="58"/>
                  </a:cubicBezTo>
                  <a:cubicBezTo>
                    <a:pt x="35" y="59"/>
                    <a:pt x="34" y="60"/>
                    <a:pt x="34" y="60"/>
                  </a:cubicBezTo>
                  <a:cubicBezTo>
                    <a:pt x="33" y="62"/>
                    <a:pt x="31" y="64"/>
                    <a:pt x="30" y="65"/>
                  </a:cubicBezTo>
                  <a:cubicBezTo>
                    <a:pt x="30" y="66"/>
                    <a:pt x="30" y="67"/>
                    <a:pt x="29" y="68"/>
                  </a:cubicBezTo>
                  <a:cubicBezTo>
                    <a:pt x="28" y="71"/>
                    <a:pt x="26" y="72"/>
                    <a:pt x="25" y="75"/>
                  </a:cubicBezTo>
                  <a:cubicBezTo>
                    <a:pt x="23" y="74"/>
                    <a:pt x="21" y="75"/>
                    <a:pt x="18" y="76"/>
                  </a:cubicBezTo>
                  <a:cubicBezTo>
                    <a:pt x="18" y="77"/>
                    <a:pt x="17" y="77"/>
                    <a:pt x="17" y="76"/>
                  </a:cubicBezTo>
                  <a:cubicBezTo>
                    <a:pt x="16" y="76"/>
                    <a:pt x="16" y="74"/>
                    <a:pt x="15" y="74"/>
                  </a:cubicBezTo>
                  <a:cubicBezTo>
                    <a:pt x="14" y="73"/>
                    <a:pt x="14" y="73"/>
                    <a:pt x="14" y="74"/>
                  </a:cubicBezTo>
                  <a:cubicBezTo>
                    <a:pt x="12" y="75"/>
                    <a:pt x="11" y="77"/>
                    <a:pt x="10" y="80"/>
                  </a:cubicBezTo>
                  <a:cubicBezTo>
                    <a:pt x="9" y="81"/>
                    <a:pt x="8" y="81"/>
                    <a:pt x="7" y="82"/>
                  </a:cubicBezTo>
                  <a:cubicBezTo>
                    <a:pt x="7" y="84"/>
                    <a:pt x="7" y="85"/>
                    <a:pt x="8" y="86"/>
                  </a:cubicBezTo>
                  <a:cubicBezTo>
                    <a:pt x="9" y="87"/>
                    <a:pt x="11" y="86"/>
                    <a:pt x="12" y="87"/>
                  </a:cubicBezTo>
                  <a:cubicBezTo>
                    <a:pt x="13" y="87"/>
                    <a:pt x="13" y="88"/>
                    <a:pt x="14" y="89"/>
                  </a:cubicBezTo>
                  <a:cubicBezTo>
                    <a:pt x="15" y="91"/>
                    <a:pt x="14" y="93"/>
                    <a:pt x="15" y="95"/>
                  </a:cubicBezTo>
                  <a:cubicBezTo>
                    <a:pt x="16" y="96"/>
                    <a:pt x="18" y="95"/>
                    <a:pt x="19" y="96"/>
                  </a:cubicBezTo>
                  <a:cubicBezTo>
                    <a:pt x="19" y="97"/>
                    <a:pt x="18" y="99"/>
                    <a:pt x="19" y="100"/>
                  </a:cubicBezTo>
                  <a:cubicBezTo>
                    <a:pt x="20" y="101"/>
                    <a:pt x="21" y="102"/>
                    <a:pt x="22" y="103"/>
                  </a:cubicBezTo>
                  <a:cubicBezTo>
                    <a:pt x="22" y="105"/>
                    <a:pt x="23" y="107"/>
                    <a:pt x="23" y="108"/>
                  </a:cubicBezTo>
                  <a:cubicBezTo>
                    <a:pt x="22" y="109"/>
                    <a:pt x="21" y="109"/>
                    <a:pt x="20" y="109"/>
                  </a:cubicBezTo>
                  <a:cubicBezTo>
                    <a:pt x="18" y="110"/>
                    <a:pt x="16" y="109"/>
                    <a:pt x="14" y="108"/>
                  </a:cubicBezTo>
                  <a:cubicBezTo>
                    <a:pt x="11" y="109"/>
                    <a:pt x="7" y="108"/>
                    <a:pt x="3" y="108"/>
                  </a:cubicBezTo>
                  <a:cubicBezTo>
                    <a:pt x="3" y="108"/>
                    <a:pt x="3" y="108"/>
                    <a:pt x="2" y="109"/>
                  </a:cubicBezTo>
                  <a:cubicBezTo>
                    <a:pt x="2" y="110"/>
                    <a:pt x="2" y="111"/>
                    <a:pt x="1" y="112"/>
                  </a:cubicBezTo>
                  <a:cubicBezTo>
                    <a:pt x="1" y="113"/>
                    <a:pt x="1" y="113"/>
                    <a:pt x="0" y="113"/>
                  </a:cubicBezTo>
                  <a:lnTo>
                    <a:pt x="0" y="115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pic>
          <p:nvPicPr>
            <p:cNvPr id="941" name="Picture 522" descr="PuceCapGem7"/>
            <p:cNvPicPr preferRelativeResize="0"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210664" y="3451240"/>
              <a:ext cx="110882" cy="1170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42" name="Freeform 20"/>
            <p:cNvSpPr>
              <a:spLocks/>
            </p:cNvSpPr>
            <p:nvPr/>
          </p:nvSpPr>
          <p:spPr bwMode="auto">
            <a:xfrm>
              <a:off x="6464970" y="3214512"/>
              <a:ext cx="282936" cy="172772"/>
            </a:xfrm>
            <a:custGeom>
              <a:avLst/>
              <a:gdLst>
                <a:gd name="T0" fmla="*/ 461526804 w 607"/>
                <a:gd name="T1" fmla="*/ 292458504 h 357"/>
                <a:gd name="T2" fmla="*/ 408332427 w 607"/>
                <a:gd name="T3" fmla="*/ 316590454 h 357"/>
                <a:gd name="T4" fmla="*/ 369708203 w 607"/>
                <a:gd name="T5" fmla="*/ 326097111 h 357"/>
                <a:gd name="T6" fmla="*/ 355921246 w 607"/>
                <a:gd name="T7" fmla="*/ 281398952 h 357"/>
                <a:gd name="T8" fmla="*/ 306785499 w 607"/>
                <a:gd name="T9" fmla="*/ 267130089 h 357"/>
                <a:gd name="T10" fmla="*/ 78123325 w 607"/>
                <a:gd name="T11" fmla="*/ 247684555 h 357"/>
                <a:gd name="T12" fmla="*/ 73406010 w 607"/>
                <a:gd name="T13" fmla="*/ 227088953 h 357"/>
                <a:gd name="T14" fmla="*/ 64975851 w 607"/>
                <a:gd name="T15" fmla="*/ 212119470 h 357"/>
                <a:gd name="T16" fmla="*/ 61407097 w 607"/>
                <a:gd name="T17" fmla="*/ 189558474 h 357"/>
                <a:gd name="T18" fmla="*/ 35906977 w 607"/>
                <a:gd name="T19" fmla="*/ 147628754 h 357"/>
                <a:gd name="T20" fmla="*/ 9645300 w 607"/>
                <a:gd name="T21" fmla="*/ 140082126 h 357"/>
                <a:gd name="T22" fmla="*/ 62889309 w 607"/>
                <a:gd name="T23" fmla="*/ 38370579 h 357"/>
                <a:gd name="T24" fmla="*/ 95321018 w 607"/>
                <a:gd name="T25" fmla="*/ 26955334 h 357"/>
                <a:gd name="T26" fmla="*/ 87670879 w 607"/>
                <a:gd name="T27" fmla="*/ 37174927 h 357"/>
                <a:gd name="T28" fmla="*/ 123154686 w 607"/>
                <a:gd name="T29" fmla="*/ 23289943 h 357"/>
                <a:gd name="T30" fmla="*/ 140385208 w 607"/>
                <a:gd name="T31" fmla="*/ 30799601 h 357"/>
                <a:gd name="T32" fmla="*/ 153501384 w 607"/>
                <a:gd name="T33" fmla="*/ 31639767 h 357"/>
                <a:gd name="T34" fmla="*/ 194844225 w 607"/>
                <a:gd name="T35" fmla="*/ 39249528 h 357"/>
                <a:gd name="T36" fmla="*/ 200400829 w 607"/>
                <a:gd name="T37" fmla="*/ 53431258 h 357"/>
                <a:gd name="T38" fmla="*/ 241895206 w 607"/>
                <a:gd name="T39" fmla="*/ 56983815 h 357"/>
                <a:gd name="T40" fmla="*/ 249461658 w 607"/>
                <a:gd name="T41" fmla="*/ 51459290 h 357"/>
                <a:gd name="T42" fmla="*/ 260599057 w 607"/>
                <a:gd name="T43" fmla="*/ 41239886 h 357"/>
                <a:gd name="T44" fmla="*/ 296512942 w 607"/>
                <a:gd name="T45" fmla="*/ 52299400 h 357"/>
                <a:gd name="T46" fmla="*/ 326728325 w 607"/>
                <a:gd name="T47" fmla="*/ 58967230 h 357"/>
                <a:gd name="T48" fmla="*/ 344776892 w 607"/>
                <a:gd name="T49" fmla="*/ 39249528 h 357"/>
                <a:gd name="T50" fmla="*/ 342719720 w 607"/>
                <a:gd name="T51" fmla="*/ 28824819 h 357"/>
                <a:gd name="T52" fmla="*/ 336015085 w 607"/>
                <a:gd name="T53" fmla="*/ 15743121 h 357"/>
                <a:gd name="T54" fmla="*/ 353057594 w 607"/>
                <a:gd name="T55" fmla="*/ 2823398 h 357"/>
                <a:gd name="T56" fmla="*/ 364211624 w 607"/>
                <a:gd name="T57" fmla="*/ 22627482 h 357"/>
                <a:gd name="T58" fmla="*/ 367048968 w 607"/>
                <a:gd name="T59" fmla="*/ 46764259 h 357"/>
                <a:gd name="T60" fmla="*/ 380184875 w 607"/>
                <a:gd name="T61" fmla="*/ 54995563 h 357"/>
                <a:gd name="T62" fmla="*/ 403611484 w 607"/>
                <a:gd name="T63" fmla="*/ 38370579 h 357"/>
                <a:gd name="T64" fmla="*/ 425526435 w 607"/>
                <a:gd name="T65" fmla="*/ 34351516 h 357"/>
                <a:gd name="T66" fmla="*/ 420815773 w 607"/>
                <a:gd name="T67" fmla="*/ 47401217 h 357"/>
                <a:gd name="T68" fmla="*/ 408332427 w 607"/>
                <a:gd name="T69" fmla="*/ 70054136 h 357"/>
                <a:gd name="T70" fmla="*/ 388992042 w 607"/>
                <a:gd name="T71" fmla="*/ 68065317 h 357"/>
                <a:gd name="T72" fmla="*/ 364211624 w 607"/>
                <a:gd name="T73" fmla="*/ 76737418 h 357"/>
                <a:gd name="T74" fmla="*/ 365359202 w 607"/>
                <a:gd name="T75" fmla="*/ 98842259 h 357"/>
                <a:gd name="T76" fmla="*/ 339854254 w 607"/>
                <a:gd name="T77" fmla="*/ 113961811 h 357"/>
                <a:gd name="T78" fmla="*/ 317300046 w 607"/>
                <a:gd name="T79" fmla="*/ 141289245 h 357"/>
                <a:gd name="T80" fmla="*/ 330296853 w 607"/>
                <a:gd name="T81" fmla="*/ 177628890 h 357"/>
                <a:gd name="T82" fmla="*/ 390474065 w 607"/>
                <a:gd name="T83" fmla="*/ 199777009 h 357"/>
                <a:gd name="T84" fmla="*/ 407695287 w 607"/>
                <a:gd name="T85" fmla="*/ 240174651 h 357"/>
                <a:gd name="T86" fmla="*/ 415979618 w 607"/>
                <a:gd name="T87" fmla="*/ 201123391 h 357"/>
                <a:gd name="T88" fmla="*/ 431960126 w 607"/>
                <a:gd name="T89" fmla="*/ 147628754 h 357"/>
                <a:gd name="T90" fmla="*/ 445084845 w 607"/>
                <a:gd name="T91" fmla="*/ 116828596 h 357"/>
                <a:gd name="T92" fmla="*/ 474635193 w 607"/>
                <a:gd name="T93" fmla="*/ 131732944 h 357"/>
                <a:gd name="T94" fmla="*/ 485791642 w 607"/>
                <a:gd name="T95" fmla="*/ 142793931 h 357"/>
                <a:gd name="T96" fmla="*/ 496062386 w 607"/>
                <a:gd name="T97" fmla="*/ 165421838 h 357"/>
                <a:gd name="T98" fmla="*/ 523570681 w 607"/>
                <a:gd name="T99" fmla="*/ 140082126 h 357"/>
                <a:gd name="T100" fmla="*/ 537563869 w 607"/>
                <a:gd name="T101" fmla="*/ 178492272 h 357"/>
                <a:gd name="T102" fmla="*/ 552763602 w 607"/>
                <a:gd name="T103" fmla="*/ 199777009 h 357"/>
                <a:gd name="T104" fmla="*/ 542269693 w 607"/>
                <a:gd name="T105" fmla="*/ 215670628 h 357"/>
                <a:gd name="T106" fmla="*/ 569468339 w 607"/>
                <a:gd name="T107" fmla="*/ 216869360 h 357"/>
                <a:gd name="T108" fmla="*/ 548681008 w 607"/>
                <a:gd name="T109" fmla="*/ 242147601 h 357"/>
                <a:gd name="T110" fmla="*/ 494070832 w 607"/>
                <a:gd name="T111" fmla="*/ 251220753 h 357"/>
                <a:gd name="T112" fmla="*/ 464147030 w 607"/>
                <a:gd name="T113" fmla="*/ 280200372 h 357"/>
                <a:gd name="T114" fmla="*/ 506492187 w 607"/>
                <a:gd name="T115" fmla="*/ 269103039 h 357"/>
                <a:gd name="T116" fmla="*/ 498927550 w 607"/>
                <a:gd name="T117" fmla="*/ 282239213 h 357"/>
                <a:gd name="T118" fmla="*/ 523570681 w 607"/>
                <a:gd name="T119" fmla="*/ 300845392 h 357"/>
                <a:gd name="T120" fmla="*/ 487788034 w 607"/>
                <a:gd name="T121" fmla="*/ 315037484 h 357"/>
                <a:gd name="T122" fmla="*/ 487788034 w 607"/>
                <a:gd name="T123" fmla="*/ 301992590 h 35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7"/>
                <a:gd name="T187" fmla="*/ 0 h 357"/>
                <a:gd name="T188" fmla="*/ 607 w 607"/>
                <a:gd name="T189" fmla="*/ 357 h 35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7" h="357">
                  <a:moveTo>
                    <a:pt x="510" y="324"/>
                  </a:moveTo>
                  <a:cubicBezTo>
                    <a:pt x="509" y="324"/>
                    <a:pt x="509" y="323"/>
                    <a:pt x="508" y="322"/>
                  </a:cubicBezTo>
                  <a:cubicBezTo>
                    <a:pt x="508" y="320"/>
                    <a:pt x="508" y="317"/>
                    <a:pt x="508" y="314"/>
                  </a:cubicBezTo>
                  <a:cubicBezTo>
                    <a:pt x="509" y="312"/>
                    <a:pt x="509" y="312"/>
                    <a:pt x="509" y="310"/>
                  </a:cubicBezTo>
                  <a:cubicBezTo>
                    <a:pt x="510" y="309"/>
                    <a:pt x="509" y="307"/>
                    <a:pt x="509" y="306"/>
                  </a:cubicBezTo>
                  <a:cubicBezTo>
                    <a:pt x="509" y="303"/>
                    <a:pt x="509" y="303"/>
                    <a:pt x="509" y="303"/>
                  </a:cubicBezTo>
                  <a:cubicBezTo>
                    <a:pt x="508" y="301"/>
                    <a:pt x="506" y="303"/>
                    <a:pt x="503" y="302"/>
                  </a:cubicBezTo>
                  <a:cubicBezTo>
                    <a:pt x="502" y="301"/>
                    <a:pt x="501" y="301"/>
                    <a:pt x="499" y="302"/>
                  </a:cubicBezTo>
                  <a:cubicBezTo>
                    <a:pt x="498" y="303"/>
                    <a:pt x="496" y="303"/>
                    <a:pt x="495" y="305"/>
                  </a:cubicBezTo>
                  <a:cubicBezTo>
                    <a:pt x="494" y="306"/>
                    <a:pt x="494" y="309"/>
                    <a:pt x="492" y="310"/>
                  </a:cubicBezTo>
                  <a:cubicBezTo>
                    <a:pt x="492" y="311"/>
                    <a:pt x="491" y="312"/>
                    <a:pt x="490" y="313"/>
                  </a:cubicBezTo>
                  <a:cubicBezTo>
                    <a:pt x="490" y="313"/>
                    <a:pt x="490" y="313"/>
                    <a:pt x="490" y="314"/>
                  </a:cubicBezTo>
                  <a:cubicBezTo>
                    <a:pt x="489" y="315"/>
                    <a:pt x="490" y="316"/>
                    <a:pt x="489" y="317"/>
                  </a:cubicBezTo>
                  <a:cubicBezTo>
                    <a:pt x="488" y="319"/>
                    <a:pt x="487" y="321"/>
                    <a:pt x="486" y="322"/>
                  </a:cubicBezTo>
                  <a:cubicBezTo>
                    <a:pt x="486" y="323"/>
                    <a:pt x="486" y="323"/>
                    <a:pt x="485" y="323"/>
                  </a:cubicBezTo>
                  <a:cubicBezTo>
                    <a:pt x="483" y="324"/>
                    <a:pt x="480" y="325"/>
                    <a:pt x="477" y="325"/>
                  </a:cubicBezTo>
                  <a:cubicBezTo>
                    <a:pt x="472" y="326"/>
                    <a:pt x="466" y="325"/>
                    <a:pt x="461" y="325"/>
                  </a:cubicBezTo>
                  <a:cubicBezTo>
                    <a:pt x="458" y="325"/>
                    <a:pt x="456" y="325"/>
                    <a:pt x="453" y="326"/>
                  </a:cubicBezTo>
                  <a:cubicBezTo>
                    <a:pt x="451" y="327"/>
                    <a:pt x="450" y="328"/>
                    <a:pt x="448" y="330"/>
                  </a:cubicBezTo>
                  <a:cubicBezTo>
                    <a:pt x="446" y="332"/>
                    <a:pt x="444" y="335"/>
                    <a:pt x="441" y="337"/>
                  </a:cubicBezTo>
                  <a:cubicBezTo>
                    <a:pt x="440" y="337"/>
                    <a:pt x="440" y="338"/>
                    <a:pt x="439" y="339"/>
                  </a:cubicBezTo>
                  <a:cubicBezTo>
                    <a:pt x="437" y="339"/>
                    <a:pt x="435" y="339"/>
                    <a:pt x="434" y="339"/>
                  </a:cubicBezTo>
                  <a:cubicBezTo>
                    <a:pt x="433" y="339"/>
                    <a:pt x="433" y="338"/>
                    <a:pt x="432" y="338"/>
                  </a:cubicBezTo>
                  <a:cubicBezTo>
                    <a:pt x="431" y="338"/>
                    <a:pt x="430" y="338"/>
                    <a:pt x="429" y="338"/>
                  </a:cubicBezTo>
                  <a:cubicBezTo>
                    <a:pt x="426" y="338"/>
                    <a:pt x="423" y="338"/>
                    <a:pt x="420" y="340"/>
                  </a:cubicBezTo>
                  <a:cubicBezTo>
                    <a:pt x="420" y="343"/>
                    <a:pt x="421" y="346"/>
                    <a:pt x="419" y="348"/>
                  </a:cubicBezTo>
                  <a:cubicBezTo>
                    <a:pt x="418" y="349"/>
                    <a:pt x="417" y="348"/>
                    <a:pt x="415" y="349"/>
                  </a:cubicBezTo>
                  <a:cubicBezTo>
                    <a:pt x="414" y="349"/>
                    <a:pt x="413" y="349"/>
                    <a:pt x="411" y="349"/>
                  </a:cubicBezTo>
                  <a:cubicBezTo>
                    <a:pt x="408" y="351"/>
                    <a:pt x="404" y="352"/>
                    <a:pt x="401" y="354"/>
                  </a:cubicBezTo>
                  <a:cubicBezTo>
                    <a:pt x="399" y="355"/>
                    <a:pt x="398" y="356"/>
                    <a:pt x="396" y="357"/>
                  </a:cubicBezTo>
                  <a:cubicBezTo>
                    <a:pt x="394" y="357"/>
                    <a:pt x="392" y="357"/>
                    <a:pt x="389" y="357"/>
                  </a:cubicBezTo>
                  <a:cubicBezTo>
                    <a:pt x="389" y="357"/>
                    <a:pt x="389" y="356"/>
                    <a:pt x="389" y="356"/>
                  </a:cubicBezTo>
                  <a:cubicBezTo>
                    <a:pt x="390" y="353"/>
                    <a:pt x="392" y="352"/>
                    <a:pt x="393" y="349"/>
                  </a:cubicBezTo>
                  <a:cubicBezTo>
                    <a:pt x="394" y="346"/>
                    <a:pt x="395" y="343"/>
                    <a:pt x="395" y="340"/>
                  </a:cubicBezTo>
                  <a:cubicBezTo>
                    <a:pt x="396" y="336"/>
                    <a:pt x="396" y="332"/>
                    <a:pt x="395" y="327"/>
                  </a:cubicBezTo>
                  <a:cubicBezTo>
                    <a:pt x="395" y="326"/>
                    <a:pt x="395" y="324"/>
                    <a:pt x="395" y="322"/>
                  </a:cubicBezTo>
                  <a:cubicBezTo>
                    <a:pt x="394" y="322"/>
                    <a:pt x="395" y="320"/>
                    <a:pt x="395" y="320"/>
                  </a:cubicBezTo>
                  <a:cubicBezTo>
                    <a:pt x="393" y="317"/>
                    <a:pt x="390" y="315"/>
                    <a:pt x="387" y="312"/>
                  </a:cubicBezTo>
                  <a:cubicBezTo>
                    <a:pt x="387" y="312"/>
                    <a:pt x="386" y="311"/>
                    <a:pt x="386" y="311"/>
                  </a:cubicBezTo>
                  <a:cubicBezTo>
                    <a:pt x="385" y="310"/>
                    <a:pt x="384" y="310"/>
                    <a:pt x="384" y="309"/>
                  </a:cubicBezTo>
                  <a:cubicBezTo>
                    <a:pt x="384" y="309"/>
                    <a:pt x="383" y="309"/>
                    <a:pt x="383" y="308"/>
                  </a:cubicBezTo>
                  <a:cubicBezTo>
                    <a:pt x="382" y="308"/>
                    <a:pt x="381" y="307"/>
                    <a:pt x="381" y="305"/>
                  </a:cubicBezTo>
                  <a:cubicBezTo>
                    <a:pt x="380" y="304"/>
                    <a:pt x="381" y="303"/>
                    <a:pt x="380" y="302"/>
                  </a:cubicBezTo>
                  <a:cubicBezTo>
                    <a:pt x="380" y="301"/>
                    <a:pt x="379" y="302"/>
                    <a:pt x="378" y="301"/>
                  </a:cubicBezTo>
                  <a:cubicBezTo>
                    <a:pt x="378" y="300"/>
                    <a:pt x="378" y="299"/>
                    <a:pt x="377" y="299"/>
                  </a:cubicBezTo>
                  <a:cubicBezTo>
                    <a:pt x="375" y="298"/>
                    <a:pt x="373" y="298"/>
                    <a:pt x="371" y="296"/>
                  </a:cubicBezTo>
                  <a:cubicBezTo>
                    <a:pt x="370" y="295"/>
                    <a:pt x="368" y="294"/>
                    <a:pt x="367" y="294"/>
                  </a:cubicBezTo>
                  <a:cubicBezTo>
                    <a:pt x="364" y="292"/>
                    <a:pt x="362" y="292"/>
                    <a:pt x="359" y="291"/>
                  </a:cubicBezTo>
                  <a:cubicBezTo>
                    <a:pt x="355" y="291"/>
                    <a:pt x="351" y="291"/>
                    <a:pt x="346" y="291"/>
                  </a:cubicBezTo>
                  <a:cubicBezTo>
                    <a:pt x="346" y="291"/>
                    <a:pt x="346" y="291"/>
                    <a:pt x="346" y="291"/>
                  </a:cubicBezTo>
                  <a:cubicBezTo>
                    <a:pt x="345" y="291"/>
                    <a:pt x="342" y="291"/>
                    <a:pt x="340" y="291"/>
                  </a:cubicBezTo>
                  <a:cubicBezTo>
                    <a:pt x="338" y="291"/>
                    <a:pt x="336" y="291"/>
                    <a:pt x="334" y="291"/>
                  </a:cubicBezTo>
                  <a:cubicBezTo>
                    <a:pt x="333" y="291"/>
                    <a:pt x="332" y="290"/>
                    <a:pt x="331" y="290"/>
                  </a:cubicBezTo>
                  <a:cubicBezTo>
                    <a:pt x="331" y="289"/>
                    <a:pt x="331" y="289"/>
                    <a:pt x="330" y="289"/>
                  </a:cubicBezTo>
                  <a:cubicBezTo>
                    <a:pt x="329" y="288"/>
                    <a:pt x="328" y="286"/>
                    <a:pt x="326" y="286"/>
                  </a:cubicBezTo>
                  <a:cubicBezTo>
                    <a:pt x="323" y="285"/>
                    <a:pt x="320" y="286"/>
                    <a:pt x="318" y="286"/>
                  </a:cubicBezTo>
                  <a:cubicBezTo>
                    <a:pt x="313" y="283"/>
                    <a:pt x="308" y="282"/>
                    <a:pt x="303" y="282"/>
                  </a:cubicBezTo>
                  <a:cubicBezTo>
                    <a:pt x="100" y="283"/>
                    <a:pt x="100" y="283"/>
                    <a:pt x="100" y="283"/>
                  </a:cubicBezTo>
                  <a:cubicBezTo>
                    <a:pt x="99" y="283"/>
                    <a:pt x="99" y="283"/>
                    <a:pt x="99" y="283"/>
                  </a:cubicBezTo>
                  <a:cubicBezTo>
                    <a:pt x="99" y="282"/>
                    <a:pt x="99" y="281"/>
                    <a:pt x="98" y="280"/>
                  </a:cubicBezTo>
                  <a:cubicBezTo>
                    <a:pt x="96" y="278"/>
                    <a:pt x="93" y="277"/>
                    <a:pt x="90" y="275"/>
                  </a:cubicBezTo>
                  <a:cubicBezTo>
                    <a:pt x="89" y="275"/>
                    <a:pt x="88" y="275"/>
                    <a:pt x="88" y="274"/>
                  </a:cubicBezTo>
                  <a:cubicBezTo>
                    <a:pt x="87" y="272"/>
                    <a:pt x="88" y="270"/>
                    <a:pt x="89" y="268"/>
                  </a:cubicBezTo>
                  <a:cubicBezTo>
                    <a:pt x="89" y="267"/>
                    <a:pt x="89" y="266"/>
                    <a:pt x="88" y="266"/>
                  </a:cubicBezTo>
                  <a:cubicBezTo>
                    <a:pt x="88" y="265"/>
                    <a:pt x="87" y="265"/>
                    <a:pt x="86" y="266"/>
                  </a:cubicBezTo>
                  <a:cubicBezTo>
                    <a:pt x="85" y="266"/>
                    <a:pt x="84" y="265"/>
                    <a:pt x="83" y="265"/>
                  </a:cubicBezTo>
                  <a:cubicBezTo>
                    <a:pt x="82" y="264"/>
                    <a:pt x="80" y="264"/>
                    <a:pt x="79" y="263"/>
                  </a:cubicBezTo>
                  <a:cubicBezTo>
                    <a:pt x="78" y="262"/>
                    <a:pt x="77" y="262"/>
                    <a:pt x="77" y="261"/>
                  </a:cubicBezTo>
                  <a:cubicBezTo>
                    <a:pt x="76" y="260"/>
                    <a:pt x="76" y="260"/>
                    <a:pt x="76" y="259"/>
                  </a:cubicBezTo>
                  <a:cubicBezTo>
                    <a:pt x="75" y="259"/>
                    <a:pt x="74" y="259"/>
                    <a:pt x="74" y="258"/>
                  </a:cubicBezTo>
                  <a:cubicBezTo>
                    <a:pt x="73" y="258"/>
                    <a:pt x="73" y="257"/>
                    <a:pt x="72" y="256"/>
                  </a:cubicBezTo>
                  <a:cubicBezTo>
                    <a:pt x="71" y="256"/>
                    <a:pt x="71" y="255"/>
                    <a:pt x="71" y="255"/>
                  </a:cubicBezTo>
                  <a:cubicBezTo>
                    <a:pt x="70" y="254"/>
                    <a:pt x="71" y="253"/>
                    <a:pt x="70" y="252"/>
                  </a:cubicBezTo>
                  <a:cubicBezTo>
                    <a:pt x="70" y="252"/>
                    <a:pt x="70" y="251"/>
                    <a:pt x="70" y="250"/>
                  </a:cubicBezTo>
                  <a:cubicBezTo>
                    <a:pt x="70" y="249"/>
                    <a:pt x="71" y="248"/>
                    <a:pt x="72" y="247"/>
                  </a:cubicBezTo>
                  <a:cubicBezTo>
                    <a:pt x="72" y="247"/>
                    <a:pt x="73" y="247"/>
                    <a:pt x="73" y="247"/>
                  </a:cubicBezTo>
                  <a:cubicBezTo>
                    <a:pt x="74" y="245"/>
                    <a:pt x="76" y="244"/>
                    <a:pt x="78" y="243"/>
                  </a:cubicBezTo>
                  <a:cubicBezTo>
                    <a:pt x="78" y="243"/>
                    <a:pt x="78" y="242"/>
                    <a:pt x="78" y="242"/>
                  </a:cubicBezTo>
                  <a:cubicBezTo>
                    <a:pt x="76" y="242"/>
                    <a:pt x="75" y="244"/>
                    <a:pt x="73" y="245"/>
                  </a:cubicBezTo>
                  <a:cubicBezTo>
                    <a:pt x="72" y="245"/>
                    <a:pt x="71" y="245"/>
                    <a:pt x="70" y="245"/>
                  </a:cubicBezTo>
                  <a:cubicBezTo>
                    <a:pt x="69" y="243"/>
                    <a:pt x="70" y="240"/>
                    <a:pt x="70" y="238"/>
                  </a:cubicBezTo>
                  <a:cubicBezTo>
                    <a:pt x="68" y="238"/>
                    <a:pt x="67" y="238"/>
                    <a:pt x="66" y="239"/>
                  </a:cubicBezTo>
                  <a:cubicBezTo>
                    <a:pt x="65" y="240"/>
                    <a:pt x="64" y="239"/>
                    <a:pt x="64" y="238"/>
                  </a:cubicBezTo>
                  <a:cubicBezTo>
                    <a:pt x="63" y="238"/>
                    <a:pt x="63" y="237"/>
                    <a:pt x="64" y="236"/>
                  </a:cubicBezTo>
                  <a:cubicBezTo>
                    <a:pt x="65" y="234"/>
                    <a:pt x="67" y="234"/>
                    <a:pt x="67" y="232"/>
                  </a:cubicBezTo>
                  <a:cubicBezTo>
                    <a:pt x="68" y="231"/>
                    <a:pt x="67" y="230"/>
                    <a:pt x="67" y="229"/>
                  </a:cubicBezTo>
                  <a:cubicBezTo>
                    <a:pt x="68" y="228"/>
                    <a:pt x="68" y="228"/>
                    <a:pt x="69" y="227"/>
                  </a:cubicBezTo>
                  <a:cubicBezTo>
                    <a:pt x="69" y="227"/>
                    <a:pt x="69" y="227"/>
                    <a:pt x="69" y="227"/>
                  </a:cubicBezTo>
                  <a:cubicBezTo>
                    <a:pt x="68" y="226"/>
                    <a:pt x="68" y="226"/>
                    <a:pt x="67" y="227"/>
                  </a:cubicBezTo>
                  <a:cubicBezTo>
                    <a:pt x="66" y="228"/>
                    <a:pt x="65" y="229"/>
                    <a:pt x="64" y="230"/>
                  </a:cubicBezTo>
                  <a:cubicBezTo>
                    <a:pt x="63" y="231"/>
                    <a:pt x="62" y="230"/>
                    <a:pt x="61" y="230"/>
                  </a:cubicBezTo>
                  <a:cubicBezTo>
                    <a:pt x="60" y="229"/>
                    <a:pt x="59" y="228"/>
                    <a:pt x="58" y="227"/>
                  </a:cubicBezTo>
                  <a:cubicBezTo>
                    <a:pt x="58" y="226"/>
                    <a:pt x="58" y="225"/>
                    <a:pt x="58" y="224"/>
                  </a:cubicBezTo>
                  <a:cubicBezTo>
                    <a:pt x="59" y="223"/>
                    <a:pt x="59" y="222"/>
                    <a:pt x="59" y="221"/>
                  </a:cubicBezTo>
                  <a:cubicBezTo>
                    <a:pt x="59" y="220"/>
                    <a:pt x="60" y="220"/>
                    <a:pt x="60" y="219"/>
                  </a:cubicBezTo>
                  <a:cubicBezTo>
                    <a:pt x="60" y="217"/>
                    <a:pt x="61" y="216"/>
                    <a:pt x="62" y="215"/>
                  </a:cubicBezTo>
                  <a:cubicBezTo>
                    <a:pt x="62" y="214"/>
                    <a:pt x="62" y="213"/>
                    <a:pt x="62" y="213"/>
                  </a:cubicBezTo>
                  <a:cubicBezTo>
                    <a:pt x="63" y="211"/>
                    <a:pt x="63" y="211"/>
                    <a:pt x="63" y="211"/>
                  </a:cubicBezTo>
                  <a:cubicBezTo>
                    <a:pt x="63" y="208"/>
                    <a:pt x="64" y="206"/>
                    <a:pt x="65" y="203"/>
                  </a:cubicBezTo>
                  <a:cubicBezTo>
                    <a:pt x="65" y="202"/>
                    <a:pt x="65" y="201"/>
                    <a:pt x="65" y="200"/>
                  </a:cubicBezTo>
                  <a:cubicBezTo>
                    <a:pt x="63" y="200"/>
                    <a:pt x="60" y="199"/>
                    <a:pt x="58" y="198"/>
                  </a:cubicBezTo>
                  <a:cubicBezTo>
                    <a:pt x="57" y="197"/>
                    <a:pt x="55" y="197"/>
                    <a:pt x="55" y="196"/>
                  </a:cubicBezTo>
                  <a:cubicBezTo>
                    <a:pt x="54" y="194"/>
                    <a:pt x="54" y="192"/>
                    <a:pt x="53" y="189"/>
                  </a:cubicBezTo>
                  <a:cubicBezTo>
                    <a:pt x="53" y="188"/>
                    <a:pt x="54" y="186"/>
                    <a:pt x="53" y="184"/>
                  </a:cubicBezTo>
                  <a:cubicBezTo>
                    <a:pt x="52" y="182"/>
                    <a:pt x="51" y="181"/>
                    <a:pt x="51" y="179"/>
                  </a:cubicBezTo>
                  <a:cubicBezTo>
                    <a:pt x="50" y="178"/>
                    <a:pt x="49" y="177"/>
                    <a:pt x="48" y="175"/>
                  </a:cubicBezTo>
                  <a:cubicBezTo>
                    <a:pt x="48" y="174"/>
                    <a:pt x="48" y="173"/>
                    <a:pt x="48" y="172"/>
                  </a:cubicBezTo>
                  <a:cubicBezTo>
                    <a:pt x="47" y="170"/>
                    <a:pt x="46" y="169"/>
                    <a:pt x="45" y="167"/>
                  </a:cubicBezTo>
                  <a:cubicBezTo>
                    <a:pt x="44" y="165"/>
                    <a:pt x="41" y="165"/>
                    <a:pt x="40" y="163"/>
                  </a:cubicBezTo>
                  <a:cubicBezTo>
                    <a:pt x="40" y="161"/>
                    <a:pt x="39" y="159"/>
                    <a:pt x="38" y="158"/>
                  </a:cubicBezTo>
                  <a:cubicBezTo>
                    <a:pt x="36" y="157"/>
                    <a:pt x="35" y="157"/>
                    <a:pt x="34" y="158"/>
                  </a:cubicBezTo>
                  <a:cubicBezTo>
                    <a:pt x="33" y="158"/>
                    <a:pt x="33" y="159"/>
                    <a:pt x="32" y="159"/>
                  </a:cubicBezTo>
                  <a:cubicBezTo>
                    <a:pt x="31" y="160"/>
                    <a:pt x="31" y="160"/>
                    <a:pt x="31" y="161"/>
                  </a:cubicBezTo>
                  <a:cubicBezTo>
                    <a:pt x="29" y="162"/>
                    <a:pt x="27" y="163"/>
                    <a:pt x="26" y="164"/>
                  </a:cubicBezTo>
                  <a:cubicBezTo>
                    <a:pt x="25" y="165"/>
                    <a:pt x="24" y="165"/>
                    <a:pt x="23" y="166"/>
                  </a:cubicBezTo>
                  <a:cubicBezTo>
                    <a:pt x="23" y="167"/>
                    <a:pt x="22" y="167"/>
                    <a:pt x="21" y="166"/>
                  </a:cubicBezTo>
                  <a:cubicBezTo>
                    <a:pt x="19" y="165"/>
                    <a:pt x="18" y="163"/>
                    <a:pt x="17" y="162"/>
                  </a:cubicBezTo>
                  <a:cubicBezTo>
                    <a:pt x="16" y="161"/>
                    <a:pt x="15" y="159"/>
                    <a:pt x="14" y="158"/>
                  </a:cubicBezTo>
                  <a:cubicBezTo>
                    <a:pt x="14" y="157"/>
                    <a:pt x="14" y="156"/>
                    <a:pt x="14" y="156"/>
                  </a:cubicBezTo>
                  <a:cubicBezTo>
                    <a:pt x="13" y="154"/>
                    <a:pt x="14" y="152"/>
                    <a:pt x="13" y="151"/>
                  </a:cubicBezTo>
                  <a:cubicBezTo>
                    <a:pt x="13" y="150"/>
                    <a:pt x="11" y="150"/>
                    <a:pt x="10" y="150"/>
                  </a:cubicBezTo>
                  <a:cubicBezTo>
                    <a:pt x="10" y="151"/>
                    <a:pt x="9" y="151"/>
                    <a:pt x="8" y="151"/>
                  </a:cubicBezTo>
                  <a:cubicBezTo>
                    <a:pt x="7" y="152"/>
                    <a:pt x="6" y="152"/>
                    <a:pt x="6" y="152"/>
                  </a:cubicBezTo>
                  <a:cubicBezTo>
                    <a:pt x="4" y="150"/>
                    <a:pt x="2" y="151"/>
                    <a:pt x="1" y="151"/>
                  </a:cubicBezTo>
                  <a:cubicBezTo>
                    <a:pt x="0" y="149"/>
                    <a:pt x="0" y="148"/>
                    <a:pt x="1" y="146"/>
                  </a:cubicBezTo>
                  <a:cubicBezTo>
                    <a:pt x="1" y="145"/>
                    <a:pt x="1" y="142"/>
                    <a:pt x="3" y="140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32"/>
                    <a:pt x="45" y="32"/>
                    <a:pt x="47" y="32"/>
                  </a:cubicBezTo>
                  <a:cubicBezTo>
                    <a:pt x="48" y="32"/>
                    <a:pt x="49" y="32"/>
                    <a:pt x="50" y="33"/>
                  </a:cubicBezTo>
                  <a:cubicBezTo>
                    <a:pt x="55" y="35"/>
                    <a:pt x="59" y="37"/>
                    <a:pt x="63" y="40"/>
                  </a:cubicBezTo>
                  <a:cubicBezTo>
                    <a:pt x="64" y="41"/>
                    <a:pt x="66" y="41"/>
                    <a:pt x="67" y="41"/>
                  </a:cubicBezTo>
                  <a:cubicBezTo>
                    <a:pt x="70" y="42"/>
                    <a:pt x="73" y="42"/>
                    <a:pt x="76" y="42"/>
                  </a:cubicBezTo>
                  <a:cubicBezTo>
                    <a:pt x="78" y="41"/>
                    <a:pt x="80" y="41"/>
                    <a:pt x="82" y="42"/>
                  </a:cubicBezTo>
                  <a:cubicBezTo>
                    <a:pt x="82" y="43"/>
                    <a:pt x="82" y="45"/>
                    <a:pt x="81" y="46"/>
                  </a:cubicBezTo>
                  <a:cubicBezTo>
                    <a:pt x="80" y="47"/>
                    <a:pt x="81" y="47"/>
                    <a:pt x="81" y="47"/>
                  </a:cubicBezTo>
                  <a:cubicBezTo>
                    <a:pt x="82" y="47"/>
                    <a:pt x="83" y="46"/>
                    <a:pt x="83" y="45"/>
                  </a:cubicBezTo>
                  <a:cubicBezTo>
                    <a:pt x="84" y="44"/>
                    <a:pt x="84" y="43"/>
                    <a:pt x="83" y="42"/>
                  </a:cubicBezTo>
                  <a:cubicBezTo>
                    <a:pt x="82" y="41"/>
                    <a:pt x="83" y="40"/>
                    <a:pt x="84" y="39"/>
                  </a:cubicBezTo>
                  <a:cubicBezTo>
                    <a:pt x="85" y="39"/>
                    <a:pt x="86" y="38"/>
                    <a:pt x="87" y="37"/>
                  </a:cubicBezTo>
                  <a:cubicBezTo>
                    <a:pt x="89" y="35"/>
                    <a:pt x="92" y="35"/>
                    <a:pt x="95" y="35"/>
                  </a:cubicBezTo>
                  <a:cubicBezTo>
                    <a:pt x="95" y="34"/>
                    <a:pt x="96" y="34"/>
                    <a:pt x="97" y="33"/>
                  </a:cubicBezTo>
                  <a:cubicBezTo>
                    <a:pt x="99" y="32"/>
                    <a:pt x="100" y="31"/>
                    <a:pt x="101" y="29"/>
                  </a:cubicBezTo>
                  <a:cubicBezTo>
                    <a:pt x="104" y="28"/>
                    <a:pt x="107" y="29"/>
                    <a:pt x="110" y="28"/>
                  </a:cubicBezTo>
                  <a:cubicBezTo>
                    <a:pt x="112" y="28"/>
                    <a:pt x="113" y="26"/>
                    <a:pt x="115" y="25"/>
                  </a:cubicBezTo>
                  <a:cubicBezTo>
                    <a:pt x="117" y="24"/>
                    <a:pt x="119" y="24"/>
                    <a:pt x="121" y="24"/>
                  </a:cubicBezTo>
                  <a:cubicBezTo>
                    <a:pt x="122" y="25"/>
                    <a:pt x="121" y="26"/>
                    <a:pt x="120" y="27"/>
                  </a:cubicBezTo>
                  <a:cubicBezTo>
                    <a:pt x="118" y="28"/>
                    <a:pt x="116" y="29"/>
                    <a:pt x="114" y="29"/>
                  </a:cubicBezTo>
                  <a:cubicBezTo>
                    <a:pt x="112" y="30"/>
                    <a:pt x="111" y="31"/>
                    <a:pt x="109" y="32"/>
                  </a:cubicBezTo>
                  <a:cubicBezTo>
                    <a:pt x="107" y="32"/>
                    <a:pt x="105" y="32"/>
                    <a:pt x="103" y="33"/>
                  </a:cubicBezTo>
                  <a:cubicBezTo>
                    <a:pt x="100" y="34"/>
                    <a:pt x="98" y="35"/>
                    <a:pt x="95" y="37"/>
                  </a:cubicBezTo>
                  <a:cubicBezTo>
                    <a:pt x="94" y="38"/>
                    <a:pt x="93" y="39"/>
                    <a:pt x="92" y="40"/>
                  </a:cubicBezTo>
                  <a:cubicBezTo>
                    <a:pt x="91" y="40"/>
                    <a:pt x="92" y="40"/>
                    <a:pt x="92" y="40"/>
                  </a:cubicBezTo>
                  <a:cubicBezTo>
                    <a:pt x="92" y="41"/>
                    <a:pt x="93" y="41"/>
                    <a:pt x="93" y="40"/>
                  </a:cubicBezTo>
                  <a:cubicBezTo>
                    <a:pt x="95" y="39"/>
                    <a:pt x="97" y="39"/>
                    <a:pt x="99" y="37"/>
                  </a:cubicBezTo>
                  <a:cubicBezTo>
                    <a:pt x="100" y="37"/>
                    <a:pt x="100" y="37"/>
                    <a:pt x="100" y="36"/>
                  </a:cubicBezTo>
                  <a:cubicBezTo>
                    <a:pt x="101" y="35"/>
                    <a:pt x="102" y="34"/>
                    <a:pt x="104" y="34"/>
                  </a:cubicBezTo>
                  <a:cubicBezTo>
                    <a:pt x="105" y="34"/>
                    <a:pt x="108" y="33"/>
                    <a:pt x="108" y="35"/>
                  </a:cubicBezTo>
                  <a:cubicBezTo>
                    <a:pt x="109" y="35"/>
                    <a:pt x="110" y="35"/>
                    <a:pt x="111" y="34"/>
                  </a:cubicBezTo>
                  <a:cubicBezTo>
                    <a:pt x="112" y="34"/>
                    <a:pt x="113" y="33"/>
                    <a:pt x="113" y="33"/>
                  </a:cubicBezTo>
                  <a:cubicBezTo>
                    <a:pt x="116" y="31"/>
                    <a:pt x="118" y="31"/>
                    <a:pt x="120" y="30"/>
                  </a:cubicBezTo>
                  <a:cubicBezTo>
                    <a:pt x="121" y="29"/>
                    <a:pt x="122" y="29"/>
                    <a:pt x="124" y="29"/>
                  </a:cubicBezTo>
                  <a:cubicBezTo>
                    <a:pt x="124" y="30"/>
                    <a:pt x="126" y="30"/>
                    <a:pt x="126" y="30"/>
                  </a:cubicBezTo>
                  <a:cubicBezTo>
                    <a:pt x="128" y="29"/>
                    <a:pt x="130" y="28"/>
                    <a:pt x="130" y="27"/>
                  </a:cubicBezTo>
                  <a:cubicBezTo>
                    <a:pt x="131" y="26"/>
                    <a:pt x="131" y="25"/>
                    <a:pt x="131" y="25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33" y="22"/>
                    <a:pt x="132" y="20"/>
                    <a:pt x="133" y="19"/>
                  </a:cubicBezTo>
                  <a:cubicBezTo>
                    <a:pt x="134" y="19"/>
                    <a:pt x="134" y="19"/>
                    <a:pt x="135" y="19"/>
                  </a:cubicBezTo>
                  <a:cubicBezTo>
                    <a:pt x="136" y="20"/>
                    <a:pt x="137" y="22"/>
                    <a:pt x="138" y="24"/>
                  </a:cubicBezTo>
                  <a:cubicBezTo>
                    <a:pt x="138" y="26"/>
                    <a:pt x="139" y="28"/>
                    <a:pt x="139" y="30"/>
                  </a:cubicBezTo>
                  <a:cubicBezTo>
                    <a:pt x="140" y="32"/>
                    <a:pt x="140" y="33"/>
                    <a:pt x="141" y="34"/>
                  </a:cubicBezTo>
                  <a:cubicBezTo>
                    <a:pt x="141" y="35"/>
                    <a:pt x="142" y="35"/>
                    <a:pt x="142" y="35"/>
                  </a:cubicBezTo>
                  <a:cubicBezTo>
                    <a:pt x="143" y="35"/>
                    <a:pt x="143" y="35"/>
                    <a:pt x="143" y="35"/>
                  </a:cubicBezTo>
                  <a:cubicBezTo>
                    <a:pt x="143" y="35"/>
                    <a:pt x="144" y="36"/>
                    <a:pt x="145" y="36"/>
                  </a:cubicBezTo>
                  <a:cubicBezTo>
                    <a:pt x="146" y="37"/>
                    <a:pt x="147" y="36"/>
                    <a:pt x="148" y="35"/>
                  </a:cubicBezTo>
                  <a:cubicBezTo>
                    <a:pt x="148" y="35"/>
                    <a:pt x="148" y="33"/>
                    <a:pt x="149" y="33"/>
                  </a:cubicBezTo>
                  <a:cubicBezTo>
                    <a:pt x="150" y="31"/>
                    <a:pt x="151" y="31"/>
                    <a:pt x="153" y="29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5" y="26"/>
                    <a:pt x="154" y="24"/>
                    <a:pt x="155" y="23"/>
                  </a:cubicBezTo>
                  <a:cubicBezTo>
                    <a:pt x="155" y="23"/>
                    <a:pt x="156" y="23"/>
                    <a:pt x="156" y="23"/>
                  </a:cubicBezTo>
                  <a:cubicBezTo>
                    <a:pt x="157" y="25"/>
                    <a:pt x="155" y="27"/>
                    <a:pt x="156" y="29"/>
                  </a:cubicBezTo>
                  <a:cubicBezTo>
                    <a:pt x="156" y="29"/>
                    <a:pt x="156" y="29"/>
                    <a:pt x="156" y="29"/>
                  </a:cubicBezTo>
                  <a:cubicBezTo>
                    <a:pt x="156" y="30"/>
                    <a:pt x="157" y="31"/>
                    <a:pt x="156" y="31"/>
                  </a:cubicBezTo>
                  <a:cubicBezTo>
                    <a:pt x="156" y="33"/>
                    <a:pt x="153" y="33"/>
                    <a:pt x="153" y="35"/>
                  </a:cubicBezTo>
                  <a:cubicBezTo>
                    <a:pt x="152" y="36"/>
                    <a:pt x="153" y="36"/>
                    <a:pt x="153" y="37"/>
                  </a:cubicBezTo>
                  <a:cubicBezTo>
                    <a:pt x="155" y="36"/>
                    <a:pt x="158" y="37"/>
                    <a:pt x="160" y="36"/>
                  </a:cubicBezTo>
                  <a:cubicBezTo>
                    <a:pt x="161" y="36"/>
                    <a:pt x="162" y="35"/>
                    <a:pt x="163" y="34"/>
                  </a:cubicBezTo>
                  <a:cubicBezTo>
                    <a:pt x="164" y="34"/>
                    <a:pt x="165" y="33"/>
                    <a:pt x="165" y="33"/>
                  </a:cubicBezTo>
                  <a:cubicBezTo>
                    <a:pt x="165" y="32"/>
                    <a:pt x="165" y="31"/>
                    <a:pt x="165" y="30"/>
                  </a:cubicBezTo>
                  <a:cubicBezTo>
                    <a:pt x="165" y="30"/>
                    <a:pt x="166" y="29"/>
                    <a:pt x="166" y="29"/>
                  </a:cubicBezTo>
                  <a:cubicBezTo>
                    <a:pt x="167" y="29"/>
                    <a:pt x="169" y="29"/>
                    <a:pt x="171" y="29"/>
                  </a:cubicBezTo>
                  <a:cubicBezTo>
                    <a:pt x="171" y="30"/>
                    <a:pt x="172" y="30"/>
                    <a:pt x="172" y="30"/>
                  </a:cubicBezTo>
                  <a:cubicBezTo>
                    <a:pt x="174" y="30"/>
                    <a:pt x="176" y="30"/>
                    <a:pt x="178" y="31"/>
                  </a:cubicBezTo>
                  <a:cubicBezTo>
                    <a:pt x="179" y="32"/>
                    <a:pt x="180" y="32"/>
                    <a:pt x="181" y="33"/>
                  </a:cubicBezTo>
                  <a:cubicBezTo>
                    <a:pt x="182" y="34"/>
                    <a:pt x="182" y="34"/>
                    <a:pt x="183" y="34"/>
                  </a:cubicBezTo>
                  <a:cubicBezTo>
                    <a:pt x="185" y="35"/>
                    <a:pt x="187" y="36"/>
                    <a:pt x="190" y="36"/>
                  </a:cubicBezTo>
                  <a:cubicBezTo>
                    <a:pt x="194" y="38"/>
                    <a:pt x="197" y="40"/>
                    <a:pt x="201" y="41"/>
                  </a:cubicBezTo>
                  <a:cubicBezTo>
                    <a:pt x="203" y="41"/>
                    <a:pt x="205" y="41"/>
                    <a:pt x="207" y="42"/>
                  </a:cubicBezTo>
                  <a:cubicBezTo>
                    <a:pt x="207" y="42"/>
                    <a:pt x="208" y="42"/>
                    <a:pt x="208" y="42"/>
                  </a:cubicBezTo>
                  <a:cubicBezTo>
                    <a:pt x="209" y="43"/>
                    <a:pt x="210" y="42"/>
                    <a:pt x="211" y="43"/>
                  </a:cubicBezTo>
                  <a:cubicBezTo>
                    <a:pt x="211" y="42"/>
                    <a:pt x="211" y="41"/>
                    <a:pt x="211" y="41"/>
                  </a:cubicBezTo>
                  <a:cubicBezTo>
                    <a:pt x="213" y="41"/>
                    <a:pt x="215" y="40"/>
                    <a:pt x="217" y="42"/>
                  </a:cubicBezTo>
                  <a:cubicBezTo>
                    <a:pt x="219" y="43"/>
                    <a:pt x="221" y="45"/>
                    <a:pt x="223" y="47"/>
                  </a:cubicBezTo>
                  <a:cubicBezTo>
                    <a:pt x="223" y="47"/>
                    <a:pt x="223" y="48"/>
                    <a:pt x="223" y="48"/>
                  </a:cubicBezTo>
                  <a:cubicBezTo>
                    <a:pt x="223" y="49"/>
                    <a:pt x="222" y="49"/>
                    <a:pt x="221" y="50"/>
                  </a:cubicBezTo>
                  <a:cubicBezTo>
                    <a:pt x="220" y="50"/>
                    <a:pt x="218" y="49"/>
                    <a:pt x="217" y="50"/>
                  </a:cubicBezTo>
                  <a:cubicBezTo>
                    <a:pt x="216" y="50"/>
                    <a:pt x="216" y="51"/>
                    <a:pt x="215" y="52"/>
                  </a:cubicBezTo>
                  <a:cubicBezTo>
                    <a:pt x="214" y="53"/>
                    <a:pt x="213" y="53"/>
                    <a:pt x="213" y="54"/>
                  </a:cubicBezTo>
                  <a:cubicBezTo>
                    <a:pt x="212" y="55"/>
                    <a:pt x="213" y="56"/>
                    <a:pt x="213" y="57"/>
                  </a:cubicBezTo>
                  <a:cubicBezTo>
                    <a:pt x="214" y="57"/>
                    <a:pt x="214" y="57"/>
                    <a:pt x="215" y="57"/>
                  </a:cubicBezTo>
                  <a:cubicBezTo>
                    <a:pt x="220" y="57"/>
                    <a:pt x="226" y="58"/>
                    <a:pt x="232" y="57"/>
                  </a:cubicBezTo>
                  <a:cubicBezTo>
                    <a:pt x="232" y="57"/>
                    <a:pt x="237" y="57"/>
                    <a:pt x="237" y="57"/>
                  </a:cubicBezTo>
                  <a:cubicBezTo>
                    <a:pt x="239" y="58"/>
                    <a:pt x="240" y="57"/>
                    <a:pt x="241" y="57"/>
                  </a:cubicBezTo>
                  <a:cubicBezTo>
                    <a:pt x="243" y="56"/>
                    <a:pt x="244" y="56"/>
                    <a:pt x="246" y="55"/>
                  </a:cubicBezTo>
                  <a:cubicBezTo>
                    <a:pt x="246" y="55"/>
                    <a:pt x="247" y="54"/>
                    <a:pt x="248" y="54"/>
                  </a:cubicBezTo>
                  <a:cubicBezTo>
                    <a:pt x="248" y="54"/>
                    <a:pt x="249" y="54"/>
                    <a:pt x="250" y="54"/>
                  </a:cubicBezTo>
                  <a:cubicBezTo>
                    <a:pt x="250" y="54"/>
                    <a:pt x="251" y="55"/>
                    <a:pt x="251" y="55"/>
                  </a:cubicBezTo>
                  <a:cubicBezTo>
                    <a:pt x="251" y="56"/>
                    <a:pt x="251" y="57"/>
                    <a:pt x="252" y="57"/>
                  </a:cubicBezTo>
                  <a:cubicBezTo>
                    <a:pt x="253" y="57"/>
                    <a:pt x="254" y="57"/>
                    <a:pt x="255" y="57"/>
                  </a:cubicBezTo>
                  <a:cubicBezTo>
                    <a:pt x="257" y="57"/>
                    <a:pt x="256" y="60"/>
                    <a:pt x="257" y="61"/>
                  </a:cubicBezTo>
                  <a:cubicBezTo>
                    <a:pt x="258" y="62"/>
                    <a:pt x="261" y="60"/>
                    <a:pt x="262" y="62"/>
                  </a:cubicBezTo>
                  <a:cubicBezTo>
                    <a:pt x="262" y="63"/>
                    <a:pt x="263" y="64"/>
                    <a:pt x="262" y="65"/>
                  </a:cubicBezTo>
                  <a:cubicBezTo>
                    <a:pt x="261" y="66"/>
                    <a:pt x="259" y="65"/>
                    <a:pt x="259" y="66"/>
                  </a:cubicBezTo>
                  <a:cubicBezTo>
                    <a:pt x="259" y="67"/>
                    <a:pt x="258" y="68"/>
                    <a:pt x="259" y="68"/>
                  </a:cubicBezTo>
                  <a:cubicBezTo>
                    <a:pt x="260" y="70"/>
                    <a:pt x="262" y="71"/>
                    <a:pt x="262" y="72"/>
                  </a:cubicBezTo>
                  <a:cubicBezTo>
                    <a:pt x="265" y="73"/>
                    <a:pt x="264" y="69"/>
                    <a:pt x="264" y="68"/>
                  </a:cubicBezTo>
                  <a:cubicBezTo>
                    <a:pt x="265" y="67"/>
                    <a:pt x="265" y="67"/>
                    <a:pt x="265" y="67"/>
                  </a:cubicBezTo>
                  <a:cubicBezTo>
                    <a:pt x="265" y="65"/>
                    <a:pt x="265" y="64"/>
                    <a:pt x="265" y="62"/>
                  </a:cubicBezTo>
                  <a:cubicBezTo>
                    <a:pt x="265" y="61"/>
                    <a:pt x="264" y="60"/>
                    <a:pt x="264" y="59"/>
                  </a:cubicBezTo>
                  <a:cubicBezTo>
                    <a:pt x="263" y="58"/>
                    <a:pt x="263" y="57"/>
                    <a:pt x="264" y="56"/>
                  </a:cubicBezTo>
                  <a:cubicBezTo>
                    <a:pt x="264" y="55"/>
                    <a:pt x="265" y="55"/>
                    <a:pt x="265" y="55"/>
                  </a:cubicBezTo>
                  <a:cubicBezTo>
                    <a:pt x="267" y="55"/>
                    <a:pt x="268" y="54"/>
                    <a:pt x="269" y="54"/>
                  </a:cubicBezTo>
                  <a:cubicBezTo>
                    <a:pt x="273" y="53"/>
                    <a:pt x="276" y="51"/>
                    <a:pt x="279" y="49"/>
                  </a:cubicBezTo>
                  <a:cubicBezTo>
                    <a:pt x="280" y="49"/>
                    <a:pt x="281" y="49"/>
                    <a:pt x="281" y="48"/>
                  </a:cubicBezTo>
                  <a:cubicBezTo>
                    <a:pt x="281" y="48"/>
                    <a:pt x="282" y="47"/>
                    <a:pt x="281" y="47"/>
                  </a:cubicBezTo>
                  <a:cubicBezTo>
                    <a:pt x="280" y="46"/>
                    <a:pt x="279" y="47"/>
                    <a:pt x="278" y="47"/>
                  </a:cubicBezTo>
                  <a:cubicBezTo>
                    <a:pt x="276" y="49"/>
                    <a:pt x="273" y="48"/>
                    <a:pt x="270" y="49"/>
                  </a:cubicBezTo>
                  <a:cubicBezTo>
                    <a:pt x="269" y="50"/>
                    <a:pt x="267" y="51"/>
                    <a:pt x="266" y="51"/>
                  </a:cubicBezTo>
                  <a:cubicBezTo>
                    <a:pt x="264" y="52"/>
                    <a:pt x="263" y="51"/>
                    <a:pt x="261" y="51"/>
                  </a:cubicBezTo>
                  <a:cubicBezTo>
                    <a:pt x="261" y="50"/>
                    <a:pt x="261" y="49"/>
                    <a:pt x="262" y="48"/>
                  </a:cubicBezTo>
                  <a:cubicBezTo>
                    <a:pt x="264" y="48"/>
                    <a:pt x="265" y="46"/>
                    <a:pt x="267" y="46"/>
                  </a:cubicBezTo>
                  <a:cubicBezTo>
                    <a:pt x="271" y="45"/>
                    <a:pt x="274" y="45"/>
                    <a:pt x="277" y="44"/>
                  </a:cubicBezTo>
                  <a:cubicBezTo>
                    <a:pt x="278" y="44"/>
                    <a:pt x="278" y="43"/>
                    <a:pt x="279" y="43"/>
                  </a:cubicBezTo>
                  <a:cubicBezTo>
                    <a:pt x="280" y="43"/>
                    <a:pt x="283" y="42"/>
                    <a:pt x="284" y="44"/>
                  </a:cubicBezTo>
                  <a:cubicBezTo>
                    <a:pt x="285" y="45"/>
                    <a:pt x="283" y="47"/>
                    <a:pt x="284" y="48"/>
                  </a:cubicBezTo>
                  <a:cubicBezTo>
                    <a:pt x="284" y="49"/>
                    <a:pt x="286" y="49"/>
                    <a:pt x="287" y="50"/>
                  </a:cubicBezTo>
                  <a:cubicBezTo>
                    <a:pt x="287" y="51"/>
                    <a:pt x="288" y="50"/>
                    <a:pt x="289" y="51"/>
                  </a:cubicBezTo>
                  <a:cubicBezTo>
                    <a:pt x="289" y="52"/>
                    <a:pt x="291" y="53"/>
                    <a:pt x="291" y="53"/>
                  </a:cubicBezTo>
                  <a:cubicBezTo>
                    <a:pt x="294" y="53"/>
                    <a:pt x="295" y="53"/>
                    <a:pt x="298" y="53"/>
                  </a:cubicBezTo>
                  <a:cubicBezTo>
                    <a:pt x="298" y="53"/>
                    <a:pt x="299" y="54"/>
                    <a:pt x="299" y="54"/>
                  </a:cubicBezTo>
                  <a:cubicBezTo>
                    <a:pt x="299" y="55"/>
                    <a:pt x="298" y="56"/>
                    <a:pt x="299" y="57"/>
                  </a:cubicBezTo>
                  <a:cubicBezTo>
                    <a:pt x="303" y="58"/>
                    <a:pt x="308" y="57"/>
                    <a:pt x="312" y="57"/>
                  </a:cubicBezTo>
                  <a:cubicBezTo>
                    <a:pt x="313" y="57"/>
                    <a:pt x="314" y="57"/>
                    <a:pt x="315" y="56"/>
                  </a:cubicBezTo>
                  <a:cubicBezTo>
                    <a:pt x="316" y="56"/>
                    <a:pt x="318" y="56"/>
                    <a:pt x="319" y="56"/>
                  </a:cubicBezTo>
                  <a:cubicBezTo>
                    <a:pt x="321" y="56"/>
                    <a:pt x="321" y="56"/>
                    <a:pt x="321" y="56"/>
                  </a:cubicBezTo>
                  <a:cubicBezTo>
                    <a:pt x="323" y="56"/>
                    <a:pt x="324" y="56"/>
                    <a:pt x="326" y="57"/>
                  </a:cubicBezTo>
                  <a:cubicBezTo>
                    <a:pt x="327" y="58"/>
                    <a:pt x="328" y="57"/>
                    <a:pt x="328" y="56"/>
                  </a:cubicBezTo>
                  <a:cubicBezTo>
                    <a:pt x="329" y="52"/>
                    <a:pt x="333" y="50"/>
                    <a:pt x="336" y="48"/>
                  </a:cubicBezTo>
                  <a:cubicBezTo>
                    <a:pt x="339" y="47"/>
                    <a:pt x="341" y="50"/>
                    <a:pt x="344" y="51"/>
                  </a:cubicBezTo>
                  <a:cubicBezTo>
                    <a:pt x="345" y="52"/>
                    <a:pt x="347" y="51"/>
                    <a:pt x="348" y="52"/>
                  </a:cubicBezTo>
                  <a:cubicBezTo>
                    <a:pt x="349" y="52"/>
                    <a:pt x="347" y="53"/>
                    <a:pt x="347" y="54"/>
                  </a:cubicBezTo>
                  <a:cubicBezTo>
                    <a:pt x="347" y="56"/>
                    <a:pt x="345" y="58"/>
                    <a:pt x="344" y="59"/>
                  </a:cubicBezTo>
                  <a:cubicBezTo>
                    <a:pt x="344" y="60"/>
                    <a:pt x="344" y="61"/>
                    <a:pt x="344" y="62"/>
                  </a:cubicBezTo>
                  <a:cubicBezTo>
                    <a:pt x="345" y="62"/>
                    <a:pt x="346" y="63"/>
                    <a:pt x="347" y="63"/>
                  </a:cubicBezTo>
                  <a:cubicBezTo>
                    <a:pt x="347" y="64"/>
                    <a:pt x="348" y="64"/>
                    <a:pt x="349" y="64"/>
                  </a:cubicBezTo>
                  <a:cubicBezTo>
                    <a:pt x="350" y="65"/>
                    <a:pt x="350" y="66"/>
                    <a:pt x="350" y="68"/>
                  </a:cubicBezTo>
                  <a:cubicBezTo>
                    <a:pt x="352" y="68"/>
                    <a:pt x="352" y="66"/>
                    <a:pt x="353" y="65"/>
                  </a:cubicBezTo>
                  <a:cubicBezTo>
                    <a:pt x="353" y="62"/>
                    <a:pt x="353" y="59"/>
                    <a:pt x="350" y="58"/>
                  </a:cubicBezTo>
                  <a:cubicBezTo>
                    <a:pt x="350" y="56"/>
                    <a:pt x="350" y="54"/>
                    <a:pt x="352" y="54"/>
                  </a:cubicBezTo>
                  <a:cubicBezTo>
                    <a:pt x="354" y="53"/>
                    <a:pt x="356" y="54"/>
                    <a:pt x="358" y="52"/>
                  </a:cubicBezTo>
                  <a:cubicBezTo>
                    <a:pt x="360" y="51"/>
                    <a:pt x="362" y="50"/>
                    <a:pt x="364" y="48"/>
                  </a:cubicBezTo>
                  <a:cubicBezTo>
                    <a:pt x="365" y="48"/>
                    <a:pt x="367" y="47"/>
                    <a:pt x="368" y="46"/>
                  </a:cubicBezTo>
                  <a:cubicBezTo>
                    <a:pt x="368" y="46"/>
                    <a:pt x="368" y="46"/>
                    <a:pt x="368" y="46"/>
                  </a:cubicBezTo>
                  <a:cubicBezTo>
                    <a:pt x="368" y="45"/>
                    <a:pt x="368" y="45"/>
                    <a:pt x="368" y="44"/>
                  </a:cubicBezTo>
                  <a:cubicBezTo>
                    <a:pt x="367" y="44"/>
                    <a:pt x="367" y="42"/>
                    <a:pt x="366" y="42"/>
                  </a:cubicBezTo>
                  <a:cubicBezTo>
                    <a:pt x="366" y="42"/>
                    <a:pt x="365" y="41"/>
                    <a:pt x="365" y="42"/>
                  </a:cubicBezTo>
                  <a:cubicBezTo>
                    <a:pt x="364" y="43"/>
                    <a:pt x="364" y="44"/>
                    <a:pt x="364" y="44"/>
                  </a:cubicBezTo>
                  <a:cubicBezTo>
                    <a:pt x="363" y="45"/>
                    <a:pt x="362" y="45"/>
                    <a:pt x="361" y="45"/>
                  </a:cubicBezTo>
                  <a:cubicBezTo>
                    <a:pt x="360" y="45"/>
                    <a:pt x="360" y="44"/>
                    <a:pt x="360" y="43"/>
                  </a:cubicBezTo>
                  <a:cubicBezTo>
                    <a:pt x="361" y="42"/>
                    <a:pt x="363" y="41"/>
                    <a:pt x="364" y="40"/>
                  </a:cubicBezTo>
                  <a:cubicBezTo>
                    <a:pt x="364" y="39"/>
                    <a:pt x="364" y="37"/>
                    <a:pt x="364" y="36"/>
                  </a:cubicBezTo>
                  <a:cubicBezTo>
                    <a:pt x="365" y="34"/>
                    <a:pt x="369" y="35"/>
                    <a:pt x="371" y="34"/>
                  </a:cubicBezTo>
                  <a:cubicBezTo>
                    <a:pt x="371" y="34"/>
                    <a:pt x="371" y="33"/>
                    <a:pt x="371" y="33"/>
                  </a:cubicBezTo>
                  <a:cubicBezTo>
                    <a:pt x="369" y="32"/>
                    <a:pt x="367" y="35"/>
                    <a:pt x="365" y="33"/>
                  </a:cubicBezTo>
                  <a:cubicBezTo>
                    <a:pt x="364" y="33"/>
                    <a:pt x="365" y="32"/>
                    <a:pt x="364" y="32"/>
                  </a:cubicBezTo>
                  <a:cubicBezTo>
                    <a:pt x="364" y="31"/>
                    <a:pt x="364" y="31"/>
                    <a:pt x="364" y="31"/>
                  </a:cubicBezTo>
                  <a:cubicBezTo>
                    <a:pt x="363" y="31"/>
                    <a:pt x="363" y="31"/>
                    <a:pt x="362" y="32"/>
                  </a:cubicBezTo>
                  <a:cubicBezTo>
                    <a:pt x="361" y="32"/>
                    <a:pt x="360" y="32"/>
                    <a:pt x="359" y="32"/>
                  </a:cubicBezTo>
                  <a:cubicBezTo>
                    <a:pt x="358" y="31"/>
                    <a:pt x="357" y="29"/>
                    <a:pt x="355" y="29"/>
                  </a:cubicBezTo>
                  <a:cubicBezTo>
                    <a:pt x="354" y="29"/>
                    <a:pt x="353" y="29"/>
                    <a:pt x="352" y="29"/>
                  </a:cubicBezTo>
                  <a:cubicBezTo>
                    <a:pt x="352" y="29"/>
                    <a:pt x="352" y="28"/>
                    <a:pt x="352" y="28"/>
                  </a:cubicBezTo>
                  <a:cubicBezTo>
                    <a:pt x="351" y="27"/>
                    <a:pt x="352" y="26"/>
                    <a:pt x="351" y="25"/>
                  </a:cubicBezTo>
                  <a:cubicBezTo>
                    <a:pt x="351" y="24"/>
                    <a:pt x="351" y="24"/>
                    <a:pt x="351" y="23"/>
                  </a:cubicBezTo>
                  <a:cubicBezTo>
                    <a:pt x="351" y="23"/>
                    <a:pt x="352" y="22"/>
                    <a:pt x="352" y="22"/>
                  </a:cubicBezTo>
                  <a:cubicBezTo>
                    <a:pt x="352" y="22"/>
                    <a:pt x="352" y="21"/>
                    <a:pt x="352" y="21"/>
                  </a:cubicBezTo>
                  <a:cubicBezTo>
                    <a:pt x="353" y="20"/>
                    <a:pt x="355" y="20"/>
                    <a:pt x="357" y="19"/>
                  </a:cubicBezTo>
                  <a:cubicBezTo>
                    <a:pt x="357" y="19"/>
                    <a:pt x="357" y="18"/>
                    <a:pt x="357" y="17"/>
                  </a:cubicBezTo>
                  <a:cubicBezTo>
                    <a:pt x="356" y="17"/>
                    <a:pt x="355" y="17"/>
                    <a:pt x="355" y="16"/>
                  </a:cubicBezTo>
                  <a:cubicBezTo>
                    <a:pt x="355" y="16"/>
                    <a:pt x="355" y="15"/>
                    <a:pt x="355" y="14"/>
                  </a:cubicBezTo>
                  <a:cubicBezTo>
                    <a:pt x="356" y="12"/>
                    <a:pt x="357" y="10"/>
                    <a:pt x="359" y="9"/>
                  </a:cubicBezTo>
                  <a:cubicBezTo>
                    <a:pt x="360" y="8"/>
                    <a:pt x="362" y="9"/>
                    <a:pt x="363" y="9"/>
                  </a:cubicBezTo>
                  <a:cubicBezTo>
                    <a:pt x="363" y="9"/>
                    <a:pt x="363" y="8"/>
                    <a:pt x="364" y="8"/>
                  </a:cubicBezTo>
                  <a:cubicBezTo>
                    <a:pt x="364" y="7"/>
                    <a:pt x="363" y="7"/>
                    <a:pt x="364" y="6"/>
                  </a:cubicBezTo>
                  <a:cubicBezTo>
                    <a:pt x="364" y="5"/>
                    <a:pt x="365" y="5"/>
                    <a:pt x="365" y="4"/>
                  </a:cubicBezTo>
                  <a:cubicBezTo>
                    <a:pt x="366" y="3"/>
                    <a:pt x="367" y="2"/>
                    <a:pt x="368" y="1"/>
                  </a:cubicBezTo>
                  <a:cubicBezTo>
                    <a:pt x="368" y="0"/>
                    <a:pt x="369" y="1"/>
                    <a:pt x="370" y="1"/>
                  </a:cubicBezTo>
                  <a:cubicBezTo>
                    <a:pt x="371" y="1"/>
                    <a:pt x="371" y="2"/>
                    <a:pt x="372" y="3"/>
                  </a:cubicBezTo>
                  <a:cubicBezTo>
                    <a:pt x="373" y="3"/>
                    <a:pt x="374" y="3"/>
                    <a:pt x="375" y="3"/>
                  </a:cubicBezTo>
                  <a:cubicBezTo>
                    <a:pt x="376" y="3"/>
                    <a:pt x="377" y="4"/>
                    <a:pt x="377" y="4"/>
                  </a:cubicBezTo>
                  <a:cubicBezTo>
                    <a:pt x="378" y="5"/>
                    <a:pt x="378" y="6"/>
                    <a:pt x="378" y="7"/>
                  </a:cubicBezTo>
                  <a:cubicBezTo>
                    <a:pt x="380" y="8"/>
                    <a:pt x="382" y="9"/>
                    <a:pt x="382" y="11"/>
                  </a:cubicBezTo>
                  <a:cubicBezTo>
                    <a:pt x="381" y="11"/>
                    <a:pt x="381" y="12"/>
                    <a:pt x="381" y="13"/>
                  </a:cubicBezTo>
                  <a:cubicBezTo>
                    <a:pt x="381" y="13"/>
                    <a:pt x="381" y="13"/>
                    <a:pt x="381" y="13"/>
                  </a:cubicBezTo>
                  <a:cubicBezTo>
                    <a:pt x="381" y="13"/>
                    <a:pt x="380" y="13"/>
                    <a:pt x="380" y="14"/>
                  </a:cubicBezTo>
                  <a:cubicBezTo>
                    <a:pt x="379" y="14"/>
                    <a:pt x="379" y="15"/>
                    <a:pt x="380" y="15"/>
                  </a:cubicBezTo>
                  <a:cubicBezTo>
                    <a:pt x="381" y="17"/>
                    <a:pt x="382" y="17"/>
                    <a:pt x="383" y="18"/>
                  </a:cubicBezTo>
                  <a:cubicBezTo>
                    <a:pt x="384" y="20"/>
                    <a:pt x="383" y="21"/>
                    <a:pt x="384" y="22"/>
                  </a:cubicBezTo>
                  <a:cubicBezTo>
                    <a:pt x="385" y="23"/>
                    <a:pt x="386" y="23"/>
                    <a:pt x="387" y="23"/>
                  </a:cubicBezTo>
                  <a:cubicBezTo>
                    <a:pt x="387" y="23"/>
                    <a:pt x="387" y="24"/>
                    <a:pt x="387" y="24"/>
                  </a:cubicBezTo>
                  <a:cubicBezTo>
                    <a:pt x="386" y="25"/>
                    <a:pt x="384" y="25"/>
                    <a:pt x="383" y="25"/>
                  </a:cubicBezTo>
                  <a:cubicBezTo>
                    <a:pt x="382" y="24"/>
                    <a:pt x="381" y="24"/>
                    <a:pt x="380" y="24"/>
                  </a:cubicBezTo>
                  <a:cubicBezTo>
                    <a:pt x="380" y="24"/>
                    <a:pt x="380" y="24"/>
                    <a:pt x="380" y="25"/>
                  </a:cubicBezTo>
                  <a:cubicBezTo>
                    <a:pt x="381" y="26"/>
                    <a:pt x="381" y="27"/>
                    <a:pt x="380" y="28"/>
                  </a:cubicBezTo>
                  <a:cubicBezTo>
                    <a:pt x="380" y="29"/>
                    <a:pt x="379" y="29"/>
                    <a:pt x="379" y="29"/>
                  </a:cubicBezTo>
                  <a:cubicBezTo>
                    <a:pt x="379" y="31"/>
                    <a:pt x="380" y="32"/>
                    <a:pt x="381" y="34"/>
                  </a:cubicBezTo>
                  <a:cubicBezTo>
                    <a:pt x="381" y="34"/>
                    <a:pt x="381" y="34"/>
                    <a:pt x="382" y="34"/>
                  </a:cubicBezTo>
                  <a:cubicBezTo>
                    <a:pt x="383" y="33"/>
                    <a:pt x="383" y="32"/>
                    <a:pt x="384" y="32"/>
                  </a:cubicBezTo>
                  <a:cubicBezTo>
                    <a:pt x="386" y="32"/>
                    <a:pt x="387" y="32"/>
                    <a:pt x="388" y="33"/>
                  </a:cubicBezTo>
                  <a:cubicBezTo>
                    <a:pt x="389" y="36"/>
                    <a:pt x="388" y="40"/>
                    <a:pt x="390" y="43"/>
                  </a:cubicBezTo>
                  <a:cubicBezTo>
                    <a:pt x="391" y="45"/>
                    <a:pt x="388" y="48"/>
                    <a:pt x="390" y="50"/>
                  </a:cubicBezTo>
                  <a:cubicBezTo>
                    <a:pt x="390" y="51"/>
                    <a:pt x="391" y="50"/>
                    <a:pt x="391" y="49"/>
                  </a:cubicBezTo>
                  <a:cubicBezTo>
                    <a:pt x="391" y="49"/>
                    <a:pt x="391" y="48"/>
                    <a:pt x="392" y="48"/>
                  </a:cubicBezTo>
                  <a:cubicBezTo>
                    <a:pt x="392" y="47"/>
                    <a:pt x="393" y="47"/>
                    <a:pt x="393" y="46"/>
                  </a:cubicBezTo>
                  <a:cubicBezTo>
                    <a:pt x="394" y="45"/>
                    <a:pt x="394" y="43"/>
                    <a:pt x="395" y="42"/>
                  </a:cubicBezTo>
                  <a:cubicBezTo>
                    <a:pt x="396" y="40"/>
                    <a:pt x="398" y="37"/>
                    <a:pt x="400" y="36"/>
                  </a:cubicBezTo>
                  <a:cubicBezTo>
                    <a:pt x="401" y="36"/>
                    <a:pt x="401" y="36"/>
                    <a:pt x="402" y="36"/>
                  </a:cubicBezTo>
                  <a:cubicBezTo>
                    <a:pt x="403" y="37"/>
                    <a:pt x="403" y="38"/>
                    <a:pt x="404" y="40"/>
                  </a:cubicBezTo>
                  <a:cubicBezTo>
                    <a:pt x="405" y="41"/>
                    <a:pt x="406" y="43"/>
                    <a:pt x="407" y="45"/>
                  </a:cubicBezTo>
                  <a:cubicBezTo>
                    <a:pt x="407" y="46"/>
                    <a:pt x="407" y="48"/>
                    <a:pt x="406" y="50"/>
                  </a:cubicBezTo>
                  <a:cubicBezTo>
                    <a:pt x="405" y="51"/>
                    <a:pt x="405" y="52"/>
                    <a:pt x="404" y="53"/>
                  </a:cubicBezTo>
                  <a:cubicBezTo>
                    <a:pt x="403" y="55"/>
                    <a:pt x="403" y="57"/>
                    <a:pt x="404" y="59"/>
                  </a:cubicBezTo>
                  <a:cubicBezTo>
                    <a:pt x="404" y="60"/>
                    <a:pt x="405" y="62"/>
                    <a:pt x="405" y="64"/>
                  </a:cubicBezTo>
                  <a:cubicBezTo>
                    <a:pt x="406" y="66"/>
                    <a:pt x="408" y="65"/>
                    <a:pt x="409" y="64"/>
                  </a:cubicBezTo>
                  <a:cubicBezTo>
                    <a:pt x="410" y="64"/>
                    <a:pt x="411" y="63"/>
                    <a:pt x="411" y="62"/>
                  </a:cubicBezTo>
                  <a:cubicBezTo>
                    <a:pt x="412" y="62"/>
                    <a:pt x="413" y="62"/>
                    <a:pt x="414" y="62"/>
                  </a:cubicBezTo>
                  <a:cubicBezTo>
                    <a:pt x="414" y="61"/>
                    <a:pt x="415" y="61"/>
                    <a:pt x="415" y="61"/>
                  </a:cubicBezTo>
                  <a:cubicBezTo>
                    <a:pt x="415" y="59"/>
                    <a:pt x="415" y="57"/>
                    <a:pt x="416" y="56"/>
                  </a:cubicBezTo>
                  <a:cubicBezTo>
                    <a:pt x="417" y="55"/>
                    <a:pt x="419" y="54"/>
                    <a:pt x="419" y="52"/>
                  </a:cubicBezTo>
                  <a:cubicBezTo>
                    <a:pt x="420" y="50"/>
                    <a:pt x="421" y="48"/>
                    <a:pt x="422" y="47"/>
                  </a:cubicBezTo>
                  <a:cubicBezTo>
                    <a:pt x="423" y="46"/>
                    <a:pt x="423" y="45"/>
                    <a:pt x="423" y="44"/>
                  </a:cubicBezTo>
                  <a:cubicBezTo>
                    <a:pt x="425" y="44"/>
                    <a:pt x="426" y="44"/>
                    <a:pt x="427" y="43"/>
                  </a:cubicBezTo>
                  <a:cubicBezTo>
                    <a:pt x="428" y="43"/>
                    <a:pt x="429" y="42"/>
                    <a:pt x="429" y="41"/>
                  </a:cubicBezTo>
                  <a:cubicBezTo>
                    <a:pt x="429" y="41"/>
                    <a:pt x="429" y="40"/>
                    <a:pt x="429" y="39"/>
                  </a:cubicBezTo>
                  <a:cubicBezTo>
                    <a:pt x="429" y="38"/>
                    <a:pt x="427" y="39"/>
                    <a:pt x="427" y="38"/>
                  </a:cubicBezTo>
                  <a:cubicBezTo>
                    <a:pt x="426" y="38"/>
                    <a:pt x="426" y="37"/>
                    <a:pt x="427" y="36"/>
                  </a:cubicBezTo>
                  <a:cubicBezTo>
                    <a:pt x="427" y="35"/>
                    <a:pt x="428" y="33"/>
                    <a:pt x="428" y="32"/>
                  </a:cubicBezTo>
                  <a:cubicBezTo>
                    <a:pt x="428" y="32"/>
                    <a:pt x="429" y="31"/>
                    <a:pt x="429" y="31"/>
                  </a:cubicBezTo>
                  <a:cubicBezTo>
                    <a:pt x="432" y="30"/>
                    <a:pt x="435" y="30"/>
                    <a:pt x="438" y="30"/>
                  </a:cubicBezTo>
                  <a:cubicBezTo>
                    <a:pt x="438" y="30"/>
                    <a:pt x="439" y="31"/>
                    <a:pt x="440" y="31"/>
                  </a:cubicBezTo>
                  <a:cubicBezTo>
                    <a:pt x="442" y="31"/>
                    <a:pt x="445" y="30"/>
                    <a:pt x="448" y="31"/>
                  </a:cubicBezTo>
                  <a:cubicBezTo>
                    <a:pt x="448" y="31"/>
                    <a:pt x="447" y="32"/>
                    <a:pt x="447" y="33"/>
                  </a:cubicBezTo>
                  <a:cubicBezTo>
                    <a:pt x="447" y="33"/>
                    <a:pt x="447" y="34"/>
                    <a:pt x="447" y="34"/>
                  </a:cubicBezTo>
                  <a:cubicBezTo>
                    <a:pt x="449" y="35"/>
                    <a:pt x="450" y="37"/>
                    <a:pt x="452" y="37"/>
                  </a:cubicBezTo>
                  <a:cubicBezTo>
                    <a:pt x="453" y="38"/>
                    <a:pt x="454" y="37"/>
                    <a:pt x="455" y="38"/>
                  </a:cubicBezTo>
                  <a:cubicBezTo>
                    <a:pt x="455" y="38"/>
                    <a:pt x="455" y="38"/>
                    <a:pt x="455" y="38"/>
                  </a:cubicBezTo>
                  <a:cubicBezTo>
                    <a:pt x="456" y="39"/>
                    <a:pt x="455" y="39"/>
                    <a:pt x="455" y="39"/>
                  </a:cubicBezTo>
                  <a:cubicBezTo>
                    <a:pt x="453" y="40"/>
                    <a:pt x="451" y="41"/>
                    <a:pt x="450" y="42"/>
                  </a:cubicBezTo>
                  <a:cubicBezTo>
                    <a:pt x="450" y="43"/>
                    <a:pt x="450" y="43"/>
                    <a:pt x="450" y="43"/>
                  </a:cubicBezTo>
                  <a:cubicBezTo>
                    <a:pt x="452" y="44"/>
                    <a:pt x="453" y="43"/>
                    <a:pt x="454" y="44"/>
                  </a:cubicBezTo>
                  <a:cubicBezTo>
                    <a:pt x="454" y="44"/>
                    <a:pt x="454" y="44"/>
                    <a:pt x="454" y="45"/>
                  </a:cubicBezTo>
                  <a:cubicBezTo>
                    <a:pt x="453" y="46"/>
                    <a:pt x="452" y="47"/>
                    <a:pt x="451" y="48"/>
                  </a:cubicBezTo>
                  <a:cubicBezTo>
                    <a:pt x="449" y="48"/>
                    <a:pt x="448" y="48"/>
                    <a:pt x="446" y="48"/>
                  </a:cubicBezTo>
                  <a:cubicBezTo>
                    <a:pt x="446" y="48"/>
                    <a:pt x="446" y="49"/>
                    <a:pt x="446" y="49"/>
                  </a:cubicBezTo>
                  <a:cubicBezTo>
                    <a:pt x="446" y="50"/>
                    <a:pt x="447" y="51"/>
                    <a:pt x="447" y="51"/>
                  </a:cubicBezTo>
                  <a:cubicBezTo>
                    <a:pt x="447" y="52"/>
                    <a:pt x="447" y="53"/>
                    <a:pt x="448" y="54"/>
                  </a:cubicBezTo>
                  <a:cubicBezTo>
                    <a:pt x="448" y="55"/>
                    <a:pt x="448" y="55"/>
                    <a:pt x="448" y="55"/>
                  </a:cubicBezTo>
                  <a:cubicBezTo>
                    <a:pt x="448" y="57"/>
                    <a:pt x="449" y="58"/>
                    <a:pt x="450" y="59"/>
                  </a:cubicBezTo>
                  <a:cubicBezTo>
                    <a:pt x="450" y="61"/>
                    <a:pt x="450" y="62"/>
                    <a:pt x="449" y="63"/>
                  </a:cubicBezTo>
                  <a:cubicBezTo>
                    <a:pt x="450" y="63"/>
                    <a:pt x="450" y="63"/>
                    <a:pt x="450" y="62"/>
                  </a:cubicBezTo>
                  <a:cubicBezTo>
                    <a:pt x="449" y="64"/>
                    <a:pt x="448" y="66"/>
                    <a:pt x="447" y="68"/>
                  </a:cubicBezTo>
                  <a:cubicBezTo>
                    <a:pt x="446" y="68"/>
                    <a:pt x="446" y="68"/>
                    <a:pt x="445" y="68"/>
                  </a:cubicBezTo>
                  <a:cubicBezTo>
                    <a:pt x="445" y="69"/>
                    <a:pt x="444" y="69"/>
                    <a:pt x="444" y="70"/>
                  </a:cubicBezTo>
                  <a:cubicBezTo>
                    <a:pt x="443" y="70"/>
                    <a:pt x="441" y="70"/>
                    <a:pt x="440" y="71"/>
                  </a:cubicBezTo>
                  <a:cubicBezTo>
                    <a:pt x="439" y="71"/>
                    <a:pt x="438" y="72"/>
                    <a:pt x="437" y="72"/>
                  </a:cubicBezTo>
                  <a:cubicBezTo>
                    <a:pt x="436" y="73"/>
                    <a:pt x="435" y="74"/>
                    <a:pt x="434" y="75"/>
                  </a:cubicBezTo>
                  <a:cubicBezTo>
                    <a:pt x="433" y="75"/>
                    <a:pt x="433" y="75"/>
                    <a:pt x="432" y="75"/>
                  </a:cubicBezTo>
                  <a:cubicBezTo>
                    <a:pt x="431" y="74"/>
                    <a:pt x="430" y="72"/>
                    <a:pt x="428" y="70"/>
                  </a:cubicBezTo>
                  <a:cubicBezTo>
                    <a:pt x="427" y="69"/>
                    <a:pt x="426" y="67"/>
                    <a:pt x="425" y="68"/>
                  </a:cubicBezTo>
                  <a:cubicBezTo>
                    <a:pt x="424" y="68"/>
                    <a:pt x="425" y="68"/>
                    <a:pt x="425" y="69"/>
                  </a:cubicBezTo>
                  <a:cubicBezTo>
                    <a:pt x="427" y="71"/>
                    <a:pt x="429" y="73"/>
                    <a:pt x="430" y="75"/>
                  </a:cubicBezTo>
                  <a:cubicBezTo>
                    <a:pt x="431" y="76"/>
                    <a:pt x="430" y="77"/>
                    <a:pt x="430" y="77"/>
                  </a:cubicBezTo>
                  <a:cubicBezTo>
                    <a:pt x="428" y="78"/>
                    <a:pt x="426" y="76"/>
                    <a:pt x="425" y="77"/>
                  </a:cubicBezTo>
                  <a:cubicBezTo>
                    <a:pt x="424" y="78"/>
                    <a:pt x="424" y="78"/>
                    <a:pt x="423" y="78"/>
                  </a:cubicBezTo>
                  <a:cubicBezTo>
                    <a:pt x="421" y="77"/>
                    <a:pt x="421" y="75"/>
                    <a:pt x="421" y="73"/>
                  </a:cubicBezTo>
                  <a:cubicBezTo>
                    <a:pt x="420" y="72"/>
                    <a:pt x="420" y="72"/>
                    <a:pt x="419" y="72"/>
                  </a:cubicBezTo>
                  <a:cubicBezTo>
                    <a:pt x="417" y="73"/>
                    <a:pt x="415" y="74"/>
                    <a:pt x="413" y="73"/>
                  </a:cubicBezTo>
                  <a:cubicBezTo>
                    <a:pt x="412" y="73"/>
                    <a:pt x="411" y="73"/>
                    <a:pt x="411" y="73"/>
                  </a:cubicBezTo>
                  <a:cubicBezTo>
                    <a:pt x="410" y="75"/>
                    <a:pt x="413" y="76"/>
                    <a:pt x="414" y="76"/>
                  </a:cubicBezTo>
                  <a:cubicBezTo>
                    <a:pt x="415" y="77"/>
                    <a:pt x="415" y="78"/>
                    <a:pt x="414" y="78"/>
                  </a:cubicBezTo>
                  <a:cubicBezTo>
                    <a:pt x="412" y="80"/>
                    <a:pt x="410" y="82"/>
                    <a:pt x="408" y="84"/>
                  </a:cubicBezTo>
                  <a:cubicBezTo>
                    <a:pt x="407" y="84"/>
                    <a:pt x="407" y="85"/>
                    <a:pt x="406" y="85"/>
                  </a:cubicBezTo>
                  <a:cubicBezTo>
                    <a:pt x="405" y="86"/>
                    <a:pt x="405" y="87"/>
                    <a:pt x="404" y="88"/>
                  </a:cubicBezTo>
                  <a:cubicBezTo>
                    <a:pt x="403" y="88"/>
                    <a:pt x="402" y="88"/>
                    <a:pt x="401" y="88"/>
                  </a:cubicBezTo>
                  <a:cubicBezTo>
                    <a:pt x="400" y="87"/>
                    <a:pt x="399" y="88"/>
                    <a:pt x="398" y="87"/>
                  </a:cubicBezTo>
                  <a:cubicBezTo>
                    <a:pt x="397" y="86"/>
                    <a:pt x="395" y="85"/>
                    <a:pt x="394" y="84"/>
                  </a:cubicBezTo>
                  <a:cubicBezTo>
                    <a:pt x="393" y="84"/>
                    <a:pt x="392" y="84"/>
                    <a:pt x="392" y="83"/>
                  </a:cubicBezTo>
                  <a:cubicBezTo>
                    <a:pt x="390" y="82"/>
                    <a:pt x="388" y="83"/>
                    <a:pt x="387" y="82"/>
                  </a:cubicBezTo>
                  <a:cubicBezTo>
                    <a:pt x="386" y="81"/>
                    <a:pt x="386" y="81"/>
                    <a:pt x="385" y="81"/>
                  </a:cubicBezTo>
                  <a:cubicBezTo>
                    <a:pt x="384" y="80"/>
                    <a:pt x="383" y="80"/>
                    <a:pt x="382" y="81"/>
                  </a:cubicBezTo>
                  <a:cubicBezTo>
                    <a:pt x="382" y="81"/>
                    <a:pt x="382" y="81"/>
                    <a:pt x="383" y="81"/>
                  </a:cubicBezTo>
                  <a:cubicBezTo>
                    <a:pt x="383" y="81"/>
                    <a:pt x="384" y="82"/>
                    <a:pt x="384" y="82"/>
                  </a:cubicBezTo>
                  <a:cubicBezTo>
                    <a:pt x="385" y="83"/>
                    <a:pt x="386" y="83"/>
                    <a:pt x="387" y="84"/>
                  </a:cubicBezTo>
                  <a:cubicBezTo>
                    <a:pt x="388" y="85"/>
                    <a:pt x="388" y="86"/>
                    <a:pt x="389" y="88"/>
                  </a:cubicBezTo>
                  <a:cubicBezTo>
                    <a:pt x="390" y="89"/>
                    <a:pt x="391" y="89"/>
                    <a:pt x="391" y="89"/>
                  </a:cubicBezTo>
                  <a:cubicBezTo>
                    <a:pt x="395" y="90"/>
                    <a:pt x="399" y="89"/>
                    <a:pt x="403" y="89"/>
                  </a:cubicBezTo>
                  <a:cubicBezTo>
                    <a:pt x="404" y="92"/>
                    <a:pt x="402" y="94"/>
                    <a:pt x="401" y="95"/>
                  </a:cubicBezTo>
                  <a:cubicBezTo>
                    <a:pt x="399" y="97"/>
                    <a:pt x="398" y="98"/>
                    <a:pt x="397" y="100"/>
                  </a:cubicBezTo>
                  <a:cubicBezTo>
                    <a:pt x="394" y="102"/>
                    <a:pt x="391" y="104"/>
                    <a:pt x="388" y="106"/>
                  </a:cubicBezTo>
                  <a:cubicBezTo>
                    <a:pt x="386" y="106"/>
                    <a:pt x="383" y="106"/>
                    <a:pt x="381" y="104"/>
                  </a:cubicBezTo>
                  <a:cubicBezTo>
                    <a:pt x="381" y="104"/>
                    <a:pt x="379" y="104"/>
                    <a:pt x="379" y="104"/>
                  </a:cubicBezTo>
                  <a:cubicBezTo>
                    <a:pt x="379" y="105"/>
                    <a:pt x="379" y="106"/>
                    <a:pt x="379" y="107"/>
                  </a:cubicBezTo>
                  <a:cubicBezTo>
                    <a:pt x="379" y="107"/>
                    <a:pt x="379" y="107"/>
                    <a:pt x="379" y="107"/>
                  </a:cubicBezTo>
                  <a:cubicBezTo>
                    <a:pt x="379" y="109"/>
                    <a:pt x="377" y="109"/>
                    <a:pt x="376" y="110"/>
                  </a:cubicBezTo>
                  <a:cubicBezTo>
                    <a:pt x="374" y="111"/>
                    <a:pt x="371" y="110"/>
                    <a:pt x="369" y="111"/>
                  </a:cubicBezTo>
                  <a:cubicBezTo>
                    <a:pt x="369" y="111"/>
                    <a:pt x="369" y="111"/>
                    <a:pt x="369" y="111"/>
                  </a:cubicBezTo>
                  <a:cubicBezTo>
                    <a:pt x="370" y="113"/>
                    <a:pt x="372" y="112"/>
                    <a:pt x="372" y="113"/>
                  </a:cubicBezTo>
                  <a:cubicBezTo>
                    <a:pt x="373" y="115"/>
                    <a:pt x="372" y="117"/>
                    <a:pt x="371" y="118"/>
                  </a:cubicBezTo>
                  <a:cubicBezTo>
                    <a:pt x="370" y="120"/>
                    <a:pt x="370" y="121"/>
                    <a:pt x="369" y="122"/>
                  </a:cubicBezTo>
                  <a:cubicBezTo>
                    <a:pt x="366" y="122"/>
                    <a:pt x="363" y="121"/>
                    <a:pt x="361" y="122"/>
                  </a:cubicBezTo>
                  <a:cubicBezTo>
                    <a:pt x="360" y="122"/>
                    <a:pt x="361" y="123"/>
                    <a:pt x="361" y="123"/>
                  </a:cubicBezTo>
                  <a:cubicBezTo>
                    <a:pt x="362" y="124"/>
                    <a:pt x="361" y="125"/>
                    <a:pt x="360" y="126"/>
                  </a:cubicBezTo>
                  <a:cubicBezTo>
                    <a:pt x="359" y="126"/>
                    <a:pt x="357" y="126"/>
                    <a:pt x="356" y="127"/>
                  </a:cubicBezTo>
                  <a:cubicBezTo>
                    <a:pt x="355" y="128"/>
                    <a:pt x="354" y="128"/>
                    <a:pt x="353" y="129"/>
                  </a:cubicBezTo>
                  <a:cubicBezTo>
                    <a:pt x="353" y="130"/>
                    <a:pt x="353" y="131"/>
                    <a:pt x="352" y="132"/>
                  </a:cubicBezTo>
                  <a:cubicBezTo>
                    <a:pt x="352" y="132"/>
                    <a:pt x="351" y="132"/>
                    <a:pt x="350" y="132"/>
                  </a:cubicBezTo>
                  <a:cubicBezTo>
                    <a:pt x="350" y="133"/>
                    <a:pt x="350" y="133"/>
                    <a:pt x="350" y="133"/>
                  </a:cubicBezTo>
                  <a:cubicBezTo>
                    <a:pt x="350" y="134"/>
                    <a:pt x="349" y="135"/>
                    <a:pt x="349" y="135"/>
                  </a:cubicBezTo>
                  <a:cubicBezTo>
                    <a:pt x="347" y="137"/>
                    <a:pt x="344" y="138"/>
                    <a:pt x="343" y="141"/>
                  </a:cubicBezTo>
                  <a:cubicBezTo>
                    <a:pt x="342" y="143"/>
                    <a:pt x="340" y="145"/>
                    <a:pt x="338" y="147"/>
                  </a:cubicBezTo>
                  <a:cubicBezTo>
                    <a:pt x="337" y="148"/>
                    <a:pt x="338" y="150"/>
                    <a:pt x="337" y="151"/>
                  </a:cubicBezTo>
                  <a:cubicBezTo>
                    <a:pt x="336" y="152"/>
                    <a:pt x="335" y="153"/>
                    <a:pt x="334" y="155"/>
                  </a:cubicBezTo>
                  <a:cubicBezTo>
                    <a:pt x="334" y="159"/>
                    <a:pt x="333" y="163"/>
                    <a:pt x="331" y="167"/>
                  </a:cubicBezTo>
                  <a:cubicBezTo>
                    <a:pt x="331" y="167"/>
                    <a:pt x="331" y="168"/>
                    <a:pt x="331" y="169"/>
                  </a:cubicBezTo>
                  <a:cubicBezTo>
                    <a:pt x="332" y="170"/>
                    <a:pt x="333" y="170"/>
                    <a:pt x="334" y="170"/>
                  </a:cubicBezTo>
                  <a:cubicBezTo>
                    <a:pt x="335" y="171"/>
                    <a:pt x="337" y="170"/>
                    <a:pt x="338" y="170"/>
                  </a:cubicBezTo>
                  <a:cubicBezTo>
                    <a:pt x="339" y="169"/>
                    <a:pt x="340" y="169"/>
                    <a:pt x="341" y="169"/>
                  </a:cubicBezTo>
                  <a:cubicBezTo>
                    <a:pt x="342" y="170"/>
                    <a:pt x="342" y="170"/>
                    <a:pt x="342" y="171"/>
                  </a:cubicBezTo>
                  <a:cubicBezTo>
                    <a:pt x="344" y="175"/>
                    <a:pt x="344" y="179"/>
                    <a:pt x="344" y="183"/>
                  </a:cubicBezTo>
                  <a:cubicBezTo>
                    <a:pt x="344" y="184"/>
                    <a:pt x="345" y="184"/>
                    <a:pt x="345" y="184"/>
                  </a:cubicBezTo>
                  <a:cubicBezTo>
                    <a:pt x="345" y="186"/>
                    <a:pt x="344" y="188"/>
                    <a:pt x="344" y="190"/>
                  </a:cubicBezTo>
                  <a:cubicBezTo>
                    <a:pt x="346" y="190"/>
                    <a:pt x="349" y="190"/>
                    <a:pt x="351" y="190"/>
                  </a:cubicBezTo>
                  <a:cubicBezTo>
                    <a:pt x="352" y="190"/>
                    <a:pt x="353" y="189"/>
                    <a:pt x="354" y="188"/>
                  </a:cubicBezTo>
                  <a:cubicBezTo>
                    <a:pt x="355" y="188"/>
                    <a:pt x="355" y="188"/>
                    <a:pt x="355" y="188"/>
                  </a:cubicBezTo>
                  <a:cubicBezTo>
                    <a:pt x="357" y="187"/>
                    <a:pt x="358" y="187"/>
                    <a:pt x="360" y="188"/>
                  </a:cubicBezTo>
                  <a:cubicBezTo>
                    <a:pt x="361" y="189"/>
                    <a:pt x="363" y="190"/>
                    <a:pt x="364" y="191"/>
                  </a:cubicBezTo>
                  <a:cubicBezTo>
                    <a:pt x="365" y="192"/>
                    <a:pt x="367" y="192"/>
                    <a:pt x="368" y="193"/>
                  </a:cubicBezTo>
                  <a:cubicBezTo>
                    <a:pt x="368" y="193"/>
                    <a:pt x="368" y="194"/>
                    <a:pt x="369" y="194"/>
                  </a:cubicBezTo>
                  <a:cubicBezTo>
                    <a:pt x="371" y="196"/>
                    <a:pt x="373" y="199"/>
                    <a:pt x="376" y="202"/>
                  </a:cubicBezTo>
                  <a:cubicBezTo>
                    <a:pt x="378" y="203"/>
                    <a:pt x="381" y="205"/>
                    <a:pt x="384" y="205"/>
                  </a:cubicBezTo>
                  <a:cubicBezTo>
                    <a:pt x="386" y="205"/>
                    <a:pt x="388" y="207"/>
                    <a:pt x="390" y="208"/>
                  </a:cubicBezTo>
                  <a:cubicBezTo>
                    <a:pt x="391" y="209"/>
                    <a:pt x="392" y="211"/>
                    <a:pt x="394" y="212"/>
                  </a:cubicBezTo>
                  <a:cubicBezTo>
                    <a:pt x="401" y="213"/>
                    <a:pt x="408" y="210"/>
                    <a:pt x="415" y="214"/>
                  </a:cubicBezTo>
                  <a:cubicBezTo>
                    <a:pt x="415" y="216"/>
                    <a:pt x="414" y="218"/>
                    <a:pt x="413" y="220"/>
                  </a:cubicBezTo>
                  <a:cubicBezTo>
                    <a:pt x="413" y="224"/>
                    <a:pt x="413" y="229"/>
                    <a:pt x="412" y="234"/>
                  </a:cubicBezTo>
                  <a:cubicBezTo>
                    <a:pt x="412" y="236"/>
                    <a:pt x="411" y="239"/>
                    <a:pt x="413" y="241"/>
                  </a:cubicBezTo>
                  <a:cubicBezTo>
                    <a:pt x="414" y="242"/>
                    <a:pt x="415" y="244"/>
                    <a:pt x="415" y="246"/>
                  </a:cubicBezTo>
                  <a:cubicBezTo>
                    <a:pt x="416" y="247"/>
                    <a:pt x="417" y="248"/>
                    <a:pt x="418" y="248"/>
                  </a:cubicBezTo>
                  <a:cubicBezTo>
                    <a:pt x="419" y="249"/>
                    <a:pt x="421" y="250"/>
                    <a:pt x="421" y="251"/>
                  </a:cubicBezTo>
                  <a:cubicBezTo>
                    <a:pt x="422" y="253"/>
                    <a:pt x="420" y="255"/>
                    <a:pt x="422" y="257"/>
                  </a:cubicBezTo>
                  <a:cubicBezTo>
                    <a:pt x="422" y="258"/>
                    <a:pt x="424" y="258"/>
                    <a:pt x="425" y="259"/>
                  </a:cubicBezTo>
                  <a:cubicBezTo>
                    <a:pt x="426" y="260"/>
                    <a:pt x="427" y="259"/>
                    <a:pt x="427" y="258"/>
                  </a:cubicBezTo>
                  <a:cubicBezTo>
                    <a:pt x="428" y="256"/>
                    <a:pt x="428" y="255"/>
                    <a:pt x="429" y="253"/>
                  </a:cubicBezTo>
                  <a:cubicBezTo>
                    <a:pt x="431" y="253"/>
                    <a:pt x="432" y="256"/>
                    <a:pt x="433" y="257"/>
                  </a:cubicBezTo>
                  <a:cubicBezTo>
                    <a:pt x="433" y="258"/>
                    <a:pt x="433" y="258"/>
                    <a:pt x="434" y="258"/>
                  </a:cubicBezTo>
                  <a:cubicBezTo>
                    <a:pt x="434" y="256"/>
                    <a:pt x="433" y="253"/>
                    <a:pt x="434" y="252"/>
                  </a:cubicBezTo>
                  <a:cubicBezTo>
                    <a:pt x="434" y="250"/>
                    <a:pt x="436" y="249"/>
                    <a:pt x="436" y="247"/>
                  </a:cubicBezTo>
                  <a:cubicBezTo>
                    <a:pt x="437" y="243"/>
                    <a:pt x="436" y="239"/>
                    <a:pt x="436" y="235"/>
                  </a:cubicBezTo>
                  <a:cubicBezTo>
                    <a:pt x="437" y="233"/>
                    <a:pt x="436" y="231"/>
                    <a:pt x="435" y="230"/>
                  </a:cubicBezTo>
                  <a:cubicBezTo>
                    <a:pt x="434" y="229"/>
                    <a:pt x="435" y="228"/>
                    <a:pt x="436" y="227"/>
                  </a:cubicBezTo>
                  <a:cubicBezTo>
                    <a:pt x="436" y="226"/>
                    <a:pt x="436" y="225"/>
                    <a:pt x="436" y="225"/>
                  </a:cubicBezTo>
                  <a:cubicBezTo>
                    <a:pt x="435" y="224"/>
                    <a:pt x="434" y="223"/>
                    <a:pt x="434" y="222"/>
                  </a:cubicBezTo>
                  <a:cubicBezTo>
                    <a:pt x="433" y="221"/>
                    <a:pt x="433" y="219"/>
                    <a:pt x="434" y="217"/>
                  </a:cubicBezTo>
                  <a:cubicBezTo>
                    <a:pt x="434" y="217"/>
                    <a:pt x="434" y="217"/>
                    <a:pt x="434" y="217"/>
                  </a:cubicBezTo>
                  <a:cubicBezTo>
                    <a:pt x="437" y="216"/>
                    <a:pt x="439" y="216"/>
                    <a:pt x="442" y="215"/>
                  </a:cubicBezTo>
                  <a:cubicBezTo>
                    <a:pt x="443" y="214"/>
                    <a:pt x="444" y="215"/>
                    <a:pt x="445" y="215"/>
                  </a:cubicBezTo>
                  <a:cubicBezTo>
                    <a:pt x="450" y="212"/>
                    <a:pt x="453" y="207"/>
                    <a:pt x="456" y="202"/>
                  </a:cubicBezTo>
                  <a:cubicBezTo>
                    <a:pt x="457" y="201"/>
                    <a:pt x="458" y="200"/>
                    <a:pt x="459" y="199"/>
                  </a:cubicBezTo>
                  <a:cubicBezTo>
                    <a:pt x="460" y="196"/>
                    <a:pt x="456" y="189"/>
                    <a:pt x="459" y="189"/>
                  </a:cubicBezTo>
                  <a:cubicBezTo>
                    <a:pt x="459" y="189"/>
                    <a:pt x="459" y="187"/>
                    <a:pt x="459" y="187"/>
                  </a:cubicBezTo>
                  <a:cubicBezTo>
                    <a:pt x="458" y="186"/>
                    <a:pt x="459" y="184"/>
                    <a:pt x="458" y="183"/>
                  </a:cubicBezTo>
                  <a:cubicBezTo>
                    <a:pt x="458" y="181"/>
                    <a:pt x="457" y="180"/>
                    <a:pt x="456" y="178"/>
                  </a:cubicBezTo>
                  <a:cubicBezTo>
                    <a:pt x="455" y="176"/>
                    <a:pt x="452" y="175"/>
                    <a:pt x="450" y="173"/>
                  </a:cubicBezTo>
                  <a:cubicBezTo>
                    <a:pt x="450" y="173"/>
                    <a:pt x="450" y="171"/>
                    <a:pt x="451" y="170"/>
                  </a:cubicBezTo>
                  <a:cubicBezTo>
                    <a:pt x="452" y="168"/>
                    <a:pt x="454" y="166"/>
                    <a:pt x="456" y="164"/>
                  </a:cubicBezTo>
                  <a:cubicBezTo>
                    <a:pt x="457" y="162"/>
                    <a:pt x="458" y="160"/>
                    <a:pt x="459" y="158"/>
                  </a:cubicBezTo>
                  <a:cubicBezTo>
                    <a:pt x="460" y="156"/>
                    <a:pt x="459" y="155"/>
                    <a:pt x="459" y="153"/>
                  </a:cubicBezTo>
                  <a:cubicBezTo>
                    <a:pt x="458" y="151"/>
                    <a:pt x="459" y="149"/>
                    <a:pt x="458" y="147"/>
                  </a:cubicBezTo>
                  <a:cubicBezTo>
                    <a:pt x="458" y="147"/>
                    <a:pt x="458" y="146"/>
                    <a:pt x="457" y="146"/>
                  </a:cubicBezTo>
                  <a:cubicBezTo>
                    <a:pt x="457" y="145"/>
                    <a:pt x="457" y="145"/>
                    <a:pt x="457" y="144"/>
                  </a:cubicBezTo>
                  <a:cubicBezTo>
                    <a:pt x="458" y="143"/>
                    <a:pt x="459" y="141"/>
                    <a:pt x="459" y="140"/>
                  </a:cubicBezTo>
                  <a:cubicBezTo>
                    <a:pt x="460" y="139"/>
                    <a:pt x="461" y="139"/>
                    <a:pt x="462" y="138"/>
                  </a:cubicBezTo>
                  <a:cubicBezTo>
                    <a:pt x="462" y="137"/>
                    <a:pt x="462" y="137"/>
                    <a:pt x="462" y="136"/>
                  </a:cubicBezTo>
                  <a:cubicBezTo>
                    <a:pt x="461" y="135"/>
                    <a:pt x="459" y="134"/>
                    <a:pt x="459" y="133"/>
                  </a:cubicBezTo>
                  <a:cubicBezTo>
                    <a:pt x="459" y="132"/>
                    <a:pt x="459" y="131"/>
                    <a:pt x="459" y="130"/>
                  </a:cubicBezTo>
                  <a:cubicBezTo>
                    <a:pt x="461" y="127"/>
                    <a:pt x="463" y="125"/>
                    <a:pt x="465" y="123"/>
                  </a:cubicBezTo>
                  <a:cubicBezTo>
                    <a:pt x="468" y="123"/>
                    <a:pt x="470" y="123"/>
                    <a:pt x="473" y="125"/>
                  </a:cubicBezTo>
                  <a:cubicBezTo>
                    <a:pt x="473" y="125"/>
                    <a:pt x="474" y="125"/>
                    <a:pt x="474" y="125"/>
                  </a:cubicBezTo>
                  <a:cubicBezTo>
                    <a:pt x="476" y="125"/>
                    <a:pt x="477" y="126"/>
                    <a:pt x="479" y="127"/>
                  </a:cubicBezTo>
                  <a:cubicBezTo>
                    <a:pt x="480" y="127"/>
                    <a:pt x="481" y="128"/>
                    <a:pt x="482" y="128"/>
                  </a:cubicBezTo>
                  <a:cubicBezTo>
                    <a:pt x="485" y="129"/>
                    <a:pt x="489" y="129"/>
                    <a:pt x="491" y="126"/>
                  </a:cubicBezTo>
                  <a:cubicBezTo>
                    <a:pt x="492" y="126"/>
                    <a:pt x="493" y="126"/>
                    <a:pt x="494" y="126"/>
                  </a:cubicBezTo>
                  <a:cubicBezTo>
                    <a:pt x="496" y="128"/>
                    <a:pt x="498" y="129"/>
                    <a:pt x="499" y="131"/>
                  </a:cubicBezTo>
                  <a:cubicBezTo>
                    <a:pt x="500" y="133"/>
                    <a:pt x="500" y="134"/>
                    <a:pt x="502" y="135"/>
                  </a:cubicBezTo>
                  <a:cubicBezTo>
                    <a:pt x="503" y="136"/>
                    <a:pt x="504" y="136"/>
                    <a:pt x="505" y="137"/>
                  </a:cubicBezTo>
                  <a:cubicBezTo>
                    <a:pt x="505" y="137"/>
                    <a:pt x="505" y="137"/>
                    <a:pt x="505" y="138"/>
                  </a:cubicBezTo>
                  <a:cubicBezTo>
                    <a:pt x="505" y="138"/>
                    <a:pt x="504" y="138"/>
                    <a:pt x="503" y="138"/>
                  </a:cubicBezTo>
                  <a:cubicBezTo>
                    <a:pt x="503" y="139"/>
                    <a:pt x="503" y="140"/>
                    <a:pt x="504" y="141"/>
                  </a:cubicBezTo>
                  <a:cubicBezTo>
                    <a:pt x="505" y="141"/>
                    <a:pt x="506" y="142"/>
                    <a:pt x="507" y="142"/>
                  </a:cubicBezTo>
                  <a:cubicBezTo>
                    <a:pt x="508" y="143"/>
                    <a:pt x="510" y="143"/>
                    <a:pt x="511" y="142"/>
                  </a:cubicBezTo>
                  <a:cubicBezTo>
                    <a:pt x="512" y="141"/>
                    <a:pt x="513" y="141"/>
                    <a:pt x="514" y="142"/>
                  </a:cubicBezTo>
                  <a:cubicBezTo>
                    <a:pt x="515" y="143"/>
                    <a:pt x="515" y="145"/>
                    <a:pt x="516" y="146"/>
                  </a:cubicBezTo>
                  <a:cubicBezTo>
                    <a:pt x="516" y="146"/>
                    <a:pt x="516" y="146"/>
                    <a:pt x="517" y="146"/>
                  </a:cubicBezTo>
                  <a:cubicBezTo>
                    <a:pt x="518" y="145"/>
                    <a:pt x="519" y="142"/>
                    <a:pt x="520" y="143"/>
                  </a:cubicBezTo>
                  <a:cubicBezTo>
                    <a:pt x="521" y="143"/>
                    <a:pt x="521" y="144"/>
                    <a:pt x="520" y="145"/>
                  </a:cubicBezTo>
                  <a:cubicBezTo>
                    <a:pt x="520" y="146"/>
                    <a:pt x="519" y="147"/>
                    <a:pt x="518" y="147"/>
                  </a:cubicBezTo>
                  <a:cubicBezTo>
                    <a:pt x="519" y="147"/>
                    <a:pt x="519" y="147"/>
                    <a:pt x="519" y="147"/>
                  </a:cubicBezTo>
                  <a:cubicBezTo>
                    <a:pt x="518" y="148"/>
                    <a:pt x="517" y="148"/>
                    <a:pt x="517" y="149"/>
                  </a:cubicBezTo>
                  <a:cubicBezTo>
                    <a:pt x="516" y="150"/>
                    <a:pt x="517" y="152"/>
                    <a:pt x="516" y="153"/>
                  </a:cubicBezTo>
                  <a:cubicBezTo>
                    <a:pt x="516" y="153"/>
                    <a:pt x="516" y="154"/>
                    <a:pt x="516" y="154"/>
                  </a:cubicBezTo>
                  <a:cubicBezTo>
                    <a:pt x="516" y="156"/>
                    <a:pt x="516" y="157"/>
                    <a:pt x="515" y="158"/>
                  </a:cubicBezTo>
                  <a:cubicBezTo>
                    <a:pt x="515" y="159"/>
                    <a:pt x="514" y="160"/>
                    <a:pt x="515" y="161"/>
                  </a:cubicBezTo>
                  <a:cubicBezTo>
                    <a:pt x="515" y="162"/>
                    <a:pt x="516" y="162"/>
                    <a:pt x="516" y="163"/>
                  </a:cubicBezTo>
                  <a:cubicBezTo>
                    <a:pt x="517" y="164"/>
                    <a:pt x="517" y="166"/>
                    <a:pt x="516" y="167"/>
                  </a:cubicBezTo>
                  <a:cubicBezTo>
                    <a:pt x="516" y="169"/>
                    <a:pt x="514" y="169"/>
                    <a:pt x="513" y="170"/>
                  </a:cubicBezTo>
                  <a:cubicBezTo>
                    <a:pt x="513" y="171"/>
                    <a:pt x="513" y="172"/>
                    <a:pt x="513" y="172"/>
                  </a:cubicBezTo>
                  <a:cubicBezTo>
                    <a:pt x="515" y="173"/>
                    <a:pt x="516" y="171"/>
                    <a:pt x="518" y="170"/>
                  </a:cubicBezTo>
                  <a:cubicBezTo>
                    <a:pt x="519" y="169"/>
                    <a:pt x="521" y="169"/>
                    <a:pt x="522" y="170"/>
                  </a:cubicBezTo>
                  <a:cubicBezTo>
                    <a:pt x="523" y="171"/>
                    <a:pt x="524" y="173"/>
                    <a:pt x="525" y="174"/>
                  </a:cubicBezTo>
                  <a:cubicBezTo>
                    <a:pt x="526" y="175"/>
                    <a:pt x="526" y="176"/>
                    <a:pt x="527" y="177"/>
                  </a:cubicBezTo>
                  <a:cubicBezTo>
                    <a:pt x="527" y="178"/>
                    <a:pt x="528" y="178"/>
                    <a:pt x="528" y="177"/>
                  </a:cubicBezTo>
                  <a:cubicBezTo>
                    <a:pt x="528" y="177"/>
                    <a:pt x="528" y="176"/>
                    <a:pt x="529" y="176"/>
                  </a:cubicBezTo>
                  <a:cubicBezTo>
                    <a:pt x="529" y="175"/>
                    <a:pt x="529" y="175"/>
                    <a:pt x="530" y="175"/>
                  </a:cubicBezTo>
                  <a:cubicBezTo>
                    <a:pt x="532" y="175"/>
                    <a:pt x="533" y="175"/>
                    <a:pt x="535" y="174"/>
                  </a:cubicBezTo>
                  <a:cubicBezTo>
                    <a:pt x="536" y="173"/>
                    <a:pt x="537" y="171"/>
                    <a:pt x="538" y="170"/>
                  </a:cubicBezTo>
                  <a:cubicBezTo>
                    <a:pt x="539" y="170"/>
                    <a:pt x="541" y="170"/>
                    <a:pt x="542" y="169"/>
                  </a:cubicBezTo>
                  <a:cubicBezTo>
                    <a:pt x="543" y="168"/>
                    <a:pt x="544" y="166"/>
                    <a:pt x="545" y="164"/>
                  </a:cubicBezTo>
                  <a:cubicBezTo>
                    <a:pt x="546" y="163"/>
                    <a:pt x="546" y="161"/>
                    <a:pt x="547" y="160"/>
                  </a:cubicBezTo>
                  <a:cubicBezTo>
                    <a:pt x="548" y="158"/>
                    <a:pt x="550" y="157"/>
                    <a:pt x="551" y="155"/>
                  </a:cubicBezTo>
                  <a:cubicBezTo>
                    <a:pt x="552" y="153"/>
                    <a:pt x="552" y="152"/>
                    <a:pt x="553" y="150"/>
                  </a:cubicBezTo>
                  <a:cubicBezTo>
                    <a:pt x="553" y="149"/>
                    <a:pt x="554" y="149"/>
                    <a:pt x="556" y="150"/>
                  </a:cubicBezTo>
                  <a:cubicBezTo>
                    <a:pt x="556" y="152"/>
                    <a:pt x="555" y="154"/>
                    <a:pt x="556" y="156"/>
                  </a:cubicBezTo>
                  <a:cubicBezTo>
                    <a:pt x="557" y="157"/>
                    <a:pt x="557" y="159"/>
                    <a:pt x="558" y="162"/>
                  </a:cubicBezTo>
                  <a:cubicBezTo>
                    <a:pt x="559" y="164"/>
                    <a:pt x="560" y="165"/>
                    <a:pt x="561" y="168"/>
                  </a:cubicBezTo>
                  <a:cubicBezTo>
                    <a:pt x="562" y="169"/>
                    <a:pt x="562" y="170"/>
                    <a:pt x="563" y="172"/>
                  </a:cubicBezTo>
                  <a:cubicBezTo>
                    <a:pt x="563" y="173"/>
                    <a:pt x="564" y="173"/>
                    <a:pt x="565" y="174"/>
                  </a:cubicBezTo>
                  <a:cubicBezTo>
                    <a:pt x="565" y="175"/>
                    <a:pt x="565" y="176"/>
                    <a:pt x="565" y="177"/>
                  </a:cubicBezTo>
                  <a:cubicBezTo>
                    <a:pt x="565" y="178"/>
                    <a:pt x="567" y="180"/>
                    <a:pt x="568" y="181"/>
                  </a:cubicBezTo>
                  <a:cubicBezTo>
                    <a:pt x="568" y="183"/>
                    <a:pt x="568" y="184"/>
                    <a:pt x="568" y="186"/>
                  </a:cubicBezTo>
                  <a:cubicBezTo>
                    <a:pt x="568" y="187"/>
                    <a:pt x="569" y="188"/>
                    <a:pt x="569" y="188"/>
                  </a:cubicBezTo>
                  <a:cubicBezTo>
                    <a:pt x="570" y="188"/>
                    <a:pt x="571" y="188"/>
                    <a:pt x="571" y="189"/>
                  </a:cubicBezTo>
                  <a:cubicBezTo>
                    <a:pt x="572" y="189"/>
                    <a:pt x="571" y="190"/>
                    <a:pt x="571" y="191"/>
                  </a:cubicBezTo>
                  <a:cubicBezTo>
                    <a:pt x="571" y="193"/>
                    <a:pt x="570" y="193"/>
                    <a:pt x="569" y="194"/>
                  </a:cubicBezTo>
                  <a:cubicBezTo>
                    <a:pt x="568" y="195"/>
                    <a:pt x="568" y="196"/>
                    <a:pt x="567" y="196"/>
                  </a:cubicBezTo>
                  <a:cubicBezTo>
                    <a:pt x="567" y="197"/>
                    <a:pt x="567" y="198"/>
                    <a:pt x="567" y="199"/>
                  </a:cubicBezTo>
                  <a:cubicBezTo>
                    <a:pt x="568" y="199"/>
                    <a:pt x="568" y="199"/>
                    <a:pt x="569" y="200"/>
                  </a:cubicBezTo>
                  <a:cubicBezTo>
                    <a:pt x="571" y="202"/>
                    <a:pt x="573" y="204"/>
                    <a:pt x="575" y="207"/>
                  </a:cubicBezTo>
                  <a:cubicBezTo>
                    <a:pt x="576" y="207"/>
                    <a:pt x="575" y="209"/>
                    <a:pt x="575" y="209"/>
                  </a:cubicBezTo>
                  <a:cubicBezTo>
                    <a:pt x="576" y="210"/>
                    <a:pt x="576" y="211"/>
                    <a:pt x="577" y="212"/>
                  </a:cubicBezTo>
                  <a:cubicBezTo>
                    <a:pt x="578" y="212"/>
                    <a:pt x="579" y="212"/>
                    <a:pt x="580" y="212"/>
                  </a:cubicBezTo>
                  <a:cubicBezTo>
                    <a:pt x="581" y="213"/>
                    <a:pt x="581" y="214"/>
                    <a:pt x="581" y="214"/>
                  </a:cubicBezTo>
                  <a:cubicBezTo>
                    <a:pt x="582" y="215"/>
                    <a:pt x="583" y="214"/>
                    <a:pt x="584" y="214"/>
                  </a:cubicBezTo>
                  <a:cubicBezTo>
                    <a:pt x="585" y="213"/>
                    <a:pt x="586" y="213"/>
                    <a:pt x="587" y="214"/>
                  </a:cubicBezTo>
                  <a:cubicBezTo>
                    <a:pt x="587" y="215"/>
                    <a:pt x="587" y="217"/>
                    <a:pt x="587" y="217"/>
                  </a:cubicBezTo>
                  <a:cubicBezTo>
                    <a:pt x="588" y="218"/>
                    <a:pt x="588" y="218"/>
                    <a:pt x="589" y="217"/>
                  </a:cubicBezTo>
                  <a:cubicBezTo>
                    <a:pt x="590" y="217"/>
                    <a:pt x="591" y="216"/>
                    <a:pt x="593" y="217"/>
                  </a:cubicBezTo>
                  <a:cubicBezTo>
                    <a:pt x="594" y="217"/>
                    <a:pt x="594" y="218"/>
                    <a:pt x="594" y="218"/>
                  </a:cubicBezTo>
                  <a:cubicBezTo>
                    <a:pt x="595" y="219"/>
                    <a:pt x="596" y="219"/>
                    <a:pt x="597" y="219"/>
                  </a:cubicBezTo>
                  <a:cubicBezTo>
                    <a:pt x="597" y="220"/>
                    <a:pt x="597" y="221"/>
                    <a:pt x="597" y="221"/>
                  </a:cubicBezTo>
                  <a:cubicBezTo>
                    <a:pt x="595" y="222"/>
                    <a:pt x="594" y="222"/>
                    <a:pt x="593" y="222"/>
                  </a:cubicBezTo>
                  <a:cubicBezTo>
                    <a:pt x="591" y="223"/>
                    <a:pt x="589" y="224"/>
                    <a:pt x="587" y="225"/>
                  </a:cubicBezTo>
                  <a:cubicBezTo>
                    <a:pt x="587" y="225"/>
                    <a:pt x="586" y="226"/>
                    <a:pt x="585" y="226"/>
                  </a:cubicBezTo>
                  <a:cubicBezTo>
                    <a:pt x="583" y="228"/>
                    <a:pt x="580" y="228"/>
                    <a:pt x="577" y="229"/>
                  </a:cubicBezTo>
                  <a:cubicBezTo>
                    <a:pt x="576" y="230"/>
                    <a:pt x="575" y="231"/>
                    <a:pt x="576" y="231"/>
                  </a:cubicBezTo>
                  <a:cubicBezTo>
                    <a:pt x="577" y="232"/>
                    <a:pt x="577" y="231"/>
                    <a:pt x="578" y="230"/>
                  </a:cubicBezTo>
                  <a:cubicBezTo>
                    <a:pt x="580" y="230"/>
                    <a:pt x="582" y="229"/>
                    <a:pt x="584" y="228"/>
                  </a:cubicBezTo>
                  <a:cubicBezTo>
                    <a:pt x="586" y="227"/>
                    <a:pt x="588" y="226"/>
                    <a:pt x="591" y="225"/>
                  </a:cubicBezTo>
                  <a:cubicBezTo>
                    <a:pt x="591" y="225"/>
                    <a:pt x="591" y="225"/>
                    <a:pt x="592" y="225"/>
                  </a:cubicBezTo>
                  <a:cubicBezTo>
                    <a:pt x="593" y="225"/>
                    <a:pt x="594" y="225"/>
                    <a:pt x="595" y="225"/>
                  </a:cubicBezTo>
                  <a:cubicBezTo>
                    <a:pt x="596" y="225"/>
                    <a:pt x="597" y="226"/>
                    <a:pt x="597" y="227"/>
                  </a:cubicBezTo>
                  <a:cubicBezTo>
                    <a:pt x="597" y="228"/>
                    <a:pt x="597" y="230"/>
                    <a:pt x="597" y="231"/>
                  </a:cubicBezTo>
                  <a:cubicBezTo>
                    <a:pt x="598" y="231"/>
                    <a:pt x="598" y="231"/>
                    <a:pt x="598" y="231"/>
                  </a:cubicBezTo>
                  <a:cubicBezTo>
                    <a:pt x="599" y="230"/>
                    <a:pt x="600" y="230"/>
                    <a:pt x="600" y="229"/>
                  </a:cubicBezTo>
                  <a:cubicBezTo>
                    <a:pt x="601" y="229"/>
                    <a:pt x="602" y="229"/>
                    <a:pt x="602" y="230"/>
                  </a:cubicBezTo>
                  <a:cubicBezTo>
                    <a:pt x="603" y="230"/>
                    <a:pt x="605" y="231"/>
                    <a:pt x="605" y="232"/>
                  </a:cubicBezTo>
                  <a:cubicBezTo>
                    <a:pt x="605" y="233"/>
                    <a:pt x="606" y="233"/>
                    <a:pt x="606" y="234"/>
                  </a:cubicBezTo>
                  <a:cubicBezTo>
                    <a:pt x="606" y="234"/>
                    <a:pt x="606" y="234"/>
                    <a:pt x="606" y="235"/>
                  </a:cubicBezTo>
                  <a:cubicBezTo>
                    <a:pt x="607" y="236"/>
                    <a:pt x="607" y="237"/>
                    <a:pt x="606" y="238"/>
                  </a:cubicBezTo>
                  <a:cubicBezTo>
                    <a:pt x="605" y="239"/>
                    <a:pt x="603" y="240"/>
                    <a:pt x="604" y="242"/>
                  </a:cubicBezTo>
                  <a:cubicBezTo>
                    <a:pt x="605" y="243"/>
                    <a:pt x="606" y="244"/>
                    <a:pt x="606" y="245"/>
                  </a:cubicBezTo>
                  <a:cubicBezTo>
                    <a:pt x="607" y="248"/>
                    <a:pt x="605" y="249"/>
                    <a:pt x="603" y="251"/>
                  </a:cubicBezTo>
                  <a:cubicBezTo>
                    <a:pt x="602" y="252"/>
                    <a:pt x="601" y="252"/>
                    <a:pt x="599" y="253"/>
                  </a:cubicBezTo>
                  <a:cubicBezTo>
                    <a:pt x="598" y="254"/>
                    <a:pt x="597" y="255"/>
                    <a:pt x="596" y="256"/>
                  </a:cubicBezTo>
                  <a:cubicBezTo>
                    <a:pt x="595" y="256"/>
                    <a:pt x="593" y="256"/>
                    <a:pt x="592" y="256"/>
                  </a:cubicBezTo>
                  <a:cubicBezTo>
                    <a:pt x="589" y="256"/>
                    <a:pt x="587" y="257"/>
                    <a:pt x="584" y="258"/>
                  </a:cubicBezTo>
                  <a:cubicBezTo>
                    <a:pt x="583" y="258"/>
                    <a:pt x="583" y="259"/>
                    <a:pt x="583" y="259"/>
                  </a:cubicBezTo>
                  <a:cubicBezTo>
                    <a:pt x="582" y="260"/>
                    <a:pt x="581" y="262"/>
                    <a:pt x="581" y="263"/>
                  </a:cubicBezTo>
                  <a:cubicBezTo>
                    <a:pt x="580" y="264"/>
                    <a:pt x="579" y="263"/>
                    <a:pt x="579" y="264"/>
                  </a:cubicBezTo>
                  <a:cubicBezTo>
                    <a:pt x="578" y="264"/>
                    <a:pt x="578" y="265"/>
                    <a:pt x="577" y="266"/>
                  </a:cubicBezTo>
                  <a:cubicBezTo>
                    <a:pt x="576" y="266"/>
                    <a:pt x="575" y="267"/>
                    <a:pt x="575" y="267"/>
                  </a:cubicBezTo>
                  <a:cubicBezTo>
                    <a:pt x="574" y="268"/>
                    <a:pt x="573" y="269"/>
                    <a:pt x="573" y="269"/>
                  </a:cubicBezTo>
                  <a:cubicBezTo>
                    <a:pt x="568" y="270"/>
                    <a:pt x="563" y="270"/>
                    <a:pt x="558" y="270"/>
                  </a:cubicBezTo>
                  <a:cubicBezTo>
                    <a:pt x="555" y="268"/>
                    <a:pt x="551" y="266"/>
                    <a:pt x="547" y="269"/>
                  </a:cubicBezTo>
                  <a:cubicBezTo>
                    <a:pt x="545" y="269"/>
                    <a:pt x="542" y="268"/>
                    <a:pt x="540" y="268"/>
                  </a:cubicBezTo>
                  <a:cubicBezTo>
                    <a:pt x="539" y="267"/>
                    <a:pt x="537" y="267"/>
                    <a:pt x="535" y="268"/>
                  </a:cubicBezTo>
                  <a:cubicBezTo>
                    <a:pt x="534" y="268"/>
                    <a:pt x="533" y="268"/>
                    <a:pt x="532" y="268"/>
                  </a:cubicBezTo>
                  <a:cubicBezTo>
                    <a:pt x="530" y="269"/>
                    <a:pt x="527" y="269"/>
                    <a:pt x="525" y="269"/>
                  </a:cubicBezTo>
                  <a:cubicBezTo>
                    <a:pt x="524" y="269"/>
                    <a:pt x="523" y="270"/>
                    <a:pt x="522" y="270"/>
                  </a:cubicBezTo>
                  <a:cubicBezTo>
                    <a:pt x="521" y="270"/>
                    <a:pt x="520" y="271"/>
                    <a:pt x="520" y="272"/>
                  </a:cubicBezTo>
                  <a:cubicBezTo>
                    <a:pt x="519" y="273"/>
                    <a:pt x="519" y="275"/>
                    <a:pt x="518" y="276"/>
                  </a:cubicBezTo>
                  <a:cubicBezTo>
                    <a:pt x="517" y="277"/>
                    <a:pt x="516" y="278"/>
                    <a:pt x="514" y="278"/>
                  </a:cubicBezTo>
                  <a:cubicBezTo>
                    <a:pt x="513" y="279"/>
                    <a:pt x="511" y="279"/>
                    <a:pt x="509" y="279"/>
                  </a:cubicBezTo>
                  <a:cubicBezTo>
                    <a:pt x="509" y="279"/>
                    <a:pt x="508" y="280"/>
                    <a:pt x="508" y="280"/>
                  </a:cubicBezTo>
                  <a:cubicBezTo>
                    <a:pt x="505" y="283"/>
                    <a:pt x="503" y="285"/>
                    <a:pt x="500" y="288"/>
                  </a:cubicBezTo>
                  <a:cubicBezTo>
                    <a:pt x="497" y="292"/>
                    <a:pt x="494" y="295"/>
                    <a:pt x="491" y="299"/>
                  </a:cubicBezTo>
                  <a:cubicBezTo>
                    <a:pt x="490" y="301"/>
                    <a:pt x="488" y="301"/>
                    <a:pt x="487" y="303"/>
                  </a:cubicBezTo>
                  <a:cubicBezTo>
                    <a:pt x="487" y="303"/>
                    <a:pt x="487" y="304"/>
                    <a:pt x="487" y="304"/>
                  </a:cubicBezTo>
                  <a:cubicBezTo>
                    <a:pt x="489" y="303"/>
                    <a:pt x="491" y="302"/>
                    <a:pt x="493" y="300"/>
                  </a:cubicBezTo>
                  <a:cubicBezTo>
                    <a:pt x="495" y="298"/>
                    <a:pt x="496" y="296"/>
                    <a:pt x="498" y="294"/>
                  </a:cubicBezTo>
                  <a:cubicBezTo>
                    <a:pt x="501" y="292"/>
                    <a:pt x="504" y="289"/>
                    <a:pt x="507" y="288"/>
                  </a:cubicBezTo>
                  <a:cubicBezTo>
                    <a:pt x="507" y="287"/>
                    <a:pt x="508" y="287"/>
                    <a:pt x="508" y="287"/>
                  </a:cubicBezTo>
                  <a:cubicBezTo>
                    <a:pt x="513" y="284"/>
                    <a:pt x="517" y="281"/>
                    <a:pt x="522" y="279"/>
                  </a:cubicBezTo>
                  <a:cubicBezTo>
                    <a:pt x="525" y="278"/>
                    <a:pt x="528" y="279"/>
                    <a:pt x="531" y="279"/>
                  </a:cubicBezTo>
                  <a:cubicBezTo>
                    <a:pt x="533" y="279"/>
                    <a:pt x="534" y="280"/>
                    <a:pt x="535" y="281"/>
                  </a:cubicBezTo>
                  <a:cubicBezTo>
                    <a:pt x="536" y="281"/>
                    <a:pt x="537" y="281"/>
                    <a:pt x="539" y="281"/>
                  </a:cubicBezTo>
                  <a:cubicBezTo>
                    <a:pt x="539" y="281"/>
                    <a:pt x="539" y="282"/>
                    <a:pt x="539" y="282"/>
                  </a:cubicBezTo>
                  <a:cubicBezTo>
                    <a:pt x="538" y="282"/>
                    <a:pt x="538" y="282"/>
                    <a:pt x="538" y="282"/>
                  </a:cubicBezTo>
                  <a:cubicBezTo>
                    <a:pt x="538" y="283"/>
                    <a:pt x="539" y="284"/>
                    <a:pt x="539" y="284"/>
                  </a:cubicBezTo>
                  <a:cubicBezTo>
                    <a:pt x="540" y="286"/>
                    <a:pt x="538" y="287"/>
                    <a:pt x="538" y="288"/>
                  </a:cubicBezTo>
                  <a:cubicBezTo>
                    <a:pt x="538" y="287"/>
                    <a:pt x="538" y="287"/>
                    <a:pt x="538" y="287"/>
                  </a:cubicBezTo>
                  <a:cubicBezTo>
                    <a:pt x="536" y="289"/>
                    <a:pt x="535" y="291"/>
                    <a:pt x="532" y="291"/>
                  </a:cubicBezTo>
                  <a:cubicBezTo>
                    <a:pt x="531" y="291"/>
                    <a:pt x="530" y="291"/>
                    <a:pt x="529" y="291"/>
                  </a:cubicBezTo>
                  <a:cubicBezTo>
                    <a:pt x="529" y="291"/>
                    <a:pt x="528" y="291"/>
                    <a:pt x="528" y="290"/>
                  </a:cubicBezTo>
                  <a:cubicBezTo>
                    <a:pt x="527" y="290"/>
                    <a:pt x="525" y="290"/>
                    <a:pt x="524" y="290"/>
                  </a:cubicBezTo>
                  <a:cubicBezTo>
                    <a:pt x="523" y="291"/>
                    <a:pt x="522" y="291"/>
                    <a:pt x="520" y="291"/>
                  </a:cubicBezTo>
                  <a:cubicBezTo>
                    <a:pt x="520" y="291"/>
                    <a:pt x="520" y="292"/>
                    <a:pt x="521" y="292"/>
                  </a:cubicBezTo>
                  <a:cubicBezTo>
                    <a:pt x="523" y="293"/>
                    <a:pt x="525" y="294"/>
                    <a:pt x="527" y="296"/>
                  </a:cubicBezTo>
                  <a:cubicBezTo>
                    <a:pt x="527" y="296"/>
                    <a:pt x="528" y="296"/>
                    <a:pt x="528" y="296"/>
                  </a:cubicBezTo>
                  <a:cubicBezTo>
                    <a:pt x="530" y="295"/>
                    <a:pt x="532" y="294"/>
                    <a:pt x="532" y="295"/>
                  </a:cubicBezTo>
                  <a:cubicBezTo>
                    <a:pt x="533" y="297"/>
                    <a:pt x="532" y="301"/>
                    <a:pt x="530" y="302"/>
                  </a:cubicBezTo>
                  <a:cubicBezTo>
                    <a:pt x="529" y="302"/>
                    <a:pt x="529" y="303"/>
                    <a:pt x="529" y="303"/>
                  </a:cubicBezTo>
                  <a:cubicBezTo>
                    <a:pt x="530" y="304"/>
                    <a:pt x="530" y="304"/>
                    <a:pt x="531" y="304"/>
                  </a:cubicBezTo>
                  <a:cubicBezTo>
                    <a:pt x="531" y="304"/>
                    <a:pt x="531" y="304"/>
                    <a:pt x="531" y="305"/>
                  </a:cubicBezTo>
                  <a:cubicBezTo>
                    <a:pt x="532" y="306"/>
                    <a:pt x="531" y="308"/>
                    <a:pt x="532" y="309"/>
                  </a:cubicBezTo>
                  <a:cubicBezTo>
                    <a:pt x="533" y="311"/>
                    <a:pt x="535" y="313"/>
                    <a:pt x="537" y="313"/>
                  </a:cubicBezTo>
                  <a:cubicBezTo>
                    <a:pt x="538" y="313"/>
                    <a:pt x="538" y="314"/>
                    <a:pt x="539" y="315"/>
                  </a:cubicBezTo>
                  <a:cubicBezTo>
                    <a:pt x="539" y="315"/>
                    <a:pt x="539" y="316"/>
                    <a:pt x="540" y="316"/>
                  </a:cubicBezTo>
                  <a:cubicBezTo>
                    <a:pt x="542" y="316"/>
                    <a:pt x="546" y="315"/>
                    <a:pt x="547" y="318"/>
                  </a:cubicBezTo>
                  <a:cubicBezTo>
                    <a:pt x="549" y="318"/>
                    <a:pt x="551" y="316"/>
                    <a:pt x="553" y="317"/>
                  </a:cubicBezTo>
                  <a:cubicBezTo>
                    <a:pt x="554" y="318"/>
                    <a:pt x="556" y="319"/>
                    <a:pt x="556" y="320"/>
                  </a:cubicBezTo>
                  <a:cubicBezTo>
                    <a:pt x="557" y="320"/>
                    <a:pt x="556" y="321"/>
                    <a:pt x="556" y="322"/>
                  </a:cubicBezTo>
                  <a:cubicBezTo>
                    <a:pt x="556" y="322"/>
                    <a:pt x="556" y="322"/>
                    <a:pt x="556" y="322"/>
                  </a:cubicBezTo>
                  <a:cubicBezTo>
                    <a:pt x="553" y="324"/>
                    <a:pt x="550" y="326"/>
                    <a:pt x="547" y="327"/>
                  </a:cubicBezTo>
                  <a:cubicBezTo>
                    <a:pt x="544" y="328"/>
                    <a:pt x="541" y="329"/>
                    <a:pt x="539" y="330"/>
                  </a:cubicBezTo>
                  <a:cubicBezTo>
                    <a:pt x="538" y="330"/>
                    <a:pt x="537" y="330"/>
                    <a:pt x="536" y="330"/>
                  </a:cubicBezTo>
                  <a:cubicBezTo>
                    <a:pt x="535" y="329"/>
                    <a:pt x="534" y="329"/>
                    <a:pt x="533" y="329"/>
                  </a:cubicBezTo>
                  <a:cubicBezTo>
                    <a:pt x="531" y="331"/>
                    <a:pt x="529" y="333"/>
                    <a:pt x="529" y="336"/>
                  </a:cubicBezTo>
                  <a:cubicBezTo>
                    <a:pt x="529" y="336"/>
                    <a:pt x="529" y="337"/>
                    <a:pt x="528" y="337"/>
                  </a:cubicBezTo>
                  <a:cubicBezTo>
                    <a:pt x="527" y="338"/>
                    <a:pt x="526" y="339"/>
                    <a:pt x="524" y="340"/>
                  </a:cubicBezTo>
                  <a:cubicBezTo>
                    <a:pt x="524" y="340"/>
                    <a:pt x="523" y="340"/>
                    <a:pt x="523" y="340"/>
                  </a:cubicBezTo>
                  <a:cubicBezTo>
                    <a:pt x="521" y="339"/>
                    <a:pt x="520" y="339"/>
                    <a:pt x="518" y="338"/>
                  </a:cubicBezTo>
                  <a:cubicBezTo>
                    <a:pt x="518" y="338"/>
                    <a:pt x="518" y="337"/>
                    <a:pt x="518" y="337"/>
                  </a:cubicBezTo>
                  <a:cubicBezTo>
                    <a:pt x="517" y="335"/>
                    <a:pt x="517" y="334"/>
                    <a:pt x="518" y="332"/>
                  </a:cubicBezTo>
                  <a:cubicBezTo>
                    <a:pt x="518" y="329"/>
                    <a:pt x="522" y="328"/>
                    <a:pt x="524" y="327"/>
                  </a:cubicBezTo>
                  <a:cubicBezTo>
                    <a:pt x="526" y="326"/>
                    <a:pt x="527" y="325"/>
                    <a:pt x="528" y="324"/>
                  </a:cubicBezTo>
                  <a:cubicBezTo>
                    <a:pt x="531" y="323"/>
                    <a:pt x="534" y="324"/>
                    <a:pt x="537" y="322"/>
                  </a:cubicBezTo>
                  <a:cubicBezTo>
                    <a:pt x="537" y="322"/>
                    <a:pt x="537" y="320"/>
                    <a:pt x="536" y="320"/>
                  </a:cubicBezTo>
                  <a:cubicBezTo>
                    <a:pt x="535" y="320"/>
                    <a:pt x="533" y="321"/>
                    <a:pt x="532" y="320"/>
                  </a:cubicBezTo>
                  <a:cubicBezTo>
                    <a:pt x="531" y="320"/>
                    <a:pt x="532" y="319"/>
                    <a:pt x="532" y="319"/>
                  </a:cubicBezTo>
                  <a:cubicBezTo>
                    <a:pt x="532" y="319"/>
                    <a:pt x="532" y="318"/>
                    <a:pt x="532" y="318"/>
                  </a:cubicBezTo>
                  <a:cubicBezTo>
                    <a:pt x="531" y="318"/>
                    <a:pt x="530" y="318"/>
                    <a:pt x="530" y="318"/>
                  </a:cubicBezTo>
                  <a:cubicBezTo>
                    <a:pt x="528" y="319"/>
                    <a:pt x="526" y="321"/>
                    <a:pt x="523" y="323"/>
                  </a:cubicBezTo>
                  <a:cubicBezTo>
                    <a:pt x="521" y="323"/>
                    <a:pt x="519" y="322"/>
                    <a:pt x="518" y="323"/>
                  </a:cubicBezTo>
                  <a:cubicBezTo>
                    <a:pt x="516" y="324"/>
                    <a:pt x="514" y="324"/>
                    <a:pt x="512" y="325"/>
                  </a:cubicBezTo>
                  <a:cubicBezTo>
                    <a:pt x="512" y="325"/>
                    <a:pt x="512" y="325"/>
                    <a:pt x="512" y="325"/>
                  </a:cubicBezTo>
                  <a:lnTo>
                    <a:pt x="510" y="324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3" name="Freeform 22"/>
            <p:cNvSpPr>
              <a:spLocks/>
            </p:cNvSpPr>
            <p:nvPr/>
          </p:nvSpPr>
          <p:spPr bwMode="auto">
            <a:xfrm>
              <a:off x="6689964" y="3185041"/>
              <a:ext cx="3261" cy="3515"/>
            </a:xfrm>
            <a:custGeom>
              <a:avLst/>
              <a:gdLst>
                <a:gd name="T0" fmla="*/ 3397424 w 7"/>
                <a:gd name="T1" fmla="*/ 1724631 h 7"/>
                <a:gd name="T2" fmla="*/ 3397424 w 7"/>
                <a:gd name="T3" fmla="*/ 0 h 7"/>
                <a:gd name="T4" fmla="*/ 2642432 w 7"/>
                <a:gd name="T5" fmla="*/ 0 h 7"/>
                <a:gd name="T6" fmla="*/ 505778 w 7"/>
                <a:gd name="T7" fmla="*/ 2642432 h 7"/>
                <a:gd name="T8" fmla="*/ 505778 w 7"/>
                <a:gd name="T9" fmla="*/ 3397424 h 7"/>
                <a:gd name="T10" fmla="*/ 3942014 w 7"/>
                <a:gd name="T11" fmla="*/ 3397424 h 7"/>
                <a:gd name="T12" fmla="*/ 3942014 w 7"/>
                <a:gd name="T13" fmla="*/ 2642432 h 7"/>
                <a:gd name="T14" fmla="*/ 3397424 w 7"/>
                <a:gd name="T15" fmla="*/ 2234466 h 7"/>
                <a:gd name="T16" fmla="*/ 3397424 w 7"/>
                <a:gd name="T17" fmla="*/ 1724631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7"/>
                <a:gd name="T29" fmla="*/ 7 w 7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7">
                  <a:moveTo>
                    <a:pt x="6" y="3"/>
                  </a:moveTo>
                  <a:cubicBezTo>
                    <a:pt x="6" y="1"/>
                    <a:pt x="6" y="1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4" y="2"/>
                    <a:pt x="2" y="3"/>
                    <a:pt x="1" y="5"/>
                  </a:cubicBezTo>
                  <a:cubicBezTo>
                    <a:pt x="0" y="5"/>
                    <a:pt x="0" y="6"/>
                    <a:pt x="1" y="6"/>
                  </a:cubicBezTo>
                  <a:cubicBezTo>
                    <a:pt x="3" y="7"/>
                    <a:pt x="5" y="6"/>
                    <a:pt x="7" y="6"/>
                  </a:cubicBezTo>
                  <a:cubicBezTo>
                    <a:pt x="7" y="6"/>
                    <a:pt x="7" y="5"/>
                    <a:pt x="7" y="5"/>
                  </a:cubicBezTo>
                  <a:cubicBezTo>
                    <a:pt x="6" y="4"/>
                    <a:pt x="6" y="4"/>
                    <a:pt x="6" y="4"/>
                  </a:cubicBezTo>
                  <a:lnTo>
                    <a:pt x="6" y="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4" name="Freeform 32"/>
            <p:cNvSpPr>
              <a:spLocks/>
            </p:cNvSpPr>
            <p:nvPr/>
          </p:nvSpPr>
          <p:spPr bwMode="auto">
            <a:xfrm>
              <a:off x="6614214" y="3181526"/>
              <a:ext cx="6522" cy="7030"/>
            </a:xfrm>
            <a:custGeom>
              <a:avLst/>
              <a:gdLst>
                <a:gd name="T0" fmla="*/ 8174845 w 14"/>
                <a:gd name="T1" fmla="*/ 2970751 h 15"/>
                <a:gd name="T2" fmla="*/ 5415918 w 14"/>
                <a:gd name="T3" fmla="*/ 0 h 15"/>
                <a:gd name="T4" fmla="*/ 0 w 14"/>
                <a:gd name="T5" fmla="*/ 0 h 15"/>
                <a:gd name="T6" fmla="*/ 0 w 14"/>
                <a:gd name="T7" fmla="*/ 1697572 h 15"/>
                <a:gd name="T8" fmla="*/ 1947959 w 14"/>
                <a:gd name="T9" fmla="*/ 2970751 h 15"/>
                <a:gd name="T10" fmla="*/ 1947959 w 14"/>
                <a:gd name="T11" fmla="*/ 4688532 h 15"/>
                <a:gd name="T12" fmla="*/ 826407 w 14"/>
                <a:gd name="T13" fmla="*/ 6931751 h 15"/>
                <a:gd name="T14" fmla="*/ 3468116 w 14"/>
                <a:gd name="T15" fmla="*/ 7659284 h 15"/>
                <a:gd name="T16" fmla="*/ 3468116 w 14"/>
                <a:gd name="T17" fmla="*/ 9902491 h 15"/>
                <a:gd name="T18" fmla="*/ 5415918 w 14"/>
                <a:gd name="T19" fmla="*/ 9902491 h 15"/>
                <a:gd name="T20" fmla="*/ 6527726 w 14"/>
                <a:gd name="T21" fmla="*/ 9902491 h 15"/>
                <a:gd name="T22" fmla="*/ 9297269 w 14"/>
                <a:gd name="T23" fmla="*/ 11620011 h 15"/>
                <a:gd name="T24" fmla="*/ 9969095 w 14"/>
                <a:gd name="T25" fmla="*/ 11620011 h 15"/>
                <a:gd name="T26" fmla="*/ 11919092 w 14"/>
                <a:gd name="T27" fmla="*/ 9242333 h 15"/>
                <a:gd name="T28" fmla="*/ 11919092 w 14"/>
                <a:gd name="T29" fmla="*/ 8614993 h 15"/>
                <a:gd name="T30" fmla="*/ 9297269 w 14"/>
                <a:gd name="T31" fmla="*/ 7659284 h 15"/>
                <a:gd name="T32" fmla="*/ 9297269 w 14"/>
                <a:gd name="T33" fmla="*/ 6931751 h 15"/>
                <a:gd name="T34" fmla="*/ 10823097 w 14"/>
                <a:gd name="T35" fmla="*/ 5234181 h 15"/>
                <a:gd name="T36" fmla="*/ 9297269 w 14"/>
                <a:gd name="T37" fmla="*/ 4688532 h 15"/>
                <a:gd name="T38" fmla="*/ 9297269 w 14"/>
                <a:gd name="T39" fmla="*/ 2970751 h 15"/>
                <a:gd name="T40" fmla="*/ 8174845 w 14"/>
                <a:gd name="T41" fmla="*/ 2970751 h 1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4"/>
                <a:gd name="T64" fmla="*/ 0 h 15"/>
                <a:gd name="T65" fmla="*/ 14 w 14"/>
                <a:gd name="T66" fmla="*/ 15 h 1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4" h="15">
                  <a:moveTo>
                    <a:pt x="9" y="4"/>
                  </a:moveTo>
                  <a:cubicBezTo>
                    <a:pt x="8" y="3"/>
                    <a:pt x="7" y="1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0" y="0"/>
                    <a:pt x="0" y="2"/>
                    <a:pt x="0" y="2"/>
                  </a:cubicBezTo>
                  <a:cubicBezTo>
                    <a:pt x="0" y="3"/>
                    <a:pt x="1" y="3"/>
                    <a:pt x="2" y="4"/>
                  </a:cubicBezTo>
                  <a:cubicBezTo>
                    <a:pt x="3" y="5"/>
                    <a:pt x="2" y="6"/>
                    <a:pt x="2" y="6"/>
                  </a:cubicBezTo>
                  <a:cubicBezTo>
                    <a:pt x="1" y="7"/>
                    <a:pt x="0" y="8"/>
                    <a:pt x="1" y="9"/>
                  </a:cubicBezTo>
                  <a:cubicBezTo>
                    <a:pt x="2" y="9"/>
                    <a:pt x="3" y="9"/>
                    <a:pt x="4" y="10"/>
                  </a:cubicBezTo>
                  <a:cubicBezTo>
                    <a:pt x="5" y="10"/>
                    <a:pt x="3" y="12"/>
                    <a:pt x="4" y="13"/>
                  </a:cubicBezTo>
                  <a:cubicBezTo>
                    <a:pt x="5" y="14"/>
                    <a:pt x="5" y="13"/>
                    <a:pt x="6" y="13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8" y="14"/>
                    <a:pt x="9" y="14"/>
                    <a:pt x="10" y="15"/>
                  </a:cubicBezTo>
                  <a:cubicBezTo>
                    <a:pt x="10" y="15"/>
                    <a:pt x="10" y="15"/>
                    <a:pt x="11" y="15"/>
                  </a:cubicBezTo>
                  <a:cubicBezTo>
                    <a:pt x="12" y="14"/>
                    <a:pt x="12" y="13"/>
                    <a:pt x="13" y="12"/>
                  </a:cubicBezTo>
                  <a:cubicBezTo>
                    <a:pt x="14" y="12"/>
                    <a:pt x="14" y="11"/>
                    <a:pt x="13" y="11"/>
                  </a:cubicBezTo>
                  <a:cubicBezTo>
                    <a:pt x="12" y="10"/>
                    <a:pt x="11" y="10"/>
                    <a:pt x="10" y="10"/>
                  </a:cubicBezTo>
                  <a:cubicBezTo>
                    <a:pt x="10" y="10"/>
                    <a:pt x="10" y="10"/>
                    <a:pt x="10" y="9"/>
                  </a:cubicBezTo>
                  <a:cubicBezTo>
                    <a:pt x="11" y="9"/>
                    <a:pt x="13" y="8"/>
                    <a:pt x="12" y="7"/>
                  </a:cubicBezTo>
                  <a:cubicBezTo>
                    <a:pt x="11" y="6"/>
                    <a:pt x="10" y="7"/>
                    <a:pt x="10" y="6"/>
                  </a:cubicBezTo>
                  <a:cubicBezTo>
                    <a:pt x="9" y="6"/>
                    <a:pt x="10" y="5"/>
                    <a:pt x="10" y="4"/>
                  </a:cubicBezTo>
                  <a:lnTo>
                    <a:pt x="9" y="4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5" name="Freeform 33"/>
            <p:cNvSpPr>
              <a:spLocks/>
            </p:cNvSpPr>
            <p:nvPr/>
          </p:nvSpPr>
          <p:spPr bwMode="auto">
            <a:xfrm>
              <a:off x="6618979" y="3181526"/>
              <a:ext cx="17056" cy="12167"/>
            </a:xfrm>
            <a:custGeom>
              <a:avLst/>
              <a:gdLst>
                <a:gd name="T0" fmla="*/ 4422579 w 37"/>
                <a:gd name="T1" fmla="*/ 11156751 h 26"/>
                <a:gd name="T2" fmla="*/ 0 w 37"/>
                <a:gd name="T3" fmla="*/ 14406455 h 26"/>
                <a:gd name="T4" fmla="*/ 0 w 37"/>
                <a:gd name="T5" fmla="*/ 15127963 h 26"/>
                <a:gd name="T6" fmla="*/ 2537837 w 37"/>
                <a:gd name="T7" fmla="*/ 15127963 h 26"/>
                <a:gd name="T8" fmla="*/ 7714651 w 37"/>
                <a:gd name="T9" fmla="*/ 13633585 h 26"/>
                <a:gd name="T10" fmla="*/ 14857087 w 37"/>
                <a:gd name="T11" fmla="*/ 13633585 h 26"/>
                <a:gd name="T12" fmla="*/ 19279667 w 37"/>
                <a:gd name="T13" fmla="*/ 12522682 h 26"/>
                <a:gd name="T14" fmla="*/ 19279667 w 37"/>
                <a:gd name="T15" fmla="*/ 13633585 h 26"/>
                <a:gd name="T16" fmla="*/ 15659020 w 37"/>
                <a:gd name="T17" fmla="*/ 14406455 h 26"/>
                <a:gd name="T18" fmla="*/ 11542003 w 37"/>
                <a:gd name="T19" fmla="*/ 16241531 h 26"/>
                <a:gd name="T20" fmla="*/ 10399030 w 37"/>
                <a:gd name="T21" fmla="*/ 16821088 h 26"/>
                <a:gd name="T22" fmla="*/ 10399030 w 37"/>
                <a:gd name="T23" fmla="*/ 21921488 h 26"/>
                <a:gd name="T24" fmla="*/ 14031321 w 37"/>
                <a:gd name="T25" fmla="*/ 21921488 h 26"/>
                <a:gd name="T26" fmla="*/ 19279667 w 37"/>
                <a:gd name="T27" fmla="*/ 21137273 h 26"/>
                <a:gd name="T28" fmla="*/ 24451758 w 37"/>
                <a:gd name="T29" fmla="*/ 21137273 h 26"/>
                <a:gd name="T30" fmla="*/ 27139296 w 37"/>
                <a:gd name="T31" fmla="*/ 16241531 h 26"/>
                <a:gd name="T32" fmla="*/ 29674221 w 37"/>
                <a:gd name="T33" fmla="*/ 15127963 h 26"/>
                <a:gd name="T34" fmla="*/ 31559834 w 37"/>
                <a:gd name="T35" fmla="*/ 15127963 h 26"/>
                <a:gd name="T36" fmla="*/ 31559834 w 37"/>
                <a:gd name="T37" fmla="*/ 14406455 h 26"/>
                <a:gd name="T38" fmla="*/ 30500015 w 37"/>
                <a:gd name="T39" fmla="*/ 10127813 h 26"/>
                <a:gd name="T40" fmla="*/ 30500015 w 37"/>
                <a:gd name="T41" fmla="*/ 9343585 h 26"/>
                <a:gd name="T42" fmla="*/ 32361494 w 37"/>
                <a:gd name="T43" fmla="*/ 5038211 h 26"/>
                <a:gd name="T44" fmla="*/ 32361494 w 37"/>
                <a:gd name="T45" fmla="*/ 3198282 h 26"/>
                <a:gd name="T46" fmla="*/ 27794212 w 37"/>
                <a:gd name="T47" fmla="*/ 784235 h 26"/>
                <a:gd name="T48" fmla="*/ 26394519 w 37"/>
                <a:gd name="T49" fmla="*/ 3198282 h 26"/>
                <a:gd name="T50" fmla="*/ 23362049 w 37"/>
                <a:gd name="T51" fmla="*/ 3198282 h 26"/>
                <a:gd name="T52" fmla="*/ 22570885 w 37"/>
                <a:gd name="T53" fmla="*/ 2476837 h 26"/>
                <a:gd name="T54" fmla="*/ 20081595 w 37"/>
                <a:gd name="T55" fmla="*/ 1839936 h 26"/>
                <a:gd name="T56" fmla="*/ 14857087 w 37"/>
                <a:gd name="T57" fmla="*/ 1839936 h 26"/>
                <a:gd name="T58" fmla="*/ 12971276 w 37"/>
                <a:gd name="T59" fmla="*/ 4316773 h 26"/>
                <a:gd name="T60" fmla="*/ 16713958 w 37"/>
                <a:gd name="T61" fmla="*/ 5811039 h 26"/>
                <a:gd name="T62" fmla="*/ 16713958 w 37"/>
                <a:gd name="T63" fmla="*/ 10127813 h 26"/>
                <a:gd name="T64" fmla="*/ 15659020 w 37"/>
                <a:gd name="T65" fmla="*/ 10127813 h 26"/>
                <a:gd name="T66" fmla="*/ 15659020 w 37"/>
                <a:gd name="T67" fmla="*/ 9343585 h 26"/>
                <a:gd name="T68" fmla="*/ 12971276 w 37"/>
                <a:gd name="T69" fmla="*/ 7503662 h 26"/>
                <a:gd name="T70" fmla="*/ 12279885 w 37"/>
                <a:gd name="T71" fmla="*/ 5811039 h 26"/>
                <a:gd name="T72" fmla="*/ 10399030 w 37"/>
                <a:gd name="T73" fmla="*/ 4316773 h 26"/>
                <a:gd name="T74" fmla="*/ 7714651 w 37"/>
                <a:gd name="T75" fmla="*/ 4316773 h 26"/>
                <a:gd name="T76" fmla="*/ 7108238 w 37"/>
                <a:gd name="T77" fmla="*/ 5038211 h 26"/>
                <a:gd name="T78" fmla="*/ 7108238 w 37"/>
                <a:gd name="T79" fmla="*/ 9343585 h 26"/>
                <a:gd name="T80" fmla="*/ 7714651 w 37"/>
                <a:gd name="T81" fmla="*/ 10127813 h 26"/>
                <a:gd name="T82" fmla="*/ 7714651 w 37"/>
                <a:gd name="T83" fmla="*/ 11156751 h 26"/>
                <a:gd name="T84" fmla="*/ 5222483 w 37"/>
                <a:gd name="T85" fmla="*/ 11156751 h 26"/>
                <a:gd name="T86" fmla="*/ 4422579 w 37"/>
                <a:gd name="T87" fmla="*/ 11156751 h 2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"/>
                <a:gd name="T133" fmla="*/ 0 h 26"/>
                <a:gd name="T134" fmla="*/ 37 w 37"/>
                <a:gd name="T135" fmla="*/ 26 h 2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" h="26">
                  <a:moveTo>
                    <a:pt x="5" y="13"/>
                  </a:moveTo>
                  <a:cubicBezTo>
                    <a:pt x="4" y="14"/>
                    <a:pt x="1" y="15"/>
                    <a:pt x="0" y="17"/>
                  </a:cubicBezTo>
                  <a:cubicBezTo>
                    <a:pt x="0" y="17"/>
                    <a:pt x="0" y="18"/>
                    <a:pt x="0" y="18"/>
                  </a:cubicBezTo>
                  <a:cubicBezTo>
                    <a:pt x="1" y="19"/>
                    <a:pt x="2" y="19"/>
                    <a:pt x="3" y="18"/>
                  </a:cubicBezTo>
                  <a:cubicBezTo>
                    <a:pt x="5" y="17"/>
                    <a:pt x="7" y="17"/>
                    <a:pt x="9" y="16"/>
                  </a:cubicBezTo>
                  <a:cubicBezTo>
                    <a:pt x="12" y="16"/>
                    <a:pt x="15" y="16"/>
                    <a:pt x="17" y="16"/>
                  </a:cubicBezTo>
                  <a:cubicBezTo>
                    <a:pt x="19" y="15"/>
                    <a:pt x="20" y="15"/>
                    <a:pt x="22" y="15"/>
                  </a:cubicBezTo>
                  <a:cubicBezTo>
                    <a:pt x="22" y="15"/>
                    <a:pt x="22" y="16"/>
                    <a:pt x="22" y="16"/>
                  </a:cubicBezTo>
                  <a:cubicBezTo>
                    <a:pt x="20" y="16"/>
                    <a:pt x="19" y="17"/>
                    <a:pt x="18" y="17"/>
                  </a:cubicBezTo>
                  <a:cubicBezTo>
                    <a:pt x="16" y="18"/>
                    <a:pt x="15" y="18"/>
                    <a:pt x="13" y="19"/>
                  </a:cubicBezTo>
                  <a:cubicBezTo>
                    <a:pt x="13" y="19"/>
                    <a:pt x="13" y="19"/>
                    <a:pt x="12" y="20"/>
                  </a:cubicBezTo>
                  <a:cubicBezTo>
                    <a:pt x="12" y="22"/>
                    <a:pt x="12" y="23"/>
                    <a:pt x="12" y="26"/>
                  </a:cubicBezTo>
                  <a:cubicBezTo>
                    <a:pt x="13" y="26"/>
                    <a:pt x="15" y="26"/>
                    <a:pt x="16" y="26"/>
                  </a:cubicBezTo>
                  <a:cubicBezTo>
                    <a:pt x="18" y="25"/>
                    <a:pt x="20" y="25"/>
                    <a:pt x="22" y="25"/>
                  </a:cubicBezTo>
                  <a:cubicBezTo>
                    <a:pt x="24" y="26"/>
                    <a:pt x="26" y="26"/>
                    <a:pt x="28" y="25"/>
                  </a:cubicBezTo>
                  <a:cubicBezTo>
                    <a:pt x="29" y="24"/>
                    <a:pt x="30" y="21"/>
                    <a:pt x="31" y="19"/>
                  </a:cubicBezTo>
                  <a:cubicBezTo>
                    <a:pt x="32" y="18"/>
                    <a:pt x="33" y="18"/>
                    <a:pt x="34" y="18"/>
                  </a:cubicBezTo>
                  <a:cubicBezTo>
                    <a:pt x="35" y="18"/>
                    <a:pt x="35" y="18"/>
                    <a:pt x="36" y="18"/>
                  </a:cubicBezTo>
                  <a:cubicBezTo>
                    <a:pt x="36" y="18"/>
                    <a:pt x="36" y="17"/>
                    <a:pt x="36" y="17"/>
                  </a:cubicBezTo>
                  <a:cubicBezTo>
                    <a:pt x="35" y="15"/>
                    <a:pt x="34" y="14"/>
                    <a:pt x="35" y="12"/>
                  </a:cubicBezTo>
                  <a:cubicBezTo>
                    <a:pt x="35" y="12"/>
                    <a:pt x="35" y="11"/>
                    <a:pt x="35" y="11"/>
                  </a:cubicBezTo>
                  <a:cubicBezTo>
                    <a:pt x="35" y="9"/>
                    <a:pt x="36" y="7"/>
                    <a:pt x="37" y="6"/>
                  </a:cubicBezTo>
                  <a:cubicBezTo>
                    <a:pt x="37" y="5"/>
                    <a:pt x="37" y="4"/>
                    <a:pt x="37" y="4"/>
                  </a:cubicBezTo>
                  <a:cubicBezTo>
                    <a:pt x="36" y="3"/>
                    <a:pt x="34" y="0"/>
                    <a:pt x="32" y="1"/>
                  </a:cubicBezTo>
                  <a:cubicBezTo>
                    <a:pt x="31" y="1"/>
                    <a:pt x="31" y="3"/>
                    <a:pt x="30" y="4"/>
                  </a:cubicBezTo>
                  <a:cubicBezTo>
                    <a:pt x="29" y="4"/>
                    <a:pt x="28" y="4"/>
                    <a:pt x="27" y="4"/>
                  </a:cubicBezTo>
                  <a:cubicBezTo>
                    <a:pt x="26" y="4"/>
                    <a:pt x="26" y="3"/>
                    <a:pt x="26" y="3"/>
                  </a:cubicBezTo>
                  <a:cubicBezTo>
                    <a:pt x="25" y="2"/>
                    <a:pt x="24" y="2"/>
                    <a:pt x="23" y="2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6" y="2"/>
                    <a:pt x="14" y="4"/>
                    <a:pt x="15" y="5"/>
                  </a:cubicBezTo>
                  <a:cubicBezTo>
                    <a:pt x="16" y="6"/>
                    <a:pt x="18" y="6"/>
                    <a:pt x="19" y="7"/>
                  </a:cubicBezTo>
                  <a:cubicBezTo>
                    <a:pt x="20" y="8"/>
                    <a:pt x="20" y="10"/>
                    <a:pt x="19" y="12"/>
                  </a:cubicBezTo>
                  <a:cubicBezTo>
                    <a:pt x="19" y="12"/>
                    <a:pt x="19" y="12"/>
                    <a:pt x="18" y="12"/>
                  </a:cubicBezTo>
                  <a:cubicBezTo>
                    <a:pt x="18" y="12"/>
                    <a:pt x="18" y="12"/>
                    <a:pt x="18" y="11"/>
                  </a:cubicBezTo>
                  <a:cubicBezTo>
                    <a:pt x="17" y="11"/>
                    <a:pt x="16" y="10"/>
                    <a:pt x="15" y="9"/>
                  </a:cubicBezTo>
                  <a:cubicBezTo>
                    <a:pt x="15" y="8"/>
                    <a:pt x="14" y="8"/>
                    <a:pt x="14" y="7"/>
                  </a:cubicBezTo>
                  <a:cubicBezTo>
                    <a:pt x="13" y="6"/>
                    <a:pt x="13" y="5"/>
                    <a:pt x="12" y="5"/>
                  </a:cubicBezTo>
                  <a:cubicBezTo>
                    <a:pt x="11" y="5"/>
                    <a:pt x="10" y="5"/>
                    <a:pt x="9" y="5"/>
                  </a:cubicBezTo>
                  <a:cubicBezTo>
                    <a:pt x="9" y="5"/>
                    <a:pt x="8" y="5"/>
                    <a:pt x="8" y="6"/>
                  </a:cubicBezTo>
                  <a:cubicBezTo>
                    <a:pt x="8" y="7"/>
                    <a:pt x="7" y="9"/>
                    <a:pt x="8" y="11"/>
                  </a:cubicBezTo>
                  <a:cubicBezTo>
                    <a:pt x="8" y="11"/>
                    <a:pt x="9" y="12"/>
                    <a:pt x="9" y="12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8" y="13"/>
                    <a:pt x="8" y="13"/>
                    <a:pt x="6" y="13"/>
                  </a:cubicBezTo>
                  <a:lnTo>
                    <a:pt x="5" y="1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6" name="Freeform 34"/>
            <p:cNvSpPr>
              <a:spLocks/>
            </p:cNvSpPr>
            <p:nvPr/>
          </p:nvSpPr>
          <p:spPr bwMode="auto">
            <a:xfrm>
              <a:off x="6610200" y="3190449"/>
              <a:ext cx="4515" cy="3245"/>
            </a:xfrm>
            <a:custGeom>
              <a:avLst/>
              <a:gdLst>
                <a:gd name="T0" fmla="*/ 6931749 w 9"/>
                <a:gd name="T1" fmla="*/ 1724631 h 7"/>
                <a:gd name="T2" fmla="*/ 5234180 w 9"/>
                <a:gd name="T3" fmla="*/ 505778 h 7"/>
                <a:gd name="T4" fmla="*/ 2243220 w 9"/>
                <a:gd name="T5" fmla="*/ 505778 h 7"/>
                <a:gd name="T6" fmla="*/ 727531 w 9"/>
                <a:gd name="T7" fmla="*/ 2642432 h 7"/>
                <a:gd name="T8" fmla="*/ 6253179 w 9"/>
                <a:gd name="T9" fmla="*/ 3397424 h 7"/>
                <a:gd name="T10" fmla="*/ 6931749 w 9"/>
                <a:gd name="T11" fmla="*/ 2234466 h 7"/>
                <a:gd name="T12" fmla="*/ 6931749 w 9"/>
                <a:gd name="T13" fmla="*/ 1724631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7"/>
                <a:gd name="T23" fmla="*/ 9 w 9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7">
                  <a:moveTo>
                    <a:pt x="9" y="3"/>
                  </a:moveTo>
                  <a:cubicBezTo>
                    <a:pt x="9" y="2"/>
                    <a:pt x="9" y="1"/>
                    <a:pt x="7" y="1"/>
                  </a:cubicBezTo>
                  <a:cubicBezTo>
                    <a:pt x="6" y="0"/>
                    <a:pt x="4" y="1"/>
                    <a:pt x="3" y="1"/>
                  </a:cubicBezTo>
                  <a:cubicBezTo>
                    <a:pt x="2" y="2"/>
                    <a:pt x="0" y="3"/>
                    <a:pt x="1" y="5"/>
                  </a:cubicBezTo>
                  <a:cubicBezTo>
                    <a:pt x="3" y="7"/>
                    <a:pt x="6" y="6"/>
                    <a:pt x="8" y="6"/>
                  </a:cubicBezTo>
                  <a:cubicBezTo>
                    <a:pt x="9" y="6"/>
                    <a:pt x="9" y="5"/>
                    <a:pt x="9" y="4"/>
                  </a:cubicBezTo>
                  <a:lnTo>
                    <a:pt x="9" y="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7" name="Freeform 35"/>
            <p:cNvSpPr>
              <a:spLocks/>
            </p:cNvSpPr>
            <p:nvPr/>
          </p:nvSpPr>
          <p:spPr bwMode="auto">
            <a:xfrm>
              <a:off x="6638795" y="3178822"/>
              <a:ext cx="11538" cy="6760"/>
            </a:xfrm>
            <a:custGeom>
              <a:avLst/>
              <a:gdLst>
                <a:gd name="T0" fmla="*/ 15644591 w 25"/>
                <a:gd name="T1" fmla="*/ 1947959 h 14"/>
                <a:gd name="T2" fmla="*/ 12953021 w 25"/>
                <a:gd name="T3" fmla="*/ 1947959 h 14"/>
                <a:gd name="T4" fmla="*/ 9524393 w 25"/>
                <a:gd name="T5" fmla="*/ 826407 h 14"/>
                <a:gd name="T6" fmla="*/ 835001 w 25"/>
                <a:gd name="T7" fmla="*/ 1947959 h 14"/>
                <a:gd name="T8" fmla="*/ 0 w 25"/>
                <a:gd name="T9" fmla="*/ 4591618 h 14"/>
                <a:gd name="T10" fmla="*/ 0 w 25"/>
                <a:gd name="T11" fmla="*/ 5415918 h 14"/>
                <a:gd name="T12" fmla="*/ 3515237 w 25"/>
                <a:gd name="T13" fmla="*/ 7350477 h 14"/>
                <a:gd name="T14" fmla="*/ 4650620 w 25"/>
                <a:gd name="T15" fmla="*/ 9297269 h 14"/>
                <a:gd name="T16" fmla="*/ 9524393 w 25"/>
                <a:gd name="T17" fmla="*/ 9969095 h 14"/>
                <a:gd name="T18" fmla="*/ 13821180 w 25"/>
                <a:gd name="T19" fmla="*/ 10823097 h 14"/>
                <a:gd name="T20" fmla="*/ 15644591 w 25"/>
                <a:gd name="T21" fmla="*/ 11919092 h 14"/>
                <a:gd name="T22" fmla="*/ 22477568 w 25"/>
                <a:gd name="T23" fmla="*/ 11919092 h 14"/>
                <a:gd name="T24" fmla="*/ 22477568 w 25"/>
                <a:gd name="T25" fmla="*/ 9969095 h 14"/>
                <a:gd name="T26" fmla="*/ 21138070 w 25"/>
                <a:gd name="T27" fmla="*/ 6527726 h 14"/>
                <a:gd name="T28" fmla="*/ 23108688 w 25"/>
                <a:gd name="T29" fmla="*/ 5415918 h 14"/>
                <a:gd name="T30" fmla="*/ 23108688 w 25"/>
                <a:gd name="T31" fmla="*/ 3468116 h 14"/>
                <a:gd name="T32" fmla="*/ 15644591 w 25"/>
                <a:gd name="T33" fmla="*/ 1947959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5"/>
                <a:gd name="T52" fmla="*/ 0 h 14"/>
                <a:gd name="T53" fmla="*/ 25 w 25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5" h="14">
                  <a:moveTo>
                    <a:pt x="17" y="2"/>
                  </a:moveTo>
                  <a:cubicBezTo>
                    <a:pt x="16" y="2"/>
                    <a:pt x="15" y="2"/>
                    <a:pt x="14" y="2"/>
                  </a:cubicBezTo>
                  <a:cubicBezTo>
                    <a:pt x="13" y="1"/>
                    <a:pt x="11" y="1"/>
                    <a:pt x="10" y="1"/>
                  </a:cubicBezTo>
                  <a:cubicBezTo>
                    <a:pt x="7" y="0"/>
                    <a:pt x="4" y="2"/>
                    <a:pt x="1" y="2"/>
                  </a:cubicBezTo>
                  <a:cubicBezTo>
                    <a:pt x="0" y="3"/>
                    <a:pt x="1" y="4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1" y="7"/>
                    <a:pt x="3" y="7"/>
                    <a:pt x="4" y="8"/>
                  </a:cubicBezTo>
                  <a:cubicBezTo>
                    <a:pt x="4" y="8"/>
                    <a:pt x="4" y="10"/>
                    <a:pt x="5" y="10"/>
                  </a:cubicBezTo>
                  <a:cubicBezTo>
                    <a:pt x="7" y="11"/>
                    <a:pt x="8" y="10"/>
                    <a:pt x="10" y="11"/>
                  </a:cubicBezTo>
                  <a:cubicBezTo>
                    <a:pt x="12" y="11"/>
                    <a:pt x="13" y="11"/>
                    <a:pt x="15" y="12"/>
                  </a:cubicBezTo>
                  <a:cubicBezTo>
                    <a:pt x="16" y="12"/>
                    <a:pt x="16" y="12"/>
                    <a:pt x="17" y="13"/>
                  </a:cubicBezTo>
                  <a:cubicBezTo>
                    <a:pt x="19" y="14"/>
                    <a:pt x="22" y="13"/>
                    <a:pt x="24" y="13"/>
                  </a:cubicBezTo>
                  <a:cubicBezTo>
                    <a:pt x="25" y="13"/>
                    <a:pt x="25" y="12"/>
                    <a:pt x="24" y="11"/>
                  </a:cubicBezTo>
                  <a:cubicBezTo>
                    <a:pt x="24" y="10"/>
                    <a:pt x="22" y="9"/>
                    <a:pt x="23" y="7"/>
                  </a:cubicBezTo>
                  <a:cubicBezTo>
                    <a:pt x="23" y="7"/>
                    <a:pt x="25" y="7"/>
                    <a:pt x="25" y="6"/>
                  </a:cubicBezTo>
                  <a:cubicBezTo>
                    <a:pt x="25" y="5"/>
                    <a:pt x="25" y="4"/>
                    <a:pt x="25" y="4"/>
                  </a:cubicBezTo>
                  <a:cubicBezTo>
                    <a:pt x="23" y="2"/>
                    <a:pt x="20" y="2"/>
                    <a:pt x="17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8" name="Freeform 36"/>
            <p:cNvSpPr>
              <a:spLocks/>
            </p:cNvSpPr>
            <p:nvPr/>
          </p:nvSpPr>
          <p:spPr bwMode="auto">
            <a:xfrm>
              <a:off x="6636538" y="3189097"/>
              <a:ext cx="10786" cy="8111"/>
            </a:xfrm>
            <a:custGeom>
              <a:avLst/>
              <a:gdLst>
                <a:gd name="T0" fmla="*/ 23001672 w 23"/>
                <a:gd name="T1" fmla="*/ 2560181 h 17"/>
                <a:gd name="T2" fmla="*/ 20557243 w 23"/>
                <a:gd name="T3" fmla="*/ 806887 h 17"/>
                <a:gd name="T4" fmla="*/ 17236329 w 23"/>
                <a:gd name="T5" fmla="*/ 806887 h 17"/>
                <a:gd name="T6" fmla="*/ 10626183 w 23"/>
                <a:gd name="T7" fmla="*/ 1898557 h 17"/>
                <a:gd name="T8" fmla="*/ 6610144 w 23"/>
                <a:gd name="T9" fmla="*/ 4467192 h 17"/>
                <a:gd name="T10" fmla="*/ 1010505 w 23"/>
                <a:gd name="T11" fmla="*/ 5300376 h 17"/>
                <a:gd name="T12" fmla="*/ 0 w 23"/>
                <a:gd name="T13" fmla="*/ 6023953 h 17"/>
                <a:gd name="T14" fmla="*/ 1010505 w 23"/>
                <a:gd name="T15" fmla="*/ 7807999 h 17"/>
                <a:gd name="T16" fmla="*/ 3423729 w 23"/>
                <a:gd name="T17" fmla="*/ 8957156 h 17"/>
                <a:gd name="T18" fmla="*/ 4750926 w 23"/>
                <a:gd name="T19" fmla="*/ 12471472 h 17"/>
                <a:gd name="T20" fmla="*/ 13817923 w 23"/>
                <a:gd name="T21" fmla="*/ 14174003 h 17"/>
                <a:gd name="T22" fmla="*/ 21564689 w 23"/>
                <a:gd name="T23" fmla="*/ 14174003 h 17"/>
                <a:gd name="T24" fmla="*/ 23980958 w 23"/>
                <a:gd name="T25" fmla="*/ 13070851 h 17"/>
                <a:gd name="T26" fmla="*/ 25410422 w 23"/>
                <a:gd name="T27" fmla="*/ 7807999 h 17"/>
                <a:gd name="T28" fmla="*/ 26432752 w 23"/>
                <a:gd name="T29" fmla="*/ 7173119 h 17"/>
                <a:gd name="T30" fmla="*/ 26432752 w 23"/>
                <a:gd name="T31" fmla="*/ 4467192 h 17"/>
                <a:gd name="T32" fmla="*/ 25410422 w 23"/>
                <a:gd name="T33" fmla="*/ 3318400 h 17"/>
                <a:gd name="T34" fmla="*/ 23001672 w 23"/>
                <a:gd name="T35" fmla="*/ 2560181 h 1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3"/>
                <a:gd name="T55" fmla="*/ 0 h 17"/>
                <a:gd name="T56" fmla="*/ 23 w 23"/>
                <a:gd name="T57" fmla="*/ 17 h 1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3" h="17">
                  <a:moveTo>
                    <a:pt x="20" y="3"/>
                  </a:moveTo>
                  <a:cubicBezTo>
                    <a:pt x="20" y="2"/>
                    <a:pt x="19" y="2"/>
                    <a:pt x="18" y="1"/>
                  </a:cubicBezTo>
                  <a:cubicBezTo>
                    <a:pt x="17" y="0"/>
                    <a:pt x="16" y="1"/>
                    <a:pt x="15" y="1"/>
                  </a:cubicBezTo>
                  <a:cubicBezTo>
                    <a:pt x="13" y="1"/>
                    <a:pt x="11" y="1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5" y="7"/>
                    <a:pt x="3" y="6"/>
                    <a:pt x="1" y="6"/>
                  </a:cubicBezTo>
                  <a:cubicBezTo>
                    <a:pt x="1" y="6"/>
                    <a:pt x="0" y="6"/>
                    <a:pt x="0" y="7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2" y="9"/>
                    <a:pt x="3" y="10"/>
                    <a:pt x="3" y="10"/>
                  </a:cubicBezTo>
                  <a:cubicBezTo>
                    <a:pt x="4" y="11"/>
                    <a:pt x="3" y="14"/>
                    <a:pt x="4" y="14"/>
                  </a:cubicBezTo>
                  <a:cubicBezTo>
                    <a:pt x="7" y="15"/>
                    <a:pt x="10" y="13"/>
                    <a:pt x="12" y="16"/>
                  </a:cubicBezTo>
                  <a:cubicBezTo>
                    <a:pt x="14" y="17"/>
                    <a:pt x="17" y="16"/>
                    <a:pt x="19" y="16"/>
                  </a:cubicBezTo>
                  <a:cubicBezTo>
                    <a:pt x="20" y="16"/>
                    <a:pt x="21" y="15"/>
                    <a:pt x="21" y="15"/>
                  </a:cubicBezTo>
                  <a:cubicBezTo>
                    <a:pt x="22" y="13"/>
                    <a:pt x="22" y="11"/>
                    <a:pt x="22" y="9"/>
                  </a:cubicBezTo>
                  <a:cubicBezTo>
                    <a:pt x="22" y="9"/>
                    <a:pt x="22" y="8"/>
                    <a:pt x="23" y="8"/>
                  </a:cubicBezTo>
                  <a:cubicBezTo>
                    <a:pt x="23" y="7"/>
                    <a:pt x="23" y="6"/>
                    <a:pt x="23" y="5"/>
                  </a:cubicBezTo>
                  <a:cubicBezTo>
                    <a:pt x="23" y="4"/>
                    <a:pt x="22" y="4"/>
                    <a:pt x="22" y="4"/>
                  </a:cubicBezTo>
                  <a:lnTo>
                    <a:pt x="20" y="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9" name="Freeform 37"/>
            <p:cNvSpPr>
              <a:spLocks/>
            </p:cNvSpPr>
            <p:nvPr/>
          </p:nvSpPr>
          <p:spPr bwMode="auto">
            <a:xfrm>
              <a:off x="6650333" y="3181526"/>
              <a:ext cx="39631" cy="16763"/>
            </a:xfrm>
            <a:custGeom>
              <a:avLst/>
              <a:gdLst>
                <a:gd name="T0" fmla="*/ 44088677 w 85"/>
                <a:gd name="T1" fmla="*/ 18544499 h 34"/>
                <a:gd name="T2" fmla="*/ 41218871 w 85"/>
                <a:gd name="T3" fmla="*/ 21659667 h 34"/>
                <a:gd name="T4" fmla="*/ 36444560 w 85"/>
                <a:gd name="T5" fmla="*/ 20288156 h 34"/>
                <a:gd name="T6" fmla="*/ 32306080 w 85"/>
                <a:gd name="T7" fmla="*/ 18544499 h 34"/>
                <a:gd name="T8" fmla="*/ 28704067 w 85"/>
                <a:gd name="T9" fmla="*/ 19345969 h 34"/>
                <a:gd name="T10" fmla="*/ 23941664 w 85"/>
                <a:gd name="T11" fmla="*/ 17284082 h 34"/>
                <a:gd name="T12" fmla="*/ 21033134 w 85"/>
                <a:gd name="T13" fmla="*/ 21659667 h 34"/>
                <a:gd name="T14" fmla="*/ 18954109 w 85"/>
                <a:gd name="T15" fmla="*/ 17284082 h 34"/>
                <a:gd name="T16" fmla="*/ 21033134 w 85"/>
                <a:gd name="T17" fmla="*/ 14003860 h 34"/>
                <a:gd name="T18" fmla="*/ 13300723 w 85"/>
                <a:gd name="T19" fmla="*/ 13061763 h 34"/>
                <a:gd name="T20" fmla="*/ 11284737 w 85"/>
                <a:gd name="T21" fmla="*/ 13061763 h 34"/>
                <a:gd name="T22" fmla="*/ 10420664 w 85"/>
                <a:gd name="T23" fmla="*/ 7784113 h 34"/>
                <a:gd name="T24" fmla="*/ 21913580 w 85"/>
                <a:gd name="T25" fmla="*/ 8516019 h 34"/>
                <a:gd name="T26" fmla="*/ 13300723 w 85"/>
                <a:gd name="T27" fmla="*/ 6284261 h 34"/>
                <a:gd name="T28" fmla="*/ 17430870 w 85"/>
                <a:gd name="T29" fmla="*/ 5482718 h 34"/>
                <a:gd name="T30" fmla="*/ 12503279 w 85"/>
                <a:gd name="T31" fmla="*/ 4545926 h 34"/>
                <a:gd name="T32" fmla="*/ 16265335 w 85"/>
                <a:gd name="T33" fmla="*/ 3267406 h 34"/>
                <a:gd name="T34" fmla="*/ 8533447 w 85"/>
                <a:gd name="T35" fmla="*/ 966015 h 34"/>
                <a:gd name="T36" fmla="*/ 2018075 w 85"/>
                <a:gd name="T37" fmla="*/ 2301388 h 34"/>
                <a:gd name="T38" fmla="*/ 0 w 85"/>
                <a:gd name="T39" fmla="*/ 6284261 h 34"/>
                <a:gd name="T40" fmla="*/ 853415 w 85"/>
                <a:gd name="T41" fmla="*/ 11800851 h 34"/>
                <a:gd name="T42" fmla="*/ 2908766 w 85"/>
                <a:gd name="T43" fmla="*/ 16318076 h 34"/>
                <a:gd name="T44" fmla="*/ 853415 w 85"/>
                <a:gd name="T45" fmla="*/ 21659667 h 34"/>
                <a:gd name="T46" fmla="*/ 2018075 w 85"/>
                <a:gd name="T47" fmla="*/ 25800861 h 34"/>
                <a:gd name="T48" fmla="*/ 853415 w 85"/>
                <a:gd name="T49" fmla="*/ 28816194 h 34"/>
                <a:gd name="T50" fmla="*/ 4772153 w 85"/>
                <a:gd name="T51" fmla="*/ 31117718 h 34"/>
                <a:gd name="T52" fmla="*/ 10420664 w 85"/>
                <a:gd name="T53" fmla="*/ 33362122 h 34"/>
                <a:gd name="T54" fmla="*/ 21913580 w 85"/>
                <a:gd name="T55" fmla="*/ 30346770 h 34"/>
                <a:gd name="T56" fmla="*/ 33471350 w 85"/>
                <a:gd name="T57" fmla="*/ 35666962 h 34"/>
                <a:gd name="T58" fmla="*/ 38462712 w 85"/>
                <a:gd name="T59" fmla="*/ 34333493 h 34"/>
                <a:gd name="T60" fmla="*/ 46126977 w 85"/>
                <a:gd name="T61" fmla="*/ 33362122 h 34"/>
                <a:gd name="T62" fmla="*/ 56614992 w 85"/>
                <a:gd name="T63" fmla="*/ 30346770 h 34"/>
                <a:gd name="T64" fmla="*/ 58270588 w 85"/>
                <a:gd name="T65" fmla="*/ 34333493 h 34"/>
                <a:gd name="T66" fmla="*/ 67164604 w 85"/>
                <a:gd name="T67" fmla="*/ 34333493 h 34"/>
                <a:gd name="T68" fmla="*/ 74375403 w 85"/>
                <a:gd name="T69" fmla="*/ 33362122 h 34"/>
                <a:gd name="T70" fmla="*/ 76394369 w 85"/>
                <a:gd name="T71" fmla="*/ 32085067 h 34"/>
                <a:gd name="T72" fmla="*/ 81205825 w 85"/>
                <a:gd name="T73" fmla="*/ 19345969 h 34"/>
                <a:gd name="T74" fmla="*/ 69916212 w 85"/>
                <a:gd name="T75" fmla="*/ 14003860 h 34"/>
                <a:gd name="T76" fmla="*/ 61018868 w 85"/>
                <a:gd name="T77" fmla="*/ 14971323 h 34"/>
                <a:gd name="T78" fmla="*/ 54508021 w 85"/>
                <a:gd name="T79" fmla="*/ 14003860 h 34"/>
                <a:gd name="T80" fmla="*/ 51819143 w 85"/>
                <a:gd name="T81" fmla="*/ 16318076 h 3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85"/>
                <a:gd name="T124" fmla="*/ 0 h 34"/>
                <a:gd name="T125" fmla="*/ 85 w 85"/>
                <a:gd name="T126" fmla="*/ 34 h 3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85" h="34">
                  <a:moveTo>
                    <a:pt x="54" y="15"/>
                  </a:moveTo>
                  <a:cubicBezTo>
                    <a:pt x="51" y="17"/>
                    <a:pt x="48" y="16"/>
                    <a:pt x="46" y="17"/>
                  </a:cubicBezTo>
                  <a:cubicBezTo>
                    <a:pt x="45" y="17"/>
                    <a:pt x="45" y="18"/>
                    <a:pt x="45" y="18"/>
                  </a:cubicBezTo>
                  <a:cubicBezTo>
                    <a:pt x="44" y="19"/>
                    <a:pt x="44" y="20"/>
                    <a:pt x="43" y="20"/>
                  </a:cubicBezTo>
                  <a:cubicBezTo>
                    <a:pt x="42" y="21"/>
                    <a:pt x="41" y="21"/>
                    <a:pt x="40" y="20"/>
                  </a:cubicBezTo>
                  <a:cubicBezTo>
                    <a:pt x="39" y="20"/>
                    <a:pt x="39" y="20"/>
                    <a:pt x="38" y="19"/>
                  </a:cubicBezTo>
                  <a:cubicBezTo>
                    <a:pt x="37" y="18"/>
                    <a:pt x="37" y="17"/>
                    <a:pt x="36" y="17"/>
                  </a:cubicBezTo>
                  <a:cubicBezTo>
                    <a:pt x="35" y="16"/>
                    <a:pt x="34" y="16"/>
                    <a:pt x="34" y="17"/>
                  </a:cubicBezTo>
                  <a:cubicBezTo>
                    <a:pt x="34" y="17"/>
                    <a:pt x="34" y="18"/>
                    <a:pt x="33" y="18"/>
                  </a:cubicBezTo>
                  <a:cubicBezTo>
                    <a:pt x="32" y="19"/>
                    <a:pt x="31" y="19"/>
                    <a:pt x="30" y="18"/>
                  </a:cubicBezTo>
                  <a:cubicBezTo>
                    <a:pt x="29" y="18"/>
                    <a:pt x="28" y="17"/>
                    <a:pt x="27" y="16"/>
                  </a:cubicBezTo>
                  <a:cubicBezTo>
                    <a:pt x="26" y="15"/>
                    <a:pt x="25" y="15"/>
                    <a:pt x="25" y="16"/>
                  </a:cubicBezTo>
                  <a:cubicBezTo>
                    <a:pt x="24" y="17"/>
                    <a:pt x="25" y="19"/>
                    <a:pt x="24" y="20"/>
                  </a:cubicBezTo>
                  <a:cubicBezTo>
                    <a:pt x="24" y="20"/>
                    <a:pt x="23" y="20"/>
                    <a:pt x="22" y="20"/>
                  </a:cubicBezTo>
                  <a:cubicBezTo>
                    <a:pt x="22" y="19"/>
                    <a:pt x="21" y="19"/>
                    <a:pt x="20" y="18"/>
                  </a:cubicBezTo>
                  <a:cubicBezTo>
                    <a:pt x="20" y="17"/>
                    <a:pt x="20" y="17"/>
                    <a:pt x="20" y="16"/>
                  </a:cubicBezTo>
                  <a:cubicBezTo>
                    <a:pt x="21" y="16"/>
                    <a:pt x="21" y="15"/>
                    <a:pt x="22" y="14"/>
                  </a:cubicBezTo>
                  <a:cubicBezTo>
                    <a:pt x="22" y="14"/>
                    <a:pt x="22" y="14"/>
                    <a:pt x="22" y="13"/>
                  </a:cubicBezTo>
                  <a:cubicBezTo>
                    <a:pt x="21" y="13"/>
                    <a:pt x="21" y="12"/>
                    <a:pt x="20" y="12"/>
                  </a:cubicBezTo>
                  <a:cubicBezTo>
                    <a:pt x="18" y="11"/>
                    <a:pt x="16" y="11"/>
                    <a:pt x="14" y="12"/>
                  </a:cubicBezTo>
                  <a:cubicBezTo>
                    <a:pt x="13" y="12"/>
                    <a:pt x="12" y="13"/>
                    <a:pt x="12" y="13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5" y="11"/>
                    <a:pt x="14" y="10"/>
                  </a:cubicBezTo>
                  <a:cubicBezTo>
                    <a:pt x="13" y="9"/>
                    <a:pt x="11" y="9"/>
                    <a:pt x="11" y="7"/>
                  </a:cubicBezTo>
                  <a:cubicBezTo>
                    <a:pt x="13" y="7"/>
                    <a:pt x="14" y="8"/>
                    <a:pt x="15" y="8"/>
                  </a:cubicBezTo>
                  <a:cubicBezTo>
                    <a:pt x="18" y="8"/>
                    <a:pt x="20" y="9"/>
                    <a:pt x="23" y="8"/>
                  </a:cubicBezTo>
                  <a:cubicBezTo>
                    <a:pt x="24" y="8"/>
                    <a:pt x="25" y="8"/>
                    <a:pt x="25" y="7"/>
                  </a:cubicBezTo>
                  <a:cubicBezTo>
                    <a:pt x="21" y="6"/>
                    <a:pt x="18" y="7"/>
                    <a:pt x="14" y="6"/>
                  </a:cubicBezTo>
                  <a:cubicBezTo>
                    <a:pt x="13" y="6"/>
                    <a:pt x="12" y="6"/>
                    <a:pt x="12" y="5"/>
                  </a:cubicBezTo>
                  <a:cubicBezTo>
                    <a:pt x="14" y="5"/>
                    <a:pt x="16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6" y="4"/>
                    <a:pt x="14" y="4"/>
                    <a:pt x="13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6" y="4"/>
                    <a:pt x="17" y="3"/>
                  </a:cubicBezTo>
                  <a:cubicBezTo>
                    <a:pt x="17" y="3"/>
                    <a:pt x="17" y="2"/>
                    <a:pt x="17" y="2"/>
                  </a:cubicBezTo>
                  <a:cubicBezTo>
                    <a:pt x="14" y="0"/>
                    <a:pt x="12" y="0"/>
                    <a:pt x="9" y="1"/>
                  </a:cubicBezTo>
                  <a:cubicBezTo>
                    <a:pt x="8" y="1"/>
                    <a:pt x="7" y="1"/>
                    <a:pt x="6" y="2"/>
                  </a:cubicBezTo>
                  <a:cubicBezTo>
                    <a:pt x="5" y="2"/>
                    <a:pt x="3" y="1"/>
                    <a:pt x="2" y="2"/>
                  </a:cubicBezTo>
                  <a:cubicBezTo>
                    <a:pt x="2" y="2"/>
                    <a:pt x="1" y="3"/>
                    <a:pt x="1" y="4"/>
                  </a:cubicBezTo>
                  <a:cubicBezTo>
                    <a:pt x="0" y="4"/>
                    <a:pt x="1" y="5"/>
                    <a:pt x="0" y="6"/>
                  </a:cubicBezTo>
                  <a:cubicBezTo>
                    <a:pt x="1" y="6"/>
                    <a:pt x="1" y="7"/>
                    <a:pt x="1" y="6"/>
                  </a:cubicBezTo>
                  <a:cubicBezTo>
                    <a:pt x="1" y="8"/>
                    <a:pt x="0" y="9"/>
                    <a:pt x="1" y="11"/>
                  </a:cubicBezTo>
                  <a:cubicBezTo>
                    <a:pt x="1" y="12"/>
                    <a:pt x="3" y="12"/>
                    <a:pt x="4" y="13"/>
                  </a:cubicBezTo>
                  <a:cubicBezTo>
                    <a:pt x="4" y="14"/>
                    <a:pt x="4" y="15"/>
                    <a:pt x="3" y="15"/>
                  </a:cubicBezTo>
                  <a:cubicBezTo>
                    <a:pt x="3" y="16"/>
                    <a:pt x="2" y="17"/>
                    <a:pt x="1" y="18"/>
                  </a:cubicBezTo>
                  <a:cubicBezTo>
                    <a:pt x="1" y="18"/>
                    <a:pt x="1" y="19"/>
                    <a:pt x="1" y="20"/>
                  </a:cubicBezTo>
                  <a:cubicBezTo>
                    <a:pt x="1" y="20"/>
                    <a:pt x="2" y="21"/>
                    <a:pt x="2" y="21"/>
                  </a:cubicBezTo>
                  <a:cubicBezTo>
                    <a:pt x="2" y="22"/>
                    <a:pt x="2" y="23"/>
                    <a:pt x="2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6"/>
                    <a:pt x="0" y="27"/>
                    <a:pt x="1" y="27"/>
                  </a:cubicBezTo>
                  <a:cubicBezTo>
                    <a:pt x="1" y="28"/>
                    <a:pt x="2" y="29"/>
                    <a:pt x="3" y="29"/>
                  </a:cubicBezTo>
                  <a:cubicBezTo>
                    <a:pt x="4" y="30"/>
                    <a:pt x="4" y="30"/>
                    <a:pt x="5" y="29"/>
                  </a:cubicBezTo>
                  <a:cubicBezTo>
                    <a:pt x="6" y="29"/>
                    <a:pt x="8" y="28"/>
                    <a:pt x="9" y="29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4" y="32"/>
                    <a:pt x="16" y="31"/>
                    <a:pt x="20" y="31"/>
                  </a:cubicBezTo>
                  <a:cubicBezTo>
                    <a:pt x="21" y="31"/>
                    <a:pt x="21" y="28"/>
                    <a:pt x="23" y="28"/>
                  </a:cubicBezTo>
                  <a:cubicBezTo>
                    <a:pt x="23" y="30"/>
                    <a:pt x="23" y="32"/>
                    <a:pt x="24" y="33"/>
                  </a:cubicBezTo>
                  <a:cubicBezTo>
                    <a:pt x="28" y="33"/>
                    <a:pt x="32" y="34"/>
                    <a:pt x="35" y="33"/>
                  </a:cubicBezTo>
                  <a:cubicBezTo>
                    <a:pt x="36" y="33"/>
                    <a:pt x="36" y="32"/>
                    <a:pt x="37" y="32"/>
                  </a:cubicBezTo>
                  <a:cubicBezTo>
                    <a:pt x="38" y="31"/>
                    <a:pt x="39" y="32"/>
                    <a:pt x="40" y="32"/>
                  </a:cubicBezTo>
                  <a:cubicBezTo>
                    <a:pt x="40" y="33"/>
                    <a:pt x="42" y="33"/>
                    <a:pt x="42" y="32"/>
                  </a:cubicBezTo>
                  <a:cubicBezTo>
                    <a:pt x="44" y="31"/>
                    <a:pt x="46" y="30"/>
                    <a:pt x="48" y="31"/>
                  </a:cubicBezTo>
                  <a:cubicBezTo>
                    <a:pt x="51" y="31"/>
                    <a:pt x="54" y="32"/>
                    <a:pt x="57" y="31"/>
                  </a:cubicBezTo>
                  <a:cubicBezTo>
                    <a:pt x="58" y="31"/>
                    <a:pt x="58" y="29"/>
                    <a:pt x="59" y="28"/>
                  </a:cubicBezTo>
                  <a:cubicBezTo>
                    <a:pt x="59" y="28"/>
                    <a:pt x="60" y="28"/>
                    <a:pt x="60" y="28"/>
                  </a:cubicBezTo>
                  <a:cubicBezTo>
                    <a:pt x="61" y="29"/>
                    <a:pt x="60" y="31"/>
                    <a:pt x="61" y="32"/>
                  </a:cubicBezTo>
                  <a:cubicBezTo>
                    <a:pt x="61" y="32"/>
                    <a:pt x="63" y="32"/>
                    <a:pt x="64" y="32"/>
                  </a:cubicBezTo>
                  <a:cubicBezTo>
                    <a:pt x="66" y="31"/>
                    <a:pt x="68" y="33"/>
                    <a:pt x="70" y="32"/>
                  </a:cubicBezTo>
                  <a:cubicBezTo>
                    <a:pt x="71" y="31"/>
                    <a:pt x="72" y="32"/>
                    <a:pt x="72" y="31"/>
                  </a:cubicBezTo>
                  <a:cubicBezTo>
                    <a:pt x="74" y="30"/>
                    <a:pt x="76" y="31"/>
                    <a:pt x="78" y="31"/>
                  </a:cubicBezTo>
                  <a:cubicBezTo>
                    <a:pt x="78" y="32"/>
                    <a:pt x="79" y="32"/>
                    <a:pt x="79" y="31"/>
                  </a:cubicBezTo>
                  <a:cubicBezTo>
                    <a:pt x="80" y="31"/>
                    <a:pt x="80" y="30"/>
                    <a:pt x="80" y="30"/>
                  </a:cubicBezTo>
                  <a:cubicBezTo>
                    <a:pt x="81" y="27"/>
                    <a:pt x="80" y="25"/>
                    <a:pt x="81" y="22"/>
                  </a:cubicBezTo>
                  <a:cubicBezTo>
                    <a:pt x="82" y="21"/>
                    <a:pt x="85" y="20"/>
                    <a:pt x="85" y="18"/>
                  </a:cubicBezTo>
                  <a:cubicBezTo>
                    <a:pt x="83" y="17"/>
                    <a:pt x="81" y="15"/>
                    <a:pt x="79" y="14"/>
                  </a:cubicBezTo>
                  <a:cubicBezTo>
                    <a:pt x="77" y="14"/>
                    <a:pt x="75" y="14"/>
                    <a:pt x="73" y="13"/>
                  </a:cubicBezTo>
                  <a:cubicBezTo>
                    <a:pt x="71" y="13"/>
                    <a:pt x="69" y="13"/>
                    <a:pt x="68" y="13"/>
                  </a:cubicBezTo>
                  <a:cubicBezTo>
                    <a:pt x="67" y="13"/>
                    <a:pt x="66" y="14"/>
                    <a:pt x="64" y="14"/>
                  </a:cubicBezTo>
                  <a:cubicBezTo>
                    <a:pt x="64" y="15"/>
                    <a:pt x="63" y="15"/>
                    <a:pt x="62" y="14"/>
                  </a:cubicBezTo>
                  <a:cubicBezTo>
                    <a:pt x="61" y="13"/>
                    <a:pt x="59" y="12"/>
                    <a:pt x="57" y="13"/>
                  </a:cubicBezTo>
                  <a:cubicBezTo>
                    <a:pt x="56" y="13"/>
                    <a:pt x="56" y="14"/>
                    <a:pt x="55" y="14"/>
                  </a:cubicBezTo>
                  <a:lnTo>
                    <a:pt x="54" y="15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0" name="Freeform 38"/>
            <p:cNvSpPr>
              <a:spLocks/>
            </p:cNvSpPr>
            <p:nvPr/>
          </p:nvSpPr>
          <p:spPr bwMode="auto">
            <a:xfrm>
              <a:off x="6688208" y="3193152"/>
              <a:ext cx="1505" cy="2163"/>
            </a:xfrm>
            <a:custGeom>
              <a:avLst/>
              <a:gdLst>
                <a:gd name="T0" fmla="*/ 19258026 w 3"/>
                <a:gd name="T1" fmla="*/ 940581 h 5"/>
                <a:gd name="T2" fmla="*/ 19258026 w 3"/>
                <a:gd name="T3" fmla="*/ 257371 h 5"/>
                <a:gd name="T4" fmla="*/ 7221760 w 3"/>
                <a:gd name="T5" fmla="*/ 0 h 5"/>
                <a:gd name="T6" fmla="*/ 7221760 w 3"/>
                <a:gd name="T7" fmla="*/ 1245675 h 5"/>
                <a:gd name="T8" fmla="*/ 19258026 w 3"/>
                <a:gd name="T9" fmla="*/ 1500783 h 5"/>
                <a:gd name="T10" fmla="*/ 19258026 w 3"/>
                <a:gd name="T11" fmla="*/ 940581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3"/>
                  </a:moveTo>
                  <a:cubicBezTo>
                    <a:pt x="3" y="2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1" y="3"/>
                    <a:pt x="1" y="4"/>
                  </a:cubicBezTo>
                  <a:cubicBezTo>
                    <a:pt x="1" y="5"/>
                    <a:pt x="2" y="5"/>
                    <a:pt x="3" y="5"/>
                  </a:cubicBezTo>
                  <a:cubicBezTo>
                    <a:pt x="3" y="4"/>
                    <a:pt x="3" y="3"/>
                    <a:pt x="3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1" name="Freeform 39"/>
            <p:cNvSpPr>
              <a:spLocks/>
            </p:cNvSpPr>
            <p:nvPr/>
          </p:nvSpPr>
          <p:spPr bwMode="auto">
            <a:xfrm>
              <a:off x="6683944" y="3202075"/>
              <a:ext cx="15050" cy="7571"/>
            </a:xfrm>
            <a:custGeom>
              <a:avLst/>
              <a:gdLst>
                <a:gd name="T0" fmla="*/ 20356391 w 32"/>
                <a:gd name="T1" fmla="*/ 896786 h 16"/>
                <a:gd name="T2" fmla="*/ 18521918 w 32"/>
                <a:gd name="T3" fmla="*/ 896786 h 16"/>
                <a:gd name="T4" fmla="*/ 15456858 w 32"/>
                <a:gd name="T5" fmla="*/ 2129866 h 16"/>
                <a:gd name="T6" fmla="*/ 12013775 w 32"/>
                <a:gd name="T7" fmla="*/ 2129866 h 16"/>
                <a:gd name="T8" fmla="*/ 12013775 w 32"/>
                <a:gd name="T9" fmla="*/ 2129866 h 16"/>
                <a:gd name="T10" fmla="*/ 7279645 w 32"/>
                <a:gd name="T11" fmla="*/ 0 h 16"/>
                <a:gd name="T12" fmla="*/ 3065115 w 32"/>
                <a:gd name="T13" fmla="*/ 0 h 16"/>
                <a:gd name="T14" fmla="*/ 896786 w 32"/>
                <a:gd name="T15" fmla="*/ 5955246 h 16"/>
                <a:gd name="T16" fmla="*/ 4351847 w 32"/>
                <a:gd name="T17" fmla="*/ 8176458 h 16"/>
                <a:gd name="T18" fmla="*/ 5058432 w 32"/>
                <a:gd name="T19" fmla="*/ 14143703 h 16"/>
                <a:gd name="T20" fmla="*/ 11241359 w 32"/>
                <a:gd name="T21" fmla="*/ 15456858 h 16"/>
                <a:gd name="T22" fmla="*/ 14143703 w 32"/>
                <a:gd name="T23" fmla="*/ 13463332 h 16"/>
                <a:gd name="T24" fmla="*/ 29754318 w 32"/>
                <a:gd name="T25" fmla="*/ 12013775 h 16"/>
                <a:gd name="T26" fmla="*/ 32656453 w 32"/>
                <a:gd name="T27" fmla="*/ 13463332 h 16"/>
                <a:gd name="T28" fmla="*/ 31975398 w 32"/>
                <a:gd name="T29" fmla="*/ 9111496 h 16"/>
                <a:gd name="T30" fmla="*/ 29754318 w 32"/>
                <a:gd name="T31" fmla="*/ 7279645 h 16"/>
                <a:gd name="T32" fmla="*/ 27594988 w 32"/>
                <a:gd name="T33" fmla="*/ 5955246 h 16"/>
                <a:gd name="T34" fmla="*/ 24547105 w 32"/>
                <a:gd name="T35" fmla="*/ 2129866 h 16"/>
                <a:gd name="T36" fmla="*/ 21639802 w 32"/>
                <a:gd name="T37" fmla="*/ 896786 h 16"/>
                <a:gd name="T38" fmla="*/ 20356391 w 32"/>
                <a:gd name="T39" fmla="*/ 896786 h 1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2"/>
                <a:gd name="T61" fmla="*/ 0 h 16"/>
                <a:gd name="T62" fmla="*/ 32 w 32"/>
                <a:gd name="T63" fmla="*/ 16 h 1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2" h="16">
                  <a:moveTo>
                    <a:pt x="20" y="1"/>
                  </a:moveTo>
                  <a:cubicBezTo>
                    <a:pt x="19" y="1"/>
                    <a:pt x="18" y="1"/>
                    <a:pt x="18" y="1"/>
                  </a:cubicBezTo>
                  <a:cubicBezTo>
                    <a:pt x="17" y="1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1"/>
                    <a:pt x="8" y="1"/>
                    <a:pt x="7" y="0"/>
                  </a:cubicBezTo>
                  <a:cubicBezTo>
                    <a:pt x="6" y="0"/>
                    <a:pt x="4" y="0"/>
                    <a:pt x="3" y="0"/>
                  </a:cubicBezTo>
                  <a:cubicBezTo>
                    <a:pt x="1" y="1"/>
                    <a:pt x="0" y="4"/>
                    <a:pt x="1" y="6"/>
                  </a:cubicBezTo>
                  <a:cubicBezTo>
                    <a:pt x="2" y="7"/>
                    <a:pt x="3" y="7"/>
                    <a:pt x="4" y="8"/>
                  </a:cubicBezTo>
                  <a:cubicBezTo>
                    <a:pt x="5" y="10"/>
                    <a:pt x="4" y="12"/>
                    <a:pt x="5" y="14"/>
                  </a:cubicBezTo>
                  <a:cubicBezTo>
                    <a:pt x="6" y="16"/>
                    <a:pt x="9" y="16"/>
                    <a:pt x="11" y="15"/>
                  </a:cubicBezTo>
                  <a:cubicBezTo>
                    <a:pt x="12" y="15"/>
                    <a:pt x="13" y="13"/>
                    <a:pt x="14" y="13"/>
                  </a:cubicBezTo>
                  <a:cubicBezTo>
                    <a:pt x="19" y="12"/>
                    <a:pt x="24" y="12"/>
                    <a:pt x="29" y="12"/>
                  </a:cubicBezTo>
                  <a:cubicBezTo>
                    <a:pt x="30" y="12"/>
                    <a:pt x="31" y="13"/>
                    <a:pt x="32" y="13"/>
                  </a:cubicBezTo>
                  <a:cubicBezTo>
                    <a:pt x="32" y="12"/>
                    <a:pt x="32" y="10"/>
                    <a:pt x="31" y="9"/>
                  </a:cubicBezTo>
                  <a:cubicBezTo>
                    <a:pt x="31" y="8"/>
                    <a:pt x="30" y="7"/>
                    <a:pt x="29" y="7"/>
                  </a:cubicBezTo>
                  <a:cubicBezTo>
                    <a:pt x="28" y="6"/>
                    <a:pt x="28" y="6"/>
                    <a:pt x="27" y="6"/>
                  </a:cubicBezTo>
                  <a:cubicBezTo>
                    <a:pt x="26" y="5"/>
                    <a:pt x="25" y="3"/>
                    <a:pt x="24" y="2"/>
                  </a:cubicBezTo>
                  <a:cubicBezTo>
                    <a:pt x="23" y="2"/>
                    <a:pt x="22" y="1"/>
                    <a:pt x="21" y="1"/>
                  </a:cubicBezTo>
                  <a:lnTo>
                    <a:pt x="20" y="1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2" name="Freeform 40"/>
            <p:cNvSpPr>
              <a:spLocks/>
            </p:cNvSpPr>
            <p:nvPr/>
          </p:nvSpPr>
          <p:spPr bwMode="auto">
            <a:xfrm>
              <a:off x="6682189" y="3231816"/>
              <a:ext cx="5267" cy="4326"/>
            </a:xfrm>
            <a:custGeom>
              <a:avLst/>
              <a:gdLst>
                <a:gd name="T0" fmla="*/ 6840539 w 11"/>
                <a:gd name="T1" fmla="*/ 727531 h 9"/>
                <a:gd name="T2" fmla="*/ 2007625 w 11"/>
                <a:gd name="T3" fmla="*/ 3961001 h 9"/>
                <a:gd name="T4" fmla="*/ 0 w 11"/>
                <a:gd name="T5" fmla="*/ 5234180 h 9"/>
                <a:gd name="T6" fmla="*/ 0 w 11"/>
                <a:gd name="T7" fmla="*/ 6253179 h 9"/>
                <a:gd name="T8" fmla="*/ 3587761 w 11"/>
                <a:gd name="T9" fmla="*/ 6253179 h 9"/>
                <a:gd name="T10" fmla="*/ 7630664 w 11"/>
                <a:gd name="T11" fmla="*/ 2970751 h 9"/>
                <a:gd name="T12" fmla="*/ 10341118 w 11"/>
                <a:gd name="T13" fmla="*/ 0 h 9"/>
                <a:gd name="T14" fmla="*/ 7630664 w 11"/>
                <a:gd name="T15" fmla="*/ 0 h 9"/>
                <a:gd name="T16" fmla="*/ 6840539 w 11"/>
                <a:gd name="T17" fmla="*/ 727531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9"/>
                <a:gd name="T29" fmla="*/ 11 w 11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9">
                  <a:moveTo>
                    <a:pt x="7" y="1"/>
                  </a:moveTo>
                  <a:cubicBezTo>
                    <a:pt x="5" y="2"/>
                    <a:pt x="3" y="4"/>
                    <a:pt x="2" y="5"/>
                  </a:cubicBezTo>
                  <a:cubicBezTo>
                    <a:pt x="1" y="6"/>
                    <a:pt x="1" y="6"/>
                    <a:pt x="0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1" y="9"/>
                    <a:pt x="3" y="8"/>
                    <a:pt x="4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9" y="2"/>
                    <a:pt x="11" y="1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8" y="0"/>
                    <a:pt x="7" y="1"/>
                    <a:pt x="7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3" name="Freeform 41"/>
            <p:cNvSpPr>
              <a:spLocks/>
            </p:cNvSpPr>
            <p:nvPr/>
          </p:nvSpPr>
          <p:spPr bwMode="auto">
            <a:xfrm>
              <a:off x="6687707" y="3238576"/>
              <a:ext cx="7776" cy="7300"/>
            </a:xfrm>
            <a:custGeom>
              <a:avLst/>
              <a:gdLst>
                <a:gd name="T0" fmla="*/ 7173119 w 17"/>
                <a:gd name="T1" fmla="*/ 727531 h 15"/>
                <a:gd name="T2" fmla="*/ 806887 w 17"/>
                <a:gd name="T3" fmla="*/ 5234181 h 15"/>
                <a:gd name="T4" fmla="*/ 1898557 w 17"/>
                <a:gd name="T5" fmla="*/ 10939910 h 15"/>
                <a:gd name="T6" fmla="*/ 2560181 w 17"/>
                <a:gd name="T7" fmla="*/ 11620011 h 15"/>
                <a:gd name="T8" fmla="*/ 9768793 w 17"/>
                <a:gd name="T9" fmla="*/ 11620011 h 15"/>
                <a:gd name="T10" fmla="*/ 11661007 w 17"/>
                <a:gd name="T11" fmla="*/ 10939910 h 15"/>
                <a:gd name="T12" fmla="*/ 13070851 w 17"/>
                <a:gd name="T13" fmla="*/ 9242333 h 15"/>
                <a:gd name="T14" fmla="*/ 13070851 w 17"/>
                <a:gd name="T15" fmla="*/ 8614993 h 15"/>
                <a:gd name="T16" fmla="*/ 14174003 w 17"/>
                <a:gd name="T17" fmla="*/ 3961001 h 15"/>
                <a:gd name="T18" fmla="*/ 14978991 w 17"/>
                <a:gd name="T19" fmla="*/ 727531 h 15"/>
                <a:gd name="T20" fmla="*/ 10511040 w 17"/>
                <a:gd name="T21" fmla="*/ 0 h 15"/>
                <a:gd name="T22" fmla="*/ 8957156 w 17"/>
                <a:gd name="T23" fmla="*/ 727531 h 15"/>
                <a:gd name="T24" fmla="*/ 7173119 w 17"/>
                <a:gd name="T25" fmla="*/ 727531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15"/>
                <a:gd name="T41" fmla="*/ 17 w 17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15">
                  <a:moveTo>
                    <a:pt x="8" y="1"/>
                  </a:moveTo>
                  <a:cubicBezTo>
                    <a:pt x="5" y="2"/>
                    <a:pt x="3" y="5"/>
                    <a:pt x="1" y="7"/>
                  </a:cubicBezTo>
                  <a:cubicBezTo>
                    <a:pt x="1" y="10"/>
                    <a:pt x="0" y="12"/>
                    <a:pt x="2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6" y="15"/>
                    <a:pt x="9" y="15"/>
                    <a:pt x="11" y="15"/>
                  </a:cubicBezTo>
                  <a:cubicBezTo>
                    <a:pt x="12" y="15"/>
                    <a:pt x="12" y="14"/>
                    <a:pt x="13" y="14"/>
                  </a:cubicBezTo>
                  <a:cubicBezTo>
                    <a:pt x="14" y="14"/>
                    <a:pt x="14" y="13"/>
                    <a:pt x="15" y="12"/>
                  </a:cubicBezTo>
                  <a:cubicBezTo>
                    <a:pt x="15" y="12"/>
                    <a:pt x="15" y="11"/>
                    <a:pt x="15" y="11"/>
                  </a:cubicBezTo>
                  <a:cubicBezTo>
                    <a:pt x="16" y="9"/>
                    <a:pt x="15" y="7"/>
                    <a:pt x="16" y="5"/>
                  </a:cubicBezTo>
                  <a:cubicBezTo>
                    <a:pt x="17" y="4"/>
                    <a:pt x="17" y="2"/>
                    <a:pt x="17" y="1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11" y="0"/>
                    <a:pt x="11" y="0"/>
                    <a:pt x="10" y="1"/>
                  </a:cubicBezTo>
                  <a:cubicBezTo>
                    <a:pt x="10" y="1"/>
                    <a:pt x="9" y="1"/>
                    <a:pt x="8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4" name="Freeform 42"/>
            <p:cNvSpPr>
              <a:spLocks/>
            </p:cNvSpPr>
            <p:nvPr/>
          </p:nvSpPr>
          <p:spPr bwMode="auto">
            <a:xfrm>
              <a:off x="6696486" y="3239117"/>
              <a:ext cx="4264" cy="4056"/>
            </a:xfrm>
            <a:custGeom>
              <a:avLst/>
              <a:gdLst>
                <a:gd name="T0" fmla="*/ 5234180 w 9"/>
                <a:gd name="T1" fmla="*/ 2243220 h 9"/>
                <a:gd name="T2" fmla="*/ 4688532 w 9"/>
                <a:gd name="T3" fmla="*/ 1697572 h 9"/>
                <a:gd name="T4" fmla="*/ 1697572 w 9"/>
                <a:gd name="T5" fmla="*/ 727531 h 9"/>
                <a:gd name="T6" fmla="*/ 0 w 9"/>
                <a:gd name="T7" fmla="*/ 2243220 h 9"/>
                <a:gd name="T8" fmla="*/ 0 w 9"/>
                <a:gd name="T9" fmla="*/ 4688532 h 9"/>
                <a:gd name="T10" fmla="*/ 6253179 w 9"/>
                <a:gd name="T11" fmla="*/ 5234180 h 9"/>
                <a:gd name="T12" fmla="*/ 6931749 w 9"/>
                <a:gd name="T13" fmla="*/ 2970751 h 9"/>
                <a:gd name="T14" fmla="*/ 5234180 w 9"/>
                <a:gd name="T15" fmla="*/ 2243220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9"/>
                <a:gd name="T26" fmla="*/ 9 w 9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9">
                  <a:moveTo>
                    <a:pt x="7" y="3"/>
                  </a:moveTo>
                  <a:cubicBezTo>
                    <a:pt x="7" y="3"/>
                    <a:pt x="6" y="3"/>
                    <a:pt x="6" y="2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1" y="9"/>
                    <a:pt x="5" y="7"/>
                    <a:pt x="8" y="7"/>
                  </a:cubicBezTo>
                  <a:cubicBezTo>
                    <a:pt x="9" y="7"/>
                    <a:pt x="9" y="5"/>
                    <a:pt x="9" y="4"/>
                  </a:cubicBezTo>
                  <a:cubicBezTo>
                    <a:pt x="8" y="4"/>
                    <a:pt x="8" y="3"/>
                    <a:pt x="7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5" name="Freeform 43"/>
            <p:cNvSpPr>
              <a:spLocks/>
            </p:cNvSpPr>
            <p:nvPr/>
          </p:nvSpPr>
          <p:spPr bwMode="auto">
            <a:xfrm>
              <a:off x="6651838" y="3201534"/>
              <a:ext cx="87289" cy="77328"/>
            </a:xfrm>
            <a:custGeom>
              <a:avLst/>
              <a:gdLst>
                <a:gd name="T0" fmla="*/ 125184759 w 187"/>
                <a:gd name="T1" fmla="*/ 37310641 h 159"/>
                <a:gd name="T2" fmla="*/ 127215973 w 187"/>
                <a:gd name="T3" fmla="*/ 42973842 h 159"/>
                <a:gd name="T4" fmla="*/ 130959669 w 187"/>
                <a:gd name="T5" fmla="*/ 47733934 h 159"/>
                <a:gd name="T6" fmla="*/ 144243831 w 187"/>
                <a:gd name="T7" fmla="*/ 48897556 h 159"/>
                <a:gd name="T8" fmla="*/ 137777983 w 187"/>
                <a:gd name="T9" fmla="*/ 55388477 h 159"/>
                <a:gd name="T10" fmla="*/ 148110285 w 187"/>
                <a:gd name="T11" fmla="*/ 61045899 h 159"/>
                <a:gd name="T12" fmla="*/ 139293130 w 187"/>
                <a:gd name="T13" fmla="*/ 63915189 h 159"/>
                <a:gd name="T14" fmla="*/ 145405000 w 187"/>
                <a:gd name="T15" fmla="*/ 74417835 h 159"/>
                <a:gd name="T16" fmla="*/ 155750084 w 187"/>
                <a:gd name="T17" fmla="*/ 77687738 h 159"/>
                <a:gd name="T18" fmla="*/ 166968807 w 187"/>
                <a:gd name="T19" fmla="*/ 86212009 h 159"/>
                <a:gd name="T20" fmla="*/ 176667957 w 187"/>
                <a:gd name="T21" fmla="*/ 92727221 h 159"/>
                <a:gd name="T22" fmla="*/ 167816387 w 187"/>
                <a:gd name="T23" fmla="*/ 101623633 h 159"/>
                <a:gd name="T24" fmla="*/ 161328907 w 187"/>
                <a:gd name="T25" fmla="*/ 105146283 h 159"/>
                <a:gd name="T26" fmla="*/ 151734400 w 187"/>
                <a:gd name="T27" fmla="*/ 101623633 h 159"/>
                <a:gd name="T28" fmla="*/ 140506866 w 187"/>
                <a:gd name="T29" fmla="*/ 93869352 h 159"/>
                <a:gd name="T30" fmla="*/ 132178473 w 187"/>
                <a:gd name="T31" fmla="*/ 100257661 h 159"/>
                <a:gd name="T32" fmla="*/ 135770443 w 187"/>
                <a:gd name="T33" fmla="*/ 107252942 h 159"/>
                <a:gd name="T34" fmla="*/ 148110285 w 187"/>
                <a:gd name="T35" fmla="*/ 124167809 h 159"/>
                <a:gd name="T36" fmla="*/ 146099871 w 187"/>
                <a:gd name="T37" fmla="*/ 133957464 h 159"/>
                <a:gd name="T38" fmla="*/ 142507901 w 187"/>
                <a:gd name="T39" fmla="*/ 139584805 h 159"/>
                <a:gd name="T40" fmla="*/ 123329022 w 187"/>
                <a:gd name="T41" fmla="*/ 128295767 h 159"/>
                <a:gd name="T42" fmla="*/ 138404478 w 187"/>
                <a:gd name="T43" fmla="*/ 149269351 h 159"/>
                <a:gd name="T44" fmla="*/ 127215973 w 187"/>
                <a:gd name="T45" fmla="*/ 147252667 h 159"/>
                <a:gd name="T46" fmla="*/ 110103100 w 187"/>
                <a:gd name="T47" fmla="*/ 139584805 h 159"/>
                <a:gd name="T48" fmla="*/ 103621066 w 187"/>
                <a:gd name="T49" fmla="*/ 131850730 h 159"/>
                <a:gd name="T50" fmla="*/ 91196209 w 187"/>
                <a:gd name="T51" fmla="*/ 122669258 h 159"/>
                <a:gd name="T52" fmla="*/ 77996968 w 187"/>
                <a:gd name="T53" fmla="*/ 119704241 h 159"/>
                <a:gd name="T54" fmla="*/ 66254010 w 187"/>
                <a:gd name="T55" fmla="*/ 112880208 h 159"/>
                <a:gd name="T56" fmla="*/ 88327247 w 187"/>
                <a:gd name="T57" fmla="*/ 107898356 h 159"/>
                <a:gd name="T58" fmla="*/ 98668171 w 187"/>
                <a:gd name="T59" fmla="*/ 93869352 h 159"/>
                <a:gd name="T60" fmla="*/ 106365228 w 187"/>
                <a:gd name="T61" fmla="*/ 83314266 h 159"/>
                <a:gd name="T62" fmla="*/ 94811172 w 187"/>
                <a:gd name="T63" fmla="*/ 69942235 h 159"/>
                <a:gd name="T64" fmla="*/ 81584721 w 187"/>
                <a:gd name="T65" fmla="*/ 63915189 h 159"/>
                <a:gd name="T66" fmla="*/ 80698263 w 187"/>
                <a:gd name="T67" fmla="*/ 53371567 h 159"/>
                <a:gd name="T68" fmla="*/ 67407313 w 187"/>
                <a:gd name="T69" fmla="*/ 44840996 h 159"/>
                <a:gd name="T70" fmla="*/ 57773475 w 187"/>
                <a:gd name="T71" fmla="*/ 55388477 h 159"/>
                <a:gd name="T72" fmla="*/ 55073901 w 187"/>
                <a:gd name="T73" fmla="*/ 51873470 h 159"/>
                <a:gd name="T74" fmla="*/ 40962051 w 187"/>
                <a:gd name="T75" fmla="*/ 51873470 h 159"/>
                <a:gd name="T76" fmla="*/ 9698940 w 187"/>
                <a:gd name="T77" fmla="*/ 46147564 h 159"/>
                <a:gd name="T78" fmla="*/ 17330096 w 187"/>
                <a:gd name="T79" fmla="*/ 37310641 h 159"/>
                <a:gd name="T80" fmla="*/ 6840539 w 187"/>
                <a:gd name="T81" fmla="*/ 34350373 h 159"/>
                <a:gd name="T82" fmla="*/ 17330096 w 187"/>
                <a:gd name="T83" fmla="*/ 4773185 h 159"/>
                <a:gd name="T84" fmla="*/ 26510887 w 187"/>
                <a:gd name="T85" fmla="*/ 13307486 h 159"/>
                <a:gd name="T86" fmla="*/ 22924760 w 187"/>
                <a:gd name="T87" fmla="*/ 37310641 h 159"/>
                <a:gd name="T88" fmla="*/ 34141572 w 187"/>
                <a:gd name="T89" fmla="*/ 36456691 h 159"/>
                <a:gd name="T90" fmla="*/ 33265628 w 187"/>
                <a:gd name="T91" fmla="*/ 21038105 h 159"/>
                <a:gd name="T92" fmla="*/ 33265628 w 187"/>
                <a:gd name="T93" fmla="*/ 18172451 h 159"/>
                <a:gd name="T94" fmla="*/ 39736175 w 187"/>
                <a:gd name="T95" fmla="*/ 8535833 h 159"/>
                <a:gd name="T96" fmla="*/ 50082167 w 187"/>
                <a:gd name="T97" fmla="*/ 2909278 h 159"/>
                <a:gd name="T98" fmla="*/ 66254010 w 187"/>
                <a:gd name="T99" fmla="*/ 15416529 h 159"/>
                <a:gd name="T100" fmla="*/ 73006898 w 187"/>
                <a:gd name="T101" fmla="*/ 21038105 h 159"/>
                <a:gd name="T102" fmla="*/ 76620311 w 187"/>
                <a:gd name="T103" fmla="*/ 23057456 h 159"/>
                <a:gd name="T104" fmla="*/ 78627813 w 187"/>
                <a:gd name="T105" fmla="*/ 18172451 h 159"/>
                <a:gd name="T106" fmla="*/ 99556520 w 187"/>
                <a:gd name="T107" fmla="*/ 18962023 h 159"/>
                <a:gd name="T108" fmla="*/ 100763676 w 187"/>
                <a:gd name="T109" fmla="*/ 32333462 h 159"/>
                <a:gd name="T110" fmla="*/ 108034900 w 187"/>
                <a:gd name="T111" fmla="*/ 31469258 h 159"/>
                <a:gd name="T112" fmla="*/ 124537690 w 187"/>
                <a:gd name="T113" fmla="*/ 31469258 h 15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7"/>
                <a:gd name="T172" fmla="*/ 0 h 159"/>
                <a:gd name="T173" fmla="*/ 187 w 187"/>
                <a:gd name="T174" fmla="*/ 159 h 15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7" h="159">
                  <a:moveTo>
                    <a:pt x="131" y="33"/>
                  </a:moveTo>
                  <a:cubicBezTo>
                    <a:pt x="131" y="34"/>
                    <a:pt x="131" y="36"/>
                    <a:pt x="130" y="37"/>
                  </a:cubicBezTo>
                  <a:cubicBezTo>
                    <a:pt x="128" y="38"/>
                    <a:pt x="126" y="39"/>
                    <a:pt x="124" y="41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6" y="42"/>
                    <a:pt x="128" y="42"/>
                    <a:pt x="129" y="41"/>
                  </a:cubicBezTo>
                  <a:cubicBezTo>
                    <a:pt x="130" y="40"/>
                    <a:pt x="131" y="40"/>
                    <a:pt x="132" y="39"/>
                  </a:cubicBezTo>
                  <a:cubicBezTo>
                    <a:pt x="133" y="38"/>
                    <a:pt x="134" y="38"/>
                    <a:pt x="134" y="39"/>
                  </a:cubicBezTo>
                  <a:cubicBezTo>
                    <a:pt x="135" y="39"/>
                    <a:pt x="134" y="40"/>
                    <a:pt x="134" y="41"/>
                  </a:cubicBezTo>
                  <a:cubicBezTo>
                    <a:pt x="133" y="42"/>
                    <a:pt x="133" y="43"/>
                    <a:pt x="132" y="43"/>
                  </a:cubicBezTo>
                  <a:cubicBezTo>
                    <a:pt x="129" y="45"/>
                    <a:pt x="127" y="45"/>
                    <a:pt x="124" y="47"/>
                  </a:cubicBezTo>
                  <a:cubicBezTo>
                    <a:pt x="126" y="47"/>
                    <a:pt x="128" y="47"/>
                    <a:pt x="129" y="46"/>
                  </a:cubicBezTo>
                  <a:cubicBezTo>
                    <a:pt x="131" y="45"/>
                    <a:pt x="132" y="45"/>
                    <a:pt x="134" y="45"/>
                  </a:cubicBezTo>
                  <a:cubicBezTo>
                    <a:pt x="136" y="44"/>
                    <a:pt x="139" y="44"/>
                    <a:pt x="141" y="44"/>
                  </a:cubicBezTo>
                  <a:cubicBezTo>
                    <a:pt x="143" y="44"/>
                    <a:pt x="145" y="45"/>
                    <a:pt x="147" y="46"/>
                  </a:cubicBezTo>
                  <a:cubicBezTo>
                    <a:pt x="147" y="46"/>
                    <a:pt x="147" y="46"/>
                    <a:pt x="147" y="46"/>
                  </a:cubicBezTo>
                  <a:cubicBezTo>
                    <a:pt x="148" y="47"/>
                    <a:pt x="148" y="48"/>
                    <a:pt x="147" y="48"/>
                  </a:cubicBezTo>
                  <a:cubicBezTo>
                    <a:pt x="146" y="49"/>
                    <a:pt x="145" y="49"/>
                    <a:pt x="145" y="49"/>
                  </a:cubicBezTo>
                  <a:cubicBezTo>
                    <a:pt x="143" y="50"/>
                    <a:pt x="140" y="49"/>
                    <a:pt x="138" y="50"/>
                  </a:cubicBezTo>
                  <a:cubicBezTo>
                    <a:pt x="138" y="52"/>
                    <a:pt x="140" y="51"/>
                    <a:pt x="141" y="52"/>
                  </a:cubicBezTo>
                  <a:cubicBezTo>
                    <a:pt x="142" y="52"/>
                    <a:pt x="141" y="54"/>
                    <a:pt x="142" y="54"/>
                  </a:cubicBezTo>
                  <a:cubicBezTo>
                    <a:pt x="142" y="55"/>
                    <a:pt x="143" y="54"/>
                    <a:pt x="143" y="54"/>
                  </a:cubicBezTo>
                  <a:cubicBezTo>
                    <a:pt x="145" y="53"/>
                    <a:pt x="147" y="54"/>
                    <a:pt x="148" y="52"/>
                  </a:cubicBezTo>
                  <a:cubicBezTo>
                    <a:pt x="148" y="51"/>
                    <a:pt x="148" y="51"/>
                    <a:pt x="149" y="50"/>
                  </a:cubicBezTo>
                  <a:cubicBezTo>
                    <a:pt x="150" y="50"/>
                    <a:pt x="151" y="50"/>
                    <a:pt x="152" y="51"/>
                  </a:cubicBezTo>
                  <a:cubicBezTo>
                    <a:pt x="154" y="52"/>
                    <a:pt x="155" y="53"/>
                    <a:pt x="155" y="55"/>
                  </a:cubicBezTo>
                  <a:cubicBezTo>
                    <a:pt x="155" y="56"/>
                    <a:pt x="155" y="57"/>
                    <a:pt x="155" y="58"/>
                  </a:cubicBezTo>
                  <a:cubicBezTo>
                    <a:pt x="155" y="58"/>
                    <a:pt x="154" y="58"/>
                    <a:pt x="153" y="58"/>
                  </a:cubicBezTo>
                  <a:cubicBezTo>
                    <a:pt x="153" y="58"/>
                    <a:pt x="152" y="57"/>
                    <a:pt x="152" y="57"/>
                  </a:cubicBezTo>
                  <a:cubicBezTo>
                    <a:pt x="151" y="57"/>
                    <a:pt x="150" y="57"/>
                    <a:pt x="149" y="57"/>
                  </a:cubicBezTo>
                  <a:cubicBezTo>
                    <a:pt x="148" y="58"/>
                    <a:pt x="147" y="58"/>
                    <a:pt x="145" y="58"/>
                  </a:cubicBezTo>
                  <a:cubicBezTo>
                    <a:pt x="145" y="58"/>
                    <a:pt x="145" y="59"/>
                    <a:pt x="145" y="59"/>
                  </a:cubicBezTo>
                  <a:cubicBezTo>
                    <a:pt x="147" y="59"/>
                    <a:pt x="148" y="60"/>
                    <a:pt x="149" y="60"/>
                  </a:cubicBezTo>
                  <a:cubicBezTo>
                    <a:pt x="151" y="61"/>
                    <a:pt x="153" y="60"/>
                    <a:pt x="155" y="61"/>
                  </a:cubicBezTo>
                  <a:cubicBezTo>
                    <a:pt x="156" y="61"/>
                    <a:pt x="156" y="61"/>
                    <a:pt x="157" y="62"/>
                  </a:cubicBezTo>
                  <a:cubicBezTo>
                    <a:pt x="158" y="63"/>
                    <a:pt x="159" y="64"/>
                    <a:pt x="158" y="64"/>
                  </a:cubicBezTo>
                  <a:cubicBezTo>
                    <a:pt x="158" y="65"/>
                    <a:pt x="156" y="65"/>
                    <a:pt x="156" y="64"/>
                  </a:cubicBezTo>
                  <a:cubicBezTo>
                    <a:pt x="155" y="63"/>
                    <a:pt x="153" y="64"/>
                    <a:pt x="152" y="65"/>
                  </a:cubicBezTo>
                  <a:cubicBezTo>
                    <a:pt x="151" y="65"/>
                    <a:pt x="150" y="65"/>
                    <a:pt x="149" y="65"/>
                  </a:cubicBezTo>
                  <a:cubicBezTo>
                    <a:pt x="148" y="64"/>
                    <a:pt x="148" y="64"/>
                    <a:pt x="147" y="64"/>
                  </a:cubicBezTo>
                  <a:cubicBezTo>
                    <a:pt x="147" y="64"/>
                    <a:pt x="147" y="65"/>
                    <a:pt x="148" y="65"/>
                  </a:cubicBezTo>
                  <a:cubicBezTo>
                    <a:pt x="148" y="66"/>
                    <a:pt x="148" y="66"/>
                    <a:pt x="148" y="67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6" y="69"/>
                    <a:pt x="147" y="70"/>
                    <a:pt x="145" y="71"/>
                  </a:cubicBezTo>
                  <a:cubicBezTo>
                    <a:pt x="145" y="71"/>
                    <a:pt x="143" y="70"/>
                    <a:pt x="143" y="71"/>
                  </a:cubicBezTo>
                  <a:cubicBezTo>
                    <a:pt x="142" y="71"/>
                    <a:pt x="143" y="72"/>
                    <a:pt x="144" y="73"/>
                  </a:cubicBezTo>
                  <a:cubicBezTo>
                    <a:pt x="145" y="73"/>
                    <a:pt x="147" y="72"/>
                    <a:pt x="148" y="73"/>
                  </a:cubicBezTo>
                  <a:cubicBezTo>
                    <a:pt x="150" y="73"/>
                    <a:pt x="151" y="73"/>
                    <a:pt x="152" y="74"/>
                  </a:cubicBezTo>
                  <a:cubicBezTo>
                    <a:pt x="153" y="75"/>
                    <a:pt x="152" y="77"/>
                    <a:pt x="153" y="78"/>
                  </a:cubicBezTo>
                  <a:cubicBezTo>
                    <a:pt x="153" y="79"/>
                    <a:pt x="155" y="78"/>
                    <a:pt x="156" y="78"/>
                  </a:cubicBezTo>
                  <a:cubicBezTo>
                    <a:pt x="157" y="79"/>
                    <a:pt x="157" y="80"/>
                    <a:pt x="156" y="81"/>
                  </a:cubicBezTo>
                  <a:cubicBezTo>
                    <a:pt x="156" y="82"/>
                    <a:pt x="155" y="82"/>
                    <a:pt x="155" y="82"/>
                  </a:cubicBezTo>
                  <a:cubicBezTo>
                    <a:pt x="154" y="83"/>
                    <a:pt x="155" y="83"/>
                    <a:pt x="155" y="83"/>
                  </a:cubicBezTo>
                  <a:cubicBezTo>
                    <a:pt x="157" y="84"/>
                    <a:pt x="159" y="83"/>
                    <a:pt x="161" y="81"/>
                  </a:cubicBezTo>
                  <a:cubicBezTo>
                    <a:pt x="161" y="81"/>
                    <a:pt x="163" y="81"/>
                    <a:pt x="164" y="81"/>
                  </a:cubicBezTo>
                  <a:cubicBezTo>
                    <a:pt x="165" y="81"/>
                    <a:pt x="165" y="83"/>
                    <a:pt x="165" y="83"/>
                  </a:cubicBezTo>
                  <a:cubicBezTo>
                    <a:pt x="167" y="84"/>
                    <a:pt x="169" y="85"/>
                    <a:pt x="170" y="87"/>
                  </a:cubicBezTo>
                  <a:cubicBezTo>
                    <a:pt x="170" y="88"/>
                    <a:pt x="170" y="89"/>
                    <a:pt x="169" y="90"/>
                  </a:cubicBezTo>
                  <a:cubicBezTo>
                    <a:pt x="169" y="90"/>
                    <a:pt x="169" y="90"/>
                    <a:pt x="169" y="90"/>
                  </a:cubicBezTo>
                  <a:cubicBezTo>
                    <a:pt x="171" y="90"/>
                    <a:pt x="173" y="90"/>
                    <a:pt x="174" y="89"/>
                  </a:cubicBezTo>
                  <a:cubicBezTo>
                    <a:pt x="175" y="89"/>
                    <a:pt x="176" y="89"/>
                    <a:pt x="176" y="90"/>
                  </a:cubicBezTo>
                  <a:cubicBezTo>
                    <a:pt x="177" y="91"/>
                    <a:pt x="176" y="93"/>
                    <a:pt x="174" y="94"/>
                  </a:cubicBezTo>
                  <a:cubicBezTo>
                    <a:pt x="173" y="94"/>
                    <a:pt x="174" y="95"/>
                    <a:pt x="174" y="95"/>
                  </a:cubicBezTo>
                  <a:cubicBezTo>
                    <a:pt x="174" y="95"/>
                    <a:pt x="175" y="95"/>
                    <a:pt x="176" y="95"/>
                  </a:cubicBezTo>
                  <a:cubicBezTo>
                    <a:pt x="177" y="94"/>
                    <a:pt x="178" y="94"/>
                    <a:pt x="179" y="95"/>
                  </a:cubicBezTo>
                  <a:cubicBezTo>
                    <a:pt x="180" y="95"/>
                    <a:pt x="180" y="95"/>
                    <a:pt x="181" y="94"/>
                  </a:cubicBezTo>
                  <a:cubicBezTo>
                    <a:pt x="183" y="93"/>
                    <a:pt x="185" y="95"/>
                    <a:pt x="186" y="97"/>
                  </a:cubicBezTo>
                  <a:cubicBezTo>
                    <a:pt x="187" y="97"/>
                    <a:pt x="186" y="99"/>
                    <a:pt x="185" y="99"/>
                  </a:cubicBezTo>
                  <a:cubicBezTo>
                    <a:pt x="184" y="100"/>
                    <a:pt x="186" y="102"/>
                    <a:pt x="185" y="102"/>
                  </a:cubicBezTo>
                  <a:cubicBezTo>
                    <a:pt x="183" y="103"/>
                    <a:pt x="180" y="102"/>
                    <a:pt x="178" y="102"/>
                  </a:cubicBezTo>
                  <a:cubicBezTo>
                    <a:pt x="178" y="103"/>
                    <a:pt x="179" y="104"/>
                    <a:pt x="180" y="105"/>
                  </a:cubicBezTo>
                  <a:cubicBezTo>
                    <a:pt x="180" y="105"/>
                    <a:pt x="180" y="106"/>
                    <a:pt x="180" y="106"/>
                  </a:cubicBezTo>
                  <a:cubicBezTo>
                    <a:pt x="179" y="106"/>
                    <a:pt x="178" y="106"/>
                    <a:pt x="177" y="106"/>
                  </a:cubicBezTo>
                  <a:cubicBezTo>
                    <a:pt x="177" y="107"/>
                    <a:pt x="177" y="107"/>
                    <a:pt x="177" y="107"/>
                  </a:cubicBezTo>
                  <a:cubicBezTo>
                    <a:pt x="178" y="107"/>
                    <a:pt x="178" y="108"/>
                    <a:pt x="178" y="109"/>
                  </a:cubicBezTo>
                  <a:cubicBezTo>
                    <a:pt x="177" y="110"/>
                    <a:pt x="176" y="111"/>
                    <a:pt x="175" y="112"/>
                  </a:cubicBezTo>
                  <a:cubicBezTo>
                    <a:pt x="174" y="113"/>
                    <a:pt x="173" y="113"/>
                    <a:pt x="172" y="112"/>
                  </a:cubicBezTo>
                  <a:cubicBezTo>
                    <a:pt x="171" y="112"/>
                    <a:pt x="171" y="111"/>
                    <a:pt x="170" y="110"/>
                  </a:cubicBezTo>
                  <a:cubicBezTo>
                    <a:pt x="170" y="110"/>
                    <a:pt x="170" y="110"/>
                    <a:pt x="170" y="110"/>
                  </a:cubicBezTo>
                  <a:cubicBezTo>
                    <a:pt x="169" y="114"/>
                    <a:pt x="170" y="117"/>
                    <a:pt x="169" y="120"/>
                  </a:cubicBezTo>
                  <a:cubicBezTo>
                    <a:pt x="167" y="120"/>
                    <a:pt x="166" y="118"/>
                    <a:pt x="164" y="117"/>
                  </a:cubicBezTo>
                  <a:cubicBezTo>
                    <a:pt x="163" y="116"/>
                    <a:pt x="162" y="117"/>
                    <a:pt x="161" y="116"/>
                  </a:cubicBezTo>
                  <a:cubicBezTo>
                    <a:pt x="159" y="115"/>
                    <a:pt x="160" y="113"/>
                    <a:pt x="159" y="112"/>
                  </a:cubicBezTo>
                  <a:cubicBezTo>
                    <a:pt x="158" y="111"/>
                    <a:pt x="157" y="110"/>
                    <a:pt x="158" y="109"/>
                  </a:cubicBezTo>
                  <a:cubicBezTo>
                    <a:pt x="158" y="108"/>
                    <a:pt x="159" y="107"/>
                    <a:pt x="160" y="106"/>
                  </a:cubicBezTo>
                  <a:cubicBezTo>
                    <a:pt x="160" y="106"/>
                    <a:pt x="160" y="106"/>
                    <a:pt x="160" y="106"/>
                  </a:cubicBezTo>
                  <a:cubicBezTo>
                    <a:pt x="160" y="106"/>
                    <a:pt x="159" y="106"/>
                    <a:pt x="159" y="106"/>
                  </a:cubicBezTo>
                  <a:cubicBezTo>
                    <a:pt x="158" y="106"/>
                    <a:pt x="157" y="107"/>
                    <a:pt x="157" y="107"/>
                  </a:cubicBezTo>
                  <a:cubicBezTo>
                    <a:pt x="156" y="108"/>
                    <a:pt x="155" y="108"/>
                    <a:pt x="155" y="107"/>
                  </a:cubicBezTo>
                  <a:cubicBezTo>
                    <a:pt x="153" y="107"/>
                    <a:pt x="154" y="105"/>
                    <a:pt x="153" y="105"/>
                  </a:cubicBezTo>
                  <a:cubicBezTo>
                    <a:pt x="151" y="103"/>
                    <a:pt x="149" y="100"/>
                    <a:pt x="148" y="98"/>
                  </a:cubicBezTo>
                  <a:cubicBezTo>
                    <a:pt x="148" y="98"/>
                    <a:pt x="147" y="98"/>
                    <a:pt x="147" y="98"/>
                  </a:cubicBezTo>
                  <a:cubicBezTo>
                    <a:pt x="146" y="99"/>
                    <a:pt x="147" y="101"/>
                    <a:pt x="146" y="102"/>
                  </a:cubicBezTo>
                  <a:cubicBezTo>
                    <a:pt x="146" y="102"/>
                    <a:pt x="144" y="101"/>
                    <a:pt x="144" y="101"/>
                  </a:cubicBezTo>
                  <a:cubicBezTo>
                    <a:pt x="143" y="102"/>
                    <a:pt x="144" y="103"/>
                    <a:pt x="144" y="104"/>
                  </a:cubicBezTo>
                  <a:cubicBezTo>
                    <a:pt x="145" y="105"/>
                    <a:pt x="145" y="107"/>
                    <a:pt x="144" y="107"/>
                  </a:cubicBezTo>
                  <a:cubicBezTo>
                    <a:pt x="142" y="108"/>
                    <a:pt x="140" y="107"/>
                    <a:pt x="139" y="105"/>
                  </a:cubicBezTo>
                  <a:cubicBezTo>
                    <a:pt x="139" y="105"/>
                    <a:pt x="139" y="104"/>
                    <a:pt x="138" y="104"/>
                  </a:cubicBezTo>
                  <a:cubicBezTo>
                    <a:pt x="138" y="105"/>
                    <a:pt x="138" y="106"/>
                    <a:pt x="138" y="107"/>
                  </a:cubicBezTo>
                  <a:cubicBezTo>
                    <a:pt x="138" y="108"/>
                    <a:pt x="139" y="108"/>
                    <a:pt x="139" y="109"/>
                  </a:cubicBezTo>
                  <a:cubicBezTo>
                    <a:pt x="139" y="110"/>
                    <a:pt x="139" y="110"/>
                    <a:pt x="139" y="110"/>
                  </a:cubicBezTo>
                  <a:cubicBezTo>
                    <a:pt x="139" y="110"/>
                    <a:pt x="139" y="111"/>
                    <a:pt x="140" y="111"/>
                  </a:cubicBezTo>
                  <a:cubicBezTo>
                    <a:pt x="141" y="111"/>
                    <a:pt x="142" y="112"/>
                    <a:pt x="143" y="112"/>
                  </a:cubicBezTo>
                  <a:cubicBezTo>
                    <a:pt x="143" y="112"/>
                    <a:pt x="144" y="113"/>
                    <a:pt x="144" y="113"/>
                  </a:cubicBezTo>
                  <a:cubicBezTo>
                    <a:pt x="145" y="115"/>
                    <a:pt x="144" y="116"/>
                    <a:pt x="145" y="118"/>
                  </a:cubicBezTo>
                  <a:cubicBezTo>
                    <a:pt x="145" y="119"/>
                    <a:pt x="146" y="120"/>
                    <a:pt x="148" y="121"/>
                  </a:cubicBezTo>
                  <a:cubicBezTo>
                    <a:pt x="149" y="122"/>
                    <a:pt x="152" y="121"/>
                    <a:pt x="153" y="123"/>
                  </a:cubicBezTo>
                  <a:cubicBezTo>
                    <a:pt x="154" y="123"/>
                    <a:pt x="154" y="123"/>
                    <a:pt x="154" y="123"/>
                  </a:cubicBezTo>
                  <a:cubicBezTo>
                    <a:pt x="155" y="126"/>
                    <a:pt x="153" y="129"/>
                    <a:pt x="156" y="130"/>
                  </a:cubicBezTo>
                  <a:cubicBezTo>
                    <a:pt x="157" y="131"/>
                    <a:pt x="158" y="132"/>
                    <a:pt x="160" y="133"/>
                  </a:cubicBezTo>
                  <a:cubicBezTo>
                    <a:pt x="159" y="136"/>
                    <a:pt x="160" y="139"/>
                    <a:pt x="159" y="142"/>
                  </a:cubicBezTo>
                  <a:cubicBezTo>
                    <a:pt x="156" y="142"/>
                    <a:pt x="158" y="137"/>
                    <a:pt x="156" y="135"/>
                  </a:cubicBezTo>
                  <a:cubicBezTo>
                    <a:pt x="156" y="135"/>
                    <a:pt x="155" y="135"/>
                    <a:pt x="155" y="135"/>
                  </a:cubicBezTo>
                  <a:cubicBezTo>
                    <a:pt x="155" y="137"/>
                    <a:pt x="155" y="138"/>
                    <a:pt x="155" y="139"/>
                  </a:cubicBezTo>
                  <a:cubicBezTo>
                    <a:pt x="155" y="140"/>
                    <a:pt x="154" y="140"/>
                    <a:pt x="154" y="140"/>
                  </a:cubicBezTo>
                  <a:cubicBezTo>
                    <a:pt x="154" y="141"/>
                    <a:pt x="154" y="141"/>
                    <a:pt x="154" y="142"/>
                  </a:cubicBezTo>
                  <a:cubicBezTo>
                    <a:pt x="155" y="142"/>
                    <a:pt x="155" y="143"/>
                    <a:pt x="156" y="144"/>
                  </a:cubicBezTo>
                  <a:cubicBezTo>
                    <a:pt x="156" y="144"/>
                    <a:pt x="156" y="145"/>
                    <a:pt x="156" y="146"/>
                  </a:cubicBezTo>
                  <a:cubicBezTo>
                    <a:pt x="156" y="146"/>
                    <a:pt x="155" y="146"/>
                    <a:pt x="155" y="146"/>
                  </a:cubicBezTo>
                  <a:cubicBezTo>
                    <a:pt x="154" y="146"/>
                    <a:pt x="154" y="147"/>
                    <a:pt x="153" y="148"/>
                  </a:cubicBezTo>
                  <a:cubicBezTo>
                    <a:pt x="152" y="148"/>
                    <a:pt x="151" y="146"/>
                    <a:pt x="150" y="146"/>
                  </a:cubicBezTo>
                  <a:cubicBezTo>
                    <a:pt x="147" y="144"/>
                    <a:pt x="145" y="144"/>
                    <a:pt x="142" y="143"/>
                  </a:cubicBezTo>
                  <a:cubicBezTo>
                    <a:pt x="141" y="142"/>
                    <a:pt x="140" y="140"/>
                    <a:pt x="138" y="139"/>
                  </a:cubicBezTo>
                  <a:cubicBezTo>
                    <a:pt x="137" y="138"/>
                    <a:pt x="138" y="137"/>
                    <a:pt x="137" y="136"/>
                  </a:cubicBezTo>
                  <a:cubicBezTo>
                    <a:pt x="135" y="135"/>
                    <a:pt x="136" y="138"/>
                    <a:pt x="136" y="139"/>
                  </a:cubicBezTo>
                  <a:cubicBezTo>
                    <a:pt x="136" y="139"/>
                    <a:pt x="135" y="139"/>
                    <a:pt x="135" y="139"/>
                  </a:cubicBezTo>
                  <a:cubicBezTo>
                    <a:pt x="133" y="137"/>
                    <a:pt x="132" y="136"/>
                    <a:pt x="130" y="134"/>
                  </a:cubicBezTo>
                  <a:cubicBezTo>
                    <a:pt x="130" y="134"/>
                    <a:pt x="129" y="134"/>
                    <a:pt x="129" y="134"/>
                  </a:cubicBezTo>
                  <a:cubicBezTo>
                    <a:pt x="129" y="134"/>
                    <a:pt x="129" y="135"/>
                    <a:pt x="129" y="135"/>
                  </a:cubicBezTo>
                  <a:cubicBezTo>
                    <a:pt x="129" y="136"/>
                    <a:pt x="130" y="136"/>
                    <a:pt x="130" y="137"/>
                  </a:cubicBezTo>
                  <a:cubicBezTo>
                    <a:pt x="131" y="138"/>
                    <a:pt x="131" y="139"/>
                    <a:pt x="132" y="140"/>
                  </a:cubicBezTo>
                  <a:cubicBezTo>
                    <a:pt x="136" y="144"/>
                    <a:pt x="139" y="149"/>
                    <a:pt x="144" y="151"/>
                  </a:cubicBezTo>
                  <a:cubicBezTo>
                    <a:pt x="146" y="152"/>
                    <a:pt x="146" y="155"/>
                    <a:pt x="146" y="156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6" y="157"/>
                    <a:pt x="146" y="158"/>
                    <a:pt x="146" y="159"/>
                  </a:cubicBezTo>
                  <a:cubicBezTo>
                    <a:pt x="145" y="159"/>
                    <a:pt x="145" y="159"/>
                    <a:pt x="144" y="159"/>
                  </a:cubicBezTo>
                  <a:cubicBezTo>
                    <a:pt x="143" y="158"/>
                    <a:pt x="142" y="157"/>
                    <a:pt x="141" y="157"/>
                  </a:cubicBezTo>
                  <a:cubicBezTo>
                    <a:pt x="140" y="156"/>
                    <a:pt x="139" y="156"/>
                    <a:pt x="138" y="155"/>
                  </a:cubicBezTo>
                  <a:cubicBezTo>
                    <a:pt x="136" y="155"/>
                    <a:pt x="135" y="154"/>
                    <a:pt x="134" y="154"/>
                  </a:cubicBezTo>
                  <a:cubicBezTo>
                    <a:pt x="132" y="154"/>
                    <a:pt x="130" y="154"/>
                    <a:pt x="129" y="154"/>
                  </a:cubicBezTo>
                  <a:cubicBezTo>
                    <a:pt x="126" y="154"/>
                    <a:pt x="124" y="153"/>
                    <a:pt x="123" y="151"/>
                  </a:cubicBezTo>
                  <a:cubicBezTo>
                    <a:pt x="123" y="151"/>
                    <a:pt x="123" y="151"/>
                    <a:pt x="123" y="151"/>
                  </a:cubicBezTo>
                  <a:cubicBezTo>
                    <a:pt x="122" y="150"/>
                    <a:pt x="121" y="149"/>
                    <a:pt x="119" y="148"/>
                  </a:cubicBezTo>
                  <a:cubicBezTo>
                    <a:pt x="119" y="147"/>
                    <a:pt x="118" y="147"/>
                    <a:pt x="118" y="146"/>
                  </a:cubicBezTo>
                  <a:cubicBezTo>
                    <a:pt x="117" y="146"/>
                    <a:pt x="116" y="146"/>
                    <a:pt x="116" y="146"/>
                  </a:cubicBezTo>
                  <a:cubicBezTo>
                    <a:pt x="116" y="148"/>
                    <a:pt x="116" y="148"/>
                    <a:pt x="116" y="150"/>
                  </a:cubicBezTo>
                  <a:cubicBezTo>
                    <a:pt x="113" y="149"/>
                    <a:pt x="113" y="147"/>
                    <a:pt x="112" y="145"/>
                  </a:cubicBezTo>
                  <a:cubicBezTo>
                    <a:pt x="111" y="144"/>
                    <a:pt x="111" y="144"/>
                    <a:pt x="110" y="143"/>
                  </a:cubicBezTo>
                  <a:cubicBezTo>
                    <a:pt x="108" y="143"/>
                    <a:pt x="106" y="142"/>
                    <a:pt x="104" y="140"/>
                  </a:cubicBezTo>
                  <a:cubicBezTo>
                    <a:pt x="104" y="140"/>
                    <a:pt x="104" y="139"/>
                    <a:pt x="105" y="139"/>
                  </a:cubicBezTo>
                  <a:cubicBezTo>
                    <a:pt x="106" y="138"/>
                    <a:pt x="108" y="139"/>
                    <a:pt x="109" y="138"/>
                  </a:cubicBezTo>
                  <a:cubicBezTo>
                    <a:pt x="110" y="138"/>
                    <a:pt x="110" y="137"/>
                    <a:pt x="109" y="137"/>
                  </a:cubicBezTo>
                  <a:cubicBezTo>
                    <a:pt x="109" y="136"/>
                    <a:pt x="107" y="136"/>
                    <a:pt x="106" y="136"/>
                  </a:cubicBezTo>
                  <a:cubicBezTo>
                    <a:pt x="105" y="136"/>
                    <a:pt x="104" y="136"/>
                    <a:pt x="103" y="135"/>
                  </a:cubicBezTo>
                  <a:cubicBezTo>
                    <a:pt x="102" y="135"/>
                    <a:pt x="102" y="135"/>
                    <a:pt x="101" y="134"/>
                  </a:cubicBezTo>
                  <a:cubicBezTo>
                    <a:pt x="100" y="132"/>
                    <a:pt x="101" y="130"/>
                    <a:pt x="99" y="129"/>
                  </a:cubicBezTo>
                  <a:cubicBezTo>
                    <a:pt x="99" y="129"/>
                    <a:pt x="97" y="129"/>
                    <a:pt x="96" y="128"/>
                  </a:cubicBezTo>
                  <a:cubicBezTo>
                    <a:pt x="95" y="128"/>
                    <a:pt x="96" y="126"/>
                    <a:pt x="95" y="126"/>
                  </a:cubicBezTo>
                  <a:cubicBezTo>
                    <a:pt x="94" y="125"/>
                    <a:pt x="93" y="126"/>
                    <a:pt x="92" y="125"/>
                  </a:cubicBezTo>
                  <a:cubicBezTo>
                    <a:pt x="91" y="124"/>
                    <a:pt x="92" y="121"/>
                    <a:pt x="90" y="121"/>
                  </a:cubicBezTo>
                  <a:cubicBezTo>
                    <a:pt x="90" y="123"/>
                    <a:pt x="90" y="125"/>
                    <a:pt x="90" y="127"/>
                  </a:cubicBezTo>
                  <a:cubicBezTo>
                    <a:pt x="88" y="127"/>
                    <a:pt x="86" y="126"/>
                    <a:pt x="84" y="125"/>
                  </a:cubicBezTo>
                  <a:cubicBezTo>
                    <a:pt x="83" y="124"/>
                    <a:pt x="82" y="124"/>
                    <a:pt x="82" y="125"/>
                  </a:cubicBezTo>
                  <a:cubicBezTo>
                    <a:pt x="81" y="127"/>
                    <a:pt x="79" y="128"/>
                    <a:pt x="77" y="129"/>
                  </a:cubicBezTo>
                  <a:cubicBezTo>
                    <a:pt x="75" y="130"/>
                    <a:pt x="74" y="130"/>
                    <a:pt x="71" y="130"/>
                  </a:cubicBezTo>
                  <a:cubicBezTo>
                    <a:pt x="70" y="129"/>
                    <a:pt x="70" y="128"/>
                    <a:pt x="70" y="128"/>
                  </a:cubicBezTo>
                  <a:cubicBezTo>
                    <a:pt x="68" y="127"/>
                    <a:pt x="66" y="128"/>
                    <a:pt x="65" y="128"/>
                  </a:cubicBezTo>
                  <a:cubicBezTo>
                    <a:pt x="65" y="125"/>
                    <a:pt x="65" y="123"/>
                    <a:pt x="65" y="120"/>
                  </a:cubicBezTo>
                  <a:cubicBezTo>
                    <a:pt x="65" y="118"/>
                    <a:pt x="68" y="118"/>
                    <a:pt x="70" y="118"/>
                  </a:cubicBezTo>
                  <a:cubicBezTo>
                    <a:pt x="70" y="118"/>
                    <a:pt x="70" y="118"/>
                    <a:pt x="70" y="117"/>
                  </a:cubicBezTo>
                  <a:cubicBezTo>
                    <a:pt x="70" y="116"/>
                    <a:pt x="70" y="115"/>
                    <a:pt x="71" y="115"/>
                  </a:cubicBezTo>
                  <a:cubicBezTo>
                    <a:pt x="74" y="114"/>
                    <a:pt x="78" y="114"/>
                    <a:pt x="81" y="115"/>
                  </a:cubicBezTo>
                  <a:cubicBezTo>
                    <a:pt x="83" y="115"/>
                    <a:pt x="85" y="115"/>
                    <a:pt x="87" y="116"/>
                  </a:cubicBezTo>
                  <a:cubicBezTo>
                    <a:pt x="88" y="116"/>
                    <a:pt x="90" y="116"/>
                    <a:pt x="91" y="116"/>
                  </a:cubicBezTo>
                  <a:cubicBezTo>
                    <a:pt x="92" y="115"/>
                    <a:pt x="92" y="113"/>
                    <a:pt x="93" y="113"/>
                  </a:cubicBezTo>
                  <a:cubicBezTo>
                    <a:pt x="95" y="112"/>
                    <a:pt x="96" y="113"/>
                    <a:pt x="97" y="114"/>
                  </a:cubicBezTo>
                  <a:cubicBezTo>
                    <a:pt x="98" y="114"/>
                    <a:pt x="99" y="114"/>
                    <a:pt x="99" y="114"/>
                  </a:cubicBezTo>
                  <a:cubicBezTo>
                    <a:pt x="99" y="113"/>
                    <a:pt x="100" y="111"/>
                    <a:pt x="99" y="110"/>
                  </a:cubicBezTo>
                  <a:cubicBezTo>
                    <a:pt x="98" y="109"/>
                    <a:pt x="96" y="109"/>
                    <a:pt x="96" y="107"/>
                  </a:cubicBezTo>
                  <a:cubicBezTo>
                    <a:pt x="95" y="106"/>
                    <a:pt x="95" y="105"/>
                    <a:pt x="96" y="104"/>
                  </a:cubicBezTo>
                  <a:cubicBezTo>
                    <a:pt x="98" y="101"/>
                    <a:pt x="101" y="100"/>
                    <a:pt x="104" y="98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5" y="96"/>
                    <a:pt x="105" y="95"/>
                    <a:pt x="106" y="94"/>
                  </a:cubicBezTo>
                  <a:cubicBezTo>
                    <a:pt x="106" y="93"/>
                    <a:pt x="107" y="92"/>
                    <a:pt x="108" y="92"/>
                  </a:cubicBezTo>
                  <a:cubicBezTo>
                    <a:pt x="109" y="91"/>
                    <a:pt x="110" y="91"/>
                    <a:pt x="111" y="91"/>
                  </a:cubicBezTo>
                  <a:cubicBezTo>
                    <a:pt x="111" y="91"/>
                    <a:pt x="112" y="90"/>
                    <a:pt x="112" y="90"/>
                  </a:cubicBezTo>
                  <a:cubicBezTo>
                    <a:pt x="112" y="89"/>
                    <a:pt x="112" y="88"/>
                    <a:pt x="112" y="87"/>
                  </a:cubicBezTo>
                  <a:cubicBezTo>
                    <a:pt x="111" y="86"/>
                    <a:pt x="110" y="85"/>
                    <a:pt x="109" y="83"/>
                  </a:cubicBezTo>
                  <a:cubicBezTo>
                    <a:pt x="109" y="83"/>
                    <a:pt x="108" y="82"/>
                    <a:pt x="109" y="82"/>
                  </a:cubicBezTo>
                  <a:cubicBezTo>
                    <a:pt x="109" y="81"/>
                    <a:pt x="110" y="81"/>
                    <a:pt x="110" y="81"/>
                  </a:cubicBezTo>
                  <a:cubicBezTo>
                    <a:pt x="110" y="81"/>
                    <a:pt x="110" y="80"/>
                    <a:pt x="110" y="79"/>
                  </a:cubicBezTo>
                  <a:cubicBezTo>
                    <a:pt x="108" y="77"/>
                    <a:pt x="106" y="76"/>
                    <a:pt x="104" y="75"/>
                  </a:cubicBezTo>
                  <a:cubicBezTo>
                    <a:pt x="103" y="74"/>
                    <a:pt x="101" y="74"/>
                    <a:pt x="100" y="73"/>
                  </a:cubicBezTo>
                  <a:cubicBezTo>
                    <a:pt x="99" y="73"/>
                    <a:pt x="98" y="72"/>
                    <a:pt x="98" y="71"/>
                  </a:cubicBezTo>
                  <a:cubicBezTo>
                    <a:pt x="97" y="71"/>
                    <a:pt x="98" y="69"/>
                    <a:pt x="97" y="69"/>
                  </a:cubicBezTo>
                  <a:cubicBezTo>
                    <a:pt x="97" y="68"/>
                    <a:pt x="96" y="68"/>
                    <a:pt x="95" y="69"/>
                  </a:cubicBezTo>
                  <a:cubicBezTo>
                    <a:pt x="94" y="70"/>
                    <a:pt x="92" y="71"/>
                    <a:pt x="90" y="72"/>
                  </a:cubicBezTo>
                  <a:cubicBezTo>
                    <a:pt x="89" y="73"/>
                    <a:pt x="87" y="74"/>
                    <a:pt x="85" y="73"/>
                  </a:cubicBezTo>
                  <a:cubicBezTo>
                    <a:pt x="85" y="71"/>
                    <a:pt x="84" y="68"/>
                    <a:pt x="86" y="67"/>
                  </a:cubicBezTo>
                  <a:cubicBezTo>
                    <a:pt x="87" y="66"/>
                    <a:pt x="89" y="67"/>
                    <a:pt x="90" y="67"/>
                  </a:cubicBezTo>
                  <a:cubicBezTo>
                    <a:pt x="91" y="67"/>
                    <a:pt x="92" y="66"/>
                    <a:pt x="93" y="66"/>
                  </a:cubicBezTo>
                  <a:cubicBezTo>
                    <a:pt x="93" y="65"/>
                    <a:pt x="93" y="64"/>
                    <a:pt x="93" y="63"/>
                  </a:cubicBezTo>
                  <a:cubicBezTo>
                    <a:pt x="92" y="62"/>
                    <a:pt x="91" y="60"/>
                    <a:pt x="89" y="60"/>
                  </a:cubicBezTo>
                  <a:cubicBezTo>
                    <a:pt x="88" y="60"/>
                    <a:pt x="86" y="59"/>
                    <a:pt x="85" y="58"/>
                  </a:cubicBezTo>
                  <a:cubicBezTo>
                    <a:pt x="85" y="57"/>
                    <a:pt x="85" y="56"/>
                    <a:pt x="85" y="56"/>
                  </a:cubicBezTo>
                  <a:cubicBezTo>
                    <a:pt x="84" y="56"/>
                    <a:pt x="83" y="56"/>
                    <a:pt x="83" y="57"/>
                  </a:cubicBezTo>
                  <a:cubicBezTo>
                    <a:pt x="83" y="57"/>
                    <a:pt x="82" y="57"/>
                    <a:pt x="82" y="57"/>
                  </a:cubicBezTo>
                  <a:cubicBezTo>
                    <a:pt x="81" y="55"/>
                    <a:pt x="82" y="52"/>
                    <a:pt x="80" y="50"/>
                  </a:cubicBezTo>
                  <a:cubicBezTo>
                    <a:pt x="79" y="49"/>
                    <a:pt x="77" y="49"/>
                    <a:pt x="75" y="49"/>
                  </a:cubicBezTo>
                  <a:cubicBezTo>
                    <a:pt x="74" y="48"/>
                    <a:pt x="73" y="48"/>
                    <a:pt x="72" y="47"/>
                  </a:cubicBezTo>
                  <a:cubicBezTo>
                    <a:pt x="72" y="47"/>
                    <a:pt x="71" y="47"/>
                    <a:pt x="71" y="47"/>
                  </a:cubicBezTo>
                  <a:cubicBezTo>
                    <a:pt x="71" y="49"/>
                    <a:pt x="73" y="50"/>
                    <a:pt x="74" y="52"/>
                  </a:cubicBezTo>
                  <a:cubicBezTo>
                    <a:pt x="75" y="53"/>
                    <a:pt x="74" y="54"/>
                    <a:pt x="73" y="55"/>
                  </a:cubicBezTo>
                  <a:cubicBezTo>
                    <a:pt x="72" y="56"/>
                    <a:pt x="71" y="56"/>
                    <a:pt x="70" y="56"/>
                  </a:cubicBezTo>
                  <a:cubicBezTo>
                    <a:pt x="68" y="57"/>
                    <a:pt x="67" y="58"/>
                    <a:pt x="66" y="59"/>
                  </a:cubicBezTo>
                  <a:cubicBezTo>
                    <a:pt x="64" y="60"/>
                    <a:pt x="63" y="60"/>
                    <a:pt x="61" y="59"/>
                  </a:cubicBezTo>
                  <a:cubicBezTo>
                    <a:pt x="61" y="59"/>
                    <a:pt x="61" y="58"/>
                    <a:pt x="61" y="58"/>
                  </a:cubicBezTo>
                  <a:cubicBezTo>
                    <a:pt x="63" y="57"/>
                    <a:pt x="64" y="58"/>
                    <a:pt x="66" y="57"/>
                  </a:cubicBezTo>
                  <a:cubicBezTo>
                    <a:pt x="67" y="56"/>
                    <a:pt x="67" y="55"/>
                    <a:pt x="66" y="54"/>
                  </a:cubicBezTo>
                  <a:cubicBezTo>
                    <a:pt x="65" y="53"/>
                    <a:pt x="63" y="54"/>
                    <a:pt x="61" y="53"/>
                  </a:cubicBezTo>
                  <a:cubicBezTo>
                    <a:pt x="60" y="53"/>
                    <a:pt x="60" y="53"/>
                    <a:pt x="59" y="53"/>
                  </a:cubicBezTo>
                  <a:cubicBezTo>
                    <a:pt x="59" y="52"/>
                    <a:pt x="58" y="52"/>
                    <a:pt x="58" y="53"/>
                  </a:cubicBezTo>
                  <a:cubicBezTo>
                    <a:pt x="58" y="53"/>
                    <a:pt x="58" y="53"/>
                    <a:pt x="58" y="54"/>
                  </a:cubicBezTo>
                  <a:cubicBezTo>
                    <a:pt x="59" y="54"/>
                    <a:pt x="59" y="55"/>
                    <a:pt x="59" y="56"/>
                  </a:cubicBezTo>
                  <a:cubicBezTo>
                    <a:pt x="56" y="57"/>
                    <a:pt x="54" y="54"/>
                    <a:pt x="52" y="53"/>
                  </a:cubicBezTo>
                  <a:cubicBezTo>
                    <a:pt x="52" y="53"/>
                    <a:pt x="51" y="53"/>
                    <a:pt x="51" y="53"/>
                  </a:cubicBezTo>
                  <a:cubicBezTo>
                    <a:pt x="50" y="53"/>
                    <a:pt x="51" y="55"/>
                    <a:pt x="50" y="55"/>
                  </a:cubicBezTo>
                  <a:cubicBezTo>
                    <a:pt x="48" y="55"/>
                    <a:pt x="47" y="54"/>
                    <a:pt x="46" y="53"/>
                  </a:cubicBezTo>
                  <a:cubicBezTo>
                    <a:pt x="45" y="53"/>
                    <a:pt x="43" y="54"/>
                    <a:pt x="43" y="54"/>
                  </a:cubicBezTo>
                  <a:cubicBezTo>
                    <a:pt x="40" y="54"/>
                    <a:pt x="38" y="54"/>
                    <a:pt x="36" y="53"/>
                  </a:cubicBezTo>
                  <a:cubicBezTo>
                    <a:pt x="35" y="53"/>
                    <a:pt x="35" y="52"/>
                    <a:pt x="34" y="52"/>
                  </a:cubicBezTo>
                  <a:cubicBezTo>
                    <a:pt x="33" y="52"/>
                    <a:pt x="32" y="52"/>
                    <a:pt x="30" y="53"/>
                  </a:cubicBezTo>
                  <a:cubicBezTo>
                    <a:pt x="28" y="54"/>
                    <a:pt x="23" y="53"/>
                    <a:pt x="22" y="50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18" y="49"/>
                    <a:pt x="14" y="50"/>
                    <a:pt x="10" y="48"/>
                  </a:cubicBezTo>
                  <a:cubicBezTo>
                    <a:pt x="10" y="48"/>
                    <a:pt x="9" y="47"/>
                    <a:pt x="8" y="46"/>
                  </a:cubicBezTo>
                  <a:cubicBezTo>
                    <a:pt x="8" y="46"/>
                    <a:pt x="7" y="46"/>
                    <a:pt x="7" y="46"/>
                  </a:cubicBezTo>
                  <a:cubicBezTo>
                    <a:pt x="6" y="45"/>
                    <a:pt x="5" y="44"/>
                    <a:pt x="4" y="43"/>
                  </a:cubicBezTo>
                  <a:cubicBezTo>
                    <a:pt x="2" y="41"/>
                    <a:pt x="2" y="40"/>
                    <a:pt x="2" y="38"/>
                  </a:cubicBezTo>
                  <a:cubicBezTo>
                    <a:pt x="7" y="38"/>
                    <a:pt x="11" y="37"/>
                    <a:pt x="15" y="39"/>
                  </a:cubicBezTo>
                  <a:cubicBezTo>
                    <a:pt x="16" y="40"/>
                    <a:pt x="17" y="40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7" y="38"/>
                    <a:pt x="15" y="37"/>
                    <a:pt x="14" y="37"/>
                  </a:cubicBezTo>
                  <a:cubicBezTo>
                    <a:pt x="14" y="37"/>
                    <a:pt x="13" y="36"/>
                    <a:pt x="13" y="36"/>
                  </a:cubicBezTo>
                  <a:cubicBezTo>
                    <a:pt x="12" y="35"/>
                    <a:pt x="11" y="36"/>
                    <a:pt x="10" y="36"/>
                  </a:cubicBezTo>
                  <a:cubicBezTo>
                    <a:pt x="9" y="36"/>
                    <a:pt x="8" y="36"/>
                    <a:pt x="8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5" y="36"/>
                    <a:pt x="3" y="35"/>
                    <a:pt x="1" y="35"/>
                  </a:cubicBezTo>
                  <a:cubicBezTo>
                    <a:pt x="1" y="32"/>
                    <a:pt x="0" y="28"/>
                    <a:pt x="2" y="26"/>
                  </a:cubicBezTo>
                  <a:cubicBezTo>
                    <a:pt x="2" y="25"/>
                    <a:pt x="3" y="25"/>
                    <a:pt x="4" y="24"/>
                  </a:cubicBezTo>
                  <a:cubicBezTo>
                    <a:pt x="4" y="22"/>
                    <a:pt x="3" y="20"/>
                    <a:pt x="4" y="18"/>
                  </a:cubicBezTo>
                  <a:cubicBezTo>
                    <a:pt x="5" y="16"/>
                    <a:pt x="9" y="15"/>
                    <a:pt x="11" y="13"/>
                  </a:cubicBezTo>
                  <a:cubicBezTo>
                    <a:pt x="11" y="9"/>
                    <a:pt x="15" y="7"/>
                    <a:pt x="18" y="5"/>
                  </a:cubicBezTo>
                  <a:cubicBezTo>
                    <a:pt x="20" y="3"/>
                    <a:pt x="24" y="2"/>
                    <a:pt x="27" y="1"/>
                  </a:cubicBezTo>
                  <a:cubicBezTo>
                    <a:pt x="31" y="0"/>
                    <a:pt x="35" y="1"/>
                    <a:pt x="39" y="0"/>
                  </a:cubicBezTo>
                  <a:cubicBezTo>
                    <a:pt x="40" y="0"/>
                    <a:pt x="41" y="0"/>
                    <a:pt x="42" y="0"/>
                  </a:cubicBezTo>
                  <a:cubicBezTo>
                    <a:pt x="43" y="0"/>
                    <a:pt x="44" y="1"/>
                    <a:pt x="43" y="2"/>
                  </a:cubicBezTo>
                  <a:cubicBezTo>
                    <a:pt x="41" y="3"/>
                    <a:pt x="38" y="3"/>
                    <a:pt x="36" y="5"/>
                  </a:cubicBezTo>
                  <a:cubicBezTo>
                    <a:pt x="33" y="8"/>
                    <a:pt x="31" y="12"/>
                    <a:pt x="28" y="14"/>
                  </a:cubicBezTo>
                  <a:cubicBezTo>
                    <a:pt x="28" y="16"/>
                    <a:pt x="28" y="17"/>
                    <a:pt x="29" y="18"/>
                  </a:cubicBezTo>
                  <a:cubicBezTo>
                    <a:pt x="30" y="20"/>
                    <a:pt x="29" y="22"/>
                    <a:pt x="28" y="23"/>
                  </a:cubicBezTo>
                  <a:cubicBezTo>
                    <a:pt x="27" y="27"/>
                    <a:pt x="30" y="31"/>
                    <a:pt x="34" y="31"/>
                  </a:cubicBezTo>
                  <a:cubicBezTo>
                    <a:pt x="35" y="32"/>
                    <a:pt x="35" y="33"/>
                    <a:pt x="35" y="34"/>
                  </a:cubicBezTo>
                  <a:cubicBezTo>
                    <a:pt x="32" y="35"/>
                    <a:pt x="30" y="35"/>
                    <a:pt x="27" y="36"/>
                  </a:cubicBezTo>
                  <a:cubicBezTo>
                    <a:pt x="26" y="37"/>
                    <a:pt x="25" y="37"/>
                    <a:pt x="24" y="39"/>
                  </a:cubicBezTo>
                  <a:cubicBezTo>
                    <a:pt x="27" y="38"/>
                    <a:pt x="29" y="37"/>
                    <a:pt x="32" y="37"/>
                  </a:cubicBezTo>
                  <a:cubicBezTo>
                    <a:pt x="33" y="37"/>
                    <a:pt x="33" y="36"/>
                    <a:pt x="34" y="36"/>
                  </a:cubicBezTo>
                  <a:cubicBezTo>
                    <a:pt x="34" y="35"/>
                    <a:pt x="35" y="35"/>
                    <a:pt x="35" y="36"/>
                  </a:cubicBezTo>
                  <a:cubicBezTo>
                    <a:pt x="35" y="36"/>
                    <a:pt x="35" y="37"/>
                    <a:pt x="34" y="38"/>
                  </a:cubicBezTo>
                  <a:cubicBezTo>
                    <a:pt x="34" y="38"/>
                    <a:pt x="34" y="39"/>
                    <a:pt x="34" y="40"/>
                  </a:cubicBezTo>
                  <a:cubicBezTo>
                    <a:pt x="35" y="39"/>
                    <a:pt x="36" y="38"/>
                    <a:pt x="36" y="38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8" y="34"/>
                    <a:pt x="38" y="33"/>
                    <a:pt x="37" y="32"/>
                  </a:cubicBezTo>
                  <a:cubicBezTo>
                    <a:pt x="37" y="31"/>
                    <a:pt x="36" y="30"/>
                    <a:pt x="36" y="29"/>
                  </a:cubicBezTo>
                  <a:cubicBezTo>
                    <a:pt x="35" y="28"/>
                    <a:pt x="34" y="28"/>
                    <a:pt x="33" y="28"/>
                  </a:cubicBezTo>
                  <a:cubicBezTo>
                    <a:pt x="31" y="26"/>
                    <a:pt x="33" y="24"/>
                    <a:pt x="35" y="23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1"/>
                    <a:pt x="37" y="21"/>
                    <a:pt x="38" y="22"/>
                  </a:cubicBezTo>
                  <a:cubicBezTo>
                    <a:pt x="38" y="22"/>
                    <a:pt x="39" y="22"/>
                    <a:pt x="39" y="23"/>
                  </a:cubicBezTo>
                  <a:cubicBezTo>
                    <a:pt x="39" y="23"/>
                    <a:pt x="39" y="23"/>
                    <a:pt x="40" y="23"/>
                  </a:cubicBezTo>
                  <a:cubicBezTo>
                    <a:pt x="40" y="23"/>
                    <a:pt x="40" y="22"/>
                    <a:pt x="40" y="22"/>
                  </a:cubicBezTo>
                  <a:cubicBezTo>
                    <a:pt x="39" y="21"/>
                    <a:pt x="39" y="21"/>
                    <a:pt x="38" y="20"/>
                  </a:cubicBezTo>
                  <a:cubicBezTo>
                    <a:pt x="37" y="19"/>
                    <a:pt x="36" y="20"/>
                    <a:pt x="35" y="19"/>
                  </a:cubicBezTo>
                  <a:cubicBezTo>
                    <a:pt x="34" y="17"/>
                    <a:pt x="34" y="14"/>
                    <a:pt x="35" y="12"/>
                  </a:cubicBezTo>
                  <a:cubicBezTo>
                    <a:pt x="35" y="12"/>
                    <a:pt x="36" y="12"/>
                    <a:pt x="37" y="12"/>
                  </a:cubicBezTo>
                  <a:cubicBezTo>
                    <a:pt x="38" y="13"/>
                    <a:pt x="40" y="14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2"/>
                    <a:pt x="38" y="11"/>
                    <a:pt x="39" y="10"/>
                  </a:cubicBezTo>
                  <a:cubicBezTo>
                    <a:pt x="40" y="10"/>
                    <a:pt x="43" y="11"/>
                    <a:pt x="42" y="9"/>
                  </a:cubicBezTo>
                  <a:cubicBezTo>
                    <a:pt x="42" y="9"/>
                    <a:pt x="41" y="8"/>
                    <a:pt x="41" y="7"/>
                  </a:cubicBezTo>
                  <a:cubicBezTo>
                    <a:pt x="42" y="6"/>
                    <a:pt x="42" y="6"/>
                    <a:pt x="43" y="5"/>
                  </a:cubicBezTo>
                  <a:cubicBezTo>
                    <a:pt x="44" y="4"/>
                    <a:pt x="46" y="5"/>
                    <a:pt x="47" y="5"/>
                  </a:cubicBezTo>
                  <a:cubicBezTo>
                    <a:pt x="47" y="5"/>
                    <a:pt x="48" y="5"/>
                    <a:pt x="49" y="5"/>
                  </a:cubicBezTo>
                  <a:cubicBezTo>
                    <a:pt x="49" y="5"/>
                    <a:pt x="49" y="4"/>
                    <a:pt x="49" y="4"/>
                  </a:cubicBezTo>
                  <a:cubicBezTo>
                    <a:pt x="50" y="4"/>
                    <a:pt x="52" y="3"/>
                    <a:pt x="53" y="3"/>
                  </a:cubicBezTo>
                  <a:cubicBezTo>
                    <a:pt x="53" y="3"/>
                    <a:pt x="54" y="2"/>
                    <a:pt x="54" y="2"/>
                  </a:cubicBezTo>
                  <a:cubicBezTo>
                    <a:pt x="59" y="2"/>
                    <a:pt x="63" y="2"/>
                    <a:pt x="67" y="2"/>
                  </a:cubicBezTo>
                  <a:cubicBezTo>
                    <a:pt x="67" y="4"/>
                    <a:pt x="66" y="6"/>
                    <a:pt x="67" y="7"/>
                  </a:cubicBezTo>
                  <a:cubicBezTo>
                    <a:pt x="67" y="8"/>
                    <a:pt x="69" y="9"/>
                    <a:pt x="69" y="10"/>
                  </a:cubicBezTo>
                  <a:cubicBezTo>
                    <a:pt x="70" y="11"/>
                    <a:pt x="70" y="12"/>
                    <a:pt x="70" y="12"/>
                  </a:cubicBezTo>
                  <a:cubicBezTo>
                    <a:pt x="70" y="14"/>
                    <a:pt x="70" y="15"/>
                    <a:pt x="70" y="16"/>
                  </a:cubicBezTo>
                  <a:cubicBezTo>
                    <a:pt x="68" y="19"/>
                    <a:pt x="67" y="23"/>
                    <a:pt x="64" y="25"/>
                  </a:cubicBezTo>
                  <a:cubicBezTo>
                    <a:pt x="64" y="25"/>
                    <a:pt x="64" y="26"/>
                    <a:pt x="64" y="26"/>
                  </a:cubicBezTo>
                  <a:cubicBezTo>
                    <a:pt x="65" y="26"/>
                    <a:pt x="66" y="26"/>
                    <a:pt x="67" y="25"/>
                  </a:cubicBezTo>
                  <a:cubicBezTo>
                    <a:pt x="68" y="25"/>
                    <a:pt x="69" y="24"/>
                    <a:pt x="71" y="23"/>
                  </a:cubicBezTo>
                  <a:cubicBezTo>
                    <a:pt x="72" y="23"/>
                    <a:pt x="73" y="22"/>
                    <a:pt x="73" y="22"/>
                  </a:cubicBezTo>
                  <a:cubicBezTo>
                    <a:pt x="74" y="21"/>
                    <a:pt x="77" y="21"/>
                    <a:pt x="77" y="22"/>
                  </a:cubicBezTo>
                  <a:cubicBezTo>
                    <a:pt x="78" y="23"/>
                    <a:pt x="77" y="25"/>
                    <a:pt x="78" y="26"/>
                  </a:cubicBezTo>
                  <a:cubicBezTo>
                    <a:pt x="78" y="26"/>
                    <a:pt x="79" y="25"/>
                    <a:pt x="79" y="25"/>
                  </a:cubicBezTo>
                  <a:cubicBezTo>
                    <a:pt x="79" y="25"/>
                    <a:pt x="80" y="25"/>
                    <a:pt x="81" y="25"/>
                  </a:cubicBezTo>
                  <a:cubicBezTo>
                    <a:pt x="81" y="25"/>
                    <a:pt x="82" y="26"/>
                    <a:pt x="82" y="26"/>
                  </a:cubicBezTo>
                  <a:cubicBezTo>
                    <a:pt x="82" y="26"/>
                    <a:pt x="82" y="25"/>
                    <a:pt x="82" y="25"/>
                  </a:cubicBezTo>
                  <a:cubicBezTo>
                    <a:pt x="82" y="25"/>
                    <a:pt x="82" y="24"/>
                    <a:pt x="81" y="24"/>
                  </a:cubicBezTo>
                  <a:cubicBezTo>
                    <a:pt x="80" y="24"/>
                    <a:pt x="81" y="23"/>
                    <a:pt x="81" y="23"/>
                  </a:cubicBezTo>
                  <a:cubicBezTo>
                    <a:pt x="83" y="22"/>
                    <a:pt x="85" y="23"/>
                    <a:pt x="87" y="24"/>
                  </a:cubicBezTo>
                  <a:cubicBezTo>
                    <a:pt x="87" y="24"/>
                    <a:pt x="88" y="24"/>
                    <a:pt x="88" y="24"/>
                  </a:cubicBezTo>
                  <a:cubicBezTo>
                    <a:pt x="88" y="24"/>
                    <a:pt x="88" y="23"/>
                    <a:pt x="88" y="23"/>
                  </a:cubicBezTo>
                  <a:cubicBezTo>
                    <a:pt x="87" y="21"/>
                    <a:pt x="84" y="21"/>
                    <a:pt x="83" y="20"/>
                  </a:cubicBezTo>
                  <a:cubicBezTo>
                    <a:pt x="82" y="20"/>
                    <a:pt x="82" y="19"/>
                    <a:pt x="83" y="19"/>
                  </a:cubicBezTo>
                  <a:cubicBezTo>
                    <a:pt x="83" y="18"/>
                    <a:pt x="84" y="18"/>
                    <a:pt x="85" y="17"/>
                  </a:cubicBezTo>
                  <a:cubicBezTo>
                    <a:pt x="86" y="16"/>
                    <a:pt x="88" y="16"/>
                    <a:pt x="89" y="16"/>
                  </a:cubicBezTo>
                  <a:cubicBezTo>
                    <a:pt x="91" y="16"/>
                    <a:pt x="93" y="16"/>
                    <a:pt x="95" y="16"/>
                  </a:cubicBezTo>
                  <a:cubicBezTo>
                    <a:pt x="95" y="17"/>
                    <a:pt x="97" y="17"/>
                    <a:pt x="98" y="18"/>
                  </a:cubicBezTo>
                  <a:cubicBezTo>
                    <a:pt x="99" y="18"/>
                    <a:pt x="101" y="17"/>
                    <a:pt x="102" y="18"/>
                  </a:cubicBezTo>
                  <a:cubicBezTo>
                    <a:pt x="103" y="18"/>
                    <a:pt x="105" y="19"/>
                    <a:pt x="105" y="20"/>
                  </a:cubicBezTo>
                  <a:cubicBezTo>
                    <a:pt x="105" y="21"/>
                    <a:pt x="105" y="22"/>
                    <a:pt x="105" y="22"/>
                  </a:cubicBezTo>
                  <a:cubicBezTo>
                    <a:pt x="105" y="23"/>
                    <a:pt x="103" y="23"/>
                    <a:pt x="104" y="25"/>
                  </a:cubicBezTo>
                  <a:cubicBezTo>
                    <a:pt x="106" y="25"/>
                    <a:pt x="109" y="24"/>
                    <a:pt x="110" y="26"/>
                  </a:cubicBezTo>
                  <a:cubicBezTo>
                    <a:pt x="111" y="27"/>
                    <a:pt x="110" y="27"/>
                    <a:pt x="110" y="28"/>
                  </a:cubicBezTo>
                  <a:cubicBezTo>
                    <a:pt x="109" y="29"/>
                    <a:pt x="107" y="30"/>
                    <a:pt x="106" y="32"/>
                  </a:cubicBezTo>
                  <a:cubicBezTo>
                    <a:pt x="106" y="32"/>
                    <a:pt x="106" y="33"/>
                    <a:pt x="106" y="34"/>
                  </a:cubicBezTo>
                  <a:cubicBezTo>
                    <a:pt x="106" y="34"/>
                    <a:pt x="107" y="34"/>
                    <a:pt x="107" y="33"/>
                  </a:cubicBezTo>
                  <a:cubicBezTo>
                    <a:pt x="108" y="33"/>
                    <a:pt x="109" y="31"/>
                    <a:pt x="110" y="30"/>
                  </a:cubicBezTo>
                  <a:cubicBezTo>
                    <a:pt x="111" y="30"/>
                    <a:pt x="112" y="30"/>
                    <a:pt x="112" y="30"/>
                  </a:cubicBezTo>
                  <a:cubicBezTo>
                    <a:pt x="113" y="30"/>
                    <a:pt x="112" y="31"/>
                    <a:pt x="112" y="31"/>
                  </a:cubicBezTo>
                  <a:cubicBezTo>
                    <a:pt x="112" y="32"/>
                    <a:pt x="111" y="33"/>
                    <a:pt x="111" y="33"/>
                  </a:cubicBezTo>
                  <a:cubicBezTo>
                    <a:pt x="112" y="34"/>
                    <a:pt x="113" y="34"/>
                    <a:pt x="114" y="33"/>
                  </a:cubicBezTo>
                  <a:cubicBezTo>
                    <a:pt x="114" y="32"/>
                    <a:pt x="115" y="33"/>
                    <a:pt x="115" y="33"/>
                  </a:cubicBezTo>
                  <a:cubicBezTo>
                    <a:pt x="115" y="34"/>
                    <a:pt x="115" y="34"/>
                    <a:pt x="115" y="35"/>
                  </a:cubicBezTo>
                  <a:cubicBezTo>
                    <a:pt x="119" y="36"/>
                    <a:pt x="120" y="31"/>
                    <a:pt x="122" y="30"/>
                  </a:cubicBezTo>
                  <a:cubicBezTo>
                    <a:pt x="123" y="30"/>
                    <a:pt x="124" y="30"/>
                    <a:pt x="126" y="30"/>
                  </a:cubicBezTo>
                  <a:cubicBezTo>
                    <a:pt x="127" y="31"/>
                    <a:pt x="127" y="31"/>
                    <a:pt x="129" y="32"/>
                  </a:cubicBezTo>
                  <a:lnTo>
                    <a:pt x="131" y="3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6" name="Freeform 44"/>
            <p:cNvSpPr>
              <a:spLocks/>
            </p:cNvSpPr>
            <p:nvPr/>
          </p:nvSpPr>
          <p:spPr bwMode="auto">
            <a:xfrm>
              <a:off x="6678928" y="3268588"/>
              <a:ext cx="4264" cy="3515"/>
            </a:xfrm>
            <a:custGeom>
              <a:avLst/>
              <a:gdLst>
                <a:gd name="T0" fmla="*/ 5234180 w 9"/>
                <a:gd name="T1" fmla="*/ 2947589 h 7"/>
                <a:gd name="T2" fmla="*/ 3961001 w 9"/>
                <a:gd name="T3" fmla="*/ 0 h 7"/>
                <a:gd name="T4" fmla="*/ 2243220 w 9"/>
                <a:gd name="T5" fmla="*/ 0 h 7"/>
                <a:gd name="T6" fmla="*/ 727531 w 9"/>
                <a:gd name="T7" fmla="*/ 1213713 h 7"/>
                <a:gd name="T8" fmla="*/ 0 w 9"/>
                <a:gd name="T9" fmla="*/ 2947589 h 7"/>
                <a:gd name="T10" fmla="*/ 727531 w 9"/>
                <a:gd name="T11" fmla="*/ 4210842 h 7"/>
                <a:gd name="T12" fmla="*/ 3961001 w 9"/>
                <a:gd name="T13" fmla="*/ 8872004 h 7"/>
                <a:gd name="T14" fmla="*/ 6931749 w 9"/>
                <a:gd name="T15" fmla="*/ 7158428 h 7"/>
                <a:gd name="T16" fmla="*/ 6931749 w 9"/>
                <a:gd name="T17" fmla="*/ 4210842 h 7"/>
                <a:gd name="T18" fmla="*/ 5234180 w 9"/>
                <a:gd name="T19" fmla="*/ 2947589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7"/>
                <a:gd name="T32" fmla="*/ 9 w 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7">
                  <a:moveTo>
                    <a:pt x="7" y="2"/>
                  </a:moveTo>
                  <a:cubicBezTo>
                    <a:pt x="7" y="1"/>
                    <a:pt x="6" y="0"/>
                    <a:pt x="5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3" y="7"/>
                    <a:pt x="5" y="6"/>
                  </a:cubicBezTo>
                  <a:cubicBezTo>
                    <a:pt x="6" y="5"/>
                    <a:pt x="8" y="5"/>
                    <a:pt x="9" y="5"/>
                  </a:cubicBezTo>
                  <a:cubicBezTo>
                    <a:pt x="9" y="4"/>
                    <a:pt x="9" y="4"/>
                    <a:pt x="9" y="3"/>
                  </a:cubicBezTo>
                  <a:cubicBezTo>
                    <a:pt x="9" y="2"/>
                    <a:pt x="8" y="3"/>
                    <a:pt x="7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7" name="Freeform 45"/>
            <p:cNvSpPr>
              <a:spLocks/>
            </p:cNvSpPr>
            <p:nvPr/>
          </p:nvSpPr>
          <p:spPr bwMode="auto">
            <a:xfrm>
              <a:off x="6672155" y="3273996"/>
              <a:ext cx="3512" cy="6219"/>
            </a:xfrm>
            <a:custGeom>
              <a:avLst/>
              <a:gdLst>
                <a:gd name="T0" fmla="*/ 4351847 w 8"/>
                <a:gd name="T1" fmla="*/ 11938254 h 13"/>
                <a:gd name="T2" fmla="*/ 5955246 w 8"/>
                <a:gd name="T3" fmla="*/ 8621839 h 13"/>
                <a:gd name="T4" fmla="*/ 7279645 w 8"/>
                <a:gd name="T5" fmla="*/ 6350665 h 13"/>
                <a:gd name="T6" fmla="*/ 7279645 w 8"/>
                <a:gd name="T7" fmla="*/ 4595099 h 13"/>
                <a:gd name="T8" fmla="*/ 5955246 w 8"/>
                <a:gd name="T9" fmla="*/ 979497 h 13"/>
                <a:gd name="T10" fmla="*/ 3065115 w 8"/>
                <a:gd name="T11" fmla="*/ 4595099 h 13"/>
                <a:gd name="T12" fmla="*/ 0 w 8"/>
                <a:gd name="T13" fmla="*/ 8621839 h 13"/>
                <a:gd name="T14" fmla="*/ 0 w 8"/>
                <a:gd name="T15" fmla="*/ 10957538 h 13"/>
                <a:gd name="T16" fmla="*/ 2129866 w 8"/>
                <a:gd name="T17" fmla="*/ 14203962 h 13"/>
                <a:gd name="T18" fmla="*/ 4351847 w 8"/>
                <a:gd name="T19" fmla="*/ 10957538 h 13"/>
                <a:gd name="T20" fmla="*/ 4351847 w 8"/>
                <a:gd name="T21" fmla="*/ 11938254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"/>
                <a:gd name="T34" fmla="*/ 0 h 13"/>
                <a:gd name="T35" fmla="*/ 8 w 8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" h="13">
                  <a:moveTo>
                    <a:pt x="4" y="11"/>
                  </a:moveTo>
                  <a:cubicBezTo>
                    <a:pt x="5" y="10"/>
                    <a:pt x="5" y="9"/>
                    <a:pt x="6" y="8"/>
                  </a:cubicBezTo>
                  <a:cubicBezTo>
                    <a:pt x="6" y="8"/>
                    <a:pt x="7" y="7"/>
                    <a:pt x="7" y="6"/>
                  </a:cubicBezTo>
                  <a:cubicBezTo>
                    <a:pt x="8" y="5"/>
                    <a:pt x="8" y="4"/>
                    <a:pt x="7" y="4"/>
                  </a:cubicBezTo>
                  <a:cubicBezTo>
                    <a:pt x="7" y="3"/>
                    <a:pt x="7" y="2"/>
                    <a:pt x="6" y="1"/>
                  </a:cubicBezTo>
                  <a:cubicBezTo>
                    <a:pt x="4" y="0"/>
                    <a:pt x="4" y="3"/>
                    <a:pt x="3" y="4"/>
                  </a:cubicBezTo>
                  <a:cubicBezTo>
                    <a:pt x="2" y="5"/>
                    <a:pt x="1" y="7"/>
                    <a:pt x="0" y="8"/>
                  </a:cubicBezTo>
                  <a:cubicBezTo>
                    <a:pt x="0" y="8"/>
                    <a:pt x="0" y="10"/>
                    <a:pt x="0" y="10"/>
                  </a:cubicBezTo>
                  <a:cubicBezTo>
                    <a:pt x="1" y="11"/>
                    <a:pt x="1" y="12"/>
                    <a:pt x="2" y="13"/>
                  </a:cubicBezTo>
                  <a:cubicBezTo>
                    <a:pt x="3" y="13"/>
                    <a:pt x="4" y="12"/>
                    <a:pt x="4" y="10"/>
                  </a:cubicBezTo>
                  <a:lnTo>
                    <a:pt x="4" y="11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8" name="Freeform 46"/>
            <p:cNvSpPr>
              <a:spLocks/>
            </p:cNvSpPr>
            <p:nvPr/>
          </p:nvSpPr>
          <p:spPr bwMode="auto">
            <a:xfrm>
              <a:off x="6659865" y="3271292"/>
              <a:ext cx="8277" cy="5408"/>
            </a:xfrm>
            <a:custGeom>
              <a:avLst/>
              <a:gdLst>
                <a:gd name="T0" fmla="*/ 15574178 w 18"/>
                <a:gd name="T1" fmla="*/ 0 h 11"/>
                <a:gd name="T2" fmla="*/ 11221395 w 18"/>
                <a:gd name="T3" fmla="*/ 2007625 h 11"/>
                <a:gd name="T4" fmla="*/ 10471513 w 18"/>
                <a:gd name="T5" fmla="*/ 2007625 h 11"/>
                <a:gd name="T6" fmla="*/ 8080076 w 18"/>
                <a:gd name="T7" fmla="*/ 849380 h 11"/>
                <a:gd name="T8" fmla="*/ 5695489 w 18"/>
                <a:gd name="T9" fmla="*/ 3587761 h 11"/>
                <a:gd name="T10" fmla="*/ 998020 w 18"/>
                <a:gd name="T11" fmla="*/ 7630664 h 11"/>
                <a:gd name="T12" fmla="*/ 998020 w 18"/>
                <a:gd name="T13" fmla="*/ 9698926 h 11"/>
                <a:gd name="T14" fmla="*/ 8850068 w 18"/>
                <a:gd name="T15" fmla="*/ 8480159 h 11"/>
                <a:gd name="T16" fmla="*/ 13605887 w 18"/>
                <a:gd name="T17" fmla="*/ 4745295 h 11"/>
                <a:gd name="T18" fmla="*/ 19302400 w 18"/>
                <a:gd name="T19" fmla="*/ 2894074 h 11"/>
                <a:gd name="T20" fmla="*/ 19302400 w 18"/>
                <a:gd name="T21" fmla="*/ 0 h 11"/>
                <a:gd name="T22" fmla="*/ 15574178 w 18"/>
                <a:gd name="T23" fmla="*/ 0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"/>
                <a:gd name="T37" fmla="*/ 0 h 11"/>
                <a:gd name="T38" fmla="*/ 18 w 18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" h="11">
                  <a:moveTo>
                    <a:pt x="14" y="0"/>
                  </a:moveTo>
                  <a:cubicBezTo>
                    <a:pt x="13" y="1"/>
                    <a:pt x="12" y="1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8" y="1"/>
                    <a:pt x="7" y="0"/>
                    <a:pt x="7" y="1"/>
                  </a:cubicBezTo>
                  <a:cubicBezTo>
                    <a:pt x="6" y="2"/>
                    <a:pt x="6" y="3"/>
                    <a:pt x="5" y="4"/>
                  </a:cubicBezTo>
                  <a:cubicBezTo>
                    <a:pt x="4" y="6"/>
                    <a:pt x="2" y="6"/>
                    <a:pt x="1" y="8"/>
                  </a:cubicBezTo>
                  <a:cubicBezTo>
                    <a:pt x="0" y="9"/>
                    <a:pt x="0" y="10"/>
                    <a:pt x="1" y="10"/>
                  </a:cubicBezTo>
                  <a:cubicBezTo>
                    <a:pt x="3" y="10"/>
                    <a:pt x="6" y="11"/>
                    <a:pt x="8" y="9"/>
                  </a:cubicBezTo>
                  <a:cubicBezTo>
                    <a:pt x="9" y="8"/>
                    <a:pt x="10" y="6"/>
                    <a:pt x="12" y="5"/>
                  </a:cubicBezTo>
                  <a:cubicBezTo>
                    <a:pt x="13" y="4"/>
                    <a:pt x="15" y="4"/>
                    <a:pt x="17" y="3"/>
                  </a:cubicBezTo>
                  <a:cubicBezTo>
                    <a:pt x="17" y="3"/>
                    <a:pt x="18" y="1"/>
                    <a:pt x="17" y="0"/>
                  </a:cubicBezTo>
                  <a:cubicBezTo>
                    <a:pt x="16" y="0"/>
                    <a:pt x="15" y="0"/>
                    <a:pt x="14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9" name="Freeform 47"/>
            <p:cNvSpPr>
              <a:spLocks/>
            </p:cNvSpPr>
            <p:nvPr/>
          </p:nvSpPr>
          <p:spPr bwMode="auto">
            <a:xfrm>
              <a:off x="6651086" y="3253447"/>
              <a:ext cx="23327" cy="17304"/>
            </a:xfrm>
            <a:custGeom>
              <a:avLst/>
              <a:gdLst>
                <a:gd name="T0" fmla="*/ 32617975 w 50"/>
                <a:gd name="T1" fmla="*/ 13031094 h 36"/>
                <a:gd name="T2" fmla="*/ 31432311 w 50"/>
                <a:gd name="T3" fmla="*/ 13031094 h 36"/>
                <a:gd name="T4" fmla="*/ 25070678 w 50"/>
                <a:gd name="T5" fmla="*/ 8379337 h 36"/>
                <a:gd name="T6" fmla="*/ 23940031 w 50"/>
                <a:gd name="T7" fmla="*/ 7500980 h 36"/>
                <a:gd name="T8" fmla="*/ 22477568 w 50"/>
                <a:gd name="T9" fmla="*/ 5519055 h 36"/>
                <a:gd name="T10" fmla="*/ 19578455 w 50"/>
                <a:gd name="T11" fmla="*/ 7500980 h 36"/>
                <a:gd name="T12" fmla="*/ 18442993 w 50"/>
                <a:gd name="T13" fmla="*/ 8379337 h 36"/>
                <a:gd name="T14" fmla="*/ 18442993 w 50"/>
                <a:gd name="T15" fmla="*/ 5519055 h 36"/>
                <a:gd name="T16" fmla="*/ 17606647 w 50"/>
                <a:gd name="T17" fmla="*/ 2821556 h 36"/>
                <a:gd name="T18" fmla="*/ 18442993 w 50"/>
                <a:gd name="T19" fmla="*/ 2821556 h 36"/>
                <a:gd name="T20" fmla="*/ 18442993 w 50"/>
                <a:gd name="T21" fmla="*/ 1982086 h 36"/>
                <a:gd name="T22" fmla="*/ 14926566 w 50"/>
                <a:gd name="T23" fmla="*/ 839472 h 36"/>
                <a:gd name="T24" fmla="*/ 12953021 w 50"/>
                <a:gd name="T25" fmla="*/ 2821556 h 36"/>
                <a:gd name="T26" fmla="*/ 12117629 w 50"/>
                <a:gd name="T27" fmla="*/ 5519055 h 36"/>
                <a:gd name="T28" fmla="*/ 9524393 w 50"/>
                <a:gd name="T29" fmla="*/ 10210418 h 36"/>
                <a:gd name="T30" fmla="*/ 8295957 w 50"/>
                <a:gd name="T31" fmla="*/ 12191625 h 36"/>
                <a:gd name="T32" fmla="*/ 6629066 w 50"/>
                <a:gd name="T33" fmla="*/ 21259350 h 36"/>
                <a:gd name="T34" fmla="*/ 0 w 50"/>
                <a:gd name="T35" fmla="*/ 26929207 h 36"/>
                <a:gd name="T36" fmla="*/ 2808927 w 50"/>
                <a:gd name="T37" fmla="*/ 26929207 h 36"/>
                <a:gd name="T38" fmla="*/ 8295957 w 50"/>
                <a:gd name="T39" fmla="*/ 26089842 h 36"/>
                <a:gd name="T40" fmla="*/ 10144084 w 50"/>
                <a:gd name="T41" fmla="*/ 28123853 h 36"/>
                <a:gd name="T42" fmla="*/ 10144084 w 50"/>
                <a:gd name="T43" fmla="*/ 33681736 h 36"/>
                <a:gd name="T44" fmla="*/ 12953021 w 50"/>
                <a:gd name="T45" fmla="*/ 33681736 h 36"/>
                <a:gd name="T46" fmla="*/ 12953021 w 50"/>
                <a:gd name="T47" fmla="*/ 32815247 h 36"/>
                <a:gd name="T48" fmla="*/ 17606647 w 50"/>
                <a:gd name="T49" fmla="*/ 28123853 h 36"/>
                <a:gd name="T50" fmla="*/ 17606647 w 50"/>
                <a:gd name="T51" fmla="*/ 28123853 h 36"/>
                <a:gd name="T52" fmla="*/ 22477568 w 50"/>
                <a:gd name="T53" fmla="*/ 26089842 h 36"/>
                <a:gd name="T54" fmla="*/ 23940031 w 50"/>
                <a:gd name="T55" fmla="*/ 21259350 h 36"/>
                <a:gd name="T56" fmla="*/ 26625087 w 50"/>
                <a:gd name="T57" fmla="*/ 21259350 h 36"/>
                <a:gd name="T58" fmla="*/ 27916384 w 50"/>
                <a:gd name="T59" fmla="*/ 23229971 h 36"/>
                <a:gd name="T60" fmla="*/ 31432311 w 50"/>
                <a:gd name="T61" fmla="*/ 26089842 h 36"/>
                <a:gd name="T62" fmla="*/ 38894799 w 50"/>
                <a:gd name="T63" fmla="*/ 28123853 h 36"/>
                <a:gd name="T64" fmla="*/ 41551677 w 50"/>
                <a:gd name="T65" fmla="*/ 28785776 h 36"/>
                <a:gd name="T66" fmla="*/ 46205142 w 50"/>
                <a:gd name="T67" fmla="*/ 26929207 h 36"/>
                <a:gd name="T68" fmla="*/ 46205142 w 50"/>
                <a:gd name="T69" fmla="*/ 25303554 h 36"/>
                <a:gd name="T70" fmla="*/ 44380995 w 50"/>
                <a:gd name="T71" fmla="*/ 24107926 h 36"/>
                <a:gd name="T72" fmla="*/ 43525467 w 50"/>
                <a:gd name="T73" fmla="*/ 21259350 h 36"/>
                <a:gd name="T74" fmla="*/ 42780613 w 50"/>
                <a:gd name="T75" fmla="*/ 20558989 h 36"/>
                <a:gd name="T76" fmla="*/ 41551677 w 50"/>
                <a:gd name="T77" fmla="*/ 22604843 h 36"/>
                <a:gd name="T78" fmla="*/ 39573289 w 50"/>
                <a:gd name="T79" fmla="*/ 22604843 h 36"/>
                <a:gd name="T80" fmla="*/ 39573289 w 50"/>
                <a:gd name="T81" fmla="*/ 21259350 h 36"/>
                <a:gd name="T82" fmla="*/ 35226680 w 50"/>
                <a:gd name="T83" fmla="*/ 22604843 h 36"/>
                <a:gd name="T84" fmla="*/ 35226680 w 50"/>
                <a:gd name="T85" fmla="*/ 21259350 h 36"/>
                <a:gd name="T86" fmla="*/ 36921216 w 50"/>
                <a:gd name="T87" fmla="*/ 19784540 h 36"/>
                <a:gd name="T88" fmla="*/ 36921216 w 50"/>
                <a:gd name="T89" fmla="*/ 15729730 h 36"/>
                <a:gd name="T90" fmla="*/ 32617975 w 50"/>
                <a:gd name="T91" fmla="*/ 13898226 h 36"/>
                <a:gd name="T92" fmla="*/ 32617975 w 50"/>
                <a:gd name="T93" fmla="*/ 13031094 h 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0"/>
                <a:gd name="T142" fmla="*/ 0 h 36"/>
                <a:gd name="T143" fmla="*/ 50 w 50"/>
                <a:gd name="T144" fmla="*/ 36 h 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0" h="36">
                  <a:moveTo>
                    <a:pt x="35" y="14"/>
                  </a:moveTo>
                  <a:cubicBezTo>
                    <a:pt x="35" y="14"/>
                    <a:pt x="35" y="14"/>
                    <a:pt x="34" y="14"/>
                  </a:cubicBezTo>
                  <a:cubicBezTo>
                    <a:pt x="32" y="12"/>
                    <a:pt x="29" y="11"/>
                    <a:pt x="27" y="9"/>
                  </a:cubicBezTo>
                  <a:cubicBezTo>
                    <a:pt x="27" y="9"/>
                    <a:pt x="27" y="9"/>
                    <a:pt x="26" y="8"/>
                  </a:cubicBezTo>
                  <a:cubicBezTo>
                    <a:pt x="25" y="8"/>
                    <a:pt x="25" y="7"/>
                    <a:pt x="24" y="6"/>
                  </a:cubicBezTo>
                  <a:cubicBezTo>
                    <a:pt x="22" y="5"/>
                    <a:pt x="22" y="7"/>
                    <a:pt x="21" y="8"/>
                  </a:cubicBezTo>
                  <a:cubicBezTo>
                    <a:pt x="21" y="9"/>
                    <a:pt x="20" y="9"/>
                    <a:pt x="20" y="9"/>
                  </a:cubicBezTo>
                  <a:cubicBezTo>
                    <a:pt x="20" y="8"/>
                    <a:pt x="20" y="7"/>
                    <a:pt x="20" y="6"/>
                  </a:cubicBezTo>
                  <a:cubicBezTo>
                    <a:pt x="19" y="5"/>
                    <a:pt x="19" y="4"/>
                    <a:pt x="19" y="3"/>
                  </a:cubicBezTo>
                  <a:cubicBezTo>
                    <a:pt x="19" y="3"/>
                    <a:pt x="19" y="3"/>
                    <a:pt x="20" y="3"/>
                  </a:cubicBezTo>
                  <a:cubicBezTo>
                    <a:pt x="20" y="3"/>
                    <a:pt x="20" y="2"/>
                    <a:pt x="20" y="2"/>
                  </a:cubicBezTo>
                  <a:cubicBezTo>
                    <a:pt x="19" y="0"/>
                    <a:pt x="17" y="0"/>
                    <a:pt x="16" y="1"/>
                  </a:cubicBezTo>
                  <a:cubicBezTo>
                    <a:pt x="15" y="1"/>
                    <a:pt x="14" y="2"/>
                    <a:pt x="14" y="3"/>
                  </a:cubicBezTo>
                  <a:cubicBezTo>
                    <a:pt x="13" y="4"/>
                    <a:pt x="13" y="5"/>
                    <a:pt x="13" y="6"/>
                  </a:cubicBezTo>
                  <a:cubicBezTo>
                    <a:pt x="12" y="8"/>
                    <a:pt x="11" y="10"/>
                    <a:pt x="10" y="11"/>
                  </a:cubicBezTo>
                  <a:cubicBezTo>
                    <a:pt x="10" y="12"/>
                    <a:pt x="9" y="12"/>
                    <a:pt x="9" y="13"/>
                  </a:cubicBezTo>
                  <a:cubicBezTo>
                    <a:pt x="8" y="16"/>
                    <a:pt x="10" y="21"/>
                    <a:pt x="7" y="23"/>
                  </a:cubicBezTo>
                  <a:cubicBezTo>
                    <a:pt x="5" y="25"/>
                    <a:pt x="0" y="26"/>
                    <a:pt x="0" y="29"/>
                  </a:cubicBezTo>
                  <a:cubicBezTo>
                    <a:pt x="0" y="30"/>
                    <a:pt x="2" y="29"/>
                    <a:pt x="3" y="29"/>
                  </a:cubicBezTo>
                  <a:cubicBezTo>
                    <a:pt x="5" y="30"/>
                    <a:pt x="7" y="29"/>
                    <a:pt x="9" y="28"/>
                  </a:cubicBezTo>
                  <a:cubicBezTo>
                    <a:pt x="10" y="28"/>
                    <a:pt x="11" y="29"/>
                    <a:pt x="11" y="30"/>
                  </a:cubicBezTo>
                  <a:cubicBezTo>
                    <a:pt x="12" y="32"/>
                    <a:pt x="11" y="34"/>
                    <a:pt x="11" y="36"/>
                  </a:cubicBezTo>
                  <a:cubicBezTo>
                    <a:pt x="12" y="36"/>
                    <a:pt x="13" y="36"/>
                    <a:pt x="14" y="36"/>
                  </a:cubicBezTo>
                  <a:cubicBezTo>
                    <a:pt x="14" y="36"/>
                    <a:pt x="14" y="35"/>
                    <a:pt x="14" y="35"/>
                  </a:cubicBezTo>
                  <a:cubicBezTo>
                    <a:pt x="16" y="34"/>
                    <a:pt x="18" y="33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1" y="29"/>
                    <a:pt x="23" y="29"/>
                    <a:pt x="24" y="28"/>
                  </a:cubicBezTo>
                  <a:cubicBezTo>
                    <a:pt x="26" y="27"/>
                    <a:pt x="26" y="25"/>
                    <a:pt x="26" y="23"/>
                  </a:cubicBezTo>
                  <a:cubicBezTo>
                    <a:pt x="27" y="23"/>
                    <a:pt x="28" y="23"/>
                    <a:pt x="29" y="23"/>
                  </a:cubicBezTo>
                  <a:cubicBezTo>
                    <a:pt x="29" y="23"/>
                    <a:pt x="30" y="24"/>
                    <a:pt x="30" y="25"/>
                  </a:cubicBezTo>
                  <a:cubicBezTo>
                    <a:pt x="32" y="26"/>
                    <a:pt x="33" y="28"/>
                    <a:pt x="34" y="28"/>
                  </a:cubicBezTo>
                  <a:cubicBezTo>
                    <a:pt x="37" y="28"/>
                    <a:pt x="39" y="30"/>
                    <a:pt x="42" y="30"/>
                  </a:cubicBezTo>
                  <a:cubicBezTo>
                    <a:pt x="43" y="31"/>
                    <a:pt x="44" y="31"/>
                    <a:pt x="45" y="31"/>
                  </a:cubicBezTo>
                  <a:cubicBezTo>
                    <a:pt x="47" y="30"/>
                    <a:pt x="48" y="29"/>
                    <a:pt x="50" y="29"/>
                  </a:cubicBezTo>
                  <a:cubicBezTo>
                    <a:pt x="50" y="28"/>
                    <a:pt x="50" y="28"/>
                    <a:pt x="50" y="27"/>
                  </a:cubicBezTo>
                  <a:cubicBezTo>
                    <a:pt x="49" y="26"/>
                    <a:pt x="48" y="27"/>
                    <a:pt x="48" y="26"/>
                  </a:cubicBezTo>
                  <a:cubicBezTo>
                    <a:pt x="48" y="25"/>
                    <a:pt x="48" y="23"/>
                    <a:pt x="47" y="23"/>
                  </a:cubicBezTo>
                  <a:cubicBezTo>
                    <a:pt x="47" y="22"/>
                    <a:pt x="46" y="22"/>
                    <a:pt x="46" y="22"/>
                  </a:cubicBezTo>
                  <a:cubicBezTo>
                    <a:pt x="46" y="23"/>
                    <a:pt x="45" y="23"/>
                    <a:pt x="45" y="24"/>
                  </a:cubicBezTo>
                  <a:cubicBezTo>
                    <a:pt x="45" y="24"/>
                    <a:pt x="44" y="24"/>
                    <a:pt x="43" y="24"/>
                  </a:cubicBezTo>
                  <a:cubicBezTo>
                    <a:pt x="43" y="24"/>
                    <a:pt x="43" y="24"/>
                    <a:pt x="43" y="23"/>
                  </a:cubicBezTo>
                  <a:cubicBezTo>
                    <a:pt x="41" y="23"/>
                    <a:pt x="40" y="24"/>
                    <a:pt x="38" y="24"/>
                  </a:cubicBezTo>
                  <a:cubicBezTo>
                    <a:pt x="38" y="24"/>
                    <a:pt x="38" y="23"/>
                    <a:pt x="38" y="23"/>
                  </a:cubicBezTo>
                  <a:cubicBezTo>
                    <a:pt x="39" y="22"/>
                    <a:pt x="40" y="22"/>
                    <a:pt x="40" y="21"/>
                  </a:cubicBezTo>
                  <a:cubicBezTo>
                    <a:pt x="40" y="20"/>
                    <a:pt x="40" y="18"/>
                    <a:pt x="40" y="17"/>
                  </a:cubicBezTo>
                  <a:cubicBezTo>
                    <a:pt x="39" y="16"/>
                    <a:pt x="37" y="15"/>
                    <a:pt x="35" y="15"/>
                  </a:cubicBezTo>
                  <a:cubicBezTo>
                    <a:pt x="35" y="14"/>
                    <a:pt x="35" y="14"/>
                    <a:pt x="35" y="1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0" name="Freeform 48"/>
            <p:cNvSpPr>
              <a:spLocks/>
            </p:cNvSpPr>
            <p:nvPr/>
          </p:nvSpPr>
          <p:spPr bwMode="auto">
            <a:xfrm>
              <a:off x="6663376" y="3252636"/>
              <a:ext cx="3010" cy="3245"/>
            </a:xfrm>
            <a:custGeom>
              <a:avLst/>
              <a:gdLst>
                <a:gd name="T0" fmla="*/ 3961001 w 6"/>
                <a:gd name="T1" fmla="*/ 5930334 h 7"/>
                <a:gd name="T2" fmla="*/ 2970751 w 6"/>
                <a:gd name="T3" fmla="*/ 4210842 h 7"/>
                <a:gd name="T4" fmla="*/ 2243220 w 6"/>
                <a:gd name="T5" fmla="*/ 2947589 h 7"/>
                <a:gd name="T6" fmla="*/ 2243220 w 6"/>
                <a:gd name="T7" fmla="*/ 0 h 7"/>
                <a:gd name="T8" fmla="*/ 0 w 6"/>
                <a:gd name="T9" fmla="*/ 1213713 h 7"/>
                <a:gd name="T10" fmla="*/ 0 w 6"/>
                <a:gd name="T11" fmla="*/ 4210842 h 7"/>
                <a:gd name="T12" fmla="*/ 727531 w 6"/>
                <a:gd name="T13" fmla="*/ 7158428 h 7"/>
                <a:gd name="T14" fmla="*/ 4688532 w 6"/>
                <a:gd name="T15" fmla="*/ 8872004 h 7"/>
                <a:gd name="T16" fmla="*/ 3961001 w 6"/>
                <a:gd name="T17" fmla="*/ 5930334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7"/>
                <a:gd name="T29" fmla="*/ 6 w 6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7">
                  <a:moveTo>
                    <a:pt x="5" y="4"/>
                  </a:moveTo>
                  <a:cubicBezTo>
                    <a:pt x="4" y="4"/>
                    <a:pt x="4" y="4"/>
                    <a:pt x="4" y="3"/>
                  </a:cubicBezTo>
                  <a:cubicBezTo>
                    <a:pt x="3" y="3"/>
                    <a:pt x="4" y="2"/>
                    <a:pt x="3" y="2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0"/>
                    <a:pt x="0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0" y="5"/>
                    <a:pt x="1" y="5"/>
                  </a:cubicBezTo>
                  <a:cubicBezTo>
                    <a:pt x="3" y="6"/>
                    <a:pt x="4" y="7"/>
                    <a:pt x="6" y="6"/>
                  </a:cubicBezTo>
                  <a:cubicBezTo>
                    <a:pt x="6" y="6"/>
                    <a:pt x="6" y="4"/>
                    <a:pt x="5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1" name="Freeform 49"/>
            <p:cNvSpPr>
              <a:spLocks/>
            </p:cNvSpPr>
            <p:nvPr/>
          </p:nvSpPr>
          <p:spPr bwMode="auto">
            <a:xfrm>
              <a:off x="6656604" y="3237765"/>
              <a:ext cx="2508" cy="4867"/>
            </a:xfrm>
            <a:custGeom>
              <a:avLst/>
              <a:gdLst>
                <a:gd name="T0" fmla="*/ 5085394 w 5"/>
                <a:gd name="T1" fmla="*/ 10015063 h 9"/>
                <a:gd name="T2" fmla="*/ 5085394 w 5"/>
                <a:gd name="T3" fmla="*/ 0 h 9"/>
                <a:gd name="T4" fmla="*/ 2554647 w 5"/>
                <a:gd name="T5" fmla="*/ 3238158 h 9"/>
                <a:gd name="T6" fmla="*/ 1064436 w 5"/>
                <a:gd name="T7" fmla="*/ 13330806 h 9"/>
                <a:gd name="T8" fmla="*/ 3577445 w 5"/>
                <a:gd name="T9" fmla="*/ 14708563 h 9"/>
                <a:gd name="T10" fmla="*/ 5085394 w 5"/>
                <a:gd name="T11" fmla="*/ 1001506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4" y="6"/>
                  </a:moveTo>
                  <a:cubicBezTo>
                    <a:pt x="5" y="4"/>
                    <a:pt x="4" y="2"/>
                    <a:pt x="4" y="0"/>
                  </a:cubicBezTo>
                  <a:cubicBezTo>
                    <a:pt x="3" y="0"/>
                    <a:pt x="2" y="1"/>
                    <a:pt x="2" y="2"/>
                  </a:cubicBezTo>
                  <a:cubicBezTo>
                    <a:pt x="0" y="4"/>
                    <a:pt x="1" y="6"/>
                    <a:pt x="1" y="8"/>
                  </a:cubicBezTo>
                  <a:cubicBezTo>
                    <a:pt x="1" y="8"/>
                    <a:pt x="2" y="9"/>
                    <a:pt x="3" y="9"/>
                  </a:cubicBezTo>
                  <a:cubicBezTo>
                    <a:pt x="4" y="8"/>
                    <a:pt x="4" y="7"/>
                    <a:pt x="4" y="6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2" name="Freeform 50"/>
            <p:cNvSpPr>
              <a:spLocks/>
            </p:cNvSpPr>
            <p:nvPr/>
          </p:nvSpPr>
          <p:spPr bwMode="auto">
            <a:xfrm>
              <a:off x="6617224" y="3227761"/>
              <a:ext cx="13796" cy="10004"/>
            </a:xfrm>
            <a:custGeom>
              <a:avLst/>
              <a:gdLst>
                <a:gd name="T0" fmla="*/ 25373006 w 29"/>
                <a:gd name="T1" fmla="*/ 7659274 h 21"/>
                <a:gd name="T2" fmla="*/ 24415991 w 29"/>
                <a:gd name="T3" fmla="*/ 6931750 h 21"/>
                <a:gd name="T4" fmla="*/ 23101146 w 29"/>
                <a:gd name="T5" fmla="*/ 4688532 h 21"/>
                <a:gd name="T6" fmla="*/ 19977817 w 29"/>
                <a:gd name="T7" fmla="*/ 2970751 h 21"/>
                <a:gd name="T8" fmla="*/ 16752030 w 29"/>
                <a:gd name="T9" fmla="*/ 727531 h 21"/>
                <a:gd name="T10" fmla="*/ 14721498 w 29"/>
                <a:gd name="T11" fmla="*/ 727531 h 21"/>
                <a:gd name="T12" fmla="*/ 11592554 w 29"/>
                <a:gd name="T13" fmla="*/ 2243220 h 21"/>
                <a:gd name="T14" fmla="*/ 6187297 w 29"/>
                <a:gd name="T15" fmla="*/ 8614988 h 21"/>
                <a:gd name="T16" fmla="*/ 2268059 w 29"/>
                <a:gd name="T17" fmla="*/ 8614988 h 21"/>
                <a:gd name="T18" fmla="*/ 0 w 29"/>
                <a:gd name="T19" fmla="*/ 9242332 h 21"/>
                <a:gd name="T20" fmla="*/ 0 w 29"/>
                <a:gd name="T21" fmla="*/ 9902490 h 21"/>
                <a:gd name="T22" fmla="*/ 2268059 w 29"/>
                <a:gd name="T23" fmla="*/ 11620010 h 21"/>
                <a:gd name="T24" fmla="*/ 8396477 w 29"/>
                <a:gd name="T25" fmla="*/ 12213087 h 21"/>
                <a:gd name="T26" fmla="*/ 12839740 w 29"/>
                <a:gd name="T27" fmla="*/ 13184929 h 21"/>
                <a:gd name="T28" fmla="*/ 16060441 w 29"/>
                <a:gd name="T29" fmla="*/ 14590762 h 21"/>
                <a:gd name="T30" fmla="*/ 16752030 w 29"/>
                <a:gd name="T31" fmla="*/ 15628432 h 21"/>
                <a:gd name="T32" fmla="*/ 22147900 w 29"/>
                <a:gd name="T33" fmla="*/ 15628432 h 21"/>
                <a:gd name="T34" fmla="*/ 26065557 w 29"/>
                <a:gd name="T35" fmla="*/ 13906433 h 21"/>
                <a:gd name="T36" fmla="*/ 29589619 w 29"/>
                <a:gd name="T37" fmla="*/ 13184929 h 21"/>
                <a:gd name="T38" fmla="*/ 30549718 w 29"/>
                <a:gd name="T39" fmla="*/ 11620010 h 21"/>
                <a:gd name="T40" fmla="*/ 25373006 w 29"/>
                <a:gd name="T41" fmla="*/ 8614988 h 21"/>
                <a:gd name="T42" fmla="*/ 25373006 w 29"/>
                <a:gd name="T43" fmla="*/ 7659274 h 2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9"/>
                <a:gd name="T67" fmla="*/ 0 h 21"/>
                <a:gd name="T68" fmla="*/ 29 w 29"/>
                <a:gd name="T69" fmla="*/ 21 h 2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9" h="21">
                  <a:moveTo>
                    <a:pt x="24" y="10"/>
                  </a:moveTo>
                  <a:cubicBezTo>
                    <a:pt x="23" y="10"/>
                    <a:pt x="23" y="9"/>
                    <a:pt x="23" y="9"/>
                  </a:cubicBezTo>
                  <a:cubicBezTo>
                    <a:pt x="23" y="8"/>
                    <a:pt x="22" y="7"/>
                    <a:pt x="22" y="6"/>
                  </a:cubicBezTo>
                  <a:cubicBezTo>
                    <a:pt x="21" y="5"/>
                    <a:pt x="20" y="5"/>
                    <a:pt x="19" y="4"/>
                  </a:cubicBezTo>
                  <a:cubicBezTo>
                    <a:pt x="17" y="3"/>
                    <a:pt x="17" y="1"/>
                    <a:pt x="16" y="1"/>
                  </a:cubicBezTo>
                  <a:cubicBezTo>
                    <a:pt x="15" y="0"/>
                    <a:pt x="14" y="0"/>
                    <a:pt x="14" y="1"/>
                  </a:cubicBezTo>
                  <a:cubicBezTo>
                    <a:pt x="13" y="1"/>
                    <a:pt x="12" y="2"/>
                    <a:pt x="11" y="3"/>
                  </a:cubicBezTo>
                  <a:cubicBezTo>
                    <a:pt x="9" y="6"/>
                    <a:pt x="9" y="9"/>
                    <a:pt x="6" y="11"/>
                  </a:cubicBezTo>
                  <a:cubicBezTo>
                    <a:pt x="4" y="11"/>
                    <a:pt x="3" y="11"/>
                    <a:pt x="2" y="11"/>
                  </a:cubicBezTo>
                  <a:cubicBezTo>
                    <a:pt x="1" y="11"/>
                    <a:pt x="1" y="11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4"/>
                    <a:pt x="1" y="15"/>
                    <a:pt x="2" y="15"/>
                  </a:cubicBezTo>
                  <a:cubicBezTo>
                    <a:pt x="4" y="15"/>
                    <a:pt x="6" y="15"/>
                    <a:pt x="8" y="16"/>
                  </a:cubicBezTo>
                  <a:cubicBezTo>
                    <a:pt x="9" y="17"/>
                    <a:pt x="10" y="17"/>
                    <a:pt x="12" y="17"/>
                  </a:cubicBezTo>
                  <a:cubicBezTo>
                    <a:pt x="13" y="17"/>
                    <a:pt x="14" y="18"/>
                    <a:pt x="15" y="19"/>
                  </a:cubicBezTo>
                  <a:cubicBezTo>
                    <a:pt x="15" y="19"/>
                    <a:pt x="16" y="20"/>
                    <a:pt x="16" y="20"/>
                  </a:cubicBezTo>
                  <a:cubicBezTo>
                    <a:pt x="18" y="21"/>
                    <a:pt x="20" y="21"/>
                    <a:pt x="21" y="20"/>
                  </a:cubicBezTo>
                  <a:cubicBezTo>
                    <a:pt x="23" y="20"/>
                    <a:pt x="24" y="18"/>
                    <a:pt x="25" y="18"/>
                  </a:cubicBezTo>
                  <a:cubicBezTo>
                    <a:pt x="26" y="18"/>
                    <a:pt x="27" y="17"/>
                    <a:pt x="28" y="17"/>
                  </a:cubicBezTo>
                  <a:cubicBezTo>
                    <a:pt x="29" y="17"/>
                    <a:pt x="29" y="16"/>
                    <a:pt x="29" y="15"/>
                  </a:cubicBezTo>
                  <a:cubicBezTo>
                    <a:pt x="26" y="16"/>
                    <a:pt x="25" y="13"/>
                    <a:pt x="24" y="11"/>
                  </a:cubicBezTo>
                  <a:cubicBezTo>
                    <a:pt x="24" y="11"/>
                    <a:pt x="24" y="10"/>
                    <a:pt x="24" y="1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3" name="Freeform 51"/>
            <p:cNvSpPr>
              <a:spLocks/>
            </p:cNvSpPr>
            <p:nvPr/>
          </p:nvSpPr>
          <p:spPr bwMode="auto">
            <a:xfrm>
              <a:off x="6635785" y="3199101"/>
              <a:ext cx="19565" cy="15412"/>
            </a:xfrm>
            <a:custGeom>
              <a:avLst/>
              <a:gdLst>
                <a:gd name="T0" fmla="*/ 2648104 w 42"/>
                <a:gd name="T1" fmla="*/ 11125821 h 31"/>
                <a:gd name="T2" fmla="*/ 826407 w 42"/>
                <a:gd name="T3" fmla="*/ 17740703 h 31"/>
                <a:gd name="T4" fmla="*/ 826407 w 42"/>
                <a:gd name="T5" fmla="*/ 20852555 h 31"/>
                <a:gd name="T6" fmla="*/ 2648104 w 42"/>
                <a:gd name="T7" fmla="*/ 25567452 h 31"/>
                <a:gd name="T8" fmla="*/ 2648104 w 42"/>
                <a:gd name="T9" fmla="*/ 29815337 h 31"/>
                <a:gd name="T10" fmla="*/ 1947959 w 42"/>
                <a:gd name="T11" fmla="*/ 33587484 h 31"/>
                <a:gd name="T12" fmla="*/ 4591617 w 42"/>
                <a:gd name="T13" fmla="*/ 33587484 h 31"/>
                <a:gd name="T14" fmla="*/ 9297268 w 42"/>
                <a:gd name="T15" fmla="*/ 33587484 h 31"/>
                <a:gd name="T16" fmla="*/ 11919091 w 42"/>
                <a:gd name="T17" fmla="*/ 28853739 h 31"/>
                <a:gd name="T18" fmla="*/ 12766088 w 42"/>
                <a:gd name="T19" fmla="*/ 27862635 h 31"/>
                <a:gd name="T20" fmla="*/ 12766088 w 42"/>
                <a:gd name="T21" fmla="*/ 22456359 h 31"/>
                <a:gd name="T22" fmla="*/ 9969094 w 42"/>
                <a:gd name="T23" fmla="*/ 22456359 h 31"/>
                <a:gd name="T24" fmla="*/ 7350476 w 42"/>
                <a:gd name="T25" fmla="*/ 23201725 h 31"/>
                <a:gd name="T26" fmla="*/ 5415918 w 42"/>
                <a:gd name="T27" fmla="*/ 19128895 h 31"/>
                <a:gd name="T28" fmla="*/ 8174844 w 42"/>
                <a:gd name="T29" fmla="*/ 20088589 h 31"/>
                <a:gd name="T30" fmla="*/ 20120347 w 42"/>
                <a:gd name="T31" fmla="*/ 20852555 h 31"/>
                <a:gd name="T32" fmla="*/ 20744537 w 42"/>
                <a:gd name="T33" fmla="*/ 22456359 h 31"/>
                <a:gd name="T34" fmla="*/ 24685188 w 42"/>
                <a:gd name="T35" fmla="*/ 20088589 h 31"/>
                <a:gd name="T36" fmla="*/ 32039415 w 42"/>
                <a:gd name="T37" fmla="*/ 11125821 h 31"/>
                <a:gd name="T38" fmla="*/ 32039415 w 42"/>
                <a:gd name="T39" fmla="*/ 11125821 h 31"/>
                <a:gd name="T40" fmla="*/ 33474537 w 42"/>
                <a:gd name="T41" fmla="*/ 8013456 h 31"/>
                <a:gd name="T42" fmla="*/ 38064251 w 42"/>
                <a:gd name="T43" fmla="*/ 5652026 h 31"/>
                <a:gd name="T44" fmla="*/ 38064251 w 42"/>
                <a:gd name="T45" fmla="*/ 4660816 h 31"/>
                <a:gd name="T46" fmla="*/ 32648180 w 42"/>
                <a:gd name="T47" fmla="*/ 991891 h 31"/>
                <a:gd name="T48" fmla="*/ 28921406 w 42"/>
                <a:gd name="T49" fmla="*/ 991891 h 31"/>
                <a:gd name="T50" fmla="*/ 28094992 w 42"/>
                <a:gd name="T51" fmla="*/ 3356989 h 31"/>
                <a:gd name="T52" fmla="*/ 26147031 w 42"/>
                <a:gd name="T53" fmla="*/ 3356989 h 31"/>
                <a:gd name="T54" fmla="*/ 19269273 w 42"/>
                <a:gd name="T55" fmla="*/ 0 h 31"/>
                <a:gd name="T56" fmla="*/ 15386777 w 42"/>
                <a:gd name="T57" fmla="*/ 991891 h 31"/>
                <a:gd name="T58" fmla="*/ 12766088 w 42"/>
                <a:gd name="T59" fmla="*/ 991891 h 31"/>
                <a:gd name="T60" fmla="*/ 7350476 w 42"/>
                <a:gd name="T61" fmla="*/ 2367740 h 31"/>
                <a:gd name="T62" fmla="*/ 6241960 w 42"/>
                <a:gd name="T63" fmla="*/ 4660816 h 31"/>
                <a:gd name="T64" fmla="*/ 8174844 w 42"/>
                <a:gd name="T65" fmla="*/ 6470336 h 31"/>
                <a:gd name="T66" fmla="*/ 8174844 w 42"/>
                <a:gd name="T67" fmla="*/ 8013456 h 31"/>
                <a:gd name="T68" fmla="*/ 5415918 w 42"/>
                <a:gd name="T69" fmla="*/ 6470336 h 31"/>
                <a:gd name="T70" fmla="*/ 4591617 w 42"/>
                <a:gd name="T71" fmla="*/ 6470336 h 31"/>
                <a:gd name="T72" fmla="*/ 2648104 w 42"/>
                <a:gd name="T73" fmla="*/ 8735528 h 31"/>
                <a:gd name="T74" fmla="*/ 2648104 w 42"/>
                <a:gd name="T75" fmla="*/ 11125821 h 3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2"/>
                <a:gd name="T115" fmla="*/ 0 h 31"/>
                <a:gd name="T116" fmla="*/ 42 w 42"/>
                <a:gd name="T117" fmla="*/ 31 h 3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2" h="31">
                  <a:moveTo>
                    <a:pt x="3" y="10"/>
                  </a:moveTo>
                  <a:cubicBezTo>
                    <a:pt x="3" y="12"/>
                    <a:pt x="2" y="14"/>
                    <a:pt x="1" y="16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1" y="21"/>
                    <a:pt x="2" y="22"/>
                    <a:pt x="3" y="23"/>
                  </a:cubicBezTo>
                  <a:cubicBezTo>
                    <a:pt x="3" y="24"/>
                    <a:pt x="3" y="26"/>
                    <a:pt x="3" y="27"/>
                  </a:cubicBezTo>
                  <a:cubicBezTo>
                    <a:pt x="3" y="28"/>
                    <a:pt x="2" y="29"/>
                    <a:pt x="2" y="30"/>
                  </a:cubicBezTo>
                  <a:cubicBezTo>
                    <a:pt x="3" y="30"/>
                    <a:pt x="4" y="30"/>
                    <a:pt x="5" y="30"/>
                  </a:cubicBezTo>
                  <a:cubicBezTo>
                    <a:pt x="7" y="30"/>
                    <a:pt x="9" y="31"/>
                    <a:pt x="10" y="30"/>
                  </a:cubicBezTo>
                  <a:cubicBezTo>
                    <a:pt x="11" y="29"/>
                    <a:pt x="12" y="27"/>
                    <a:pt x="13" y="26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5" y="23"/>
                    <a:pt x="16" y="21"/>
                    <a:pt x="14" y="20"/>
                  </a:cubicBezTo>
                  <a:cubicBezTo>
                    <a:pt x="13" y="20"/>
                    <a:pt x="12" y="20"/>
                    <a:pt x="11" y="20"/>
                  </a:cubicBezTo>
                  <a:cubicBezTo>
                    <a:pt x="10" y="21"/>
                    <a:pt x="9" y="22"/>
                    <a:pt x="8" y="21"/>
                  </a:cubicBezTo>
                  <a:cubicBezTo>
                    <a:pt x="6" y="20"/>
                    <a:pt x="5" y="19"/>
                    <a:pt x="6" y="17"/>
                  </a:cubicBezTo>
                  <a:cubicBezTo>
                    <a:pt x="7" y="17"/>
                    <a:pt x="8" y="18"/>
                    <a:pt x="9" y="18"/>
                  </a:cubicBezTo>
                  <a:cubicBezTo>
                    <a:pt x="14" y="19"/>
                    <a:pt x="18" y="18"/>
                    <a:pt x="22" y="19"/>
                  </a:cubicBezTo>
                  <a:cubicBezTo>
                    <a:pt x="22" y="19"/>
                    <a:pt x="23" y="20"/>
                    <a:pt x="23" y="20"/>
                  </a:cubicBezTo>
                  <a:cubicBezTo>
                    <a:pt x="24" y="20"/>
                    <a:pt x="26" y="20"/>
                    <a:pt x="27" y="18"/>
                  </a:cubicBezTo>
                  <a:cubicBezTo>
                    <a:pt x="30" y="16"/>
                    <a:pt x="32" y="13"/>
                    <a:pt x="35" y="10"/>
                  </a:cubicBezTo>
                  <a:cubicBezTo>
                    <a:pt x="35" y="10"/>
                    <a:pt x="35" y="11"/>
                    <a:pt x="35" y="10"/>
                  </a:cubicBezTo>
                  <a:cubicBezTo>
                    <a:pt x="36" y="9"/>
                    <a:pt x="36" y="7"/>
                    <a:pt x="37" y="7"/>
                  </a:cubicBezTo>
                  <a:cubicBezTo>
                    <a:pt x="39" y="7"/>
                    <a:pt x="40" y="6"/>
                    <a:pt x="42" y="5"/>
                  </a:cubicBezTo>
                  <a:cubicBezTo>
                    <a:pt x="42" y="5"/>
                    <a:pt x="42" y="4"/>
                    <a:pt x="42" y="4"/>
                  </a:cubicBezTo>
                  <a:cubicBezTo>
                    <a:pt x="40" y="3"/>
                    <a:pt x="38" y="2"/>
                    <a:pt x="36" y="1"/>
                  </a:cubicBezTo>
                  <a:cubicBezTo>
                    <a:pt x="35" y="1"/>
                    <a:pt x="34" y="1"/>
                    <a:pt x="32" y="1"/>
                  </a:cubicBezTo>
                  <a:cubicBezTo>
                    <a:pt x="32" y="1"/>
                    <a:pt x="31" y="3"/>
                    <a:pt x="31" y="3"/>
                  </a:cubicBezTo>
                  <a:cubicBezTo>
                    <a:pt x="30" y="3"/>
                    <a:pt x="29" y="3"/>
                    <a:pt x="29" y="3"/>
                  </a:cubicBezTo>
                  <a:cubicBezTo>
                    <a:pt x="26" y="1"/>
                    <a:pt x="23" y="0"/>
                    <a:pt x="21" y="0"/>
                  </a:cubicBezTo>
                  <a:cubicBezTo>
                    <a:pt x="19" y="1"/>
                    <a:pt x="18" y="1"/>
                    <a:pt x="17" y="1"/>
                  </a:cubicBezTo>
                  <a:cubicBezTo>
                    <a:pt x="16" y="1"/>
                    <a:pt x="15" y="0"/>
                    <a:pt x="14" y="1"/>
                  </a:cubicBezTo>
                  <a:cubicBezTo>
                    <a:pt x="12" y="2"/>
                    <a:pt x="10" y="2"/>
                    <a:pt x="8" y="2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8" y="5"/>
                    <a:pt x="9" y="5"/>
                    <a:pt x="9" y="6"/>
                  </a:cubicBezTo>
                  <a:cubicBezTo>
                    <a:pt x="9" y="6"/>
                    <a:pt x="9" y="7"/>
                    <a:pt x="9" y="7"/>
                  </a:cubicBezTo>
                  <a:cubicBezTo>
                    <a:pt x="8" y="7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4" y="7"/>
                    <a:pt x="4" y="7"/>
                    <a:pt x="3" y="8"/>
                  </a:cubicBezTo>
                  <a:cubicBezTo>
                    <a:pt x="3" y="8"/>
                    <a:pt x="3" y="9"/>
                    <a:pt x="3" y="1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4" name="Freeform 52"/>
            <p:cNvSpPr>
              <a:spLocks/>
            </p:cNvSpPr>
            <p:nvPr/>
          </p:nvSpPr>
          <p:spPr bwMode="auto">
            <a:xfrm>
              <a:off x="6632023" y="3205049"/>
              <a:ext cx="1505" cy="2974"/>
            </a:xfrm>
            <a:custGeom>
              <a:avLst/>
              <a:gdLst>
                <a:gd name="T0" fmla="*/ 1699274 w 4"/>
                <a:gd name="T1" fmla="*/ 3961001 h 6"/>
                <a:gd name="T2" fmla="*/ 1359459 w 4"/>
                <a:gd name="T3" fmla="*/ 727531 h 6"/>
                <a:gd name="T4" fmla="*/ 418284 w 4"/>
                <a:gd name="T5" fmla="*/ 4688532 h 6"/>
                <a:gd name="T6" fmla="*/ 1359459 w 4"/>
                <a:gd name="T7" fmla="*/ 4688532 h 6"/>
                <a:gd name="T8" fmla="*/ 1699274 w 4"/>
                <a:gd name="T9" fmla="*/ 396100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4" y="5"/>
                  </a:moveTo>
                  <a:cubicBezTo>
                    <a:pt x="4" y="3"/>
                    <a:pt x="4" y="2"/>
                    <a:pt x="3" y="1"/>
                  </a:cubicBezTo>
                  <a:cubicBezTo>
                    <a:pt x="1" y="0"/>
                    <a:pt x="0" y="4"/>
                    <a:pt x="1" y="6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3" y="6"/>
                    <a:pt x="3" y="5"/>
                    <a:pt x="4" y="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5" name="Freeform 53"/>
            <p:cNvSpPr>
              <a:spLocks/>
            </p:cNvSpPr>
            <p:nvPr/>
          </p:nvSpPr>
          <p:spPr bwMode="auto">
            <a:xfrm>
              <a:off x="6614214" y="3200182"/>
              <a:ext cx="19063" cy="18386"/>
            </a:xfrm>
            <a:custGeom>
              <a:avLst/>
              <a:gdLst>
                <a:gd name="T0" fmla="*/ 18261455 w 41"/>
                <a:gd name="T1" fmla="*/ 3671997 h 38"/>
                <a:gd name="T2" fmla="*/ 16367097 w 41"/>
                <a:gd name="T3" fmla="*/ 2959271 h 38"/>
                <a:gd name="T4" fmla="*/ 13466827 w 41"/>
                <a:gd name="T5" fmla="*/ 2959271 h 38"/>
                <a:gd name="T6" fmla="*/ 12581458 w 41"/>
                <a:gd name="T7" fmla="*/ 5759327 h 38"/>
                <a:gd name="T8" fmla="*/ 9811288 w 41"/>
                <a:gd name="T9" fmla="*/ 7881242 h 38"/>
                <a:gd name="T10" fmla="*/ 12581458 w 41"/>
                <a:gd name="T11" fmla="*/ 9968069 h 38"/>
                <a:gd name="T12" fmla="*/ 14272456 w 41"/>
                <a:gd name="T13" fmla="*/ 10840510 h 38"/>
                <a:gd name="T14" fmla="*/ 15493426 w 41"/>
                <a:gd name="T15" fmla="*/ 16599778 h 38"/>
                <a:gd name="T16" fmla="*/ 9811288 w 41"/>
                <a:gd name="T17" fmla="*/ 18666092 h 38"/>
                <a:gd name="T18" fmla="*/ 5692164 w 41"/>
                <a:gd name="T19" fmla="*/ 14822601 h 38"/>
                <a:gd name="T20" fmla="*/ 2924127 w 41"/>
                <a:gd name="T21" fmla="*/ 14822601 h 38"/>
                <a:gd name="T22" fmla="*/ 0 w 41"/>
                <a:gd name="T23" fmla="*/ 17849252 h 38"/>
                <a:gd name="T24" fmla="*/ 0 w 41"/>
                <a:gd name="T25" fmla="*/ 19416389 h 38"/>
                <a:gd name="T26" fmla="*/ 5692164 w 41"/>
                <a:gd name="T27" fmla="*/ 25674877 h 38"/>
                <a:gd name="T28" fmla="*/ 6918054 w 41"/>
                <a:gd name="T29" fmla="*/ 25674877 h 38"/>
                <a:gd name="T30" fmla="*/ 7718763 w 41"/>
                <a:gd name="T31" fmla="*/ 26570670 h 38"/>
                <a:gd name="T32" fmla="*/ 10695836 w 41"/>
                <a:gd name="T33" fmla="*/ 27228977 h 38"/>
                <a:gd name="T34" fmla="*/ 16367097 w 41"/>
                <a:gd name="T35" fmla="*/ 31441222 h 38"/>
                <a:gd name="T36" fmla="*/ 17537106 w 41"/>
                <a:gd name="T37" fmla="*/ 35106153 h 38"/>
                <a:gd name="T38" fmla="*/ 19134776 w 41"/>
                <a:gd name="T39" fmla="*/ 37200348 h 38"/>
                <a:gd name="T40" fmla="*/ 22042224 w 41"/>
                <a:gd name="T41" fmla="*/ 37200348 h 38"/>
                <a:gd name="T42" fmla="*/ 25304773 w 41"/>
                <a:gd name="T43" fmla="*/ 35106153 h 38"/>
                <a:gd name="T44" fmla="*/ 25304773 w 41"/>
                <a:gd name="T45" fmla="*/ 32306434 h 38"/>
                <a:gd name="T46" fmla="*/ 26836862 w 41"/>
                <a:gd name="T47" fmla="*/ 33584529 h 38"/>
                <a:gd name="T48" fmla="*/ 32535444 w 41"/>
                <a:gd name="T49" fmla="*/ 32306434 h 38"/>
                <a:gd name="T50" fmla="*/ 35798050 w 41"/>
                <a:gd name="T51" fmla="*/ 29374918 h 38"/>
                <a:gd name="T52" fmla="*/ 36655170 w 41"/>
                <a:gd name="T53" fmla="*/ 24492638 h 38"/>
                <a:gd name="T54" fmla="*/ 38722149 w 41"/>
                <a:gd name="T55" fmla="*/ 23608573 h 38"/>
                <a:gd name="T56" fmla="*/ 39423198 w 41"/>
                <a:gd name="T57" fmla="*/ 18666092 h 38"/>
                <a:gd name="T58" fmla="*/ 38722149 w 41"/>
                <a:gd name="T59" fmla="*/ 18666092 h 38"/>
                <a:gd name="T60" fmla="*/ 34628202 w 41"/>
                <a:gd name="T61" fmla="*/ 19416389 h 38"/>
                <a:gd name="T62" fmla="*/ 34628202 w 41"/>
                <a:gd name="T63" fmla="*/ 15706817 h 38"/>
                <a:gd name="T64" fmla="*/ 31003375 w 41"/>
                <a:gd name="T65" fmla="*/ 13640503 h 38"/>
                <a:gd name="T66" fmla="*/ 26836862 w 41"/>
                <a:gd name="T67" fmla="*/ 15706817 h 38"/>
                <a:gd name="T68" fmla="*/ 26836862 w 41"/>
                <a:gd name="T69" fmla="*/ 14822601 h 38"/>
                <a:gd name="T70" fmla="*/ 31860532 w 41"/>
                <a:gd name="T71" fmla="*/ 10840510 h 38"/>
                <a:gd name="T72" fmla="*/ 32535444 w 41"/>
                <a:gd name="T73" fmla="*/ 10840510 h 38"/>
                <a:gd name="T74" fmla="*/ 34628202 w 41"/>
                <a:gd name="T75" fmla="*/ 8696832 h 38"/>
                <a:gd name="T76" fmla="*/ 36655170 w 41"/>
                <a:gd name="T77" fmla="*/ 5759327 h 38"/>
                <a:gd name="T78" fmla="*/ 38722149 w 41"/>
                <a:gd name="T79" fmla="*/ 5759327 h 38"/>
                <a:gd name="T80" fmla="*/ 39423198 w 41"/>
                <a:gd name="T81" fmla="*/ 4854159 h 38"/>
                <a:gd name="T82" fmla="*/ 38722149 w 41"/>
                <a:gd name="T83" fmla="*/ 2959271 h 38"/>
                <a:gd name="T84" fmla="*/ 34628202 w 41"/>
                <a:gd name="T85" fmla="*/ 2049534 h 38"/>
                <a:gd name="T86" fmla="*/ 33766539 w 41"/>
                <a:gd name="T87" fmla="*/ 0 h 38"/>
                <a:gd name="T88" fmla="*/ 29765882 w 41"/>
                <a:gd name="T89" fmla="*/ 865359 h 38"/>
                <a:gd name="T90" fmla="*/ 28880504 w 41"/>
                <a:gd name="T91" fmla="*/ 2959271 h 38"/>
                <a:gd name="T92" fmla="*/ 26836862 w 41"/>
                <a:gd name="T93" fmla="*/ 3671997 h 38"/>
                <a:gd name="T94" fmla="*/ 25304773 w 41"/>
                <a:gd name="T95" fmla="*/ 3671997 h 38"/>
                <a:gd name="T96" fmla="*/ 23212072 w 41"/>
                <a:gd name="T97" fmla="*/ 3671997 h 38"/>
                <a:gd name="T98" fmla="*/ 22042224 w 41"/>
                <a:gd name="T99" fmla="*/ 3671997 h 38"/>
                <a:gd name="T100" fmla="*/ 18261455 w 41"/>
                <a:gd name="T101" fmla="*/ 3671997 h 3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1"/>
                <a:gd name="T154" fmla="*/ 0 h 38"/>
                <a:gd name="T155" fmla="*/ 41 w 41"/>
                <a:gd name="T156" fmla="*/ 38 h 3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1" h="38">
                  <a:moveTo>
                    <a:pt x="19" y="4"/>
                  </a:moveTo>
                  <a:cubicBezTo>
                    <a:pt x="18" y="4"/>
                    <a:pt x="18" y="4"/>
                    <a:pt x="17" y="3"/>
                  </a:cubicBezTo>
                  <a:cubicBezTo>
                    <a:pt x="16" y="3"/>
                    <a:pt x="15" y="3"/>
                    <a:pt x="14" y="3"/>
                  </a:cubicBezTo>
                  <a:cubicBezTo>
                    <a:pt x="13" y="4"/>
                    <a:pt x="13" y="5"/>
                    <a:pt x="13" y="6"/>
                  </a:cubicBezTo>
                  <a:cubicBezTo>
                    <a:pt x="12" y="7"/>
                    <a:pt x="9" y="6"/>
                    <a:pt x="10" y="8"/>
                  </a:cubicBezTo>
                  <a:cubicBezTo>
                    <a:pt x="11" y="9"/>
                    <a:pt x="12" y="10"/>
                    <a:pt x="13" y="10"/>
                  </a:cubicBezTo>
                  <a:cubicBezTo>
                    <a:pt x="14" y="11"/>
                    <a:pt x="15" y="11"/>
                    <a:pt x="15" y="11"/>
                  </a:cubicBezTo>
                  <a:cubicBezTo>
                    <a:pt x="17" y="13"/>
                    <a:pt x="16" y="15"/>
                    <a:pt x="16" y="17"/>
                  </a:cubicBezTo>
                  <a:cubicBezTo>
                    <a:pt x="15" y="20"/>
                    <a:pt x="12" y="19"/>
                    <a:pt x="10" y="19"/>
                  </a:cubicBezTo>
                  <a:cubicBezTo>
                    <a:pt x="9" y="18"/>
                    <a:pt x="8" y="16"/>
                    <a:pt x="6" y="15"/>
                  </a:cubicBezTo>
                  <a:cubicBezTo>
                    <a:pt x="5" y="15"/>
                    <a:pt x="4" y="15"/>
                    <a:pt x="3" y="15"/>
                  </a:cubicBezTo>
                  <a:cubicBezTo>
                    <a:pt x="2" y="16"/>
                    <a:pt x="1" y="17"/>
                    <a:pt x="0" y="18"/>
                  </a:cubicBezTo>
                  <a:cubicBezTo>
                    <a:pt x="0" y="18"/>
                    <a:pt x="0" y="19"/>
                    <a:pt x="0" y="20"/>
                  </a:cubicBezTo>
                  <a:cubicBezTo>
                    <a:pt x="2" y="22"/>
                    <a:pt x="4" y="23"/>
                    <a:pt x="6" y="26"/>
                  </a:cubicBezTo>
                  <a:cubicBezTo>
                    <a:pt x="6" y="26"/>
                    <a:pt x="7" y="26"/>
                    <a:pt x="7" y="26"/>
                  </a:cubicBezTo>
                  <a:cubicBezTo>
                    <a:pt x="7" y="26"/>
                    <a:pt x="8" y="26"/>
                    <a:pt x="8" y="27"/>
                  </a:cubicBezTo>
                  <a:cubicBezTo>
                    <a:pt x="9" y="27"/>
                    <a:pt x="10" y="27"/>
                    <a:pt x="11" y="28"/>
                  </a:cubicBezTo>
                  <a:cubicBezTo>
                    <a:pt x="13" y="29"/>
                    <a:pt x="14" y="31"/>
                    <a:pt x="17" y="32"/>
                  </a:cubicBezTo>
                  <a:cubicBezTo>
                    <a:pt x="18" y="33"/>
                    <a:pt x="18" y="34"/>
                    <a:pt x="18" y="36"/>
                  </a:cubicBezTo>
                  <a:cubicBezTo>
                    <a:pt x="19" y="36"/>
                    <a:pt x="19" y="37"/>
                    <a:pt x="20" y="38"/>
                  </a:cubicBezTo>
                  <a:cubicBezTo>
                    <a:pt x="21" y="38"/>
                    <a:pt x="22" y="38"/>
                    <a:pt x="23" y="38"/>
                  </a:cubicBezTo>
                  <a:cubicBezTo>
                    <a:pt x="24" y="38"/>
                    <a:pt x="26" y="38"/>
                    <a:pt x="26" y="36"/>
                  </a:cubicBezTo>
                  <a:cubicBezTo>
                    <a:pt x="26" y="35"/>
                    <a:pt x="25" y="34"/>
                    <a:pt x="26" y="33"/>
                  </a:cubicBezTo>
                  <a:cubicBezTo>
                    <a:pt x="27" y="32"/>
                    <a:pt x="27" y="33"/>
                    <a:pt x="28" y="34"/>
                  </a:cubicBezTo>
                  <a:cubicBezTo>
                    <a:pt x="30" y="35"/>
                    <a:pt x="32" y="34"/>
                    <a:pt x="34" y="33"/>
                  </a:cubicBezTo>
                  <a:cubicBezTo>
                    <a:pt x="35" y="33"/>
                    <a:pt x="37" y="32"/>
                    <a:pt x="37" y="30"/>
                  </a:cubicBezTo>
                  <a:cubicBezTo>
                    <a:pt x="38" y="29"/>
                    <a:pt x="37" y="27"/>
                    <a:pt x="38" y="25"/>
                  </a:cubicBezTo>
                  <a:cubicBezTo>
                    <a:pt x="38" y="24"/>
                    <a:pt x="40" y="25"/>
                    <a:pt x="40" y="24"/>
                  </a:cubicBezTo>
                  <a:cubicBezTo>
                    <a:pt x="41" y="23"/>
                    <a:pt x="41" y="21"/>
                    <a:pt x="41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9" y="20"/>
                    <a:pt x="37" y="21"/>
                    <a:pt x="36" y="20"/>
                  </a:cubicBezTo>
                  <a:cubicBezTo>
                    <a:pt x="36" y="19"/>
                    <a:pt x="36" y="17"/>
                    <a:pt x="36" y="16"/>
                  </a:cubicBezTo>
                  <a:cubicBezTo>
                    <a:pt x="35" y="14"/>
                    <a:pt x="34" y="13"/>
                    <a:pt x="32" y="14"/>
                  </a:cubicBezTo>
                  <a:cubicBezTo>
                    <a:pt x="31" y="15"/>
                    <a:pt x="30" y="15"/>
                    <a:pt x="28" y="16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4"/>
                    <a:pt x="31" y="12"/>
                    <a:pt x="33" y="11"/>
                  </a:cubicBezTo>
                  <a:cubicBezTo>
                    <a:pt x="33" y="11"/>
                    <a:pt x="34" y="11"/>
                    <a:pt x="34" y="11"/>
                  </a:cubicBezTo>
                  <a:cubicBezTo>
                    <a:pt x="35" y="10"/>
                    <a:pt x="35" y="9"/>
                    <a:pt x="36" y="9"/>
                  </a:cubicBezTo>
                  <a:cubicBezTo>
                    <a:pt x="37" y="9"/>
                    <a:pt x="38" y="8"/>
                    <a:pt x="38" y="6"/>
                  </a:cubicBezTo>
                  <a:cubicBezTo>
                    <a:pt x="38" y="6"/>
                    <a:pt x="39" y="6"/>
                    <a:pt x="40" y="6"/>
                  </a:cubicBezTo>
                  <a:cubicBezTo>
                    <a:pt x="40" y="6"/>
                    <a:pt x="41" y="5"/>
                    <a:pt x="41" y="5"/>
                  </a:cubicBezTo>
                  <a:cubicBezTo>
                    <a:pt x="41" y="4"/>
                    <a:pt x="41" y="3"/>
                    <a:pt x="40" y="3"/>
                  </a:cubicBezTo>
                  <a:cubicBezTo>
                    <a:pt x="39" y="2"/>
                    <a:pt x="37" y="4"/>
                    <a:pt x="36" y="2"/>
                  </a:cubicBezTo>
                  <a:cubicBezTo>
                    <a:pt x="36" y="1"/>
                    <a:pt x="36" y="1"/>
                    <a:pt x="35" y="0"/>
                  </a:cubicBezTo>
                  <a:cubicBezTo>
                    <a:pt x="33" y="0"/>
                    <a:pt x="32" y="0"/>
                    <a:pt x="31" y="1"/>
                  </a:cubicBezTo>
                  <a:cubicBezTo>
                    <a:pt x="30" y="2"/>
                    <a:pt x="30" y="3"/>
                    <a:pt x="30" y="3"/>
                  </a:cubicBezTo>
                  <a:cubicBezTo>
                    <a:pt x="29" y="3"/>
                    <a:pt x="29" y="3"/>
                    <a:pt x="28" y="4"/>
                  </a:cubicBezTo>
                  <a:cubicBezTo>
                    <a:pt x="28" y="4"/>
                    <a:pt x="27" y="4"/>
                    <a:pt x="26" y="4"/>
                  </a:cubicBezTo>
                  <a:cubicBezTo>
                    <a:pt x="25" y="4"/>
                    <a:pt x="24" y="5"/>
                    <a:pt x="24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2" y="3"/>
                    <a:pt x="20" y="3"/>
                    <a:pt x="19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6" name="Freeform 54"/>
            <p:cNvSpPr>
              <a:spLocks/>
            </p:cNvSpPr>
            <p:nvPr/>
          </p:nvSpPr>
          <p:spPr bwMode="auto">
            <a:xfrm>
              <a:off x="6601171" y="3201534"/>
              <a:ext cx="8027" cy="5948"/>
            </a:xfrm>
            <a:custGeom>
              <a:avLst/>
              <a:gdLst>
                <a:gd name="T0" fmla="*/ 5300376 w 17"/>
                <a:gd name="T1" fmla="*/ 727531 h 12"/>
                <a:gd name="T2" fmla="*/ 0 w 17"/>
                <a:gd name="T3" fmla="*/ 1697572 h 12"/>
                <a:gd name="T4" fmla="*/ 0 w 17"/>
                <a:gd name="T5" fmla="*/ 2970751 h 12"/>
                <a:gd name="T6" fmla="*/ 3318400 w 17"/>
                <a:gd name="T7" fmla="*/ 4688532 h 12"/>
                <a:gd name="T8" fmla="*/ 7807999 w 17"/>
                <a:gd name="T9" fmla="*/ 8614988 h 12"/>
                <a:gd name="T10" fmla="*/ 10511040 w 17"/>
                <a:gd name="T11" fmla="*/ 8614988 h 12"/>
                <a:gd name="T12" fmla="*/ 12471472 w 17"/>
                <a:gd name="T13" fmla="*/ 6253184 h 12"/>
                <a:gd name="T14" fmla="*/ 14174003 w 17"/>
                <a:gd name="T15" fmla="*/ 2243220 h 12"/>
                <a:gd name="T16" fmla="*/ 11661007 w 17"/>
                <a:gd name="T17" fmla="*/ 727531 h 12"/>
                <a:gd name="T18" fmla="*/ 7807999 w 17"/>
                <a:gd name="T19" fmla="*/ 727531 h 12"/>
                <a:gd name="T20" fmla="*/ 5300376 w 17"/>
                <a:gd name="T21" fmla="*/ 727531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"/>
                <a:gd name="T34" fmla="*/ 0 h 12"/>
                <a:gd name="T35" fmla="*/ 17 w 17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" h="12">
                  <a:moveTo>
                    <a:pt x="6" y="1"/>
                  </a:moveTo>
                  <a:cubicBezTo>
                    <a:pt x="4" y="1"/>
                    <a:pt x="2" y="1"/>
                    <a:pt x="0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5"/>
                    <a:pt x="3" y="5"/>
                    <a:pt x="4" y="6"/>
                  </a:cubicBezTo>
                  <a:cubicBezTo>
                    <a:pt x="6" y="8"/>
                    <a:pt x="7" y="10"/>
                    <a:pt x="9" y="11"/>
                  </a:cubicBezTo>
                  <a:cubicBezTo>
                    <a:pt x="10" y="12"/>
                    <a:pt x="12" y="12"/>
                    <a:pt x="12" y="11"/>
                  </a:cubicBezTo>
                  <a:cubicBezTo>
                    <a:pt x="13" y="10"/>
                    <a:pt x="13" y="9"/>
                    <a:pt x="14" y="8"/>
                  </a:cubicBezTo>
                  <a:cubicBezTo>
                    <a:pt x="16" y="7"/>
                    <a:pt x="17" y="4"/>
                    <a:pt x="16" y="3"/>
                  </a:cubicBezTo>
                  <a:cubicBezTo>
                    <a:pt x="16" y="2"/>
                    <a:pt x="14" y="1"/>
                    <a:pt x="13" y="1"/>
                  </a:cubicBezTo>
                  <a:cubicBezTo>
                    <a:pt x="12" y="0"/>
                    <a:pt x="10" y="0"/>
                    <a:pt x="9" y="1"/>
                  </a:cubicBezTo>
                  <a:cubicBezTo>
                    <a:pt x="8" y="1"/>
                    <a:pt x="7" y="1"/>
                    <a:pt x="6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7" name="Freeform 55"/>
            <p:cNvSpPr>
              <a:spLocks/>
            </p:cNvSpPr>
            <p:nvPr/>
          </p:nvSpPr>
          <p:spPr bwMode="auto">
            <a:xfrm>
              <a:off x="6558780" y="3204238"/>
              <a:ext cx="56437" cy="33257"/>
            </a:xfrm>
            <a:custGeom>
              <a:avLst/>
              <a:gdLst>
                <a:gd name="T0" fmla="*/ 103621225 w 121"/>
                <a:gd name="T1" fmla="*/ 35879062 h 69"/>
                <a:gd name="T2" fmla="*/ 93921847 w 121"/>
                <a:gd name="T3" fmla="*/ 31044002 h 69"/>
                <a:gd name="T4" fmla="*/ 96819400 w 121"/>
                <a:gd name="T5" fmla="*/ 23408387 h 69"/>
                <a:gd name="T6" fmla="*/ 94811255 w 121"/>
                <a:gd name="T7" fmla="*/ 12259962 h 69"/>
                <a:gd name="T8" fmla="*/ 89188222 w 121"/>
                <a:gd name="T9" fmla="*/ 3567250 h 69"/>
                <a:gd name="T10" fmla="*/ 84223755 w 121"/>
                <a:gd name="T11" fmla="*/ 1997758 h 69"/>
                <a:gd name="T12" fmla="*/ 76620317 w 121"/>
                <a:gd name="T13" fmla="*/ 15188073 h 69"/>
                <a:gd name="T14" fmla="*/ 73006942 w 121"/>
                <a:gd name="T15" fmla="*/ 22769238 h 69"/>
                <a:gd name="T16" fmla="*/ 62662121 w 121"/>
                <a:gd name="T17" fmla="*/ 5562897 h 69"/>
                <a:gd name="T18" fmla="*/ 63396588 w 121"/>
                <a:gd name="T19" fmla="*/ 9638519 h 69"/>
                <a:gd name="T20" fmla="*/ 57075015 w 121"/>
                <a:gd name="T21" fmla="*/ 13141333 h 69"/>
                <a:gd name="T22" fmla="*/ 52177676 w 121"/>
                <a:gd name="T23" fmla="*/ 13141333 h 69"/>
                <a:gd name="T24" fmla="*/ 52962856 w 121"/>
                <a:gd name="T25" fmla="*/ 7556145 h 69"/>
                <a:gd name="T26" fmla="*/ 43839752 w 121"/>
                <a:gd name="T27" fmla="*/ 5562897 h 69"/>
                <a:gd name="T28" fmla="*/ 34141575 w 121"/>
                <a:gd name="T29" fmla="*/ 9638519 h 69"/>
                <a:gd name="T30" fmla="*/ 38886791 w 121"/>
                <a:gd name="T31" fmla="*/ 845677 h 69"/>
                <a:gd name="T32" fmla="*/ 28518504 w 121"/>
                <a:gd name="T33" fmla="*/ 3567250 h 69"/>
                <a:gd name="T34" fmla="*/ 8480165 w 121"/>
                <a:gd name="T35" fmla="*/ 11148586 h 69"/>
                <a:gd name="T36" fmla="*/ 7630665 w 121"/>
                <a:gd name="T37" fmla="*/ 15831786 h 69"/>
                <a:gd name="T38" fmla="*/ 3587762 w 121"/>
                <a:gd name="T39" fmla="*/ 23408387 h 69"/>
                <a:gd name="T40" fmla="*/ 14073924 w 121"/>
                <a:gd name="T41" fmla="*/ 27451503 h 69"/>
                <a:gd name="T42" fmla="*/ 18036115 w 121"/>
                <a:gd name="T43" fmla="*/ 27451503 h 69"/>
                <a:gd name="T44" fmla="*/ 6840539 w 121"/>
                <a:gd name="T45" fmla="*/ 30325537 h 69"/>
                <a:gd name="T46" fmla="*/ 6840539 w 121"/>
                <a:gd name="T47" fmla="*/ 35879062 h 69"/>
                <a:gd name="T48" fmla="*/ 42630818 w 121"/>
                <a:gd name="T49" fmla="*/ 39445954 h 69"/>
                <a:gd name="T50" fmla="*/ 32133921 w 121"/>
                <a:gd name="T51" fmla="*/ 41464252 h 69"/>
                <a:gd name="T52" fmla="*/ 5595820 w 121"/>
                <a:gd name="T53" fmla="*/ 43320694 h 69"/>
                <a:gd name="T54" fmla="*/ 6840539 w 121"/>
                <a:gd name="T55" fmla="*/ 50860116 h 69"/>
                <a:gd name="T56" fmla="*/ 18819604 w 121"/>
                <a:gd name="T57" fmla="*/ 54583507 h 69"/>
                <a:gd name="T58" fmla="*/ 26510907 w 121"/>
                <a:gd name="T59" fmla="*/ 61369369 h 69"/>
                <a:gd name="T60" fmla="*/ 31262591 w 121"/>
                <a:gd name="T61" fmla="*/ 64055268 h 69"/>
                <a:gd name="T62" fmla="*/ 49435631 w 121"/>
                <a:gd name="T63" fmla="*/ 62854454 h 69"/>
                <a:gd name="T64" fmla="*/ 66254015 w 121"/>
                <a:gd name="T65" fmla="*/ 58134203 h 69"/>
                <a:gd name="T66" fmla="*/ 75952902 w 121"/>
                <a:gd name="T67" fmla="*/ 51742792 h 69"/>
                <a:gd name="T68" fmla="*/ 82733341 w 121"/>
                <a:gd name="T69" fmla="*/ 58134203 h 69"/>
                <a:gd name="T70" fmla="*/ 103621225 w 121"/>
                <a:gd name="T71" fmla="*/ 57296279 h 69"/>
                <a:gd name="T72" fmla="*/ 103621225 w 121"/>
                <a:gd name="T73" fmla="*/ 51742792 h 69"/>
                <a:gd name="T74" fmla="*/ 95929841 w 121"/>
                <a:gd name="T75" fmla="*/ 47714832 h 69"/>
                <a:gd name="T76" fmla="*/ 100763759 w 121"/>
                <a:gd name="T77" fmla="*/ 49748693 h 69"/>
                <a:gd name="T78" fmla="*/ 105140910 w 121"/>
                <a:gd name="T79" fmla="*/ 49020381 h 69"/>
                <a:gd name="T80" fmla="*/ 111263445 w 121"/>
                <a:gd name="T81" fmla="*/ 49020381 h 69"/>
                <a:gd name="T82" fmla="*/ 114839683 w 121"/>
                <a:gd name="T83" fmla="*/ 42167429 h 69"/>
                <a:gd name="T84" fmla="*/ 106365311 w 121"/>
                <a:gd name="T85" fmla="*/ 37399715 h 6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21"/>
                <a:gd name="T130" fmla="*/ 0 h 69"/>
                <a:gd name="T131" fmla="*/ 121 w 121"/>
                <a:gd name="T132" fmla="*/ 69 h 6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21" h="69">
                  <a:moveTo>
                    <a:pt x="112" y="40"/>
                  </a:moveTo>
                  <a:cubicBezTo>
                    <a:pt x="112" y="39"/>
                    <a:pt x="112" y="38"/>
                    <a:pt x="111" y="38"/>
                  </a:cubicBezTo>
                  <a:cubicBezTo>
                    <a:pt x="110" y="38"/>
                    <a:pt x="109" y="38"/>
                    <a:pt x="109" y="38"/>
                  </a:cubicBezTo>
                  <a:cubicBezTo>
                    <a:pt x="108" y="39"/>
                    <a:pt x="107" y="38"/>
                    <a:pt x="106" y="38"/>
                  </a:cubicBezTo>
                  <a:cubicBezTo>
                    <a:pt x="105" y="37"/>
                    <a:pt x="104" y="37"/>
                    <a:pt x="103" y="36"/>
                  </a:cubicBezTo>
                  <a:cubicBezTo>
                    <a:pt x="102" y="35"/>
                    <a:pt x="101" y="34"/>
                    <a:pt x="99" y="33"/>
                  </a:cubicBezTo>
                  <a:cubicBezTo>
                    <a:pt x="99" y="32"/>
                    <a:pt x="99" y="31"/>
                    <a:pt x="99" y="30"/>
                  </a:cubicBezTo>
                  <a:cubicBezTo>
                    <a:pt x="100" y="28"/>
                    <a:pt x="102" y="28"/>
                    <a:pt x="102" y="27"/>
                  </a:cubicBezTo>
                  <a:cubicBezTo>
                    <a:pt x="102" y="26"/>
                    <a:pt x="102" y="25"/>
                    <a:pt x="102" y="25"/>
                  </a:cubicBezTo>
                  <a:cubicBezTo>
                    <a:pt x="102" y="24"/>
                    <a:pt x="101" y="23"/>
                    <a:pt x="100" y="22"/>
                  </a:cubicBezTo>
                  <a:cubicBezTo>
                    <a:pt x="99" y="21"/>
                    <a:pt x="99" y="20"/>
                    <a:pt x="100" y="19"/>
                  </a:cubicBezTo>
                  <a:cubicBezTo>
                    <a:pt x="100" y="17"/>
                    <a:pt x="100" y="15"/>
                    <a:pt x="100" y="13"/>
                  </a:cubicBezTo>
                  <a:cubicBezTo>
                    <a:pt x="100" y="12"/>
                    <a:pt x="100" y="10"/>
                    <a:pt x="100" y="9"/>
                  </a:cubicBezTo>
                  <a:cubicBezTo>
                    <a:pt x="99" y="7"/>
                    <a:pt x="97" y="6"/>
                    <a:pt x="95" y="5"/>
                  </a:cubicBezTo>
                  <a:cubicBezTo>
                    <a:pt x="95" y="5"/>
                    <a:pt x="94" y="4"/>
                    <a:pt x="94" y="4"/>
                  </a:cubicBezTo>
                  <a:cubicBezTo>
                    <a:pt x="94" y="3"/>
                    <a:pt x="94" y="2"/>
                    <a:pt x="93" y="2"/>
                  </a:cubicBezTo>
                  <a:cubicBezTo>
                    <a:pt x="92" y="1"/>
                    <a:pt x="91" y="1"/>
                    <a:pt x="90" y="1"/>
                  </a:cubicBezTo>
                  <a:cubicBezTo>
                    <a:pt x="89" y="1"/>
                    <a:pt x="89" y="2"/>
                    <a:pt x="89" y="2"/>
                  </a:cubicBezTo>
                  <a:cubicBezTo>
                    <a:pt x="88" y="2"/>
                    <a:pt x="87" y="2"/>
                    <a:pt x="87" y="2"/>
                  </a:cubicBezTo>
                  <a:cubicBezTo>
                    <a:pt x="86" y="1"/>
                    <a:pt x="85" y="0"/>
                    <a:pt x="84" y="1"/>
                  </a:cubicBezTo>
                  <a:cubicBezTo>
                    <a:pt x="79" y="5"/>
                    <a:pt x="81" y="11"/>
                    <a:pt x="81" y="16"/>
                  </a:cubicBezTo>
                  <a:cubicBezTo>
                    <a:pt x="82" y="18"/>
                    <a:pt x="82" y="21"/>
                    <a:pt x="81" y="23"/>
                  </a:cubicBezTo>
                  <a:cubicBezTo>
                    <a:pt x="81" y="24"/>
                    <a:pt x="79" y="24"/>
                    <a:pt x="78" y="24"/>
                  </a:cubicBezTo>
                  <a:cubicBezTo>
                    <a:pt x="78" y="24"/>
                    <a:pt x="77" y="24"/>
                    <a:pt x="77" y="24"/>
                  </a:cubicBezTo>
                  <a:cubicBezTo>
                    <a:pt x="76" y="24"/>
                    <a:pt x="76" y="23"/>
                    <a:pt x="76" y="23"/>
                  </a:cubicBezTo>
                  <a:cubicBezTo>
                    <a:pt x="75" y="19"/>
                    <a:pt x="75" y="15"/>
                    <a:pt x="75" y="11"/>
                  </a:cubicBezTo>
                  <a:cubicBezTo>
                    <a:pt x="74" y="8"/>
                    <a:pt x="70" y="5"/>
                    <a:pt x="66" y="6"/>
                  </a:cubicBezTo>
                  <a:cubicBezTo>
                    <a:pt x="66" y="7"/>
                    <a:pt x="65" y="7"/>
                    <a:pt x="66" y="8"/>
                  </a:cubicBezTo>
                  <a:cubicBezTo>
                    <a:pt x="66" y="8"/>
                    <a:pt x="67" y="8"/>
                    <a:pt x="67" y="9"/>
                  </a:cubicBezTo>
                  <a:cubicBezTo>
                    <a:pt x="67" y="9"/>
                    <a:pt x="67" y="10"/>
                    <a:pt x="67" y="10"/>
                  </a:cubicBezTo>
                  <a:cubicBezTo>
                    <a:pt x="66" y="11"/>
                    <a:pt x="66" y="12"/>
                    <a:pt x="65" y="12"/>
                  </a:cubicBezTo>
                  <a:cubicBezTo>
                    <a:pt x="64" y="12"/>
                    <a:pt x="63" y="12"/>
                    <a:pt x="62" y="12"/>
                  </a:cubicBezTo>
                  <a:cubicBezTo>
                    <a:pt x="61" y="12"/>
                    <a:pt x="61" y="13"/>
                    <a:pt x="60" y="14"/>
                  </a:cubicBezTo>
                  <a:cubicBezTo>
                    <a:pt x="58" y="14"/>
                    <a:pt x="57" y="15"/>
                    <a:pt x="56" y="15"/>
                  </a:cubicBezTo>
                  <a:cubicBezTo>
                    <a:pt x="55" y="15"/>
                    <a:pt x="54" y="15"/>
                    <a:pt x="53" y="15"/>
                  </a:cubicBezTo>
                  <a:cubicBezTo>
                    <a:pt x="54" y="15"/>
                    <a:pt x="54" y="15"/>
                    <a:pt x="55" y="14"/>
                  </a:cubicBezTo>
                  <a:cubicBezTo>
                    <a:pt x="56" y="13"/>
                    <a:pt x="57" y="13"/>
                    <a:pt x="58" y="11"/>
                  </a:cubicBezTo>
                  <a:cubicBezTo>
                    <a:pt x="59" y="10"/>
                    <a:pt x="59" y="9"/>
                    <a:pt x="58" y="9"/>
                  </a:cubicBezTo>
                  <a:cubicBezTo>
                    <a:pt x="58" y="8"/>
                    <a:pt x="57" y="8"/>
                    <a:pt x="56" y="8"/>
                  </a:cubicBezTo>
                  <a:cubicBezTo>
                    <a:pt x="55" y="7"/>
                    <a:pt x="54" y="7"/>
                    <a:pt x="53" y="6"/>
                  </a:cubicBezTo>
                  <a:cubicBezTo>
                    <a:pt x="51" y="5"/>
                    <a:pt x="49" y="6"/>
                    <a:pt x="48" y="6"/>
                  </a:cubicBezTo>
                  <a:cubicBezTo>
                    <a:pt x="47" y="6"/>
                    <a:pt x="47" y="6"/>
                    <a:pt x="46" y="6"/>
                  </a:cubicBezTo>
                  <a:cubicBezTo>
                    <a:pt x="45" y="8"/>
                    <a:pt x="43" y="10"/>
                    <a:pt x="41" y="11"/>
                  </a:cubicBezTo>
                  <a:cubicBezTo>
                    <a:pt x="39" y="11"/>
                    <a:pt x="37" y="12"/>
                    <a:pt x="36" y="11"/>
                  </a:cubicBezTo>
                  <a:cubicBezTo>
                    <a:pt x="36" y="11"/>
                    <a:pt x="36" y="10"/>
                    <a:pt x="36" y="10"/>
                  </a:cubicBezTo>
                  <a:cubicBezTo>
                    <a:pt x="36" y="10"/>
                    <a:pt x="37" y="9"/>
                    <a:pt x="37" y="9"/>
                  </a:cubicBezTo>
                  <a:cubicBezTo>
                    <a:pt x="39" y="8"/>
                    <a:pt x="40" y="9"/>
                    <a:pt x="41" y="8"/>
                  </a:cubicBezTo>
                  <a:cubicBezTo>
                    <a:pt x="41" y="5"/>
                    <a:pt x="41" y="3"/>
                    <a:pt x="41" y="1"/>
                  </a:cubicBezTo>
                  <a:cubicBezTo>
                    <a:pt x="40" y="0"/>
                    <a:pt x="38" y="0"/>
                    <a:pt x="37" y="0"/>
                  </a:cubicBezTo>
                  <a:cubicBezTo>
                    <a:pt x="35" y="1"/>
                    <a:pt x="33" y="3"/>
                    <a:pt x="30" y="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7" y="5"/>
                    <a:pt x="23" y="5"/>
                    <a:pt x="20" y="6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4" y="8"/>
                    <a:pt x="11" y="10"/>
                    <a:pt x="9" y="12"/>
                  </a:cubicBezTo>
                  <a:cubicBezTo>
                    <a:pt x="9" y="12"/>
                    <a:pt x="9" y="12"/>
                    <a:pt x="8" y="12"/>
                  </a:cubicBezTo>
                  <a:cubicBezTo>
                    <a:pt x="7" y="13"/>
                    <a:pt x="6" y="14"/>
                    <a:pt x="7" y="15"/>
                  </a:cubicBezTo>
                  <a:cubicBezTo>
                    <a:pt x="8" y="15"/>
                    <a:pt x="9" y="17"/>
                    <a:pt x="8" y="17"/>
                  </a:cubicBezTo>
                  <a:cubicBezTo>
                    <a:pt x="7" y="19"/>
                    <a:pt x="4" y="21"/>
                    <a:pt x="2" y="22"/>
                  </a:cubicBezTo>
                  <a:cubicBezTo>
                    <a:pt x="0" y="22"/>
                    <a:pt x="0" y="24"/>
                    <a:pt x="0" y="25"/>
                  </a:cubicBezTo>
                  <a:cubicBezTo>
                    <a:pt x="1" y="26"/>
                    <a:pt x="3" y="26"/>
                    <a:pt x="4" y="25"/>
                  </a:cubicBezTo>
                  <a:cubicBezTo>
                    <a:pt x="4" y="25"/>
                    <a:pt x="5" y="25"/>
                    <a:pt x="6" y="25"/>
                  </a:cubicBezTo>
                  <a:cubicBezTo>
                    <a:pt x="8" y="26"/>
                    <a:pt x="9" y="28"/>
                    <a:pt x="10" y="29"/>
                  </a:cubicBezTo>
                  <a:cubicBezTo>
                    <a:pt x="12" y="29"/>
                    <a:pt x="13" y="29"/>
                    <a:pt x="15" y="29"/>
                  </a:cubicBezTo>
                  <a:cubicBezTo>
                    <a:pt x="17" y="28"/>
                    <a:pt x="19" y="28"/>
                    <a:pt x="20" y="28"/>
                  </a:cubicBezTo>
                  <a:cubicBezTo>
                    <a:pt x="20" y="28"/>
                    <a:pt x="20" y="29"/>
                    <a:pt x="20" y="29"/>
                  </a:cubicBezTo>
                  <a:cubicBezTo>
                    <a:pt x="20" y="29"/>
                    <a:pt x="19" y="29"/>
                    <a:pt x="19" y="29"/>
                  </a:cubicBezTo>
                  <a:cubicBezTo>
                    <a:pt x="16" y="30"/>
                    <a:pt x="13" y="30"/>
                    <a:pt x="10" y="31"/>
                  </a:cubicBezTo>
                  <a:cubicBezTo>
                    <a:pt x="10" y="31"/>
                    <a:pt x="9" y="31"/>
                    <a:pt x="9" y="31"/>
                  </a:cubicBezTo>
                  <a:cubicBezTo>
                    <a:pt x="8" y="32"/>
                    <a:pt x="7" y="31"/>
                    <a:pt x="7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4" y="32"/>
                    <a:pt x="2" y="34"/>
                    <a:pt x="3" y="35"/>
                  </a:cubicBezTo>
                  <a:cubicBezTo>
                    <a:pt x="4" y="36"/>
                    <a:pt x="5" y="37"/>
                    <a:pt x="7" y="38"/>
                  </a:cubicBezTo>
                  <a:cubicBezTo>
                    <a:pt x="11" y="39"/>
                    <a:pt x="15" y="39"/>
                    <a:pt x="20" y="39"/>
                  </a:cubicBezTo>
                  <a:cubicBezTo>
                    <a:pt x="22" y="39"/>
                    <a:pt x="23" y="40"/>
                    <a:pt x="24" y="39"/>
                  </a:cubicBezTo>
                  <a:cubicBezTo>
                    <a:pt x="32" y="34"/>
                    <a:pt x="38" y="40"/>
                    <a:pt x="45" y="42"/>
                  </a:cubicBezTo>
                  <a:cubicBezTo>
                    <a:pt x="46" y="42"/>
                    <a:pt x="47" y="42"/>
                    <a:pt x="47" y="43"/>
                  </a:cubicBezTo>
                  <a:cubicBezTo>
                    <a:pt x="48" y="43"/>
                    <a:pt x="47" y="43"/>
                    <a:pt x="47" y="44"/>
                  </a:cubicBezTo>
                  <a:cubicBezTo>
                    <a:pt x="43" y="44"/>
                    <a:pt x="39" y="44"/>
                    <a:pt x="34" y="44"/>
                  </a:cubicBezTo>
                  <a:cubicBezTo>
                    <a:pt x="29" y="43"/>
                    <a:pt x="23" y="43"/>
                    <a:pt x="18" y="44"/>
                  </a:cubicBezTo>
                  <a:cubicBezTo>
                    <a:pt x="17" y="44"/>
                    <a:pt x="16" y="45"/>
                    <a:pt x="16" y="45"/>
                  </a:cubicBezTo>
                  <a:cubicBezTo>
                    <a:pt x="13" y="46"/>
                    <a:pt x="9" y="45"/>
                    <a:pt x="6" y="46"/>
                  </a:cubicBezTo>
                  <a:cubicBezTo>
                    <a:pt x="5" y="46"/>
                    <a:pt x="4" y="48"/>
                    <a:pt x="5" y="49"/>
                  </a:cubicBezTo>
                  <a:cubicBezTo>
                    <a:pt x="5" y="50"/>
                    <a:pt x="6" y="50"/>
                    <a:pt x="6" y="51"/>
                  </a:cubicBezTo>
                  <a:cubicBezTo>
                    <a:pt x="7" y="52"/>
                    <a:pt x="6" y="53"/>
                    <a:pt x="7" y="54"/>
                  </a:cubicBezTo>
                  <a:cubicBezTo>
                    <a:pt x="8" y="55"/>
                    <a:pt x="9" y="56"/>
                    <a:pt x="10" y="56"/>
                  </a:cubicBezTo>
                  <a:cubicBezTo>
                    <a:pt x="11" y="56"/>
                    <a:pt x="13" y="57"/>
                    <a:pt x="15" y="57"/>
                  </a:cubicBezTo>
                  <a:cubicBezTo>
                    <a:pt x="16" y="58"/>
                    <a:pt x="18" y="57"/>
                    <a:pt x="20" y="58"/>
                  </a:cubicBezTo>
                  <a:cubicBezTo>
                    <a:pt x="21" y="58"/>
                    <a:pt x="23" y="58"/>
                    <a:pt x="25" y="59"/>
                  </a:cubicBezTo>
                  <a:cubicBezTo>
                    <a:pt x="26" y="60"/>
                    <a:pt x="28" y="60"/>
                    <a:pt x="28" y="61"/>
                  </a:cubicBezTo>
                  <a:cubicBezTo>
                    <a:pt x="28" y="62"/>
                    <a:pt x="28" y="64"/>
                    <a:pt x="28" y="65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30" y="67"/>
                    <a:pt x="30" y="67"/>
                    <a:pt x="31" y="67"/>
                  </a:cubicBezTo>
                  <a:cubicBezTo>
                    <a:pt x="32" y="68"/>
                    <a:pt x="32" y="68"/>
                    <a:pt x="33" y="68"/>
                  </a:cubicBezTo>
                  <a:cubicBezTo>
                    <a:pt x="36" y="68"/>
                    <a:pt x="39" y="68"/>
                    <a:pt x="42" y="68"/>
                  </a:cubicBezTo>
                  <a:cubicBezTo>
                    <a:pt x="42" y="68"/>
                    <a:pt x="47" y="67"/>
                    <a:pt x="47" y="67"/>
                  </a:cubicBezTo>
                  <a:cubicBezTo>
                    <a:pt x="47" y="69"/>
                    <a:pt x="50" y="67"/>
                    <a:pt x="52" y="67"/>
                  </a:cubicBezTo>
                  <a:cubicBezTo>
                    <a:pt x="55" y="66"/>
                    <a:pt x="57" y="65"/>
                    <a:pt x="60" y="64"/>
                  </a:cubicBezTo>
                  <a:cubicBezTo>
                    <a:pt x="61" y="64"/>
                    <a:pt x="61" y="64"/>
                    <a:pt x="62" y="63"/>
                  </a:cubicBezTo>
                  <a:cubicBezTo>
                    <a:pt x="64" y="63"/>
                    <a:pt x="67" y="63"/>
                    <a:pt x="70" y="62"/>
                  </a:cubicBezTo>
                  <a:cubicBezTo>
                    <a:pt x="71" y="61"/>
                    <a:pt x="73" y="60"/>
                    <a:pt x="74" y="59"/>
                  </a:cubicBezTo>
                  <a:cubicBezTo>
                    <a:pt x="75" y="58"/>
                    <a:pt x="76" y="57"/>
                    <a:pt x="77" y="56"/>
                  </a:cubicBezTo>
                  <a:cubicBezTo>
                    <a:pt x="78" y="55"/>
                    <a:pt x="79" y="55"/>
                    <a:pt x="80" y="55"/>
                  </a:cubicBezTo>
                  <a:cubicBezTo>
                    <a:pt x="80" y="55"/>
                    <a:pt x="80" y="56"/>
                    <a:pt x="80" y="57"/>
                  </a:cubicBezTo>
                  <a:cubicBezTo>
                    <a:pt x="79" y="57"/>
                    <a:pt x="80" y="58"/>
                    <a:pt x="80" y="58"/>
                  </a:cubicBezTo>
                  <a:cubicBezTo>
                    <a:pt x="82" y="59"/>
                    <a:pt x="86" y="58"/>
                    <a:pt x="87" y="62"/>
                  </a:cubicBezTo>
                  <a:cubicBezTo>
                    <a:pt x="87" y="63"/>
                    <a:pt x="88" y="63"/>
                    <a:pt x="89" y="63"/>
                  </a:cubicBezTo>
                  <a:cubicBezTo>
                    <a:pt x="94" y="63"/>
                    <a:pt x="98" y="64"/>
                    <a:pt x="103" y="63"/>
                  </a:cubicBezTo>
                  <a:cubicBezTo>
                    <a:pt x="105" y="63"/>
                    <a:pt x="107" y="62"/>
                    <a:pt x="109" y="61"/>
                  </a:cubicBezTo>
                  <a:cubicBezTo>
                    <a:pt x="109" y="61"/>
                    <a:pt x="110" y="61"/>
                    <a:pt x="111" y="61"/>
                  </a:cubicBezTo>
                  <a:cubicBezTo>
                    <a:pt x="112" y="60"/>
                    <a:pt x="111" y="59"/>
                    <a:pt x="111" y="58"/>
                  </a:cubicBezTo>
                  <a:cubicBezTo>
                    <a:pt x="110" y="57"/>
                    <a:pt x="110" y="56"/>
                    <a:pt x="109" y="55"/>
                  </a:cubicBezTo>
                  <a:cubicBezTo>
                    <a:pt x="108" y="54"/>
                    <a:pt x="107" y="54"/>
                    <a:pt x="106" y="55"/>
                  </a:cubicBezTo>
                  <a:cubicBezTo>
                    <a:pt x="105" y="56"/>
                    <a:pt x="103" y="57"/>
                    <a:pt x="102" y="56"/>
                  </a:cubicBezTo>
                  <a:cubicBezTo>
                    <a:pt x="101" y="55"/>
                    <a:pt x="100" y="53"/>
                    <a:pt x="101" y="51"/>
                  </a:cubicBezTo>
                  <a:cubicBezTo>
                    <a:pt x="101" y="51"/>
                    <a:pt x="102" y="51"/>
                    <a:pt x="102" y="52"/>
                  </a:cubicBezTo>
                  <a:cubicBezTo>
                    <a:pt x="103" y="52"/>
                    <a:pt x="103" y="53"/>
                    <a:pt x="103" y="53"/>
                  </a:cubicBezTo>
                  <a:cubicBezTo>
                    <a:pt x="104" y="54"/>
                    <a:pt x="105" y="54"/>
                    <a:pt x="106" y="53"/>
                  </a:cubicBezTo>
                  <a:cubicBezTo>
                    <a:pt x="106" y="53"/>
                    <a:pt x="106" y="52"/>
                    <a:pt x="106" y="51"/>
                  </a:cubicBezTo>
                  <a:cubicBezTo>
                    <a:pt x="107" y="51"/>
                    <a:pt x="107" y="51"/>
                    <a:pt x="108" y="51"/>
                  </a:cubicBezTo>
                  <a:cubicBezTo>
                    <a:pt x="109" y="52"/>
                    <a:pt x="110" y="52"/>
                    <a:pt x="111" y="52"/>
                  </a:cubicBezTo>
                  <a:cubicBezTo>
                    <a:pt x="111" y="52"/>
                    <a:pt x="111" y="51"/>
                    <a:pt x="112" y="51"/>
                  </a:cubicBezTo>
                  <a:cubicBezTo>
                    <a:pt x="113" y="51"/>
                    <a:pt x="115" y="51"/>
                    <a:pt x="117" y="51"/>
                  </a:cubicBezTo>
                  <a:cubicBezTo>
                    <a:pt x="117" y="51"/>
                    <a:pt x="117" y="52"/>
                    <a:pt x="117" y="52"/>
                  </a:cubicBezTo>
                  <a:cubicBezTo>
                    <a:pt x="118" y="53"/>
                    <a:pt x="118" y="52"/>
                    <a:pt x="118" y="51"/>
                  </a:cubicBezTo>
                  <a:cubicBezTo>
                    <a:pt x="119" y="49"/>
                    <a:pt x="120" y="48"/>
                    <a:pt x="121" y="46"/>
                  </a:cubicBezTo>
                  <a:cubicBezTo>
                    <a:pt x="121" y="46"/>
                    <a:pt x="121" y="45"/>
                    <a:pt x="121" y="45"/>
                  </a:cubicBezTo>
                  <a:cubicBezTo>
                    <a:pt x="120" y="44"/>
                    <a:pt x="118" y="45"/>
                    <a:pt x="117" y="45"/>
                  </a:cubicBezTo>
                  <a:cubicBezTo>
                    <a:pt x="117" y="45"/>
                    <a:pt x="116" y="44"/>
                    <a:pt x="116" y="44"/>
                  </a:cubicBezTo>
                  <a:cubicBezTo>
                    <a:pt x="114" y="43"/>
                    <a:pt x="113" y="41"/>
                    <a:pt x="112" y="4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8" name="Freeform 56"/>
            <p:cNvSpPr>
              <a:spLocks/>
            </p:cNvSpPr>
            <p:nvPr/>
          </p:nvSpPr>
          <p:spPr bwMode="auto">
            <a:xfrm>
              <a:off x="6537711" y="3196667"/>
              <a:ext cx="37374" cy="23253"/>
            </a:xfrm>
            <a:custGeom>
              <a:avLst/>
              <a:gdLst>
                <a:gd name="T0" fmla="*/ 66990136 w 80"/>
                <a:gd name="T1" fmla="*/ 5955246 h 48"/>
                <a:gd name="T2" fmla="*/ 64146708 w 80"/>
                <a:gd name="T3" fmla="*/ 4351850 h 48"/>
                <a:gd name="T4" fmla="*/ 60219441 w 80"/>
                <a:gd name="T5" fmla="*/ 3065439 h 48"/>
                <a:gd name="T6" fmla="*/ 59440232 w 80"/>
                <a:gd name="T7" fmla="*/ 3065439 h 48"/>
                <a:gd name="T8" fmla="*/ 53846665 w 80"/>
                <a:gd name="T9" fmla="*/ 5955246 h 48"/>
                <a:gd name="T10" fmla="*/ 52631471 w 80"/>
                <a:gd name="T11" fmla="*/ 5955246 h 48"/>
                <a:gd name="T12" fmla="*/ 51786982 w 80"/>
                <a:gd name="T13" fmla="*/ 4351850 h 48"/>
                <a:gd name="T14" fmla="*/ 47063949 w 80"/>
                <a:gd name="T15" fmla="*/ 4351850 h 48"/>
                <a:gd name="T16" fmla="*/ 43558832 w 80"/>
                <a:gd name="T17" fmla="*/ 2226282 h 48"/>
                <a:gd name="T18" fmla="*/ 39476103 w 80"/>
                <a:gd name="T19" fmla="*/ 0 h 48"/>
                <a:gd name="T20" fmla="*/ 35922205 w 80"/>
                <a:gd name="T21" fmla="*/ 0 h 48"/>
                <a:gd name="T22" fmla="*/ 26361304 w 80"/>
                <a:gd name="T23" fmla="*/ 937382 h 48"/>
                <a:gd name="T24" fmla="*/ 20767473 w 80"/>
                <a:gd name="T25" fmla="*/ 2226282 h 48"/>
                <a:gd name="T26" fmla="*/ 17197344 w 80"/>
                <a:gd name="T27" fmla="*/ 3065439 h 48"/>
                <a:gd name="T28" fmla="*/ 17197344 w 80"/>
                <a:gd name="T29" fmla="*/ 5955246 h 48"/>
                <a:gd name="T30" fmla="*/ 19921263 w 80"/>
                <a:gd name="T31" fmla="*/ 9111497 h 48"/>
                <a:gd name="T32" fmla="*/ 19921263 w 80"/>
                <a:gd name="T33" fmla="*/ 11242634 h 48"/>
                <a:gd name="T34" fmla="*/ 13157424 w 80"/>
                <a:gd name="T35" fmla="*/ 17290978 h 48"/>
                <a:gd name="T36" fmla="*/ 12272271 w 80"/>
                <a:gd name="T37" fmla="*/ 18521930 h 48"/>
                <a:gd name="T38" fmla="*/ 11158230 w 80"/>
                <a:gd name="T39" fmla="*/ 23798965 h 48"/>
                <a:gd name="T40" fmla="*/ 8432281 w 80"/>
                <a:gd name="T41" fmla="*/ 26701252 h 48"/>
                <a:gd name="T42" fmla="*/ 5569282 w 80"/>
                <a:gd name="T43" fmla="*/ 29824338 h 48"/>
                <a:gd name="T44" fmla="*/ 2865554 w 80"/>
                <a:gd name="T45" fmla="*/ 32884610 h 48"/>
                <a:gd name="T46" fmla="*/ 0 w 80"/>
                <a:gd name="T47" fmla="*/ 35788854 h 48"/>
                <a:gd name="T48" fmla="*/ 0 w 80"/>
                <a:gd name="T49" fmla="*/ 37005842 h 48"/>
                <a:gd name="T50" fmla="*/ 6769871 w 80"/>
                <a:gd name="T51" fmla="*/ 37005842 h 48"/>
                <a:gd name="T52" fmla="*/ 7561856 w 80"/>
                <a:gd name="T53" fmla="*/ 37943206 h 48"/>
                <a:gd name="T54" fmla="*/ 11158230 w 80"/>
                <a:gd name="T55" fmla="*/ 41066074 h 48"/>
                <a:gd name="T56" fmla="*/ 12272271 w 80"/>
                <a:gd name="T57" fmla="*/ 46120338 h 48"/>
                <a:gd name="T58" fmla="*/ 13157424 w 80"/>
                <a:gd name="T59" fmla="*/ 48346530 h 48"/>
                <a:gd name="T60" fmla="*/ 18708285 w 80"/>
                <a:gd name="T61" fmla="*/ 48346530 h 48"/>
                <a:gd name="T62" fmla="*/ 20767473 w 80"/>
                <a:gd name="T63" fmla="*/ 47055898 h 48"/>
                <a:gd name="T64" fmla="*/ 24277976 w 80"/>
                <a:gd name="T65" fmla="*/ 43989565 h 48"/>
                <a:gd name="T66" fmla="*/ 25489712 w 80"/>
                <a:gd name="T67" fmla="*/ 43989565 h 48"/>
                <a:gd name="T68" fmla="*/ 26361304 w 80"/>
                <a:gd name="T69" fmla="*/ 46120338 h 48"/>
                <a:gd name="T70" fmla="*/ 28993222 w 80"/>
                <a:gd name="T71" fmla="*/ 45228631 h 48"/>
                <a:gd name="T72" fmla="*/ 31926123 w 80"/>
                <a:gd name="T73" fmla="*/ 43989565 h 48"/>
                <a:gd name="T74" fmla="*/ 33923399 w 80"/>
                <a:gd name="T75" fmla="*/ 40170186 h 48"/>
                <a:gd name="T76" fmla="*/ 34796540 w 80"/>
                <a:gd name="T77" fmla="*/ 37005842 h 48"/>
                <a:gd name="T78" fmla="*/ 38629932 w 80"/>
                <a:gd name="T79" fmla="*/ 31975403 h 48"/>
                <a:gd name="T80" fmla="*/ 40628729 w 80"/>
                <a:gd name="T81" fmla="*/ 31975403 h 48"/>
                <a:gd name="T82" fmla="*/ 44198295 w 80"/>
                <a:gd name="T83" fmla="*/ 30663511 h 48"/>
                <a:gd name="T84" fmla="*/ 47063949 w 80"/>
                <a:gd name="T85" fmla="*/ 24547147 h 48"/>
                <a:gd name="T86" fmla="*/ 49788194 w 80"/>
                <a:gd name="T87" fmla="*/ 23798965 h 48"/>
                <a:gd name="T88" fmla="*/ 56510544 w 80"/>
                <a:gd name="T89" fmla="*/ 20751062 h 48"/>
                <a:gd name="T90" fmla="*/ 56510544 w 80"/>
                <a:gd name="T91" fmla="*/ 20751062 h 48"/>
                <a:gd name="T92" fmla="*/ 62906679 w 80"/>
                <a:gd name="T93" fmla="*/ 18521930 h 48"/>
                <a:gd name="T94" fmla="*/ 64992898 w 80"/>
                <a:gd name="T95" fmla="*/ 17290978 h 48"/>
                <a:gd name="T96" fmla="*/ 67836251 w 80"/>
                <a:gd name="T97" fmla="*/ 15581415 h 48"/>
                <a:gd name="T98" fmla="*/ 74551229 w 80"/>
                <a:gd name="T99" fmla="*/ 14143705 h 48"/>
                <a:gd name="T100" fmla="*/ 74551229 w 80"/>
                <a:gd name="T101" fmla="*/ 11242634 h 48"/>
                <a:gd name="T102" fmla="*/ 69716347 w 80"/>
                <a:gd name="T103" fmla="*/ 9111497 h 48"/>
                <a:gd name="T104" fmla="*/ 66990136 w 80"/>
                <a:gd name="T105" fmla="*/ 5955246 h 48"/>
                <a:gd name="T106" fmla="*/ 66990136 w 80"/>
                <a:gd name="T107" fmla="*/ 5955246 h 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0"/>
                <a:gd name="T163" fmla="*/ 0 h 48"/>
                <a:gd name="T164" fmla="*/ 80 w 80"/>
                <a:gd name="T165" fmla="*/ 48 h 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0" h="48">
                  <a:moveTo>
                    <a:pt x="71" y="6"/>
                  </a:moveTo>
                  <a:cubicBezTo>
                    <a:pt x="70" y="6"/>
                    <a:pt x="69" y="4"/>
                    <a:pt x="68" y="4"/>
                  </a:cubicBezTo>
                  <a:cubicBezTo>
                    <a:pt x="67" y="3"/>
                    <a:pt x="66" y="3"/>
                    <a:pt x="64" y="3"/>
                  </a:cubicBezTo>
                  <a:cubicBezTo>
                    <a:pt x="64" y="3"/>
                    <a:pt x="64" y="3"/>
                    <a:pt x="63" y="3"/>
                  </a:cubicBezTo>
                  <a:cubicBezTo>
                    <a:pt x="61" y="2"/>
                    <a:pt x="59" y="4"/>
                    <a:pt x="57" y="6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6" y="5"/>
                    <a:pt x="56" y="4"/>
                    <a:pt x="55" y="4"/>
                  </a:cubicBezTo>
                  <a:cubicBezTo>
                    <a:pt x="54" y="3"/>
                    <a:pt x="52" y="4"/>
                    <a:pt x="50" y="4"/>
                  </a:cubicBezTo>
                  <a:cubicBezTo>
                    <a:pt x="48" y="3"/>
                    <a:pt x="48" y="2"/>
                    <a:pt x="46" y="2"/>
                  </a:cubicBezTo>
                  <a:cubicBezTo>
                    <a:pt x="45" y="1"/>
                    <a:pt x="44" y="0"/>
                    <a:pt x="42" y="0"/>
                  </a:cubicBezTo>
                  <a:cubicBezTo>
                    <a:pt x="41" y="0"/>
                    <a:pt x="39" y="0"/>
                    <a:pt x="38" y="0"/>
                  </a:cubicBezTo>
                  <a:cubicBezTo>
                    <a:pt x="34" y="2"/>
                    <a:pt x="31" y="0"/>
                    <a:pt x="28" y="1"/>
                  </a:cubicBezTo>
                  <a:cubicBezTo>
                    <a:pt x="25" y="1"/>
                    <a:pt x="24" y="2"/>
                    <a:pt x="22" y="2"/>
                  </a:cubicBezTo>
                  <a:cubicBezTo>
                    <a:pt x="21" y="3"/>
                    <a:pt x="19" y="2"/>
                    <a:pt x="18" y="3"/>
                  </a:cubicBezTo>
                  <a:cubicBezTo>
                    <a:pt x="17" y="3"/>
                    <a:pt x="17" y="5"/>
                    <a:pt x="18" y="6"/>
                  </a:cubicBezTo>
                  <a:cubicBezTo>
                    <a:pt x="18" y="7"/>
                    <a:pt x="20" y="8"/>
                    <a:pt x="21" y="9"/>
                  </a:cubicBezTo>
                  <a:cubicBezTo>
                    <a:pt x="21" y="10"/>
                    <a:pt x="21" y="11"/>
                    <a:pt x="21" y="11"/>
                  </a:cubicBezTo>
                  <a:cubicBezTo>
                    <a:pt x="18" y="13"/>
                    <a:pt x="17" y="15"/>
                    <a:pt x="14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1" y="20"/>
                    <a:pt x="12" y="21"/>
                    <a:pt x="12" y="23"/>
                  </a:cubicBezTo>
                  <a:cubicBezTo>
                    <a:pt x="11" y="24"/>
                    <a:pt x="9" y="25"/>
                    <a:pt x="9" y="26"/>
                  </a:cubicBezTo>
                  <a:cubicBezTo>
                    <a:pt x="8" y="27"/>
                    <a:pt x="7" y="28"/>
                    <a:pt x="6" y="29"/>
                  </a:cubicBezTo>
                  <a:cubicBezTo>
                    <a:pt x="5" y="30"/>
                    <a:pt x="4" y="31"/>
                    <a:pt x="3" y="32"/>
                  </a:cubicBezTo>
                  <a:cubicBezTo>
                    <a:pt x="2" y="33"/>
                    <a:pt x="1" y="34"/>
                    <a:pt x="0" y="35"/>
                  </a:cubicBezTo>
                  <a:cubicBezTo>
                    <a:pt x="0" y="35"/>
                    <a:pt x="0" y="36"/>
                    <a:pt x="0" y="36"/>
                  </a:cubicBezTo>
                  <a:cubicBezTo>
                    <a:pt x="3" y="37"/>
                    <a:pt x="5" y="36"/>
                    <a:pt x="7" y="36"/>
                  </a:cubicBezTo>
                  <a:cubicBezTo>
                    <a:pt x="7" y="36"/>
                    <a:pt x="8" y="37"/>
                    <a:pt x="8" y="37"/>
                  </a:cubicBezTo>
                  <a:cubicBezTo>
                    <a:pt x="9" y="38"/>
                    <a:pt x="11" y="38"/>
                    <a:pt x="12" y="40"/>
                  </a:cubicBezTo>
                  <a:cubicBezTo>
                    <a:pt x="13" y="41"/>
                    <a:pt x="12" y="43"/>
                    <a:pt x="13" y="45"/>
                  </a:cubicBezTo>
                  <a:cubicBezTo>
                    <a:pt x="13" y="46"/>
                    <a:pt x="14" y="47"/>
                    <a:pt x="14" y="47"/>
                  </a:cubicBezTo>
                  <a:cubicBezTo>
                    <a:pt x="16" y="48"/>
                    <a:pt x="18" y="48"/>
                    <a:pt x="20" y="47"/>
                  </a:cubicBezTo>
                  <a:cubicBezTo>
                    <a:pt x="20" y="47"/>
                    <a:pt x="21" y="46"/>
                    <a:pt x="22" y="46"/>
                  </a:cubicBezTo>
                  <a:cubicBezTo>
                    <a:pt x="23" y="44"/>
                    <a:pt x="24" y="44"/>
                    <a:pt x="26" y="43"/>
                  </a:cubicBezTo>
                  <a:cubicBezTo>
                    <a:pt x="26" y="43"/>
                    <a:pt x="27" y="43"/>
                    <a:pt x="27" y="43"/>
                  </a:cubicBezTo>
                  <a:cubicBezTo>
                    <a:pt x="27" y="44"/>
                    <a:pt x="28" y="45"/>
                    <a:pt x="28" y="45"/>
                  </a:cubicBezTo>
                  <a:cubicBezTo>
                    <a:pt x="29" y="45"/>
                    <a:pt x="30" y="45"/>
                    <a:pt x="31" y="44"/>
                  </a:cubicBezTo>
                  <a:cubicBezTo>
                    <a:pt x="32" y="44"/>
                    <a:pt x="33" y="44"/>
                    <a:pt x="34" y="43"/>
                  </a:cubicBezTo>
                  <a:cubicBezTo>
                    <a:pt x="35" y="42"/>
                    <a:pt x="36" y="41"/>
                    <a:pt x="36" y="39"/>
                  </a:cubicBezTo>
                  <a:cubicBezTo>
                    <a:pt x="37" y="38"/>
                    <a:pt x="36" y="37"/>
                    <a:pt x="37" y="36"/>
                  </a:cubicBezTo>
                  <a:cubicBezTo>
                    <a:pt x="38" y="34"/>
                    <a:pt x="39" y="32"/>
                    <a:pt x="41" y="31"/>
                  </a:cubicBezTo>
                  <a:cubicBezTo>
                    <a:pt x="41" y="31"/>
                    <a:pt x="42" y="31"/>
                    <a:pt x="43" y="31"/>
                  </a:cubicBezTo>
                  <a:cubicBezTo>
                    <a:pt x="44" y="32"/>
                    <a:pt x="46" y="32"/>
                    <a:pt x="47" y="30"/>
                  </a:cubicBezTo>
                  <a:cubicBezTo>
                    <a:pt x="48" y="28"/>
                    <a:pt x="48" y="26"/>
                    <a:pt x="50" y="24"/>
                  </a:cubicBezTo>
                  <a:cubicBezTo>
                    <a:pt x="50" y="24"/>
                    <a:pt x="52" y="23"/>
                    <a:pt x="53" y="23"/>
                  </a:cubicBezTo>
                  <a:cubicBezTo>
                    <a:pt x="56" y="22"/>
                    <a:pt x="58" y="22"/>
                    <a:pt x="60" y="20"/>
                  </a:cubicBezTo>
                  <a:cubicBezTo>
                    <a:pt x="60" y="20"/>
                    <a:pt x="60" y="21"/>
                    <a:pt x="60" y="20"/>
                  </a:cubicBezTo>
                  <a:cubicBezTo>
                    <a:pt x="62" y="20"/>
                    <a:pt x="65" y="19"/>
                    <a:pt x="67" y="18"/>
                  </a:cubicBezTo>
                  <a:cubicBezTo>
                    <a:pt x="67" y="17"/>
                    <a:pt x="68" y="17"/>
                    <a:pt x="69" y="17"/>
                  </a:cubicBezTo>
                  <a:cubicBezTo>
                    <a:pt x="70" y="16"/>
                    <a:pt x="71" y="16"/>
                    <a:pt x="72" y="15"/>
                  </a:cubicBezTo>
                  <a:cubicBezTo>
                    <a:pt x="74" y="15"/>
                    <a:pt x="77" y="15"/>
                    <a:pt x="79" y="14"/>
                  </a:cubicBezTo>
                  <a:cubicBezTo>
                    <a:pt x="80" y="13"/>
                    <a:pt x="80" y="11"/>
                    <a:pt x="79" y="11"/>
                  </a:cubicBezTo>
                  <a:cubicBezTo>
                    <a:pt x="77" y="10"/>
                    <a:pt x="75" y="9"/>
                    <a:pt x="74" y="9"/>
                  </a:cubicBezTo>
                  <a:cubicBezTo>
                    <a:pt x="73" y="8"/>
                    <a:pt x="72" y="7"/>
                    <a:pt x="71" y="6"/>
                  </a:cubicBezTo>
                  <a:cubicBezTo>
                    <a:pt x="71" y="6"/>
                    <a:pt x="71" y="6"/>
                    <a:pt x="71" y="6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9" name="Freeform 58"/>
            <p:cNvSpPr>
              <a:spLocks/>
            </p:cNvSpPr>
            <p:nvPr/>
          </p:nvSpPr>
          <p:spPr bwMode="auto">
            <a:xfrm>
              <a:off x="6566556" y="3185582"/>
              <a:ext cx="6522" cy="4326"/>
            </a:xfrm>
            <a:custGeom>
              <a:avLst/>
              <a:gdLst>
                <a:gd name="T0" fmla="*/ 9969095 w 14"/>
                <a:gd name="T1" fmla="*/ 0 h 9"/>
                <a:gd name="T2" fmla="*/ 9297269 w 14"/>
                <a:gd name="T3" fmla="*/ 727531 h 9"/>
                <a:gd name="T4" fmla="*/ 6527726 w 14"/>
                <a:gd name="T5" fmla="*/ 2243220 h 9"/>
                <a:gd name="T6" fmla="*/ 2769339 w 14"/>
                <a:gd name="T7" fmla="*/ 2970751 h 9"/>
                <a:gd name="T8" fmla="*/ 0 w 14"/>
                <a:gd name="T9" fmla="*/ 4688532 h 9"/>
                <a:gd name="T10" fmla="*/ 0 w 14"/>
                <a:gd name="T11" fmla="*/ 5234180 h 9"/>
                <a:gd name="T12" fmla="*/ 5415918 w 14"/>
                <a:gd name="T13" fmla="*/ 6931749 h 9"/>
                <a:gd name="T14" fmla="*/ 9297269 w 14"/>
                <a:gd name="T15" fmla="*/ 3961001 h 9"/>
                <a:gd name="T16" fmla="*/ 11919092 w 14"/>
                <a:gd name="T17" fmla="*/ 1697572 h 9"/>
                <a:gd name="T18" fmla="*/ 12766089 w 14"/>
                <a:gd name="T19" fmla="*/ 0 h 9"/>
                <a:gd name="T20" fmla="*/ 9969095 w 14"/>
                <a:gd name="T21" fmla="*/ 0 h 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9"/>
                <a:gd name="T35" fmla="*/ 14 w 14"/>
                <a:gd name="T36" fmla="*/ 9 h 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9">
                  <a:moveTo>
                    <a:pt x="11" y="0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2"/>
                    <a:pt x="7" y="3"/>
                  </a:cubicBezTo>
                  <a:cubicBezTo>
                    <a:pt x="6" y="3"/>
                    <a:pt x="4" y="3"/>
                    <a:pt x="3" y="4"/>
                  </a:cubicBezTo>
                  <a:cubicBezTo>
                    <a:pt x="2" y="5"/>
                    <a:pt x="1" y="5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2" y="9"/>
                    <a:pt x="4" y="9"/>
                    <a:pt x="6" y="9"/>
                  </a:cubicBezTo>
                  <a:cubicBezTo>
                    <a:pt x="7" y="7"/>
                    <a:pt x="9" y="6"/>
                    <a:pt x="10" y="5"/>
                  </a:cubicBezTo>
                  <a:cubicBezTo>
                    <a:pt x="11" y="4"/>
                    <a:pt x="12" y="3"/>
                    <a:pt x="13" y="2"/>
                  </a:cubicBezTo>
                  <a:cubicBezTo>
                    <a:pt x="14" y="1"/>
                    <a:pt x="14" y="1"/>
                    <a:pt x="14" y="0"/>
                  </a:cubicBezTo>
                  <a:cubicBezTo>
                    <a:pt x="13" y="0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0" name="Freeform 59"/>
            <p:cNvSpPr>
              <a:spLocks/>
            </p:cNvSpPr>
            <p:nvPr/>
          </p:nvSpPr>
          <p:spPr bwMode="auto">
            <a:xfrm>
              <a:off x="6582860" y="3179904"/>
              <a:ext cx="4013" cy="1622"/>
            </a:xfrm>
            <a:custGeom>
              <a:avLst/>
              <a:gdLst>
                <a:gd name="T0" fmla="*/ 5955246 w 8"/>
                <a:gd name="T1" fmla="*/ 0 h 4"/>
                <a:gd name="T2" fmla="*/ 2129866 w 8"/>
                <a:gd name="T3" fmla="*/ 0 h 4"/>
                <a:gd name="T4" fmla="*/ 0 w 8"/>
                <a:gd name="T5" fmla="*/ 941139 h 4"/>
                <a:gd name="T6" fmla="*/ 8176458 w 8"/>
                <a:gd name="T7" fmla="*/ 1359459 h 4"/>
                <a:gd name="T8" fmla="*/ 8176458 w 8"/>
                <a:gd name="T9" fmla="*/ 941139 h 4"/>
                <a:gd name="T10" fmla="*/ 8176458 w 8"/>
                <a:gd name="T11" fmla="*/ 418284 h 4"/>
                <a:gd name="T12" fmla="*/ 5955246 w 8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4"/>
                <a:gd name="T23" fmla="*/ 8 w 8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4">
                  <a:moveTo>
                    <a:pt x="6" y="0"/>
                  </a:moveTo>
                  <a:cubicBezTo>
                    <a:pt x="4" y="0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2" y="3"/>
                    <a:pt x="5" y="4"/>
                    <a:pt x="8" y="3"/>
                  </a:cubicBezTo>
                  <a:cubicBezTo>
                    <a:pt x="8" y="3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1" name="Freeform 60"/>
            <p:cNvSpPr>
              <a:spLocks/>
            </p:cNvSpPr>
            <p:nvPr/>
          </p:nvSpPr>
          <p:spPr bwMode="auto">
            <a:xfrm>
              <a:off x="6570569" y="3180174"/>
              <a:ext cx="39631" cy="18115"/>
            </a:xfrm>
            <a:custGeom>
              <a:avLst/>
              <a:gdLst>
                <a:gd name="T0" fmla="*/ 27822959 w 85"/>
                <a:gd name="T1" fmla="*/ 10580673 h 37"/>
                <a:gd name="T2" fmla="*/ 21913580 w 85"/>
                <a:gd name="T3" fmla="*/ 5374365 h 37"/>
                <a:gd name="T4" fmla="*/ 16265335 w 85"/>
                <a:gd name="T5" fmla="*/ 8323201 h 37"/>
                <a:gd name="T6" fmla="*/ 18954109 w 85"/>
                <a:gd name="T7" fmla="*/ 10580673 h 37"/>
                <a:gd name="T8" fmla="*/ 8533447 w 85"/>
                <a:gd name="T9" fmla="*/ 14479671 h 37"/>
                <a:gd name="T10" fmla="*/ 4772153 w 85"/>
                <a:gd name="T11" fmla="*/ 18938643 h 37"/>
                <a:gd name="T12" fmla="*/ 13300723 w 85"/>
                <a:gd name="T13" fmla="*/ 18938643 h 37"/>
                <a:gd name="T14" fmla="*/ 5624685 w 85"/>
                <a:gd name="T15" fmla="*/ 22055388 h 37"/>
                <a:gd name="T16" fmla="*/ 0 w 85"/>
                <a:gd name="T17" fmla="*/ 23005635 h 37"/>
                <a:gd name="T18" fmla="*/ 6878376 w 85"/>
                <a:gd name="T19" fmla="*/ 25164841 h 37"/>
                <a:gd name="T20" fmla="*/ 11284737 w 85"/>
                <a:gd name="T21" fmla="*/ 27261904 h 37"/>
                <a:gd name="T22" fmla="*/ 15411885 w 85"/>
                <a:gd name="T23" fmla="*/ 27261904 h 37"/>
                <a:gd name="T24" fmla="*/ 23050662 w 85"/>
                <a:gd name="T25" fmla="*/ 23005635 h 37"/>
                <a:gd name="T26" fmla="*/ 24641806 w 85"/>
                <a:gd name="T27" fmla="*/ 24313001 h 37"/>
                <a:gd name="T28" fmla="*/ 24641806 w 85"/>
                <a:gd name="T29" fmla="*/ 28211999 h 37"/>
                <a:gd name="T30" fmla="*/ 33471350 w 85"/>
                <a:gd name="T31" fmla="*/ 25954329 h 37"/>
                <a:gd name="T32" fmla="*/ 39201087 w 85"/>
                <a:gd name="T33" fmla="*/ 25954329 h 37"/>
                <a:gd name="T34" fmla="*/ 41218871 w 85"/>
                <a:gd name="T35" fmla="*/ 27261904 h 37"/>
                <a:gd name="T36" fmla="*/ 27822959 w 85"/>
                <a:gd name="T37" fmla="*/ 29450962 h 37"/>
                <a:gd name="T38" fmla="*/ 24641806 w 85"/>
                <a:gd name="T39" fmla="*/ 31321432 h 37"/>
                <a:gd name="T40" fmla="*/ 18954109 w 85"/>
                <a:gd name="T41" fmla="*/ 34438115 h 37"/>
                <a:gd name="T42" fmla="*/ 23050662 w 85"/>
                <a:gd name="T43" fmla="*/ 36527796 h 37"/>
                <a:gd name="T44" fmla="*/ 27822959 w 85"/>
                <a:gd name="T45" fmla="*/ 38034850 h 37"/>
                <a:gd name="T46" fmla="*/ 37297159 w 85"/>
                <a:gd name="T47" fmla="*/ 36527796 h 37"/>
                <a:gd name="T48" fmla="*/ 41218871 w 85"/>
                <a:gd name="T49" fmla="*/ 34438115 h 37"/>
                <a:gd name="T50" fmla="*/ 51819143 w 85"/>
                <a:gd name="T51" fmla="*/ 30401057 h 37"/>
                <a:gd name="T52" fmla="*/ 56614992 w 85"/>
                <a:gd name="T53" fmla="*/ 28211999 h 37"/>
                <a:gd name="T54" fmla="*/ 63102343 w 85"/>
                <a:gd name="T55" fmla="*/ 28211999 h 37"/>
                <a:gd name="T56" fmla="*/ 68757620 w 85"/>
                <a:gd name="T57" fmla="*/ 29450962 h 37"/>
                <a:gd name="T58" fmla="*/ 76394369 w 85"/>
                <a:gd name="T59" fmla="*/ 23005635 h 37"/>
                <a:gd name="T60" fmla="*/ 80532281 w 85"/>
                <a:gd name="T61" fmla="*/ 16681192 h 37"/>
                <a:gd name="T62" fmla="*/ 72784770 w 85"/>
                <a:gd name="T63" fmla="*/ 12782271 h 37"/>
                <a:gd name="T64" fmla="*/ 70768755 w 85"/>
                <a:gd name="T65" fmla="*/ 15991929 h 37"/>
                <a:gd name="T66" fmla="*/ 67876664 w 85"/>
                <a:gd name="T67" fmla="*/ 15991929 h 37"/>
                <a:gd name="T68" fmla="*/ 65148551 w 85"/>
                <a:gd name="T69" fmla="*/ 12782271 h 37"/>
                <a:gd name="T70" fmla="*/ 65148551 w 85"/>
                <a:gd name="T71" fmla="*/ 6088044 h 37"/>
                <a:gd name="T72" fmla="*/ 59495581 w 85"/>
                <a:gd name="T73" fmla="*/ 2259676 h 37"/>
                <a:gd name="T74" fmla="*/ 55361812 w 85"/>
                <a:gd name="T75" fmla="*/ 6088044 h 37"/>
                <a:gd name="T76" fmla="*/ 51819143 w 85"/>
                <a:gd name="T77" fmla="*/ 9273291 h 37"/>
                <a:gd name="T78" fmla="*/ 54508021 w 85"/>
                <a:gd name="T79" fmla="*/ 12782271 h 37"/>
                <a:gd name="T80" fmla="*/ 55361812 w 85"/>
                <a:gd name="T81" fmla="*/ 17630051 h 37"/>
                <a:gd name="T82" fmla="*/ 55361812 w 85"/>
                <a:gd name="T83" fmla="*/ 21127764 h 37"/>
                <a:gd name="T84" fmla="*/ 49737144 w 85"/>
                <a:gd name="T85" fmla="*/ 19795716 h 37"/>
                <a:gd name="T86" fmla="*/ 44088677 w 85"/>
                <a:gd name="T87" fmla="*/ 21127764 h 37"/>
                <a:gd name="T88" fmla="*/ 39986992 w 85"/>
                <a:gd name="T89" fmla="*/ 13732337 h 37"/>
                <a:gd name="T90" fmla="*/ 33471350 w 85"/>
                <a:gd name="T91" fmla="*/ 10580673 h 3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5"/>
                <a:gd name="T139" fmla="*/ 0 h 37"/>
                <a:gd name="T140" fmla="*/ 85 w 85"/>
                <a:gd name="T141" fmla="*/ 37 h 3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5" h="37">
                  <a:moveTo>
                    <a:pt x="35" y="10"/>
                  </a:moveTo>
                  <a:cubicBezTo>
                    <a:pt x="33" y="10"/>
                    <a:pt x="31" y="10"/>
                    <a:pt x="29" y="10"/>
                  </a:cubicBezTo>
                  <a:cubicBezTo>
                    <a:pt x="28" y="8"/>
                    <a:pt x="29" y="7"/>
                    <a:pt x="28" y="6"/>
                  </a:cubicBezTo>
                  <a:cubicBezTo>
                    <a:pt x="27" y="4"/>
                    <a:pt x="25" y="4"/>
                    <a:pt x="23" y="5"/>
                  </a:cubicBezTo>
                  <a:cubicBezTo>
                    <a:pt x="23" y="5"/>
                    <a:pt x="23" y="6"/>
                    <a:pt x="22" y="6"/>
                  </a:cubicBezTo>
                  <a:cubicBezTo>
                    <a:pt x="20" y="6"/>
                    <a:pt x="18" y="6"/>
                    <a:pt x="17" y="8"/>
                  </a:cubicBezTo>
                  <a:cubicBezTo>
                    <a:pt x="16" y="9"/>
                    <a:pt x="19" y="9"/>
                    <a:pt x="20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8" y="11"/>
                    <a:pt x="15" y="10"/>
                    <a:pt x="13" y="11"/>
                  </a:cubicBezTo>
                  <a:cubicBezTo>
                    <a:pt x="12" y="12"/>
                    <a:pt x="9" y="12"/>
                    <a:pt x="9" y="14"/>
                  </a:cubicBezTo>
                  <a:cubicBezTo>
                    <a:pt x="10" y="14"/>
                    <a:pt x="12" y="14"/>
                    <a:pt x="12" y="16"/>
                  </a:cubicBezTo>
                  <a:cubicBezTo>
                    <a:pt x="10" y="17"/>
                    <a:pt x="7" y="16"/>
                    <a:pt x="5" y="18"/>
                  </a:cubicBezTo>
                  <a:cubicBezTo>
                    <a:pt x="5" y="18"/>
                    <a:pt x="5" y="19"/>
                    <a:pt x="5" y="19"/>
                  </a:cubicBezTo>
                  <a:cubicBezTo>
                    <a:pt x="8" y="21"/>
                    <a:pt x="11" y="19"/>
                    <a:pt x="14" y="18"/>
                  </a:cubicBezTo>
                  <a:cubicBezTo>
                    <a:pt x="15" y="18"/>
                    <a:pt x="16" y="18"/>
                    <a:pt x="17" y="18"/>
                  </a:cubicBezTo>
                  <a:cubicBezTo>
                    <a:pt x="13" y="20"/>
                    <a:pt x="9" y="20"/>
                    <a:pt x="6" y="21"/>
                  </a:cubicBezTo>
                  <a:cubicBezTo>
                    <a:pt x="5" y="21"/>
                    <a:pt x="3" y="21"/>
                    <a:pt x="2" y="21"/>
                  </a:cubicBezTo>
                  <a:cubicBezTo>
                    <a:pt x="2" y="22"/>
                    <a:pt x="1" y="22"/>
                    <a:pt x="0" y="22"/>
                  </a:cubicBezTo>
                  <a:cubicBezTo>
                    <a:pt x="0" y="23"/>
                    <a:pt x="0" y="24"/>
                    <a:pt x="0" y="24"/>
                  </a:cubicBezTo>
                  <a:cubicBezTo>
                    <a:pt x="2" y="25"/>
                    <a:pt x="4" y="24"/>
                    <a:pt x="7" y="24"/>
                  </a:cubicBezTo>
                  <a:cubicBezTo>
                    <a:pt x="8" y="25"/>
                    <a:pt x="8" y="26"/>
                    <a:pt x="9" y="26"/>
                  </a:cubicBezTo>
                  <a:cubicBezTo>
                    <a:pt x="10" y="26"/>
                    <a:pt x="12" y="26"/>
                    <a:pt x="12" y="26"/>
                  </a:cubicBezTo>
                  <a:cubicBezTo>
                    <a:pt x="13" y="25"/>
                    <a:pt x="14" y="25"/>
                    <a:pt x="15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8" y="27"/>
                    <a:pt x="19" y="27"/>
                    <a:pt x="20" y="27"/>
                  </a:cubicBezTo>
                  <a:cubicBezTo>
                    <a:pt x="22" y="26"/>
                    <a:pt x="22" y="24"/>
                    <a:pt x="24" y="22"/>
                  </a:cubicBezTo>
                  <a:cubicBezTo>
                    <a:pt x="25" y="22"/>
                    <a:pt x="25" y="22"/>
                    <a:pt x="26" y="22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5" y="23"/>
                    <a:pt x="24" y="25"/>
                    <a:pt x="25" y="27"/>
                  </a:cubicBezTo>
                  <a:cubicBezTo>
                    <a:pt x="25" y="27"/>
                    <a:pt x="26" y="27"/>
                    <a:pt x="26" y="27"/>
                  </a:cubicBezTo>
                  <a:cubicBezTo>
                    <a:pt x="28" y="25"/>
                    <a:pt x="31" y="26"/>
                    <a:pt x="33" y="25"/>
                  </a:cubicBezTo>
                  <a:cubicBezTo>
                    <a:pt x="33" y="25"/>
                    <a:pt x="34" y="25"/>
                    <a:pt x="35" y="25"/>
                  </a:cubicBezTo>
                  <a:cubicBezTo>
                    <a:pt x="36" y="24"/>
                    <a:pt x="37" y="24"/>
                    <a:pt x="39" y="25"/>
                  </a:cubicBezTo>
                  <a:cubicBezTo>
                    <a:pt x="39" y="25"/>
                    <a:pt x="41" y="25"/>
                    <a:pt x="41" y="25"/>
                  </a:cubicBezTo>
                  <a:cubicBezTo>
                    <a:pt x="42" y="24"/>
                    <a:pt x="42" y="24"/>
                    <a:pt x="43" y="24"/>
                  </a:cubicBezTo>
                  <a:cubicBezTo>
                    <a:pt x="43" y="25"/>
                    <a:pt x="43" y="26"/>
                    <a:pt x="43" y="26"/>
                  </a:cubicBezTo>
                  <a:cubicBezTo>
                    <a:pt x="42" y="26"/>
                    <a:pt x="42" y="27"/>
                    <a:pt x="41" y="26"/>
                  </a:cubicBezTo>
                  <a:cubicBezTo>
                    <a:pt x="37" y="26"/>
                    <a:pt x="33" y="27"/>
                    <a:pt x="29" y="28"/>
                  </a:cubicBezTo>
                  <a:cubicBezTo>
                    <a:pt x="28" y="28"/>
                    <a:pt x="28" y="28"/>
                    <a:pt x="27" y="28"/>
                  </a:cubicBezTo>
                  <a:cubicBezTo>
                    <a:pt x="27" y="29"/>
                    <a:pt x="26" y="30"/>
                    <a:pt x="26" y="30"/>
                  </a:cubicBezTo>
                  <a:cubicBezTo>
                    <a:pt x="24" y="30"/>
                    <a:pt x="23" y="30"/>
                    <a:pt x="21" y="30"/>
                  </a:cubicBezTo>
                  <a:cubicBezTo>
                    <a:pt x="20" y="31"/>
                    <a:pt x="19" y="32"/>
                    <a:pt x="20" y="33"/>
                  </a:cubicBezTo>
                  <a:cubicBezTo>
                    <a:pt x="20" y="34"/>
                    <a:pt x="21" y="34"/>
                    <a:pt x="21" y="34"/>
                  </a:cubicBezTo>
                  <a:cubicBezTo>
                    <a:pt x="22" y="34"/>
                    <a:pt x="23" y="35"/>
                    <a:pt x="24" y="35"/>
                  </a:cubicBezTo>
                  <a:cubicBezTo>
                    <a:pt x="25" y="36"/>
                    <a:pt x="26" y="36"/>
                    <a:pt x="27" y="36"/>
                  </a:cubicBezTo>
                  <a:cubicBezTo>
                    <a:pt x="28" y="36"/>
                    <a:pt x="28" y="36"/>
                    <a:pt x="29" y="36"/>
                  </a:cubicBezTo>
                  <a:cubicBezTo>
                    <a:pt x="31" y="37"/>
                    <a:pt x="33" y="37"/>
                    <a:pt x="34" y="36"/>
                  </a:cubicBezTo>
                  <a:cubicBezTo>
                    <a:pt x="36" y="36"/>
                    <a:pt x="37" y="36"/>
                    <a:pt x="39" y="35"/>
                  </a:cubicBezTo>
                  <a:cubicBezTo>
                    <a:pt x="40" y="34"/>
                    <a:pt x="42" y="34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5" y="32"/>
                    <a:pt x="47" y="30"/>
                    <a:pt x="49" y="30"/>
                  </a:cubicBezTo>
                  <a:cubicBezTo>
                    <a:pt x="51" y="30"/>
                    <a:pt x="53" y="30"/>
                    <a:pt x="54" y="29"/>
                  </a:cubicBezTo>
                  <a:cubicBezTo>
                    <a:pt x="55" y="29"/>
                    <a:pt x="56" y="28"/>
                    <a:pt x="57" y="27"/>
                  </a:cubicBezTo>
                  <a:cubicBezTo>
                    <a:pt x="57" y="27"/>
                    <a:pt x="58" y="27"/>
                    <a:pt x="59" y="27"/>
                  </a:cubicBezTo>
                  <a:cubicBezTo>
                    <a:pt x="60" y="28"/>
                    <a:pt x="62" y="30"/>
                    <a:pt x="63" y="29"/>
                  </a:cubicBezTo>
                  <a:cubicBezTo>
                    <a:pt x="64" y="29"/>
                    <a:pt x="65" y="28"/>
                    <a:pt x="66" y="27"/>
                  </a:cubicBezTo>
                  <a:cubicBezTo>
                    <a:pt x="67" y="27"/>
                    <a:pt x="68" y="28"/>
                    <a:pt x="69" y="28"/>
                  </a:cubicBezTo>
                  <a:cubicBezTo>
                    <a:pt x="70" y="29"/>
                    <a:pt x="71" y="29"/>
                    <a:pt x="72" y="28"/>
                  </a:cubicBezTo>
                  <a:cubicBezTo>
                    <a:pt x="74" y="26"/>
                    <a:pt x="76" y="27"/>
                    <a:pt x="78" y="26"/>
                  </a:cubicBezTo>
                  <a:cubicBezTo>
                    <a:pt x="79" y="25"/>
                    <a:pt x="79" y="23"/>
                    <a:pt x="80" y="22"/>
                  </a:cubicBezTo>
                  <a:cubicBezTo>
                    <a:pt x="80" y="21"/>
                    <a:pt x="82" y="22"/>
                    <a:pt x="83" y="21"/>
                  </a:cubicBezTo>
                  <a:cubicBezTo>
                    <a:pt x="84" y="19"/>
                    <a:pt x="85" y="17"/>
                    <a:pt x="84" y="16"/>
                  </a:cubicBezTo>
                  <a:cubicBezTo>
                    <a:pt x="83" y="14"/>
                    <a:pt x="81" y="13"/>
                    <a:pt x="79" y="12"/>
                  </a:cubicBezTo>
                  <a:cubicBezTo>
                    <a:pt x="78" y="12"/>
                    <a:pt x="77" y="11"/>
                    <a:pt x="76" y="12"/>
                  </a:cubicBezTo>
                  <a:cubicBezTo>
                    <a:pt x="76" y="13"/>
                    <a:pt x="76" y="14"/>
                    <a:pt x="75" y="15"/>
                  </a:cubicBezTo>
                  <a:cubicBezTo>
                    <a:pt x="75" y="16"/>
                    <a:pt x="74" y="16"/>
                    <a:pt x="74" y="15"/>
                  </a:cubicBezTo>
                  <a:cubicBezTo>
                    <a:pt x="73" y="15"/>
                    <a:pt x="73" y="15"/>
                    <a:pt x="72" y="14"/>
                  </a:cubicBezTo>
                  <a:cubicBezTo>
                    <a:pt x="72" y="14"/>
                    <a:pt x="71" y="14"/>
                    <a:pt x="71" y="15"/>
                  </a:cubicBezTo>
                  <a:cubicBezTo>
                    <a:pt x="70" y="15"/>
                    <a:pt x="69" y="17"/>
                    <a:pt x="68" y="16"/>
                  </a:cubicBezTo>
                  <a:cubicBezTo>
                    <a:pt x="68" y="15"/>
                    <a:pt x="69" y="14"/>
                    <a:pt x="68" y="12"/>
                  </a:cubicBezTo>
                  <a:cubicBezTo>
                    <a:pt x="67" y="12"/>
                    <a:pt x="67" y="11"/>
                    <a:pt x="68" y="10"/>
                  </a:cubicBezTo>
                  <a:cubicBezTo>
                    <a:pt x="68" y="9"/>
                    <a:pt x="68" y="7"/>
                    <a:pt x="68" y="6"/>
                  </a:cubicBezTo>
                  <a:cubicBezTo>
                    <a:pt x="67" y="5"/>
                    <a:pt x="68" y="3"/>
                    <a:pt x="68" y="1"/>
                  </a:cubicBezTo>
                  <a:cubicBezTo>
                    <a:pt x="66" y="0"/>
                    <a:pt x="64" y="1"/>
                    <a:pt x="62" y="2"/>
                  </a:cubicBezTo>
                  <a:cubicBezTo>
                    <a:pt x="62" y="2"/>
                    <a:pt x="62" y="3"/>
                    <a:pt x="61" y="3"/>
                  </a:cubicBezTo>
                  <a:cubicBezTo>
                    <a:pt x="60" y="4"/>
                    <a:pt x="59" y="5"/>
                    <a:pt x="58" y="6"/>
                  </a:cubicBezTo>
                  <a:cubicBezTo>
                    <a:pt x="57" y="7"/>
                    <a:pt x="56" y="6"/>
                    <a:pt x="54" y="7"/>
                  </a:cubicBezTo>
                  <a:cubicBezTo>
                    <a:pt x="54" y="8"/>
                    <a:pt x="53" y="9"/>
                    <a:pt x="54" y="9"/>
                  </a:cubicBezTo>
                  <a:cubicBezTo>
                    <a:pt x="55" y="10"/>
                    <a:pt x="56" y="10"/>
                    <a:pt x="57" y="10"/>
                  </a:cubicBezTo>
                  <a:cubicBezTo>
                    <a:pt x="57" y="11"/>
                    <a:pt x="58" y="12"/>
                    <a:pt x="57" y="12"/>
                  </a:cubicBezTo>
                  <a:cubicBezTo>
                    <a:pt x="56" y="13"/>
                    <a:pt x="54" y="12"/>
                    <a:pt x="54" y="14"/>
                  </a:cubicBezTo>
                  <a:cubicBezTo>
                    <a:pt x="55" y="16"/>
                    <a:pt x="57" y="15"/>
                    <a:pt x="58" y="17"/>
                  </a:cubicBezTo>
                  <a:cubicBezTo>
                    <a:pt x="59" y="18"/>
                    <a:pt x="59" y="19"/>
                    <a:pt x="59" y="20"/>
                  </a:cubicBezTo>
                  <a:cubicBezTo>
                    <a:pt x="59" y="20"/>
                    <a:pt x="58" y="20"/>
                    <a:pt x="58" y="20"/>
                  </a:cubicBezTo>
                  <a:cubicBezTo>
                    <a:pt x="57" y="20"/>
                    <a:pt x="56" y="20"/>
                    <a:pt x="55" y="20"/>
                  </a:cubicBezTo>
                  <a:cubicBezTo>
                    <a:pt x="54" y="20"/>
                    <a:pt x="53" y="19"/>
                    <a:pt x="52" y="19"/>
                  </a:cubicBezTo>
                  <a:cubicBezTo>
                    <a:pt x="51" y="18"/>
                    <a:pt x="50" y="18"/>
                    <a:pt x="49" y="19"/>
                  </a:cubicBezTo>
                  <a:cubicBezTo>
                    <a:pt x="48" y="20"/>
                    <a:pt x="47" y="20"/>
                    <a:pt x="46" y="20"/>
                  </a:cubicBezTo>
                  <a:cubicBezTo>
                    <a:pt x="45" y="19"/>
                    <a:pt x="43" y="17"/>
                    <a:pt x="42" y="16"/>
                  </a:cubicBezTo>
                  <a:cubicBezTo>
                    <a:pt x="42" y="15"/>
                    <a:pt x="42" y="14"/>
                    <a:pt x="42" y="13"/>
                  </a:cubicBezTo>
                  <a:cubicBezTo>
                    <a:pt x="41" y="12"/>
                    <a:pt x="40" y="11"/>
                    <a:pt x="39" y="10"/>
                  </a:cubicBezTo>
                  <a:cubicBezTo>
                    <a:pt x="38" y="9"/>
                    <a:pt x="36" y="10"/>
                    <a:pt x="35" y="1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2" name="Freeform 64"/>
            <p:cNvSpPr>
              <a:spLocks/>
            </p:cNvSpPr>
            <p:nvPr/>
          </p:nvSpPr>
          <p:spPr bwMode="auto">
            <a:xfrm>
              <a:off x="6501340" y="3228572"/>
              <a:ext cx="5769" cy="4597"/>
            </a:xfrm>
            <a:custGeom>
              <a:avLst/>
              <a:gdLst>
                <a:gd name="T0" fmla="*/ 9492531 w 12"/>
                <a:gd name="T1" fmla="*/ 3238158 h 9"/>
                <a:gd name="T2" fmla="*/ 1147259 w 12"/>
                <a:gd name="T3" fmla="*/ 6550065 h 9"/>
                <a:gd name="T4" fmla="*/ 1147259 w 12"/>
                <a:gd name="T5" fmla="*/ 11470653 h 9"/>
                <a:gd name="T6" fmla="*/ 3927944 w 12"/>
                <a:gd name="T7" fmla="*/ 14708563 h 9"/>
                <a:gd name="T8" fmla="*/ 6700310 w 12"/>
                <a:gd name="T9" fmla="*/ 14708563 h 9"/>
                <a:gd name="T10" fmla="*/ 10639125 w 12"/>
                <a:gd name="T11" fmla="*/ 10015063 h 9"/>
                <a:gd name="T12" fmla="*/ 15045123 w 12"/>
                <a:gd name="T13" fmla="*/ 6550065 h 9"/>
                <a:gd name="T14" fmla="*/ 12264884 w 12"/>
                <a:gd name="T15" fmla="*/ 0 h 9"/>
                <a:gd name="T16" fmla="*/ 9492531 w 12"/>
                <a:gd name="T17" fmla="*/ 0 h 9"/>
                <a:gd name="T18" fmla="*/ 9492531 w 12"/>
                <a:gd name="T19" fmla="*/ 3238158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9"/>
                <a:gd name="T32" fmla="*/ 12 w 1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9">
                  <a:moveTo>
                    <a:pt x="7" y="2"/>
                  </a:moveTo>
                  <a:cubicBezTo>
                    <a:pt x="5" y="3"/>
                    <a:pt x="3" y="3"/>
                    <a:pt x="1" y="4"/>
                  </a:cubicBezTo>
                  <a:cubicBezTo>
                    <a:pt x="0" y="5"/>
                    <a:pt x="1" y="6"/>
                    <a:pt x="1" y="7"/>
                  </a:cubicBezTo>
                  <a:cubicBezTo>
                    <a:pt x="1" y="8"/>
                    <a:pt x="2" y="8"/>
                    <a:pt x="3" y="9"/>
                  </a:cubicBezTo>
                  <a:cubicBezTo>
                    <a:pt x="4" y="9"/>
                    <a:pt x="5" y="9"/>
                    <a:pt x="5" y="9"/>
                  </a:cubicBezTo>
                  <a:cubicBezTo>
                    <a:pt x="6" y="8"/>
                    <a:pt x="7" y="7"/>
                    <a:pt x="8" y="6"/>
                  </a:cubicBezTo>
                  <a:cubicBezTo>
                    <a:pt x="9" y="5"/>
                    <a:pt x="10" y="5"/>
                    <a:pt x="11" y="4"/>
                  </a:cubicBezTo>
                  <a:cubicBezTo>
                    <a:pt x="12" y="3"/>
                    <a:pt x="10" y="1"/>
                    <a:pt x="9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7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3" name="Freeform 65"/>
            <p:cNvSpPr>
              <a:spLocks/>
            </p:cNvSpPr>
            <p:nvPr/>
          </p:nvSpPr>
          <p:spPr bwMode="auto">
            <a:xfrm>
              <a:off x="6499835" y="3231816"/>
              <a:ext cx="2258" cy="2163"/>
            </a:xfrm>
            <a:custGeom>
              <a:avLst/>
              <a:gdLst>
                <a:gd name="T0" fmla="*/ 6243820 w 4"/>
                <a:gd name="T1" fmla="*/ 566216 h 5"/>
                <a:gd name="T2" fmla="*/ 2497529 w 4"/>
                <a:gd name="T3" fmla="*/ 257371 h 5"/>
                <a:gd name="T4" fmla="*/ 6243820 w 4"/>
                <a:gd name="T5" fmla="*/ 1245675 h 5"/>
                <a:gd name="T6" fmla="*/ 6243820 w 4"/>
                <a:gd name="T7" fmla="*/ 566216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5"/>
                <a:gd name="T14" fmla="*/ 4 w 4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5">
                  <a:moveTo>
                    <a:pt x="3" y="2"/>
                  </a:moveTo>
                  <a:cubicBezTo>
                    <a:pt x="3" y="1"/>
                    <a:pt x="1" y="0"/>
                    <a:pt x="1" y="1"/>
                  </a:cubicBezTo>
                  <a:cubicBezTo>
                    <a:pt x="0" y="2"/>
                    <a:pt x="1" y="5"/>
                    <a:pt x="3" y="4"/>
                  </a:cubicBezTo>
                  <a:cubicBezTo>
                    <a:pt x="4" y="4"/>
                    <a:pt x="4" y="3"/>
                    <a:pt x="3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4" name="Freeform 66"/>
            <p:cNvSpPr>
              <a:spLocks/>
            </p:cNvSpPr>
            <p:nvPr/>
          </p:nvSpPr>
          <p:spPr bwMode="auto">
            <a:xfrm>
              <a:off x="6481776" y="3321853"/>
              <a:ext cx="5017" cy="11085"/>
            </a:xfrm>
            <a:custGeom>
              <a:avLst/>
              <a:gdLst>
                <a:gd name="T0" fmla="*/ 6840539 w 11"/>
                <a:gd name="T1" fmla="*/ 1852956 h 23"/>
                <a:gd name="T2" fmla="*/ 3587761 w 11"/>
                <a:gd name="T3" fmla="*/ 1852956 h 23"/>
                <a:gd name="T4" fmla="*/ 2007625 w 11"/>
                <a:gd name="T5" fmla="*/ 789222 h 23"/>
                <a:gd name="T6" fmla="*/ 849380 w 11"/>
                <a:gd name="T7" fmla="*/ 789222 h 23"/>
                <a:gd name="T8" fmla="*/ 0 w 11"/>
                <a:gd name="T9" fmla="*/ 5868462 h 23"/>
                <a:gd name="T10" fmla="*/ 2007625 w 11"/>
                <a:gd name="T11" fmla="*/ 9424793 h 23"/>
                <a:gd name="T12" fmla="*/ 2894074 w 11"/>
                <a:gd name="T13" fmla="*/ 13778124 h 23"/>
                <a:gd name="T14" fmla="*/ 3587761 w 11"/>
                <a:gd name="T15" fmla="*/ 15292894 h 23"/>
                <a:gd name="T16" fmla="*/ 8480159 w 11"/>
                <a:gd name="T17" fmla="*/ 19630332 h 23"/>
                <a:gd name="T18" fmla="*/ 9698926 w 11"/>
                <a:gd name="T19" fmla="*/ 19630332 h 23"/>
                <a:gd name="T20" fmla="*/ 8480159 w 11"/>
                <a:gd name="T21" fmla="*/ 17792257 h 23"/>
                <a:gd name="T22" fmla="*/ 7630664 w 11"/>
                <a:gd name="T23" fmla="*/ 15292894 h 23"/>
                <a:gd name="T24" fmla="*/ 6840539 w 11"/>
                <a:gd name="T25" fmla="*/ 11923961 h 23"/>
                <a:gd name="T26" fmla="*/ 5595820 w 11"/>
                <a:gd name="T27" fmla="*/ 10214021 h 23"/>
                <a:gd name="T28" fmla="*/ 9698926 w 11"/>
                <a:gd name="T29" fmla="*/ 4350418 h 23"/>
                <a:gd name="T30" fmla="*/ 9698926 w 11"/>
                <a:gd name="T31" fmla="*/ 3227747 h 23"/>
                <a:gd name="T32" fmla="*/ 6840539 w 11"/>
                <a:gd name="T33" fmla="*/ 1852956 h 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1"/>
                <a:gd name="T52" fmla="*/ 0 h 23"/>
                <a:gd name="T53" fmla="*/ 11 w 11"/>
                <a:gd name="T54" fmla="*/ 23 h 2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1" h="23">
                  <a:moveTo>
                    <a:pt x="7" y="2"/>
                  </a:moveTo>
                  <a:cubicBezTo>
                    <a:pt x="6" y="2"/>
                    <a:pt x="5" y="3"/>
                    <a:pt x="4" y="2"/>
                  </a:cubicBezTo>
                  <a:cubicBezTo>
                    <a:pt x="4" y="2"/>
                    <a:pt x="3" y="1"/>
                    <a:pt x="2" y="1"/>
                  </a:cubicBezTo>
                  <a:cubicBezTo>
                    <a:pt x="2" y="1"/>
                    <a:pt x="1" y="0"/>
                    <a:pt x="1" y="1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1" y="9"/>
                    <a:pt x="2" y="10"/>
                    <a:pt x="2" y="11"/>
                  </a:cubicBezTo>
                  <a:cubicBezTo>
                    <a:pt x="3" y="13"/>
                    <a:pt x="3" y="14"/>
                    <a:pt x="3" y="16"/>
                  </a:cubicBezTo>
                  <a:cubicBezTo>
                    <a:pt x="4" y="17"/>
                    <a:pt x="4" y="17"/>
                    <a:pt x="4" y="18"/>
                  </a:cubicBezTo>
                  <a:cubicBezTo>
                    <a:pt x="5" y="20"/>
                    <a:pt x="7" y="22"/>
                    <a:pt x="9" y="23"/>
                  </a:cubicBezTo>
                  <a:cubicBezTo>
                    <a:pt x="9" y="23"/>
                    <a:pt x="9" y="23"/>
                    <a:pt x="10" y="23"/>
                  </a:cubicBezTo>
                  <a:cubicBezTo>
                    <a:pt x="9" y="22"/>
                    <a:pt x="10" y="22"/>
                    <a:pt x="9" y="21"/>
                  </a:cubicBezTo>
                  <a:cubicBezTo>
                    <a:pt x="9" y="20"/>
                    <a:pt x="8" y="19"/>
                    <a:pt x="8" y="18"/>
                  </a:cubicBezTo>
                  <a:cubicBezTo>
                    <a:pt x="7" y="16"/>
                    <a:pt x="7" y="15"/>
                    <a:pt x="7" y="14"/>
                  </a:cubicBezTo>
                  <a:cubicBezTo>
                    <a:pt x="6" y="13"/>
                    <a:pt x="6" y="12"/>
                    <a:pt x="6" y="12"/>
                  </a:cubicBezTo>
                  <a:cubicBezTo>
                    <a:pt x="8" y="9"/>
                    <a:pt x="9" y="7"/>
                    <a:pt x="10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1" y="2"/>
                    <a:pt x="9" y="2"/>
                    <a:pt x="7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5" name="Freeform 67"/>
            <p:cNvSpPr>
              <a:spLocks/>
            </p:cNvSpPr>
            <p:nvPr/>
          </p:nvSpPr>
          <p:spPr bwMode="auto">
            <a:xfrm>
              <a:off x="6493314" y="3340238"/>
              <a:ext cx="15050" cy="14600"/>
            </a:xfrm>
            <a:custGeom>
              <a:avLst/>
              <a:gdLst>
                <a:gd name="T0" fmla="*/ 28532695 w 32"/>
                <a:gd name="T1" fmla="*/ 17602945 h 30"/>
                <a:gd name="T2" fmla="*/ 23798961 w 32"/>
                <a:gd name="T3" fmla="*/ 13529051 h 30"/>
                <a:gd name="T4" fmla="*/ 23798961 w 32"/>
                <a:gd name="T5" fmla="*/ 10749866 h 30"/>
                <a:gd name="T6" fmla="*/ 19419078 w 32"/>
                <a:gd name="T7" fmla="*/ 6950446 h 30"/>
                <a:gd name="T8" fmla="*/ 17289151 w 32"/>
                <a:gd name="T9" fmla="*/ 5716500 h 30"/>
                <a:gd name="T10" fmla="*/ 13463332 w 32"/>
                <a:gd name="T11" fmla="*/ 3638831 h 30"/>
                <a:gd name="T12" fmla="*/ 9111496 w 32"/>
                <a:gd name="T13" fmla="*/ 2033596 h 30"/>
                <a:gd name="T14" fmla="*/ 2129866 w 32"/>
                <a:gd name="T15" fmla="*/ 859266 h 30"/>
                <a:gd name="T16" fmla="*/ 896786 w 32"/>
                <a:gd name="T17" fmla="*/ 3638831 h 30"/>
                <a:gd name="T18" fmla="*/ 5955246 w 32"/>
                <a:gd name="T19" fmla="*/ 4812844 h 30"/>
                <a:gd name="T20" fmla="*/ 5955246 w 32"/>
                <a:gd name="T21" fmla="*/ 5716500 h 30"/>
                <a:gd name="T22" fmla="*/ 5058432 w 32"/>
                <a:gd name="T23" fmla="*/ 7817668 h 30"/>
                <a:gd name="T24" fmla="*/ 5955246 w 32"/>
                <a:gd name="T25" fmla="*/ 8611898 h 30"/>
                <a:gd name="T26" fmla="*/ 10335629 w 32"/>
                <a:gd name="T27" fmla="*/ 12629529 h 30"/>
                <a:gd name="T28" fmla="*/ 11241359 w 32"/>
                <a:gd name="T29" fmla="*/ 16449385 h 30"/>
                <a:gd name="T30" fmla="*/ 16353582 w 32"/>
                <a:gd name="T31" fmla="*/ 18501814 h 30"/>
                <a:gd name="T32" fmla="*/ 18521918 w 32"/>
                <a:gd name="T33" fmla="*/ 20381491 h 30"/>
                <a:gd name="T34" fmla="*/ 23798961 w 32"/>
                <a:gd name="T35" fmla="*/ 26091007 h 30"/>
                <a:gd name="T36" fmla="*/ 26698208 w 32"/>
                <a:gd name="T37" fmla="*/ 28219852 h 30"/>
                <a:gd name="T38" fmla="*/ 31975398 w 32"/>
                <a:gd name="T39" fmla="*/ 26957264 h 30"/>
                <a:gd name="T40" fmla="*/ 31975398 w 32"/>
                <a:gd name="T41" fmla="*/ 20381491 h 30"/>
                <a:gd name="T42" fmla="*/ 28532695 w 32"/>
                <a:gd name="T43" fmla="*/ 17602945 h 3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2"/>
                <a:gd name="T67" fmla="*/ 0 h 30"/>
                <a:gd name="T68" fmla="*/ 32 w 32"/>
                <a:gd name="T69" fmla="*/ 30 h 3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2" h="30">
                  <a:moveTo>
                    <a:pt x="28" y="18"/>
                  </a:moveTo>
                  <a:cubicBezTo>
                    <a:pt x="26" y="18"/>
                    <a:pt x="21" y="17"/>
                    <a:pt x="23" y="14"/>
                  </a:cubicBezTo>
                  <a:cubicBezTo>
                    <a:pt x="23" y="13"/>
                    <a:pt x="24" y="12"/>
                    <a:pt x="23" y="11"/>
                  </a:cubicBezTo>
                  <a:cubicBezTo>
                    <a:pt x="22" y="9"/>
                    <a:pt x="21" y="7"/>
                    <a:pt x="19" y="7"/>
                  </a:cubicBezTo>
                  <a:cubicBezTo>
                    <a:pt x="19" y="6"/>
                    <a:pt x="18" y="7"/>
                    <a:pt x="17" y="6"/>
                  </a:cubicBezTo>
                  <a:cubicBezTo>
                    <a:pt x="16" y="6"/>
                    <a:pt x="14" y="5"/>
                    <a:pt x="13" y="4"/>
                  </a:cubicBezTo>
                  <a:cubicBezTo>
                    <a:pt x="12" y="3"/>
                    <a:pt x="11" y="3"/>
                    <a:pt x="9" y="2"/>
                  </a:cubicBezTo>
                  <a:cubicBezTo>
                    <a:pt x="7" y="1"/>
                    <a:pt x="5" y="0"/>
                    <a:pt x="2" y="1"/>
                  </a:cubicBezTo>
                  <a:cubicBezTo>
                    <a:pt x="1" y="1"/>
                    <a:pt x="0" y="3"/>
                    <a:pt x="1" y="4"/>
                  </a:cubicBezTo>
                  <a:cubicBezTo>
                    <a:pt x="2" y="6"/>
                    <a:pt x="4" y="5"/>
                    <a:pt x="6" y="5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6"/>
                    <a:pt x="4" y="8"/>
                    <a:pt x="5" y="8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8" y="10"/>
                    <a:pt x="9" y="11"/>
                    <a:pt x="10" y="13"/>
                  </a:cubicBezTo>
                  <a:cubicBezTo>
                    <a:pt x="11" y="14"/>
                    <a:pt x="10" y="16"/>
                    <a:pt x="11" y="17"/>
                  </a:cubicBezTo>
                  <a:cubicBezTo>
                    <a:pt x="12" y="18"/>
                    <a:pt x="14" y="18"/>
                    <a:pt x="16" y="19"/>
                  </a:cubicBezTo>
                  <a:cubicBezTo>
                    <a:pt x="16" y="20"/>
                    <a:pt x="17" y="20"/>
                    <a:pt x="18" y="21"/>
                  </a:cubicBezTo>
                  <a:cubicBezTo>
                    <a:pt x="20" y="22"/>
                    <a:pt x="21" y="25"/>
                    <a:pt x="23" y="27"/>
                  </a:cubicBezTo>
                  <a:cubicBezTo>
                    <a:pt x="24" y="28"/>
                    <a:pt x="25" y="29"/>
                    <a:pt x="26" y="29"/>
                  </a:cubicBezTo>
                  <a:cubicBezTo>
                    <a:pt x="28" y="29"/>
                    <a:pt x="30" y="30"/>
                    <a:pt x="31" y="28"/>
                  </a:cubicBezTo>
                  <a:cubicBezTo>
                    <a:pt x="32" y="26"/>
                    <a:pt x="32" y="23"/>
                    <a:pt x="31" y="21"/>
                  </a:cubicBezTo>
                  <a:cubicBezTo>
                    <a:pt x="30" y="20"/>
                    <a:pt x="29" y="19"/>
                    <a:pt x="28" y="18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6" name="Freeform 68"/>
            <p:cNvSpPr>
              <a:spLocks/>
            </p:cNvSpPr>
            <p:nvPr/>
          </p:nvSpPr>
          <p:spPr bwMode="auto">
            <a:xfrm>
              <a:off x="6714295" y="3361598"/>
              <a:ext cx="8528" cy="5137"/>
            </a:xfrm>
            <a:custGeom>
              <a:avLst/>
              <a:gdLst>
                <a:gd name="T0" fmla="*/ 9902490 w 18"/>
                <a:gd name="T1" fmla="*/ 4745295 h 11"/>
                <a:gd name="T2" fmla="*/ 6253179 w 18"/>
                <a:gd name="T3" fmla="*/ 4745295 h 11"/>
                <a:gd name="T4" fmla="*/ 2970751 w 18"/>
                <a:gd name="T5" fmla="*/ 2007625 h 11"/>
                <a:gd name="T6" fmla="*/ 2970751 w 18"/>
                <a:gd name="T7" fmla="*/ 849380 h 11"/>
                <a:gd name="T8" fmla="*/ 727531 w 18"/>
                <a:gd name="T9" fmla="*/ 0 h 11"/>
                <a:gd name="T10" fmla="*/ 727531 w 18"/>
                <a:gd name="T11" fmla="*/ 2894074 h 11"/>
                <a:gd name="T12" fmla="*/ 2243220 w 18"/>
                <a:gd name="T13" fmla="*/ 5595820 h 11"/>
                <a:gd name="T14" fmla="*/ 4688532 w 18"/>
                <a:gd name="T15" fmla="*/ 7630664 h 11"/>
                <a:gd name="T16" fmla="*/ 5234180 w 18"/>
                <a:gd name="T17" fmla="*/ 7630664 h 11"/>
                <a:gd name="T18" fmla="*/ 9902490 w 18"/>
                <a:gd name="T19" fmla="*/ 9698926 h 11"/>
                <a:gd name="T20" fmla="*/ 10939908 w 18"/>
                <a:gd name="T21" fmla="*/ 9698926 h 11"/>
                <a:gd name="T22" fmla="*/ 10939908 w 18"/>
                <a:gd name="T23" fmla="*/ 8480159 h 11"/>
                <a:gd name="T24" fmla="*/ 13184928 w 18"/>
                <a:gd name="T25" fmla="*/ 6840539 h 11"/>
                <a:gd name="T26" fmla="*/ 13906432 w 18"/>
                <a:gd name="T27" fmla="*/ 5595820 h 11"/>
                <a:gd name="T28" fmla="*/ 13906432 w 18"/>
                <a:gd name="T29" fmla="*/ 4745295 h 11"/>
                <a:gd name="T30" fmla="*/ 9902490 w 18"/>
                <a:gd name="T31" fmla="*/ 4745295 h 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"/>
                <a:gd name="T49" fmla="*/ 0 h 11"/>
                <a:gd name="T50" fmla="*/ 18 w 18"/>
                <a:gd name="T51" fmla="*/ 11 h 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" h="11">
                  <a:moveTo>
                    <a:pt x="13" y="5"/>
                  </a:moveTo>
                  <a:cubicBezTo>
                    <a:pt x="11" y="6"/>
                    <a:pt x="9" y="6"/>
                    <a:pt x="8" y="5"/>
                  </a:cubicBezTo>
                  <a:cubicBezTo>
                    <a:pt x="6" y="5"/>
                    <a:pt x="5" y="3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1" y="4"/>
                    <a:pt x="2" y="5"/>
                    <a:pt x="3" y="6"/>
                  </a:cubicBezTo>
                  <a:cubicBezTo>
                    <a:pt x="4" y="7"/>
                    <a:pt x="5" y="7"/>
                    <a:pt x="6" y="8"/>
                  </a:cubicBezTo>
                  <a:cubicBezTo>
                    <a:pt x="6" y="8"/>
                    <a:pt x="7" y="8"/>
                    <a:pt x="7" y="8"/>
                  </a:cubicBezTo>
                  <a:cubicBezTo>
                    <a:pt x="9" y="9"/>
                    <a:pt x="11" y="9"/>
                    <a:pt x="13" y="10"/>
                  </a:cubicBezTo>
                  <a:cubicBezTo>
                    <a:pt x="13" y="11"/>
                    <a:pt x="13" y="11"/>
                    <a:pt x="14" y="10"/>
                  </a:cubicBezTo>
                  <a:cubicBezTo>
                    <a:pt x="14" y="10"/>
                    <a:pt x="14" y="10"/>
                    <a:pt x="14" y="9"/>
                  </a:cubicBezTo>
                  <a:cubicBezTo>
                    <a:pt x="15" y="9"/>
                    <a:pt x="16" y="8"/>
                    <a:pt x="17" y="7"/>
                  </a:cubicBezTo>
                  <a:cubicBezTo>
                    <a:pt x="17" y="7"/>
                    <a:pt x="17" y="6"/>
                    <a:pt x="18" y="6"/>
                  </a:cubicBezTo>
                  <a:cubicBezTo>
                    <a:pt x="18" y="6"/>
                    <a:pt x="18" y="5"/>
                    <a:pt x="18" y="5"/>
                  </a:cubicBezTo>
                  <a:cubicBezTo>
                    <a:pt x="17" y="4"/>
                    <a:pt x="15" y="5"/>
                    <a:pt x="13" y="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7" name="Freeform 69"/>
            <p:cNvSpPr>
              <a:spLocks/>
            </p:cNvSpPr>
            <p:nvPr/>
          </p:nvSpPr>
          <p:spPr bwMode="auto">
            <a:xfrm>
              <a:off x="6724077" y="3361598"/>
              <a:ext cx="6020" cy="6489"/>
            </a:xfrm>
            <a:custGeom>
              <a:avLst/>
              <a:gdLst>
                <a:gd name="T0" fmla="*/ 6350665 w 13"/>
                <a:gd name="T1" fmla="*/ 1947959 h 14"/>
                <a:gd name="T2" fmla="*/ 3318681 w 13"/>
                <a:gd name="T3" fmla="*/ 4591618 h 14"/>
                <a:gd name="T4" fmla="*/ 979497 w 13"/>
                <a:gd name="T5" fmla="*/ 6527726 h 14"/>
                <a:gd name="T6" fmla="*/ 0 w 13"/>
                <a:gd name="T7" fmla="*/ 8174845 h 14"/>
                <a:gd name="T8" fmla="*/ 0 w 13"/>
                <a:gd name="T9" fmla="*/ 11919092 h 14"/>
                <a:gd name="T10" fmla="*/ 4595099 w 13"/>
                <a:gd name="T11" fmla="*/ 12766089 h 14"/>
                <a:gd name="T12" fmla="*/ 6350665 w 13"/>
                <a:gd name="T13" fmla="*/ 9297269 h 14"/>
                <a:gd name="T14" fmla="*/ 7913775 w 13"/>
                <a:gd name="T15" fmla="*/ 9297269 h 14"/>
                <a:gd name="T16" fmla="*/ 7913775 w 13"/>
                <a:gd name="T17" fmla="*/ 12766089 h 14"/>
                <a:gd name="T18" fmla="*/ 8621839 w 13"/>
                <a:gd name="T19" fmla="*/ 12766089 h 14"/>
                <a:gd name="T20" fmla="*/ 9596174 w 13"/>
                <a:gd name="T21" fmla="*/ 11919092 h 14"/>
                <a:gd name="T22" fmla="*/ 13281841 w 13"/>
                <a:gd name="T23" fmla="*/ 10823097 h 14"/>
                <a:gd name="T24" fmla="*/ 13281841 w 13"/>
                <a:gd name="T25" fmla="*/ 7350477 h 14"/>
                <a:gd name="T26" fmla="*/ 9596174 w 13"/>
                <a:gd name="T27" fmla="*/ 7350477 h 14"/>
                <a:gd name="T28" fmla="*/ 9596174 w 13"/>
                <a:gd name="T29" fmla="*/ 4591618 h 14"/>
                <a:gd name="T30" fmla="*/ 10957538 w 13"/>
                <a:gd name="T31" fmla="*/ 3468116 h 14"/>
                <a:gd name="T32" fmla="*/ 10957538 w 13"/>
                <a:gd name="T33" fmla="*/ 1947959 h 14"/>
                <a:gd name="T34" fmla="*/ 9596174 w 13"/>
                <a:gd name="T35" fmla="*/ 0 h 14"/>
                <a:gd name="T36" fmla="*/ 7913775 w 13"/>
                <a:gd name="T37" fmla="*/ 0 h 14"/>
                <a:gd name="T38" fmla="*/ 6350665 w 13"/>
                <a:gd name="T39" fmla="*/ 1947959 h 1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3"/>
                <a:gd name="T61" fmla="*/ 0 h 14"/>
                <a:gd name="T62" fmla="*/ 13 w 13"/>
                <a:gd name="T63" fmla="*/ 14 h 1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3" h="14">
                  <a:moveTo>
                    <a:pt x="6" y="2"/>
                  </a:moveTo>
                  <a:cubicBezTo>
                    <a:pt x="4" y="3"/>
                    <a:pt x="4" y="4"/>
                    <a:pt x="3" y="5"/>
                  </a:cubicBezTo>
                  <a:cubicBezTo>
                    <a:pt x="2" y="6"/>
                    <a:pt x="2" y="6"/>
                    <a:pt x="1" y="7"/>
                  </a:cubicBezTo>
                  <a:cubicBezTo>
                    <a:pt x="1" y="7"/>
                    <a:pt x="1" y="8"/>
                    <a:pt x="0" y="9"/>
                  </a:cubicBezTo>
                  <a:cubicBezTo>
                    <a:pt x="0" y="10"/>
                    <a:pt x="0" y="12"/>
                    <a:pt x="0" y="13"/>
                  </a:cubicBezTo>
                  <a:cubicBezTo>
                    <a:pt x="1" y="14"/>
                    <a:pt x="3" y="14"/>
                    <a:pt x="4" y="14"/>
                  </a:cubicBezTo>
                  <a:cubicBezTo>
                    <a:pt x="5" y="13"/>
                    <a:pt x="5" y="11"/>
                    <a:pt x="6" y="10"/>
                  </a:cubicBezTo>
                  <a:cubicBezTo>
                    <a:pt x="6" y="10"/>
                    <a:pt x="7" y="10"/>
                    <a:pt x="7" y="10"/>
                  </a:cubicBezTo>
                  <a:cubicBezTo>
                    <a:pt x="7" y="12"/>
                    <a:pt x="6" y="13"/>
                    <a:pt x="7" y="14"/>
                  </a:cubicBezTo>
                  <a:cubicBezTo>
                    <a:pt x="7" y="14"/>
                    <a:pt x="8" y="14"/>
                    <a:pt x="8" y="14"/>
                  </a:cubicBezTo>
                  <a:cubicBezTo>
                    <a:pt x="8" y="14"/>
                    <a:pt x="9" y="13"/>
                    <a:pt x="9" y="13"/>
                  </a:cubicBezTo>
                  <a:cubicBezTo>
                    <a:pt x="10" y="12"/>
                    <a:pt x="11" y="12"/>
                    <a:pt x="12" y="12"/>
                  </a:cubicBezTo>
                  <a:cubicBezTo>
                    <a:pt x="13" y="11"/>
                    <a:pt x="13" y="9"/>
                    <a:pt x="12" y="8"/>
                  </a:cubicBezTo>
                  <a:cubicBezTo>
                    <a:pt x="12" y="7"/>
                    <a:pt x="10" y="8"/>
                    <a:pt x="9" y="8"/>
                  </a:cubicBezTo>
                  <a:cubicBezTo>
                    <a:pt x="8" y="7"/>
                    <a:pt x="8" y="6"/>
                    <a:pt x="9" y="5"/>
                  </a:cubicBezTo>
                  <a:cubicBezTo>
                    <a:pt x="9" y="5"/>
                    <a:pt x="10" y="4"/>
                    <a:pt x="10" y="4"/>
                  </a:cubicBezTo>
                  <a:cubicBezTo>
                    <a:pt x="11" y="3"/>
                    <a:pt x="11" y="2"/>
                    <a:pt x="10" y="2"/>
                  </a:cubicBezTo>
                  <a:cubicBezTo>
                    <a:pt x="10" y="1"/>
                    <a:pt x="9" y="1"/>
                    <a:pt x="9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7" y="1"/>
                    <a:pt x="6" y="2"/>
                    <a:pt x="6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8" name="Freeform 70"/>
            <p:cNvSpPr>
              <a:spLocks/>
            </p:cNvSpPr>
            <p:nvPr/>
          </p:nvSpPr>
          <p:spPr bwMode="auto">
            <a:xfrm>
              <a:off x="6732605" y="3336723"/>
              <a:ext cx="23327" cy="27308"/>
            </a:xfrm>
            <a:custGeom>
              <a:avLst/>
              <a:gdLst>
                <a:gd name="T0" fmla="*/ 17606647 w 50"/>
                <a:gd name="T1" fmla="*/ 11242634 h 56"/>
                <a:gd name="T2" fmla="*/ 9524393 w 50"/>
                <a:gd name="T3" fmla="*/ 24547148 h 56"/>
                <a:gd name="T4" fmla="*/ 5488568 w 50"/>
                <a:gd name="T5" fmla="*/ 29824358 h 56"/>
                <a:gd name="T6" fmla="*/ 2808927 w 50"/>
                <a:gd name="T7" fmla="*/ 32884631 h 56"/>
                <a:gd name="T8" fmla="*/ 8295957 w 50"/>
                <a:gd name="T9" fmla="*/ 34882765 h 56"/>
                <a:gd name="T10" fmla="*/ 5488568 w 50"/>
                <a:gd name="T11" fmla="*/ 35791972 h 56"/>
                <a:gd name="T12" fmla="*/ 835001 w 50"/>
                <a:gd name="T13" fmla="*/ 45228633 h 56"/>
                <a:gd name="T14" fmla="*/ 5488568 w 50"/>
                <a:gd name="T15" fmla="*/ 45228633 h 56"/>
                <a:gd name="T16" fmla="*/ 23108688 w 50"/>
                <a:gd name="T17" fmla="*/ 43218205 h 56"/>
                <a:gd name="T18" fmla="*/ 23940031 w 50"/>
                <a:gd name="T19" fmla="*/ 43218205 h 56"/>
                <a:gd name="T20" fmla="*/ 25902097 w 50"/>
                <a:gd name="T21" fmla="*/ 46120340 h 56"/>
                <a:gd name="T22" fmla="*/ 29733301 w 50"/>
                <a:gd name="T23" fmla="*/ 43994811 h 56"/>
                <a:gd name="T24" fmla="*/ 23108688 w 50"/>
                <a:gd name="T25" fmla="*/ 52183049 h 56"/>
                <a:gd name="T26" fmla="*/ 25070678 w 50"/>
                <a:gd name="T27" fmla="*/ 54296646 h 56"/>
                <a:gd name="T28" fmla="*/ 30569118 w 50"/>
                <a:gd name="T29" fmla="*/ 49283764 h 56"/>
                <a:gd name="T30" fmla="*/ 36921216 w 50"/>
                <a:gd name="T31" fmla="*/ 43994811 h 56"/>
                <a:gd name="T32" fmla="*/ 35226680 w 50"/>
                <a:gd name="T33" fmla="*/ 51413701 h 56"/>
                <a:gd name="T34" fmla="*/ 33406215 w 50"/>
                <a:gd name="T35" fmla="*/ 55231826 h 56"/>
                <a:gd name="T36" fmla="*/ 36921216 w 50"/>
                <a:gd name="T37" fmla="*/ 53405052 h 56"/>
                <a:gd name="T38" fmla="*/ 39573289 w 50"/>
                <a:gd name="T39" fmla="*/ 56522952 h 56"/>
                <a:gd name="T40" fmla="*/ 45582442 w 50"/>
                <a:gd name="T41" fmla="*/ 48346608 h 56"/>
                <a:gd name="T42" fmla="*/ 43525467 w 50"/>
                <a:gd name="T43" fmla="*/ 45228633 h 56"/>
                <a:gd name="T44" fmla="*/ 44380995 w 50"/>
                <a:gd name="T45" fmla="*/ 40170188 h 56"/>
                <a:gd name="T46" fmla="*/ 38894799 w 50"/>
                <a:gd name="T47" fmla="*/ 43994811 h 56"/>
                <a:gd name="T48" fmla="*/ 41551677 w 50"/>
                <a:gd name="T49" fmla="*/ 37103826 h 56"/>
                <a:gd name="T50" fmla="*/ 42780613 w 50"/>
                <a:gd name="T51" fmla="*/ 33592209 h 56"/>
                <a:gd name="T52" fmla="*/ 38894799 w 50"/>
                <a:gd name="T53" fmla="*/ 34882765 h 56"/>
                <a:gd name="T54" fmla="*/ 38894799 w 50"/>
                <a:gd name="T55" fmla="*/ 31976336 h 56"/>
                <a:gd name="T56" fmla="*/ 41551677 w 50"/>
                <a:gd name="T57" fmla="*/ 27595564 h 56"/>
                <a:gd name="T58" fmla="*/ 40715331 w 50"/>
                <a:gd name="T59" fmla="*/ 24547148 h 56"/>
                <a:gd name="T60" fmla="*/ 29733301 w 50"/>
                <a:gd name="T61" fmla="*/ 25484912 h 56"/>
                <a:gd name="T62" fmla="*/ 25902097 w 50"/>
                <a:gd name="T63" fmla="*/ 22486351 h 56"/>
                <a:gd name="T64" fmla="*/ 23940031 w 50"/>
                <a:gd name="T65" fmla="*/ 17290988 h 56"/>
                <a:gd name="T66" fmla="*/ 21138070 w 50"/>
                <a:gd name="T67" fmla="*/ 20751063 h 56"/>
                <a:gd name="T68" fmla="*/ 25070678 w 50"/>
                <a:gd name="T69" fmla="*/ 11242634 h 56"/>
                <a:gd name="T70" fmla="*/ 26625087 w 50"/>
                <a:gd name="T71" fmla="*/ 5955408 h 56"/>
                <a:gd name="T72" fmla="*/ 31432311 w 50"/>
                <a:gd name="T73" fmla="*/ 937382 h 56"/>
                <a:gd name="T74" fmla="*/ 23940031 w 50"/>
                <a:gd name="T75" fmla="*/ 2226282 h 5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0"/>
                <a:gd name="T115" fmla="*/ 0 h 56"/>
                <a:gd name="T116" fmla="*/ 50 w 50"/>
                <a:gd name="T117" fmla="*/ 56 h 5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0" h="56">
                  <a:moveTo>
                    <a:pt x="26" y="2"/>
                  </a:moveTo>
                  <a:cubicBezTo>
                    <a:pt x="22" y="2"/>
                    <a:pt x="21" y="8"/>
                    <a:pt x="19" y="11"/>
                  </a:cubicBezTo>
                  <a:cubicBezTo>
                    <a:pt x="18" y="12"/>
                    <a:pt x="18" y="13"/>
                    <a:pt x="17" y="15"/>
                  </a:cubicBezTo>
                  <a:cubicBezTo>
                    <a:pt x="16" y="18"/>
                    <a:pt x="14" y="22"/>
                    <a:pt x="10" y="24"/>
                  </a:cubicBezTo>
                  <a:cubicBezTo>
                    <a:pt x="10" y="25"/>
                    <a:pt x="11" y="27"/>
                    <a:pt x="10" y="27"/>
                  </a:cubicBezTo>
                  <a:cubicBezTo>
                    <a:pt x="9" y="28"/>
                    <a:pt x="7" y="28"/>
                    <a:pt x="6" y="29"/>
                  </a:cubicBezTo>
                  <a:cubicBezTo>
                    <a:pt x="6" y="30"/>
                    <a:pt x="6" y="30"/>
                    <a:pt x="6" y="31"/>
                  </a:cubicBezTo>
                  <a:cubicBezTo>
                    <a:pt x="5" y="31"/>
                    <a:pt x="4" y="31"/>
                    <a:pt x="3" y="32"/>
                  </a:cubicBezTo>
                  <a:cubicBezTo>
                    <a:pt x="3" y="32"/>
                    <a:pt x="3" y="33"/>
                    <a:pt x="4" y="33"/>
                  </a:cubicBezTo>
                  <a:cubicBezTo>
                    <a:pt x="6" y="33"/>
                    <a:pt x="8" y="33"/>
                    <a:pt x="9" y="34"/>
                  </a:cubicBezTo>
                  <a:cubicBezTo>
                    <a:pt x="9" y="34"/>
                    <a:pt x="9" y="35"/>
                    <a:pt x="9" y="35"/>
                  </a:cubicBezTo>
                  <a:cubicBezTo>
                    <a:pt x="8" y="35"/>
                    <a:pt x="6" y="34"/>
                    <a:pt x="6" y="35"/>
                  </a:cubicBezTo>
                  <a:cubicBezTo>
                    <a:pt x="5" y="37"/>
                    <a:pt x="3" y="38"/>
                    <a:pt x="2" y="39"/>
                  </a:cubicBezTo>
                  <a:cubicBezTo>
                    <a:pt x="0" y="41"/>
                    <a:pt x="0" y="43"/>
                    <a:pt x="1" y="44"/>
                  </a:cubicBezTo>
                  <a:cubicBezTo>
                    <a:pt x="1" y="45"/>
                    <a:pt x="3" y="45"/>
                    <a:pt x="4" y="45"/>
                  </a:cubicBezTo>
                  <a:cubicBezTo>
                    <a:pt x="5" y="44"/>
                    <a:pt x="5" y="44"/>
                    <a:pt x="6" y="44"/>
                  </a:cubicBezTo>
                  <a:cubicBezTo>
                    <a:pt x="11" y="43"/>
                    <a:pt x="16" y="44"/>
                    <a:pt x="21" y="43"/>
                  </a:cubicBezTo>
                  <a:cubicBezTo>
                    <a:pt x="22" y="43"/>
                    <a:pt x="24" y="42"/>
                    <a:pt x="25" y="42"/>
                  </a:cubicBezTo>
                  <a:cubicBezTo>
                    <a:pt x="25" y="42"/>
                    <a:pt x="26" y="42"/>
                    <a:pt x="26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5" y="43"/>
                    <a:pt x="24" y="44"/>
                    <a:pt x="25" y="45"/>
                  </a:cubicBezTo>
                  <a:cubicBezTo>
                    <a:pt x="26" y="46"/>
                    <a:pt x="27" y="46"/>
                    <a:pt x="28" y="45"/>
                  </a:cubicBezTo>
                  <a:cubicBezTo>
                    <a:pt x="29" y="45"/>
                    <a:pt x="29" y="44"/>
                    <a:pt x="29" y="43"/>
                  </a:cubicBezTo>
                  <a:cubicBezTo>
                    <a:pt x="30" y="43"/>
                    <a:pt x="31" y="43"/>
                    <a:pt x="32" y="43"/>
                  </a:cubicBezTo>
                  <a:cubicBezTo>
                    <a:pt x="33" y="43"/>
                    <a:pt x="33" y="44"/>
                    <a:pt x="33" y="44"/>
                  </a:cubicBezTo>
                  <a:cubicBezTo>
                    <a:pt x="30" y="47"/>
                    <a:pt x="27" y="48"/>
                    <a:pt x="25" y="51"/>
                  </a:cubicBezTo>
                  <a:cubicBezTo>
                    <a:pt x="25" y="52"/>
                    <a:pt x="25" y="53"/>
                    <a:pt x="25" y="53"/>
                  </a:cubicBezTo>
                  <a:cubicBezTo>
                    <a:pt x="26" y="53"/>
                    <a:pt x="26" y="53"/>
                    <a:pt x="27" y="53"/>
                  </a:cubicBezTo>
                  <a:cubicBezTo>
                    <a:pt x="28" y="53"/>
                    <a:pt x="29" y="52"/>
                    <a:pt x="29" y="52"/>
                  </a:cubicBezTo>
                  <a:cubicBezTo>
                    <a:pt x="31" y="51"/>
                    <a:pt x="32" y="49"/>
                    <a:pt x="33" y="48"/>
                  </a:cubicBezTo>
                  <a:cubicBezTo>
                    <a:pt x="35" y="46"/>
                    <a:pt x="36" y="45"/>
                    <a:pt x="37" y="43"/>
                  </a:cubicBezTo>
                  <a:cubicBezTo>
                    <a:pt x="38" y="42"/>
                    <a:pt x="40" y="42"/>
                    <a:pt x="40" y="43"/>
                  </a:cubicBezTo>
                  <a:cubicBezTo>
                    <a:pt x="41" y="44"/>
                    <a:pt x="41" y="46"/>
                    <a:pt x="40" y="47"/>
                  </a:cubicBezTo>
                  <a:cubicBezTo>
                    <a:pt x="40" y="48"/>
                    <a:pt x="38" y="49"/>
                    <a:pt x="38" y="50"/>
                  </a:cubicBezTo>
                  <a:cubicBezTo>
                    <a:pt x="37" y="51"/>
                    <a:pt x="37" y="52"/>
                    <a:pt x="36" y="53"/>
                  </a:cubicBezTo>
                  <a:cubicBezTo>
                    <a:pt x="36" y="53"/>
                    <a:pt x="36" y="54"/>
                    <a:pt x="36" y="54"/>
                  </a:cubicBezTo>
                  <a:cubicBezTo>
                    <a:pt x="37" y="54"/>
                    <a:pt x="37" y="54"/>
                    <a:pt x="38" y="54"/>
                  </a:cubicBezTo>
                  <a:cubicBezTo>
                    <a:pt x="39" y="53"/>
                    <a:pt x="39" y="52"/>
                    <a:pt x="40" y="52"/>
                  </a:cubicBezTo>
                  <a:cubicBezTo>
                    <a:pt x="41" y="52"/>
                    <a:pt x="41" y="51"/>
                    <a:pt x="42" y="52"/>
                  </a:cubicBezTo>
                  <a:cubicBezTo>
                    <a:pt x="42" y="53"/>
                    <a:pt x="42" y="54"/>
                    <a:pt x="43" y="55"/>
                  </a:cubicBezTo>
                  <a:cubicBezTo>
                    <a:pt x="44" y="56"/>
                    <a:pt x="46" y="55"/>
                    <a:pt x="46" y="54"/>
                  </a:cubicBezTo>
                  <a:cubicBezTo>
                    <a:pt x="47" y="52"/>
                    <a:pt x="48" y="49"/>
                    <a:pt x="49" y="47"/>
                  </a:cubicBezTo>
                  <a:cubicBezTo>
                    <a:pt x="50" y="46"/>
                    <a:pt x="50" y="46"/>
                    <a:pt x="49" y="45"/>
                  </a:cubicBezTo>
                  <a:cubicBezTo>
                    <a:pt x="49" y="44"/>
                    <a:pt x="47" y="45"/>
                    <a:pt x="47" y="44"/>
                  </a:cubicBezTo>
                  <a:cubicBezTo>
                    <a:pt x="46" y="44"/>
                    <a:pt x="46" y="43"/>
                    <a:pt x="47" y="43"/>
                  </a:cubicBezTo>
                  <a:cubicBezTo>
                    <a:pt x="48" y="41"/>
                    <a:pt x="48" y="40"/>
                    <a:pt x="48" y="39"/>
                  </a:cubicBezTo>
                  <a:cubicBezTo>
                    <a:pt x="47" y="39"/>
                    <a:pt x="46" y="38"/>
                    <a:pt x="45" y="40"/>
                  </a:cubicBezTo>
                  <a:cubicBezTo>
                    <a:pt x="44" y="41"/>
                    <a:pt x="43" y="43"/>
                    <a:pt x="42" y="43"/>
                  </a:cubicBezTo>
                  <a:cubicBezTo>
                    <a:pt x="42" y="43"/>
                    <a:pt x="42" y="42"/>
                    <a:pt x="42" y="42"/>
                  </a:cubicBezTo>
                  <a:cubicBezTo>
                    <a:pt x="44" y="40"/>
                    <a:pt x="44" y="38"/>
                    <a:pt x="45" y="36"/>
                  </a:cubicBezTo>
                  <a:cubicBezTo>
                    <a:pt x="46" y="35"/>
                    <a:pt x="47" y="35"/>
                    <a:pt x="48" y="34"/>
                  </a:cubicBezTo>
                  <a:cubicBezTo>
                    <a:pt x="48" y="33"/>
                    <a:pt x="47" y="33"/>
                    <a:pt x="46" y="33"/>
                  </a:cubicBezTo>
                  <a:cubicBezTo>
                    <a:pt x="44" y="34"/>
                    <a:pt x="43" y="36"/>
                    <a:pt x="42" y="35"/>
                  </a:cubicBezTo>
                  <a:cubicBezTo>
                    <a:pt x="42" y="35"/>
                    <a:pt x="41" y="34"/>
                    <a:pt x="42" y="34"/>
                  </a:cubicBezTo>
                  <a:cubicBezTo>
                    <a:pt x="42" y="34"/>
                    <a:pt x="42" y="33"/>
                    <a:pt x="42" y="33"/>
                  </a:cubicBezTo>
                  <a:cubicBezTo>
                    <a:pt x="43" y="32"/>
                    <a:pt x="42" y="32"/>
                    <a:pt x="42" y="31"/>
                  </a:cubicBezTo>
                  <a:cubicBezTo>
                    <a:pt x="42" y="31"/>
                    <a:pt x="42" y="30"/>
                    <a:pt x="42" y="30"/>
                  </a:cubicBezTo>
                  <a:cubicBezTo>
                    <a:pt x="43" y="29"/>
                    <a:pt x="45" y="29"/>
                    <a:pt x="45" y="27"/>
                  </a:cubicBezTo>
                  <a:cubicBezTo>
                    <a:pt x="46" y="27"/>
                    <a:pt x="46" y="26"/>
                    <a:pt x="45" y="25"/>
                  </a:cubicBezTo>
                  <a:cubicBezTo>
                    <a:pt x="45" y="25"/>
                    <a:pt x="45" y="25"/>
                    <a:pt x="44" y="24"/>
                  </a:cubicBezTo>
                  <a:cubicBezTo>
                    <a:pt x="42" y="24"/>
                    <a:pt x="40" y="24"/>
                    <a:pt x="38" y="24"/>
                  </a:cubicBezTo>
                  <a:cubicBezTo>
                    <a:pt x="36" y="25"/>
                    <a:pt x="34" y="25"/>
                    <a:pt x="32" y="25"/>
                  </a:cubicBezTo>
                  <a:cubicBezTo>
                    <a:pt x="31" y="24"/>
                    <a:pt x="29" y="23"/>
                    <a:pt x="28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9" y="21"/>
                    <a:pt x="31" y="20"/>
                    <a:pt x="30" y="18"/>
                  </a:cubicBezTo>
                  <a:cubicBezTo>
                    <a:pt x="29" y="17"/>
                    <a:pt x="28" y="16"/>
                    <a:pt x="26" y="17"/>
                  </a:cubicBezTo>
                  <a:cubicBezTo>
                    <a:pt x="25" y="17"/>
                    <a:pt x="25" y="19"/>
                    <a:pt x="24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19"/>
                  </a:cubicBezTo>
                  <a:cubicBezTo>
                    <a:pt x="25" y="17"/>
                    <a:pt x="27" y="14"/>
                    <a:pt x="27" y="11"/>
                  </a:cubicBezTo>
                  <a:cubicBezTo>
                    <a:pt x="27" y="10"/>
                    <a:pt x="28" y="10"/>
                    <a:pt x="28" y="9"/>
                  </a:cubicBezTo>
                  <a:cubicBezTo>
                    <a:pt x="29" y="8"/>
                    <a:pt x="29" y="7"/>
                    <a:pt x="29" y="6"/>
                  </a:cubicBezTo>
                  <a:cubicBezTo>
                    <a:pt x="30" y="4"/>
                    <a:pt x="31" y="3"/>
                    <a:pt x="33" y="3"/>
                  </a:cubicBezTo>
                  <a:cubicBezTo>
                    <a:pt x="33" y="2"/>
                    <a:pt x="35" y="2"/>
                    <a:pt x="34" y="1"/>
                  </a:cubicBezTo>
                  <a:cubicBezTo>
                    <a:pt x="32" y="1"/>
                    <a:pt x="30" y="0"/>
                    <a:pt x="27" y="1"/>
                  </a:cubicBezTo>
                  <a:cubicBezTo>
                    <a:pt x="27" y="1"/>
                    <a:pt x="27" y="2"/>
                    <a:pt x="26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9" name="Freeform 71"/>
            <p:cNvSpPr>
              <a:spLocks/>
            </p:cNvSpPr>
            <p:nvPr/>
          </p:nvSpPr>
          <p:spPr bwMode="auto">
            <a:xfrm>
              <a:off x="6716301" y="3345916"/>
              <a:ext cx="9782" cy="4867"/>
            </a:xfrm>
            <a:custGeom>
              <a:avLst/>
              <a:gdLst>
                <a:gd name="T0" fmla="*/ 16919961 w 21"/>
                <a:gd name="T1" fmla="*/ 5085394 h 10"/>
                <a:gd name="T2" fmla="*/ 12950905 w 21"/>
                <a:gd name="T3" fmla="*/ 2554647 h 10"/>
                <a:gd name="T4" fmla="*/ 6246233 w 21"/>
                <a:gd name="T5" fmla="*/ 1064436 h 10"/>
                <a:gd name="T6" fmla="*/ 4514290 w 21"/>
                <a:gd name="T7" fmla="*/ 0 h 10"/>
                <a:gd name="T8" fmla="*/ 0 w 21"/>
                <a:gd name="T9" fmla="*/ 0 h 10"/>
                <a:gd name="T10" fmla="*/ 0 w 21"/>
                <a:gd name="T11" fmla="*/ 1064436 h 10"/>
                <a:gd name="T12" fmla="*/ 5439381 w 21"/>
                <a:gd name="T13" fmla="*/ 3577445 h 10"/>
                <a:gd name="T14" fmla="*/ 9396189 w 21"/>
                <a:gd name="T15" fmla="*/ 8585865 h 10"/>
                <a:gd name="T16" fmla="*/ 13910476 w 21"/>
                <a:gd name="T17" fmla="*/ 11140513 h 10"/>
                <a:gd name="T18" fmla="*/ 19221950 w 21"/>
                <a:gd name="T19" fmla="*/ 11140513 h 10"/>
                <a:gd name="T20" fmla="*/ 21410687 w 21"/>
                <a:gd name="T21" fmla="*/ 11140513 h 10"/>
                <a:gd name="T22" fmla="*/ 21410687 w 21"/>
                <a:gd name="T23" fmla="*/ 8585865 h 10"/>
                <a:gd name="T24" fmla="*/ 20139202 w 21"/>
                <a:gd name="T25" fmla="*/ 7196548 h 10"/>
                <a:gd name="T26" fmla="*/ 16919961 w 21"/>
                <a:gd name="T27" fmla="*/ 5085394 h 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10"/>
                <a:gd name="T44" fmla="*/ 21 w 21"/>
                <a:gd name="T45" fmla="*/ 10 h 1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10">
                  <a:moveTo>
                    <a:pt x="16" y="4"/>
                  </a:moveTo>
                  <a:cubicBezTo>
                    <a:pt x="15" y="3"/>
                    <a:pt x="14" y="3"/>
                    <a:pt x="12" y="2"/>
                  </a:cubicBezTo>
                  <a:cubicBezTo>
                    <a:pt x="10" y="1"/>
                    <a:pt x="8" y="1"/>
                    <a:pt x="6" y="1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2"/>
                    <a:pt x="3" y="2"/>
                    <a:pt x="5" y="3"/>
                  </a:cubicBezTo>
                  <a:cubicBezTo>
                    <a:pt x="6" y="4"/>
                    <a:pt x="7" y="5"/>
                    <a:pt x="9" y="7"/>
                  </a:cubicBezTo>
                  <a:cubicBezTo>
                    <a:pt x="10" y="8"/>
                    <a:pt x="11" y="8"/>
                    <a:pt x="13" y="9"/>
                  </a:cubicBezTo>
                  <a:cubicBezTo>
                    <a:pt x="14" y="9"/>
                    <a:pt x="16" y="9"/>
                    <a:pt x="18" y="9"/>
                  </a:cubicBezTo>
                  <a:cubicBezTo>
                    <a:pt x="19" y="9"/>
                    <a:pt x="20" y="10"/>
                    <a:pt x="20" y="9"/>
                  </a:cubicBezTo>
                  <a:cubicBezTo>
                    <a:pt x="21" y="9"/>
                    <a:pt x="21" y="7"/>
                    <a:pt x="20" y="7"/>
                  </a:cubicBezTo>
                  <a:cubicBezTo>
                    <a:pt x="20" y="6"/>
                    <a:pt x="20" y="6"/>
                    <a:pt x="19" y="6"/>
                  </a:cubicBezTo>
                  <a:cubicBezTo>
                    <a:pt x="18" y="5"/>
                    <a:pt x="17" y="5"/>
                    <a:pt x="16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0" name="Freeform 72"/>
            <p:cNvSpPr>
              <a:spLocks/>
            </p:cNvSpPr>
            <p:nvPr/>
          </p:nvSpPr>
          <p:spPr bwMode="auto">
            <a:xfrm>
              <a:off x="6722321" y="3279674"/>
              <a:ext cx="1756" cy="2974"/>
            </a:xfrm>
            <a:custGeom>
              <a:avLst/>
              <a:gdLst>
                <a:gd name="T0" fmla="*/ 941139 w 4"/>
                <a:gd name="T1" fmla="*/ 0 h 6"/>
                <a:gd name="T2" fmla="*/ 0 w 4"/>
                <a:gd name="T3" fmla="*/ 727531 h 6"/>
                <a:gd name="T4" fmla="*/ 418284 w 4"/>
                <a:gd name="T5" fmla="*/ 3961001 h 6"/>
                <a:gd name="T6" fmla="*/ 1359459 w 4"/>
                <a:gd name="T7" fmla="*/ 1697572 h 6"/>
                <a:gd name="T8" fmla="*/ 1359459 w 4"/>
                <a:gd name="T9" fmla="*/ 1697572 h 6"/>
                <a:gd name="T10" fmla="*/ 941139 w 4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0" y="4"/>
                    <a:pt x="1" y="5"/>
                  </a:cubicBezTo>
                  <a:cubicBezTo>
                    <a:pt x="2" y="6"/>
                    <a:pt x="2" y="4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1" name="Freeform 73"/>
            <p:cNvSpPr>
              <a:spLocks/>
            </p:cNvSpPr>
            <p:nvPr/>
          </p:nvSpPr>
          <p:spPr bwMode="auto">
            <a:xfrm>
              <a:off x="6710783" y="3285622"/>
              <a:ext cx="2257" cy="2433"/>
            </a:xfrm>
            <a:custGeom>
              <a:avLst/>
              <a:gdLst>
                <a:gd name="T0" fmla="*/ 3577445 w 5"/>
                <a:gd name="T1" fmla="*/ 1064436 h 5"/>
                <a:gd name="T2" fmla="*/ 1064436 w 5"/>
                <a:gd name="T3" fmla="*/ 6131150 h 5"/>
                <a:gd name="T4" fmla="*/ 3577445 w 5"/>
                <a:gd name="T5" fmla="*/ 6131150 h 5"/>
                <a:gd name="T6" fmla="*/ 5085394 w 5"/>
                <a:gd name="T7" fmla="*/ 1064436 h 5"/>
                <a:gd name="T8" fmla="*/ 3577445 w 5"/>
                <a:gd name="T9" fmla="*/ 1064436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3" y="1"/>
                  </a:moveTo>
                  <a:cubicBezTo>
                    <a:pt x="2" y="0"/>
                    <a:pt x="0" y="3"/>
                    <a:pt x="1" y="5"/>
                  </a:cubicBezTo>
                  <a:cubicBezTo>
                    <a:pt x="1" y="5"/>
                    <a:pt x="3" y="5"/>
                    <a:pt x="3" y="5"/>
                  </a:cubicBezTo>
                  <a:cubicBezTo>
                    <a:pt x="4" y="4"/>
                    <a:pt x="5" y="2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2" name="Freeform 74"/>
            <p:cNvSpPr>
              <a:spLocks/>
            </p:cNvSpPr>
            <p:nvPr/>
          </p:nvSpPr>
          <p:spPr bwMode="auto">
            <a:xfrm>
              <a:off x="6667139" y="3309145"/>
              <a:ext cx="4264" cy="4056"/>
            </a:xfrm>
            <a:custGeom>
              <a:avLst/>
              <a:gdLst>
                <a:gd name="T0" fmla="*/ 5234180 w 9"/>
                <a:gd name="T1" fmla="*/ 2129866 h 8"/>
                <a:gd name="T2" fmla="*/ 3961001 w 9"/>
                <a:gd name="T3" fmla="*/ 896786 h 8"/>
                <a:gd name="T4" fmla="*/ 2243220 w 9"/>
                <a:gd name="T5" fmla="*/ 896786 h 8"/>
                <a:gd name="T6" fmla="*/ 727531 w 9"/>
                <a:gd name="T7" fmla="*/ 4351847 h 8"/>
                <a:gd name="T8" fmla="*/ 2243220 w 9"/>
                <a:gd name="T9" fmla="*/ 4351847 h 8"/>
                <a:gd name="T10" fmla="*/ 2243220 w 9"/>
                <a:gd name="T11" fmla="*/ 5058432 h 8"/>
                <a:gd name="T12" fmla="*/ 727531 w 9"/>
                <a:gd name="T13" fmla="*/ 7279645 h 8"/>
                <a:gd name="T14" fmla="*/ 0 w 9"/>
                <a:gd name="T15" fmla="*/ 8176458 h 8"/>
                <a:gd name="T16" fmla="*/ 1697572 w 9"/>
                <a:gd name="T17" fmla="*/ 8176458 h 8"/>
                <a:gd name="T18" fmla="*/ 5234180 w 9"/>
                <a:gd name="T19" fmla="*/ 5955246 h 8"/>
                <a:gd name="T20" fmla="*/ 6253179 w 9"/>
                <a:gd name="T21" fmla="*/ 3065115 h 8"/>
                <a:gd name="T22" fmla="*/ 5234180 w 9"/>
                <a:gd name="T23" fmla="*/ 2129866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8"/>
                <a:gd name="T38" fmla="*/ 9 w 9"/>
                <a:gd name="T39" fmla="*/ 8 h 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8">
                  <a:moveTo>
                    <a:pt x="7" y="2"/>
                  </a:moveTo>
                  <a:cubicBezTo>
                    <a:pt x="7" y="1"/>
                    <a:pt x="6" y="1"/>
                    <a:pt x="5" y="1"/>
                  </a:cubicBezTo>
                  <a:cubicBezTo>
                    <a:pt x="5" y="0"/>
                    <a:pt x="4" y="0"/>
                    <a:pt x="3" y="1"/>
                  </a:cubicBezTo>
                  <a:cubicBezTo>
                    <a:pt x="2" y="2"/>
                    <a:pt x="0" y="3"/>
                    <a:pt x="1" y="4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3" y="4"/>
                    <a:pt x="3" y="5"/>
                    <a:pt x="3" y="5"/>
                  </a:cubicBezTo>
                  <a:cubicBezTo>
                    <a:pt x="2" y="5"/>
                    <a:pt x="2" y="6"/>
                    <a:pt x="1" y="7"/>
                  </a:cubicBezTo>
                  <a:cubicBezTo>
                    <a:pt x="1" y="7"/>
                    <a:pt x="0" y="7"/>
                    <a:pt x="0" y="8"/>
                  </a:cubicBezTo>
                  <a:cubicBezTo>
                    <a:pt x="1" y="8"/>
                    <a:pt x="2" y="8"/>
                    <a:pt x="2" y="8"/>
                  </a:cubicBezTo>
                  <a:cubicBezTo>
                    <a:pt x="4" y="7"/>
                    <a:pt x="5" y="6"/>
                    <a:pt x="7" y="6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8" y="3"/>
                    <a:pt x="7" y="3"/>
                    <a:pt x="7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3" name="Freeform 75"/>
            <p:cNvSpPr>
              <a:spLocks/>
            </p:cNvSpPr>
            <p:nvPr/>
          </p:nvSpPr>
          <p:spPr bwMode="auto">
            <a:xfrm>
              <a:off x="6657858" y="3327531"/>
              <a:ext cx="4264" cy="4056"/>
            </a:xfrm>
            <a:custGeom>
              <a:avLst/>
              <a:gdLst>
                <a:gd name="T0" fmla="*/ 6253179 w 9"/>
                <a:gd name="T1" fmla="*/ 3065115 h 8"/>
                <a:gd name="T2" fmla="*/ 4688532 w 9"/>
                <a:gd name="T3" fmla="*/ 896786 h 8"/>
                <a:gd name="T4" fmla="*/ 727531 w 9"/>
                <a:gd name="T5" fmla="*/ 896786 h 8"/>
                <a:gd name="T6" fmla="*/ 0 w 9"/>
                <a:gd name="T7" fmla="*/ 4351847 h 8"/>
                <a:gd name="T8" fmla="*/ 4688532 w 9"/>
                <a:gd name="T9" fmla="*/ 7279645 h 8"/>
                <a:gd name="T10" fmla="*/ 5234180 w 9"/>
                <a:gd name="T11" fmla="*/ 8176458 h 8"/>
                <a:gd name="T12" fmla="*/ 6931749 w 9"/>
                <a:gd name="T13" fmla="*/ 8176458 h 8"/>
                <a:gd name="T14" fmla="*/ 6253179 w 9"/>
                <a:gd name="T15" fmla="*/ 3065115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8"/>
                <a:gd name="T26" fmla="*/ 9 w 9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8">
                  <a:moveTo>
                    <a:pt x="8" y="3"/>
                  </a:moveTo>
                  <a:cubicBezTo>
                    <a:pt x="7" y="3"/>
                    <a:pt x="7" y="2"/>
                    <a:pt x="6" y="1"/>
                  </a:cubicBezTo>
                  <a:cubicBezTo>
                    <a:pt x="4" y="0"/>
                    <a:pt x="3" y="1"/>
                    <a:pt x="1" y="1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1" y="7"/>
                    <a:pt x="4" y="6"/>
                    <a:pt x="6" y="7"/>
                  </a:cubicBezTo>
                  <a:cubicBezTo>
                    <a:pt x="7" y="7"/>
                    <a:pt x="7" y="8"/>
                    <a:pt x="7" y="8"/>
                  </a:cubicBezTo>
                  <a:cubicBezTo>
                    <a:pt x="8" y="8"/>
                    <a:pt x="8" y="8"/>
                    <a:pt x="9" y="8"/>
                  </a:cubicBezTo>
                  <a:cubicBezTo>
                    <a:pt x="8" y="6"/>
                    <a:pt x="9" y="4"/>
                    <a:pt x="8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4" name="Freeform 76"/>
            <p:cNvSpPr>
              <a:spLocks/>
            </p:cNvSpPr>
            <p:nvPr/>
          </p:nvSpPr>
          <p:spPr bwMode="auto">
            <a:xfrm>
              <a:off x="6380691" y="3218568"/>
              <a:ext cx="114880" cy="100310"/>
            </a:xfrm>
            <a:custGeom>
              <a:avLst/>
              <a:gdLst>
                <a:gd name="T0" fmla="*/ 221105456 w 246"/>
                <a:gd name="T1" fmla="*/ 189919266 h 207"/>
                <a:gd name="T2" fmla="*/ 214717821 w 246"/>
                <a:gd name="T3" fmla="*/ 173242585 h 207"/>
                <a:gd name="T4" fmla="*/ 209165465 w 246"/>
                <a:gd name="T5" fmla="*/ 160833347 h 207"/>
                <a:gd name="T6" fmla="*/ 198770877 w 246"/>
                <a:gd name="T7" fmla="*/ 155241154 h 207"/>
                <a:gd name="T8" fmla="*/ 181759957 w 246"/>
                <a:gd name="T9" fmla="*/ 149694582 h 207"/>
                <a:gd name="T10" fmla="*/ 176937677 w 246"/>
                <a:gd name="T11" fmla="*/ 139416042 h 207"/>
                <a:gd name="T12" fmla="*/ 144504281 w 246"/>
                <a:gd name="T13" fmla="*/ 135352250 h 207"/>
                <a:gd name="T14" fmla="*/ 136945124 w 246"/>
                <a:gd name="T15" fmla="*/ 127791244 h 207"/>
                <a:gd name="T16" fmla="*/ 124647804 w 246"/>
                <a:gd name="T17" fmla="*/ 125066679 h 207"/>
                <a:gd name="T18" fmla="*/ 114251402 w 246"/>
                <a:gd name="T19" fmla="*/ 137331608 h 207"/>
                <a:gd name="T20" fmla="*/ 97591764 w 246"/>
                <a:gd name="T21" fmla="*/ 148482354 h 207"/>
                <a:gd name="T22" fmla="*/ 99098321 w 246"/>
                <a:gd name="T23" fmla="*/ 140937526 h 207"/>
                <a:gd name="T24" fmla="*/ 102021270 w 246"/>
                <a:gd name="T25" fmla="*/ 126221985 h 207"/>
                <a:gd name="T26" fmla="*/ 108717638 w 246"/>
                <a:gd name="T27" fmla="*/ 119520107 h 207"/>
                <a:gd name="T28" fmla="*/ 88859573 w 246"/>
                <a:gd name="T29" fmla="*/ 137331608 h 207"/>
                <a:gd name="T30" fmla="*/ 76958598 w 246"/>
                <a:gd name="T31" fmla="*/ 149694582 h 207"/>
                <a:gd name="T32" fmla="*/ 72292348 w 246"/>
                <a:gd name="T33" fmla="*/ 158966473 h 207"/>
                <a:gd name="T34" fmla="*/ 53554035 w 246"/>
                <a:gd name="T35" fmla="*/ 171251586 h 207"/>
                <a:gd name="T36" fmla="*/ 36498968 w 246"/>
                <a:gd name="T37" fmla="*/ 177655320 h 207"/>
                <a:gd name="T38" fmla="*/ 25391800 w 246"/>
                <a:gd name="T39" fmla="*/ 186455088 h 207"/>
                <a:gd name="T40" fmla="*/ 11080314 w 246"/>
                <a:gd name="T41" fmla="*/ 186455088 h 207"/>
                <a:gd name="T42" fmla="*/ 0 w 246"/>
                <a:gd name="T43" fmla="*/ 191158709 h 207"/>
                <a:gd name="T44" fmla="*/ 17139434 w 246"/>
                <a:gd name="T45" fmla="*/ 183575403 h 207"/>
                <a:gd name="T46" fmla="*/ 36498968 w 246"/>
                <a:gd name="T47" fmla="*/ 173242585 h 207"/>
                <a:gd name="T48" fmla="*/ 55124416 w 246"/>
                <a:gd name="T49" fmla="*/ 151319026 h 207"/>
                <a:gd name="T50" fmla="*/ 46873425 w 246"/>
                <a:gd name="T51" fmla="*/ 151319026 h 207"/>
                <a:gd name="T52" fmla="*/ 36498968 w 246"/>
                <a:gd name="T53" fmla="*/ 149694582 h 207"/>
                <a:gd name="T54" fmla="*/ 21476806 w 246"/>
                <a:gd name="T55" fmla="*/ 151319026 h 207"/>
                <a:gd name="T56" fmla="*/ 23340125 w 246"/>
                <a:gd name="T57" fmla="*/ 135352250 h 207"/>
                <a:gd name="T58" fmla="*/ 7522174 w 246"/>
                <a:gd name="T59" fmla="*/ 132651345 h 207"/>
                <a:gd name="T60" fmla="*/ 17139434 w 246"/>
                <a:gd name="T61" fmla="*/ 127791244 h 207"/>
                <a:gd name="T62" fmla="*/ 7522174 w 246"/>
                <a:gd name="T63" fmla="*/ 122233258 h 207"/>
                <a:gd name="T64" fmla="*/ 17139434 w 246"/>
                <a:gd name="T65" fmla="*/ 108372006 h 207"/>
                <a:gd name="T66" fmla="*/ 26169358 w 246"/>
                <a:gd name="T67" fmla="*/ 99612909 h 207"/>
                <a:gd name="T68" fmla="*/ 48886953 w 246"/>
                <a:gd name="T69" fmla="*/ 90343021 h 207"/>
                <a:gd name="T70" fmla="*/ 37294778 w 246"/>
                <a:gd name="T71" fmla="*/ 84757745 h 207"/>
                <a:gd name="T72" fmla="*/ 17765781 w 246"/>
                <a:gd name="T73" fmla="*/ 84757745 h 207"/>
                <a:gd name="T74" fmla="*/ 19846587 w 246"/>
                <a:gd name="T75" fmla="*/ 74479299 h 207"/>
                <a:gd name="T76" fmla="*/ 18645924 w 246"/>
                <a:gd name="T77" fmla="*/ 65715590 h 207"/>
                <a:gd name="T78" fmla="*/ 39334455 w 246"/>
                <a:gd name="T79" fmla="*/ 62854501 h 207"/>
                <a:gd name="T80" fmla="*/ 54434169 w 246"/>
                <a:gd name="T81" fmla="*/ 62215277 h 207"/>
                <a:gd name="T82" fmla="*/ 61806462 w 246"/>
                <a:gd name="T83" fmla="*/ 62854501 h 207"/>
                <a:gd name="T84" fmla="*/ 56270998 w 246"/>
                <a:gd name="T85" fmla="*/ 56450691 h 207"/>
                <a:gd name="T86" fmla="*/ 32957571 w 246"/>
                <a:gd name="T87" fmla="*/ 37399758 h 207"/>
                <a:gd name="T88" fmla="*/ 47531815 w 246"/>
                <a:gd name="T89" fmla="*/ 30325579 h 207"/>
                <a:gd name="T90" fmla="*/ 61806462 w 246"/>
                <a:gd name="T91" fmla="*/ 22769279 h 207"/>
                <a:gd name="T92" fmla="*/ 74916842 w 246"/>
                <a:gd name="T93" fmla="*/ 12259973 h 207"/>
                <a:gd name="T94" fmla="*/ 87353168 w 246"/>
                <a:gd name="T95" fmla="*/ 11148597 h 207"/>
                <a:gd name="T96" fmla="*/ 106001922 w 246"/>
                <a:gd name="T97" fmla="*/ 4719344 h 207"/>
                <a:gd name="T98" fmla="*/ 119160746 w 246"/>
                <a:gd name="T99" fmla="*/ 10267159 h 207"/>
                <a:gd name="T100" fmla="*/ 124647804 w 246"/>
                <a:gd name="T101" fmla="*/ 8426982 h 207"/>
                <a:gd name="T102" fmla="*/ 138958652 w 246"/>
                <a:gd name="T103" fmla="*/ 8426982 h 207"/>
                <a:gd name="T104" fmla="*/ 149195435 w 246"/>
                <a:gd name="T105" fmla="*/ 12259973 h 207"/>
                <a:gd name="T106" fmla="*/ 168685401 w 246"/>
                <a:gd name="T107" fmla="*/ 15188076 h 207"/>
                <a:gd name="T108" fmla="*/ 186554122 w 246"/>
                <a:gd name="T109" fmla="*/ 17182836 h 207"/>
                <a:gd name="T110" fmla="*/ 208031807 w 246"/>
                <a:gd name="T111" fmla="*/ 20750990 h 207"/>
                <a:gd name="T112" fmla="*/ 176937677 w 246"/>
                <a:gd name="T113" fmla="*/ 133354522 h 207"/>
                <a:gd name="T114" fmla="*/ 189385094 w 246"/>
                <a:gd name="T115" fmla="*/ 147636304 h 207"/>
                <a:gd name="T116" fmla="*/ 205164559 w 246"/>
                <a:gd name="T117" fmla="*/ 140206152 h 207"/>
                <a:gd name="T118" fmla="*/ 219409201 w 246"/>
                <a:gd name="T119" fmla="*/ 164551674 h 207"/>
                <a:gd name="T120" fmla="*/ 228514593 w 246"/>
                <a:gd name="T121" fmla="*/ 189919266 h 20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46"/>
                <a:gd name="T184" fmla="*/ 0 h 207"/>
                <a:gd name="T185" fmla="*/ 246 w 246"/>
                <a:gd name="T186" fmla="*/ 207 h 20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46" h="207">
                  <a:moveTo>
                    <a:pt x="243" y="204"/>
                  </a:moveTo>
                  <a:cubicBezTo>
                    <a:pt x="243" y="204"/>
                    <a:pt x="242" y="204"/>
                    <a:pt x="242" y="204"/>
                  </a:cubicBezTo>
                  <a:cubicBezTo>
                    <a:pt x="241" y="204"/>
                    <a:pt x="241" y="205"/>
                    <a:pt x="240" y="206"/>
                  </a:cubicBezTo>
                  <a:cubicBezTo>
                    <a:pt x="240" y="206"/>
                    <a:pt x="239" y="207"/>
                    <a:pt x="238" y="207"/>
                  </a:cubicBezTo>
                  <a:cubicBezTo>
                    <a:pt x="238" y="207"/>
                    <a:pt x="237" y="207"/>
                    <a:pt x="237" y="207"/>
                  </a:cubicBezTo>
                  <a:cubicBezTo>
                    <a:pt x="236" y="205"/>
                    <a:pt x="237" y="204"/>
                    <a:pt x="236" y="202"/>
                  </a:cubicBezTo>
                  <a:cubicBezTo>
                    <a:pt x="236" y="201"/>
                    <a:pt x="234" y="202"/>
                    <a:pt x="233" y="200"/>
                  </a:cubicBezTo>
                  <a:cubicBezTo>
                    <a:pt x="232" y="199"/>
                    <a:pt x="233" y="198"/>
                    <a:pt x="233" y="196"/>
                  </a:cubicBezTo>
                  <a:cubicBezTo>
                    <a:pt x="233" y="196"/>
                    <a:pt x="232" y="196"/>
                    <a:pt x="232" y="196"/>
                  </a:cubicBezTo>
                  <a:cubicBezTo>
                    <a:pt x="231" y="197"/>
                    <a:pt x="230" y="198"/>
                    <a:pt x="229" y="197"/>
                  </a:cubicBezTo>
                  <a:cubicBezTo>
                    <a:pt x="228" y="196"/>
                    <a:pt x="231" y="195"/>
                    <a:pt x="231" y="194"/>
                  </a:cubicBezTo>
                  <a:cubicBezTo>
                    <a:pt x="231" y="191"/>
                    <a:pt x="230" y="188"/>
                    <a:pt x="229" y="184"/>
                  </a:cubicBezTo>
                  <a:cubicBezTo>
                    <a:pt x="228" y="183"/>
                    <a:pt x="227" y="183"/>
                    <a:pt x="226" y="182"/>
                  </a:cubicBezTo>
                  <a:cubicBezTo>
                    <a:pt x="225" y="181"/>
                    <a:pt x="226" y="180"/>
                    <a:pt x="225" y="180"/>
                  </a:cubicBezTo>
                  <a:cubicBezTo>
                    <a:pt x="225" y="179"/>
                    <a:pt x="224" y="178"/>
                    <a:pt x="224" y="177"/>
                  </a:cubicBezTo>
                  <a:cubicBezTo>
                    <a:pt x="224" y="176"/>
                    <a:pt x="225" y="176"/>
                    <a:pt x="225" y="176"/>
                  </a:cubicBezTo>
                  <a:cubicBezTo>
                    <a:pt x="226" y="175"/>
                    <a:pt x="226" y="174"/>
                    <a:pt x="225" y="173"/>
                  </a:cubicBezTo>
                  <a:cubicBezTo>
                    <a:pt x="225" y="172"/>
                    <a:pt x="224" y="172"/>
                    <a:pt x="223" y="171"/>
                  </a:cubicBezTo>
                  <a:cubicBezTo>
                    <a:pt x="222" y="171"/>
                    <a:pt x="222" y="170"/>
                    <a:pt x="221" y="170"/>
                  </a:cubicBezTo>
                  <a:cubicBezTo>
                    <a:pt x="218" y="167"/>
                    <a:pt x="219" y="162"/>
                    <a:pt x="218" y="158"/>
                  </a:cubicBezTo>
                  <a:cubicBezTo>
                    <a:pt x="218" y="158"/>
                    <a:pt x="218" y="158"/>
                    <a:pt x="218" y="158"/>
                  </a:cubicBezTo>
                  <a:cubicBezTo>
                    <a:pt x="217" y="162"/>
                    <a:pt x="218" y="165"/>
                    <a:pt x="217" y="169"/>
                  </a:cubicBezTo>
                  <a:cubicBezTo>
                    <a:pt x="216" y="169"/>
                    <a:pt x="214" y="169"/>
                    <a:pt x="213" y="168"/>
                  </a:cubicBezTo>
                  <a:cubicBezTo>
                    <a:pt x="213" y="167"/>
                    <a:pt x="213" y="166"/>
                    <a:pt x="212" y="165"/>
                  </a:cubicBezTo>
                  <a:cubicBezTo>
                    <a:pt x="212" y="164"/>
                    <a:pt x="210" y="163"/>
                    <a:pt x="209" y="162"/>
                  </a:cubicBezTo>
                  <a:cubicBezTo>
                    <a:pt x="209" y="162"/>
                    <a:pt x="208" y="162"/>
                    <a:pt x="207" y="162"/>
                  </a:cubicBezTo>
                  <a:cubicBezTo>
                    <a:pt x="207" y="163"/>
                    <a:pt x="208" y="164"/>
                    <a:pt x="209" y="165"/>
                  </a:cubicBezTo>
                  <a:cubicBezTo>
                    <a:pt x="210" y="168"/>
                    <a:pt x="206" y="168"/>
                    <a:pt x="204" y="167"/>
                  </a:cubicBezTo>
                  <a:cubicBezTo>
                    <a:pt x="202" y="167"/>
                    <a:pt x="200" y="166"/>
                    <a:pt x="199" y="165"/>
                  </a:cubicBezTo>
                  <a:cubicBezTo>
                    <a:pt x="197" y="163"/>
                    <a:pt x="196" y="161"/>
                    <a:pt x="194" y="159"/>
                  </a:cubicBezTo>
                  <a:cubicBezTo>
                    <a:pt x="193" y="158"/>
                    <a:pt x="192" y="158"/>
                    <a:pt x="191" y="158"/>
                  </a:cubicBezTo>
                  <a:cubicBezTo>
                    <a:pt x="190" y="158"/>
                    <a:pt x="190" y="157"/>
                    <a:pt x="189" y="157"/>
                  </a:cubicBezTo>
                  <a:cubicBezTo>
                    <a:pt x="188" y="156"/>
                    <a:pt x="187" y="157"/>
                    <a:pt x="186" y="156"/>
                  </a:cubicBezTo>
                  <a:cubicBezTo>
                    <a:pt x="186" y="156"/>
                    <a:pt x="186" y="155"/>
                    <a:pt x="186" y="154"/>
                  </a:cubicBezTo>
                  <a:cubicBezTo>
                    <a:pt x="188" y="153"/>
                    <a:pt x="188" y="151"/>
                    <a:pt x="189" y="150"/>
                  </a:cubicBezTo>
                  <a:cubicBezTo>
                    <a:pt x="190" y="149"/>
                    <a:pt x="190" y="148"/>
                    <a:pt x="189" y="148"/>
                  </a:cubicBezTo>
                  <a:cubicBezTo>
                    <a:pt x="188" y="147"/>
                    <a:pt x="187" y="149"/>
                    <a:pt x="186" y="149"/>
                  </a:cubicBezTo>
                  <a:cubicBezTo>
                    <a:pt x="185" y="150"/>
                    <a:pt x="182" y="151"/>
                    <a:pt x="181" y="150"/>
                  </a:cubicBezTo>
                  <a:cubicBezTo>
                    <a:pt x="178" y="149"/>
                    <a:pt x="176" y="148"/>
                    <a:pt x="174" y="147"/>
                  </a:cubicBezTo>
                  <a:cubicBezTo>
                    <a:pt x="172" y="146"/>
                    <a:pt x="171" y="145"/>
                    <a:pt x="169" y="145"/>
                  </a:cubicBezTo>
                  <a:cubicBezTo>
                    <a:pt x="165" y="144"/>
                    <a:pt x="161" y="146"/>
                    <a:pt x="157" y="146"/>
                  </a:cubicBezTo>
                  <a:cubicBezTo>
                    <a:pt x="155" y="145"/>
                    <a:pt x="154" y="145"/>
                    <a:pt x="154" y="144"/>
                  </a:cubicBezTo>
                  <a:cubicBezTo>
                    <a:pt x="153" y="143"/>
                    <a:pt x="153" y="142"/>
                    <a:pt x="154" y="142"/>
                  </a:cubicBezTo>
                  <a:cubicBezTo>
                    <a:pt x="154" y="141"/>
                    <a:pt x="154" y="140"/>
                    <a:pt x="154" y="139"/>
                  </a:cubicBezTo>
                  <a:cubicBezTo>
                    <a:pt x="153" y="139"/>
                    <a:pt x="152" y="140"/>
                    <a:pt x="152" y="140"/>
                  </a:cubicBezTo>
                  <a:cubicBezTo>
                    <a:pt x="151" y="140"/>
                    <a:pt x="151" y="140"/>
                    <a:pt x="150" y="140"/>
                  </a:cubicBezTo>
                  <a:cubicBezTo>
                    <a:pt x="150" y="140"/>
                    <a:pt x="149" y="139"/>
                    <a:pt x="149" y="139"/>
                  </a:cubicBezTo>
                  <a:cubicBezTo>
                    <a:pt x="148" y="138"/>
                    <a:pt x="146" y="138"/>
                    <a:pt x="146" y="136"/>
                  </a:cubicBezTo>
                  <a:cubicBezTo>
                    <a:pt x="146" y="136"/>
                    <a:pt x="144" y="135"/>
                    <a:pt x="144" y="135"/>
                  </a:cubicBezTo>
                  <a:cubicBezTo>
                    <a:pt x="143" y="135"/>
                    <a:pt x="143" y="135"/>
                    <a:pt x="143" y="135"/>
                  </a:cubicBezTo>
                  <a:cubicBezTo>
                    <a:pt x="142" y="134"/>
                    <a:pt x="143" y="133"/>
                    <a:pt x="144" y="132"/>
                  </a:cubicBezTo>
                  <a:cubicBezTo>
                    <a:pt x="144" y="132"/>
                    <a:pt x="144" y="131"/>
                    <a:pt x="144" y="131"/>
                  </a:cubicBezTo>
                  <a:cubicBezTo>
                    <a:pt x="141" y="131"/>
                    <a:pt x="138" y="131"/>
                    <a:pt x="135" y="132"/>
                  </a:cubicBezTo>
                  <a:cubicBezTo>
                    <a:pt x="135" y="132"/>
                    <a:pt x="134" y="132"/>
                    <a:pt x="133" y="133"/>
                  </a:cubicBezTo>
                  <a:cubicBezTo>
                    <a:pt x="133" y="133"/>
                    <a:pt x="131" y="132"/>
                    <a:pt x="131" y="133"/>
                  </a:cubicBezTo>
                  <a:cubicBezTo>
                    <a:pt x="130" y="133"/>
                    <a:pt x="130" y="135"/>
                    <a:pt x="131" y="136"/>
                  </a:cubicBezTo>
                  <a:cubicBezTo>
                    <a:pt x="131" y="137"/>
                    <a:pt x="131" y="137"/>
                    <a:pt x="131" y="137"/>
                  </a:cubicBezTo>
                  <a:cubicBezTo>
                    <a:pt x="132" y="138"/>
                    <a:pt x="132" y="139"/>
                    <a:pt x="131" y="140"/>
                  </a:cubicBezTo>
                  <a:cubicBezTo>
                    <a:pt x="130" y="142"/>
                    <a:pt x="128" y="145"/>
                    <a:pt x="127" y="147"/>
                  </a:cubicBezTo>
                  <a:cubicBezTo>
                    <a:pt x="126" y="148"/>
                    <a:pt x="123" y="147"/>
                    <a:pt x="122" y="146"/>
                  </a:cubicBezTo>
                  <a:cubicBezTo>
                    <a:pt x="121" y="146"/>
                    <a:pt x="120" y="146"/>
                    <a:pt x="119" y="147"/>
                  </a:cubicBezTo>
                  <a:cubicBezTo>
                    <a:pt x="118" y="147"/>
                    <a:pt x="118" y="148"/>
                    <a:pt x="117" y="149"/>
                  </a:cubicBezTo>
                  <a:cubicBezTo>
                    <a:pt x="116" y="149"/>
                    <a:pt x="115" y="149"/>
                    <a:pt x="115" y="149"/>
                  </a:cubicBezTo>
                  <a:cubicBezTo>
                    <a:pt x="113" y="150"/>
                    <a:pt x="113" y="152"/>
                    <a:pt x="111" y="153"/>
                  </a:cubicBezTo>
                  <a:cubicBezTo>
                    <a:pt x="111" y="154"/>
                    <a:pt x="109" y="153"/>
                    <a:pt x="108" y="154"/>
                  </a:cubicBezTo>
                  <a:cubicBezTo>
                    <a:pt x="107" y="155"/>
                    <a:pt x="106" y="157"/>
                    <a:pt x="104" y="158"/>
                  </a:cubicBezTo>
                  <a:cubicBezTo>
                    <a:pt x="104" y="159"/>
                    <a:pt x="102" y="158"/>
                    <a:pt x="101" y="158"/>
                  </a:cubicBezTo>
                  <a:cubicBezTo>
                    <a:pt x="100" y="157"/>
                    <a:pt x="98" y="158"/>
                    <a:pt x="97" y="157"/>
                  </a:cubicBezTo>
                  <a:cubicBezTo>
                    <a:pt x="96" y="156"/>
                    <a:pt x="97" y="155"/>
                    <a:pt x="99" y="154"/>
                  </a:cubicBezTo>
                  <a:cubicBezTo>
                    <a:pt x="100" y="154"/>
                    <a:pt x="102" y="153"/>
                    <a:pt x="104" y="152"/>
                  </a:cubicBezTo>
                  <a:cubicBezTo>
                    <a:pt x="104" y="151"/>
                    <a:pt x="105" y="151"/>
                    <a:pt x="106" y="151"/>
                  </a:cubicBezTo>
                  <a:cubicBezTo>
                    <a:pt x="106" y="151"/>
                    <a:pt x="106" y="150"/>
                    <a:pt x="106" y="150"/>
                  </a:cubicBezTo>
                  <a:cubicBezTo>
                    <a:pt x="104" y="149"/>
                    <a:pt x="101" y="151"/>
                    <a:pt x="100" y="149"/>
                  </a:cubicBezTo>
                  <a:cubicBezTo>
                    <a:pt x="100" y="148"/>
                    <a:pt x="100" y="148"/>
                    <a:pt x="100" y="147"/>
                  </a:cubicBezTo>
                  <a:cubicBezTo>
                    <a:pt x="102" y="145"/>
                    <a:pt x="103" y="143"/>
                    <a:pt x="105" y="142"/>
                  </a:cubicBezTo>
                  <a:cubicBezTo>
                    <a:pt x="106" y="141"/>
                    <a:pt x="107" y="141"/>
                    <a:pt x="107" y="140"/>
                  </a:cubicBezTo>
                  <a:cubicBezTo>
                    <a:pt x="108" y="138"/>
                    <a:pt x="108" y="137"/>
                    <a:pt x="108" y="135"/>
                  </a:cubicBezTo>
                  <a:cubicBezTo>
                    <a:pt x="108" y="135"/>
                    <a:pt x="109" y="134"/>
                    <a:pt x="109" y="134"/>
                  </a:cubicBezTo>
                  <a:cubicBezTo>
                    <a:pt x="110" y="134"/>
                    <a:pt x="111" y="134"/>
                    <a:pt x="113" y="133"/>
                  </a:cubicBezTo>
                  <a:cubicBezTo>
                    <a:pt x="114" y="132"/>
                    <a:pt x="114" y="131"/>
                    <a:pt x="115" y="131"/>
                  </a:cubicBezTo>
                  <a:cubicBezTo>
                    <a:pt x="116" y="131"/>
                    <a:pt x="117" y="131"/>
                    <a:pt x="118" y="131"/>
                  </a:cubicBezTo>
                  <a:cubicBezTo>
                    <a:pt x="119" y="132"/>
                    <a:pt x="120" y="132"/>
                    <a:pt x="121" y="131"/>
                  </a:cubicBezTo>
                  <a:cubicBezTo>
                    <a:pt x="123" y="131"/>
                    <a:pt x="123" y="128"/>
                    <a:pt x="122" y="127"/>
                  </a:cubicBezTo>
                  <a:cubicBezTo>
                    <a:pt x="120" y="127"/>
                    <a:pt x="118" y="127"/>
                    <a:pt x="116" y="127"/>
                  </a:cubicBezTo>
                  <a:cubicBezTo>
                    <a:pt x="114" y="128"/>
                    <a:pt x="112" y="129"/>
                    <a:pt x="110" y="130"/>
                  </a:cubicBezTo>
                  <a:cubicBezTo>
                    <a:pt x="110" y="131"/>
                    <a:pt x="109" y="131"/>
                    <a:pt x="109" y="131"/>
                  </a:cubicBezTo>
                  <a:cubicBezTo>
                    <a:pt x="108" y="133"/>
                    <a:pt x="105" y="134"/>
                    <a:pt x="103" y="136"/>
                  </a:cubicBezTo>
                  <a:cubicBezTo>
                    <a:pt x="102" y="136"/>
                    <a:pt x="101" y="137"/>
                    <a:pt x="101" y="138"/>
                  </a:cubicBezTo>
                  <a:cubicBezTo>
                    <a:pt x="100" y="139"/>
                    <a:pt x="100" y="140"/>
                    <a:pt x="99" y="141"/>
                  </a:cubicBezTo>
                  <a:cubicBezTo>
                    <a:pt x="97" y="142"/>
                    <a:pt x="95" y="143"/>
                    <a:pt x="95" y="146"/>
                  </a:cubicBezTo>
                  <a:cubicBezTo>
                    <a:pt x="95" y="146"/>
                    <a:pt x="94" y="147"/>
                    <a:pt x="94" y="147"/>
                  </a:cubicBezTo>
                  <a:cubicBezTo>
                    <a:pt x="94" y="148"/>
                    <a:pt x="93" y="148"/>
                    <a:pt x="93" y="149"/>
                  </a:cubicBezTo>
                  <a:cubicBezTo>
                    <a:pt x="91" y="151"/>
                    <a:pt x="87" y="151"/>
                    <a:pt x="85" y="153"/>
                  </a:cubicBezTo>
                  <a:cubicBezTo>
                    <a:pt x="84" y="154"/>
                    <a:pt x="84" y="155"/>
                    <a:pt x="84" y="155"/>
                  </a:cubicBezTo>
                  <a:cubicBezTo>
                    <a:pt x="83" y="156"/>
                    <a:pt x="82" y="156"/>
                    <a:pt x="82" y="157"/>
                  </a:cubicBezTo>
                  <a:cubicBezTo>
                    <a:pt x="82" y="157"/>
                    <a:pt x="81" y="158"/>
                    <a:pt x="82" y="159"/>
                  </a:cubicBezTo>
                  <a:cubicBezTo>
                    <a:pt x="82" y="160"/>
                    <a:pt x="83" y="160"/>
                    <a:pt x="84" y="160"/>
                  </a:cubicBezTo>
                  <a:cubicBezTo>
                    <a:pt x="85" y="161"/>
                    <a:pt x="85" y="161"/>
                    <a:pt x="86" y="162"/>
                  </a:cubicBezTo>
                  <a:cubicBezTo>
                    <a:pt x="86" y="162"/>
                    <a:pt x="86" y="162"/>
                    <a:pt x="86" y="163"/>
                  </a:cubicBezTo>
                  <a:cubicBezTo>
                    <a:pt x="86" y="163"/>
                    <a:pt x="85" y="163"/>
                    <a:pt x="85" y="164"/>
                  </a:cubicBezTo>
                  <a:cubicBezTo>
                    <a:pt x="82" y="165"/>
                    <a:pt x="79" y="164"/>
                    <a:pt x="77" y="167"/>
                  </a:cubicBezTo>
                  <a:cubicBezTo>
                    <a:pt x="76" y="167"/>
                    <a:pt x="77" y="168"/>
                    <a:pt x="77" y="169"/>
                  </a:cubicBezTo>
                  <a:cubicBezTo>
                    <a:pt x="76" y="170"/>
                    <a:pt x="74" y="171"/>
                    <a:pt x="73" y="171"/>
                  </a:cubicBezTo>
                  <a:cubicBezTo>
                    <a:pt x="72" y="171"/>
                    <a:pt x="71" y="172"/>
                    <a:pt x="70" y="173"/>
                  </a:cubicBezTo>
                  <a:cubicBezTo>
                    <a:pt x="69" y="173"/>
                    <a:pt x="68" y="174"/>
                    <a:pt x="67" y="174"/>
                  </a:cubicBezTo>
                  <a:cubicBezTo>
                    <a:pt x="66" y="174"/>
                    <a:pt x="66" y="175"/>
                    <a:pt x="66" y="175"/>
                  </a:cubicBezTo>
                  <a:cubicBezTo>
                    <a:pt x="63" y="177"/>
                    <a:pt x="59" y="176"/>
                    <a:pt x="57" y="179"/>
                  </a:cubicBezTo>
                  <a:cubicBezTo>
                    <a:pt x="57" y="179"/>
                    <a:pt x="57" y="181"/>
                    <a:pt x="57" y="182"/>
                  </a:cubicBezTo>
                  <a:cubicBezTo>
                    <a:pt x="56" y="183"/>
                    <a:pt x="54" y="183"/>
                    <a:pt x="53" y="184"/>
                  </a:cubicBezTo>
                  <a:cubicBezTo>
                    <a:pt x="52" y="184"/>
                    <a:pt x="52" y="185"/>
                    <a:pt x="51" y="186"/>
                  </a:cubicBezTo>
                  <a:cubicBezTo>
                    <a:pt x="50" y="186"/>
                    <a:pt x="48" y="186"/>
                    <a:pt x="47" y="186"/>
                  </a:cubicBezTo>
                  <a:cubicBezTo>
                    <a:pt x="47" y="186"/>
                    <a:pt x="47" y="187"/>
                    <a:pt x="46" y="187"/>
                  </a:cubicBezTo>
                  <a:cubicBezTo>
                    <a:pt x="45" y="188"/>
                    <a:pt x="43" y="188"/>
                    <a:pt x="42" y="189"/>
                  </a:cubicBezTo>
                  <a:cubicBezTo>
                    <a:pt x="41" y="189"/>
                    <a:pt x="40" y="188"/>
                    <a:pt x="39" y="189"/>
                  </a:cubicBezTo>
                  <a:cubicBezTo>
                    <a:pt x="39" y="189"/>
                    <a:pt x="39" y="189"/>
                    <a:pt x="39" y="189"/>
                  </a:cubicBezTo>
                  <a:cubicBezTo>
                    <a:pt x="40" y="190"/>
                    <a:pt x="40" y="190"/>
                    <a:pt x="40" y="191"/>
                  </a:cubicBezTo>
                  <a:cubicBezTo>
                    <a:pt x="39" y="192"/>
                    <a:pt x="38" y="193"/>
                    <a:pt x="37" y="193"/>
                  </a:cubicBezTo>
                  <a:cubicBezTo>
                    <a:pt x="36" y="195"/>
                    <a:pt x="33" y="194"/>
                    <a:pt x="32" y="195"/>
                  </a:cubicBezTo>
                  <a:cubicBezTo>
                    <a:pt x="30" y="195"/>
                    <a:pt x="30" y="197"/>
                    <a:pt x="30" y="198"/>
                  </a:cubicBezTo>
                  <a:cubicBezTo>
                    <a:pt x="29" y="198"/>
                    <a:pt x="28" y="198"/>
                    <a:pt x="27" y="198"/>
                  </a:cubicBezTo>
                  <a:cubicBezTo>
                    <a:pt x="27" y="197"/>
                    <a:pt x="28" y="197"/>
                    <a:pt x="27" y="197"/>
                  </a:cubicBezTo>
                  <a:cubicBezTo>
                    <a:pt x="26" y="196"/>
                    <a:pt x="25" y="196"/>
                    <a:pt x="25" y="197"/>
                  </a:cubicBezTo>
                  <a:cubicBezTo>
                    <a:pt x="24" y="198"/>
                    <a:pt x="23" y="199"/>
                    <a:pt x="22" y="199"/>
                  </a:cubicBezTo>
                  <a:cubicBezTo>
                    <a:pt x="20" y="199"/>
                    <a:pt x="19" y="200"/>
                    <a:pt x="18" y="200"/>
                  </a:cubicBezTo>
                  <a:cubicBezTo>
                    <a:pt x="16" y="201"/>
                    <a:pt x="14" y="200"/>
                    <a:pt x="14" y="198"/>
                  </a:cubicBezTo>
                  <a:cubicBezTo>
                    <a:pt x="14" y="198"/>
                    <a:pt x="13" y="198"/>
                    <a:pt x="12" y="198"/>
                  </a:cubicBezTo>
                  <a:cubicBezTo>
                    <a:pt x="11" y="198"/>
                    <a:pt x="11" y="199"/>
                    <a:pt x="11" y="200"/>
                  </a:cubicBezTo>
                  <a:cubicBezTo>
                    <a:pt x="10" y="201"/>
                    <a:pt x="10" y="202"/>
                    <a:pt x="9" y="202"/>
                  </a:cubicBezTo>
                  <a:cubicBezTo>
                    <a:pt x="8" y="203"/>
                    <a:pt x="7" y="203"/>
                    <a:pt x="6" y="202"/>
                  </a:cubicBezTo>
                  <a:cubicBezTo>
                    <a:pt x="5" y="202"/>
                    <a:pt x="4" y="202"/>
                    <a:pt x="3" y="202"/>
                  </a:cubicBezTo>
                  <a:cubicBezTo>
                    <a:pt x="3" y="203"/>
                    <a:pt x="2" y="203"/>
                    <a:pt x="2" y="203"/>
                  </a:cubicBezTo>
                  <a:cubicBezTo>
                    <a:pt x="1" y="204"/>
                    <a:pt x="0" y="203"/>
                    <a:pt x="0" y="203"/>
                  </a:cubicBezTo>
                  <a:cubicBezTo>
                    <a:pt x="0" y="202"/>
                    <a:pt x="0" y="201"/>
                    <a:pt x="1" y="201"/>
                  </a:cubicBezTo>
                  <a:cubicBezTo>
                    <a:pt x="2" y="200"/>
                    <a:pt x="3" y="200"/>
                    <a:pt x="4" y="199"/>
                  </a:cubicBezTo>
                  <a:cubicBezTo>
                    <a:pt x="5" y="198"/>
                    <a:pt x="6" y="198"/>
                    <a:pt x="7" y="197"/>
                  </a:cubicBezTo>
                  <a:cubicBezTo>
                    <a:pt x="7" y="197"/>
                    <a:pt x="8" y="196"/>
                    <a:pt x="8" y="196"/>
                  </a:cubicBezTo>
                  <a:cubicBezTo>
                    <a:pt x="10" y="195"/>
                    <a:pt x="11" y="195"/>
                    <a:pt x="13" y="194"/>
                  </a:cubicBezTo>
                  <a:cubicBezTo>
                    <a:pt x="15" y="194"/>
                    <a:pt x="16" y="194"/>
                    <a:pt x="18" y="195"/>
                  </a:cubicBezTo>
                  <a:cubicBezTo>
                    <a:pt x="18" y="195"/>
                    <a:pt x="19" y="196"/>
                    <a:pt x="19" y="196"/>
                  </a:cubicBezTo>
                  <a:cubicBezTo>
                    <a:pt x="21" y="196"/>
                    <a:pt x="22" y="196"/>
                    <a:pt x="23" y="195"/>
                  </a:cubicBezTo>
                  <a:cubicBezTo>
                    <a:pt x="24" y="193"/>
                    <a:pt x="24" y="192"/>
                    <a:pt x="24" y="191"/>
                  </a:cubicBezTo>
                  <a:cubicBezTo>
                    <a:pt x="26" y="189"/>
                    <a:pt x="27" y="188"/>
                    <a:pt x="29" y="188"/>
                  </a:cubicBezTo>
                  <a:cubicBezTo>
                    <a:pt x="31" y="186"/>
                    <a:pt x="34" y="184"/>
                    <a:pt x="37" y="185"/>
                  </a:cubicBezTo>
                  <a:cubicBezTo>
                    <a:pt x="38" y="185"/>
                    <a:pt x="39" y="184"/>
                    <a:pt x="39" y="184"/>
                  </a:cubicBezTo>
                  <a:cubicBezTo>
                    <a:pt x="41" y="182"/>
                    <a:pt x="42" y="180"/>
                    <a:pt x="44" y="178"/>
                  </a:cubicBezTo>
                  <a:cubicBezTo>
                    <a:pt x="47" y="178"/>
                    <a:pt x="49" y="176"/>
                    <a:pt x="49" y="173"/>
                  </a:cubicBezTo>
                  <a:cubicBezTo>
                    <a:pt x="49" y="172"/>
                    <a:pt x="51" y="172"/>
                    <a:pt x="52" y="171"/>
                  </a:cubicBezTo>
                  <a:cubicBezTo>
                    <a:pt x="52" y="170"/>
                    <a:pt x="52" y="168"/>
                    <a:pt x="52" y="167"/>
                  </a:cubicBezTo>
                  <a:cubicBezTo>
                    <a:pt x="53" y="166"/>
                    <a:pt x="53" y="165"/>
                    <a:pt x="55" y="164"/>
                  </a:cubicBezTo>
                  <a:cubicBezTo>
                    <a:pt x="56" y="163"/>
                    <a:pt x="57" y="162"/>
                    <a:pt x="59" y="161"/>
                  </a:cubicBezTo>
                  <a:cubicBezTo>
                    <a:pt x="59" y="160"/>
                    <a:pt x="59" y="160"/>
                    <a:pt x="59" y="160"/>
                  </a:cubicBezTo>
                  <a:cubicBezTo>
                    <a:pt x="58" y="160"/>
                    <a:pt x="57" y="160"/>
                    <a:pt x="56" y="160"/>
                  </a:cubicBezTo>
                  <a:cubicBezTo>
                    <a:pt x="54" y="161"/>
                    <a:pt x="53" y="162"/>
                    <a:pt x="51" y="163"/>
                  </a:cubicBezTo>
                  <a:cubicBezTo>
                    <a:pt x="50" y="163"/>
                    <a:pt x="50" y="163"/>
                    <a:pt x="50" y="163"/>
                  </a:cubicBezTo>
                  <a:cubicBezTo>
                    <a:pt x="49" y="164"/>
                    <a:pt x="47" y="163"/>
                    <a:pt x="48" y="162"/>
                  </a:cubicBezTo>
                  <a:cubicBezTo>
                    <a:pt x="48" y="162"/>
                    <a:pt x="49" y="161"/>
                    <a:pt x="50" y="161"/>
                  </a:cubicBezTo>
                  <a:cubicBezTo>
                    <a:pt x="50" y="160"/>
                    <a:pt x="50" y="160"/>
                    <a:pt x="50" y="160"/>
                  </a:cubicBezTo>
                  <a:cubicBezTo>
                    <a:pt x="49" y="159"/>
                    <a:pt x="48" y="159"/>
                    <a:pt x="48" y="160"/>
                  </a:cubicBezTo>
                  <a:cubicBezTo>
                    <a:pt x="45" y="161"/>
                    <a:pt x="45" y="164"/>
                    <a:pt x="44" y="167"/>
                  </a:cubicBezTo>
                  <a:cubicBezTo>
                    <a:pt x="44" y="167"/>
                    <a:pt x="43" y="167"/>
                    <a:pt x="42" y="166"/>
                  </a:cubicBezTo>
                  <a:cubicBezTo>
                    <a:pt x="41" y="165"/>
                    <a:pt x="41" y="163"/>
                    <a:pt x="40" y="161"/>
                  </a:cubicBezTo>
                  <a:cubicBezTo>
                    <a:pt x="39" y="160"/>
                    <a:pt x="39" y="160"/>
                    <a:pt x="39" y="159"/>
                  </a:cubicBezTo>
                  <a:cubicBezTo>
                    <a:pt x="38" y="159"/>
                    <a:pt x="38" y="159"/>
                    <a:pt x="37" y="159"/>
                  </a:cubicBezTo>
                  <a:cubicBezTo>
                    <a:pt x="37" y="159"/>
                    <a:pt x="36" y="160"/>
                    <a:pt x="36" y="160"/>
                  </a:cubicBezTo>
                  <a:cubicBezTo>
                    <a:pt x="35" y="161"/>
                    <a:pt x="34" y="159"/>
                    <a:pt x="33" y="160"/>
                  </a:cubicBezTo>
                  <a:cubicBezTo>
                    <a:pt x="29" y="161"/>
                    <a:pt x="27" y="163"/>
                    <a:pt x="24" y="164"/>
                  </a:cubicBezTo>
                  <a:cubicBezTo>
                    <a:pt x="23" y="165"/>
                    <a:pt x="21" y="165"/>
                    <a:pt x="21" y="164"/>
                  </a:cubicBezTo>
                  <a:cubicBezTo>
                    <a:pt x="20" y="163"/>
                    <a:pt x="22" y="162"/>
                    <a:pt x="23" y="161"/>
                  </a:cubicBezTo>
                  <a:cubicBezTo>
                    <a:pt x="23" y="159"/>
                    <a:pt x="22" y="157"/>
                    <a:pt x="23" y="156"/>
                  </a:cubicBezTo>
                  <a:cubicBezTo>
                    <a:pt x="24" y="154"/>
                    <a:pt x="26" y="154"/>
                    <a:pt x="26" y="153"/>
                  </a:cubicBezTo>
                  <a:cubicBezTo>
                    <a:pt x="27" y="151"/>
                    <a:pt x="27" y="150"/>
                    <a:pt x="26" y="148"/>
                  </a:cubicBezTo>
                  <a:cubicBezTo>
                    <a:pt x="26" y="148"/>
                    <a:pt x="26" y="147"/>
                    <a:pt x="26" y="146"/>
                  </a:cubicBezTo>
                  <a:cubicBezTo>
                    <a:pt x="26" y="145"/>
                    <a:pt x="26" y="145"/>
                    <a:pt x="26" y="144"/>
                  </a:cubicBezTo>
                  <a:cubicBezTo>
                    <a:pt x="26" y="144"/>
                    <a:pt x="25" y="144"/>
                    <a:pt x="25" y="144"/>
                  </a:cubicBezTo>
                  <a:cubicBezTo>
                    <a:pt x="24" y="145"/>
                    <a:pt x="24" y="145"/>
                    <a:pt x="23" y="146"/>
                  </a:cubicBezTo>
                  <a:cubicBezTo>
                    <a:pt x="21" y="147"/>
                    <a:pt x="20" y="148"/>
                    <a:pt x="18" y="149"/>
                  </a:cubicBezTo>
                  <a:cubicBezTo>
                    <a:pt x="16" y="149"/>
                    <a:pt x="14" y="149"/>
                    <a:pt x="12" y="148"/>
                  </a:cubicBezTo>
                  <a:cubicBezTo>
                    <a:pt x="12" y="147"/>
                    <a:pt x="12" y="147"/>
                    <a:pt x="12" y="146"/>
                  </a:cubicBezTo>
                  <a:cubicBezTo>
                    <a:pt x="12" y="145"/>
                    <a:pt x="11" y="145"/>
                    <a:pt x="11" y="144"/>
                  </a:cubicBezTo>
                  <a:cubicBezTo>
                    <a:pt x="10" y="143"/>
                    <a:pt x="9" y="142"/>
                    <a:pt x="8" y="141"/>
                  </a:cubicBezTo>
                  <a:cubicBezTo>
                    <a:pt x="8" y="141"/>
                    <a:pt x="7" y="141"/>
                    <a:pt x="7" y="141"/>
                  </a:cubicBezTo>
                  <a:cubicBezTo>
                    <a:pt x="6" y="141"/>
                    <a:pt x="6" y="139"/>
                    <a:pt x="6" y="138"/>
                  </a:cubicBezTo>
                  <a:cubicBezTo>
                    <a:pt x="7" y="136"/>
                    <a:pt x="8" y="134"/>
                    <a:pt x="9" y="134"/>
                  </a:cubicBezTo>
                  <a:cubicBezTo>
                    <a:pt x="10" y="133"/>
                    <a:pt x="11" y="133"/>
                    <a:pt x="11" y="134"/>
                  </a:cubicBezTo>
                  <a:cubicBezTo>
                    <a:pt x="13" y="135"/>
                    <a:pt x="15" y="135"/>
                    <a:pt x="17" y="136"/>
                  </a:cubicBezTo>
                  <a:cubicBezTo>
                    <a:pt x="17" y="136"/>
                    <a:pt x="18" y="136"/>
                    <a:pt x="18" y="136"/>
                  </a:cubicBezTo>
                  <a:cubicBezTo>
                    <a:pt x="18" y="136"/>
                    <a:pt x="19" y="136"/>
                    <a:pt x="20" y="136"/>
                  </a:cubicBezTo>
                  <a:cubicBezTo>
                    <a:pt x="20" y="135"/>
                    <a:pt x="20" y="134"/>
                    <a:pt x="19" y="134"/>
                  </a:cubicBezTo>
                  <a:cubicBezTo>
                    <a:pt x="19" y="133"/>
                    <a:pt x="19" y="133"/>
                    <a:pt x="18" y="133"/>
                  </a:cubicBezTo>
                  <a:cubicBezTo>
                    <a:pt x="16" y="133"/>
                    <a:pt x="14" y="133"/>
                    <a:pt x="12" y="132"/>
                  </a:cubicBezTo>
                  <a:cubicBezTo>
                    <a:pt x="11" y="132"/>
                    <a:pt x="11" y="131"/>
                    <a:pt x="10" y="130"/>
                  </a:cubicBezTo>
                  <a:cubicBezTo>
                    <a:pt x="10" y="130"/>
                    <a:pt x="9" y="130"/>
                    <a:pt x="8" y="130"/>
                  </a:cubicBezTo>
                  <a:cubicBezTo>
                    <a:pt x="8" y="130"/>
                    <a:pt x="8" y="131"/>
                    <a:pt x="8" y="131"/>
                  </a:cubicBezTo>
                  <a:cubicBezTo>
                    <a:pt x="7" y="131"/>
                    <a:pt x="6" y="131"/>
                    <a:pt x="6" y="130"/>
                  </a:cubicBezTo>
                  <a:cubicBezTo>
                    <a:pt x="6" y="128"/>
                    <a:pt x="6" y="126"/>
                    <a:pt x="7" y="123"/>
                  </a:cubicBezTo>
                  <a:cubicBezTo>
                    <a:pt x="7" y="122"/>
                    <a:pt x="9" y="122"/>
                    <a:pt x="10" y="121"/>
                  </a:cubicBezTo>
                  <a:cubicBezTo>
                    <a:pt x="11" y="119"/>
                    <a:pt x="11" y="118"/>
                    <a:pt x="12" y="117"/>
                  </a:cubicBezTo>
                  <a:cubicBezTo>
                    <a:pt x="14" y="116"/>
                    <a:pt x="16" y="116"/>
                    <a:pt x="18" y="115"/>
                  </a:cubicBezTo>
                  <a:cubicBezTo>
                    <a:pt x="18" y="114"/>
                    <a:pt x="18" y="114"/>
                    <a:pt x="18" y="113"/>
                  </a:cubicBezTo>
                  <a:cubicBezTo>
                    <a:pt x="19" y="112"/>
                    <a:pt x="19" y="111"/>
                    <a:pt x="20" y="110"/>
                  </a:cubicBezTo>
                  <a:cubicBezTo>
                    <a:pt x="21" y="110"/>
                    <a:pt x="21" y="109"/>
                    <a:pt x="22" y="107"/>
                  </a:cubicBezTo>
                  <a:cubicBezTo>
                    <a:pt x="23" y="107"/>
                    <a:pt x="23" y="107"/>
                    <a:pt x="23" y="107"/>
                  </a:cubicBezTo>
                  <a:cubicBezTo>
                    <a:pt x="23" y="106"/>
                    <a:pt x="24" y="106"/>
                    <a:pt x="24" y="106"/>
                  </a:cubicBezTo>
                  <a:cubicBezTo>
                    <a:pt x="25" y="106"/>
                    <a:pt x="27" y="106"/>
                    <a:pt x="28" y="106"/>
                  </a:cubicBezTo>
                  <a:cubicBezTo>
                    <a:pt x="29" y="106"/>
                    <a:pt x="29" y="106"/>
                    <a:pt x="30" y="107"/>
                  </a:cubicBezTo>
                  <a:cubicBezTo>
                    <a:pt x="32" y="107"/>
                    <a:pt x="34" y="107"/>
                    <a:pt x="36" y="107"/>
                  </a:cubicBezTo>
                  <a:cubicBezTo>
                    <a:pt x="38" y="106"/>
                    <a:pt x="40" y="104"/>
                    <a:pt x="41" y="103"/>
                  </a:cubicBezTo>
                  <a:cubicBezTo>
                    <a:pt x="44" y="103"/>
                    <a:pt x="46" y="103"/>
                    <a:pt x="49" y="103"/>
                  </a:cubicBezTo>
                  <a:cubicBezTo>
                    <a:pt x="50" y="102"/>
                    <a:pt x="52" y="101"/>
                    <a:pt x="52" y="100"/>
                  </a:cubicBezTo>
                  <a:cubicBezTo>
                    <a:pt x="53" y="99"/>
                    <a:pt x="53" y="97"/>
                    <a:pt x="52" y="96"/>
                  </a:cubicBezTo>
                  <a:cubicBezTo>
                    <a:pt x="51" y="95"/>
                    <a:pt x="51" y="95"/>
                    <a:pt x="50" y="94"/>
                  </a:cubicBezTo>
                  <a:cubicBezTo>
                    <a:pt x="50" y="93"/>
                    <a:pt x="50" y="93"/>
                    <a:pt x="50" y="92"/>
                  </a:cubicBezTo>
                  <a:cubicBezTo>
                    <a:pt x="52" y="91"/>
                    <a:pt x="55" y="91"/>
                    <a:pt x="57" y="89"/>
                  </a:cubicBezTo>
                  <a:cubicBezTo>
                    <a:pt x="57" y="89"/>
                    <a:pt x="57" y="88"/>
                    <a:pt x="57" y="87"/>
                  </a:cubicBezTo>
                  <a:cubicBezTo>
                    <a:pt x="51" y="86"/>
                    <a:pt x="47" y="90"/>
                    <a:pt x="42" y="93"/>
                  </a:cubicBezTo>
                  <a:cubicBezTo>
                    <a:pt x="41" y="94"/>
                    <a:pt x="41" y="92"/>
                    <a:pt x="40" y="90"/>
                  </a:cubicBezTo>
                  <a:cubicBezTo>
                    <a:pt x="39" y="90"/>
                    <a:pt x="37" y="91"/>
                    <a:pt x="36" y="91"/>
                  </a:cubicBezTo>
                  <a:cubicBezTo>
                    <a:pt x="35" y="91"/>
                    <a:pt x="35" y="90"/>
                    <a:pt x="35" y="90"/>
                  </a:cubicBezTo>
                  <a:cubicBezTo>
                    <a:pt x="33" y="90"/>
                    <a:pt x="31" y="90"/>
                    <a:pt x="29" y="91"/>
                  </a:cubicBezTo>
                  <a:cubicBezTo>
                    <a:pt x="26" y="91"/>
                    <a:pt x="23" y="91"/>
                    <a:pt x="21" y="91"/>
                  </a:cubicBezTo>
                  <a:cubicBezTo>
                    <a:pt x="20" y="91"/>
                    <a:pt x="19" y="90"/>
                    <a:pt x="18" y="90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18" y="89"/>
                    <a:pt x="18" y="88"/>
                    <a:pt x="18" y="88"/>
                  </a:cubicBezTo>
                  <a:cubicBezTo>
                    <a:pt x="18" y="86"/>
                    <a:pt x="18" y="85"/>
                    <a:pt x="18" y="83"/>
                  </a:cubicBezTo>
                  <a:cubicBezTo>
                    <a:pt x="17" y="83"/>
                    <a:pt x="17" y="83"/>
                    <a:pt x="16" y="82"/>
                  </a:cubicBezTo>
                  <a:cubicBezTo>
                    <a:pt x="16" y="82"/>
                    <a:pt x="16" y="81"/>
                    <a:pt x="17" y="81"/>
                  </a:cubicBezTo>
                  <a:cubicBezTo>
                    <a:pt x="18" y="80"/>
                    <a:pt x="20" y="81"/>
                    <a:pt x="21" y="80"/>
                  </a:cubicBezTo>
                  <a:cubicBezTo>
                    <a:pt x="21" y="80"/>
                    <a:pt x="21" y="80"/>
                    <a:pt x="21" y="79"/>
                  </a:cubicBezTo>
                  <a:cubicBezTo>
                    <a:pt x="20" y="78"/>
                    <a:pt x="18" y="78"/>
                    <a:pt x="16" y="78"/>
                  </a:cubicBezTo>
                  <a:cubicBezTo>
                    <a:pt x="15" y="77"/>
                    <a:pt x="14" y="77"/>
                    <a:pt x="12" y="76"/>
                  </a:cubicBezTo>
                  <a:cubicBezTo>
                    <a:pt x="12" y="76"/>
                    <a:pt x="11" y="76"/>
                    <a:pt x="11" y="76"/>
                  </a:cubicBezTo>
                  <a:cubicBezTo>
                    <a:pt x="11" y="75"/>
                    <a:pt x="11" y="75"/>
                    <a:pt x="11" y="74"/>
                  </a:cubicBezTo>
                  <a:cubicBezTo>
                    <a:pt x="12" y="73"/>
                    <a:pt x="13" y="73"/>
                    <a:pt x="14" y="72"/>
                  </a:cubicBezTo>
                  <a:cubicBezTo>
                    <a:pt x="16" y="72"/>
                    <a:pt x="18" y="71"/>
                    <a:pt x="20" y="70"/>
                  </a:cubicBezTo>
                  <a:cubicBezTo>
                    <a:pt x="23" y="69"/>
                    <a:pt x="25" y="70"/>
                    <a:pt x="28" y="70"/>
                  </a:cubicBezTo>
                  <a:cubicBezTo>
                    <a:pt x="29" y="69"/>
                    <a:pt x="29" y="68"/>
                    <a:pt x="30" y="67"/>
                  </a:cubicBezTo>
                  <a:cubicBezTo>
                    <a:pt x="31" y="66"/>
                    <a:pt x="33" y="65"/>
                    <a:pt x="35" y="65"/>
                  </a:cubicBezTo>
                  <a:cubicBezTo>
                    <a:pt x="37" y="65"/>
                    <a:pt x="39" y="65"/>
                    <a:pt x="41" y="64"/>
                  </a:cubicBezTo>
                  <a:cubicBezTo>
                    <a:pt x="42" y="64"/>
                    <a:pt x="43" y="63"/>
                    <a:pt x="44" y="64"/>
                  </a:cubicBezTo>
                  <a:cubicBezTo>
                    <a:pt x="45" y="65"/>
                    <a:pt x="43" y="66"/>
                    <a:pt x="42" y="67"/>
                  </a:cubicBezTo>
                  <a:cubicBezTo>
                    <a:pt x="41" y="68"/>
                    <a:pt x="43" y="69"/>
                    <a:pt x="44" y="69"/>
                  </a:cubicBezTo>
                  <a:cubicBezTo>
                    <a:pt x="45" y="70"/>
                    <a:pt x="47" y="69"/>
                    <a:pt x="48" y="69"/>
                  </a:cubicBezTo>
                  <a:cubicBezTo>
                    <a:pt x="50" y="68"/>
                    <a:pt x="53" y="68"/>
                    <a:pt x="55" y="70"/>
                  </a:cubicBezTo>
                  <a:cubicBezTo>
                    <a:pt x="57" y="71"/>
                    <a:pt x="58" y="69"/>
                    <a:pt x="60" y="68"/>
                  </a:cubicBezTo>
                  <a:cubicBezTo>
                    <a:pt x="60" y="68"/>
                    <a:pt x="60" y="67"/>
                    <a:pt x="60" y="66"/>
                  </a:cubicBezTo>
                  <a:cubicBezTo>
                    <a:pt x="59" y="66"/>
                    <a:pt x="59" y="66"/>
                    <a:pt x="58" y="66"/>
                  </a:cubicBezTo>
                  <a:cubicBezTo>
                    <a:pt x="57" y="64"/>
                    <a:pt x="56" y="63"/>
                    <a:pt x="55" y="62"/>
                  </a:cubicBezTo>
                  <a:cubicBezTo>
                    <a:pt x="55" y="62"/>
                    <a:pt x="55" y="61"/>
                    <a:pt x="55" y="61"/>
                  </a:cubicBezTo>
                  <a:cubicBezTo>
                    <a:pt x="56" y="61"/>
                    <a:pt x="57" y="61"/>
                    <a:pt x="57" y="62"/>
                  </a:cubicBezTo>
                  <a:cubicBezTo>
                    <a:pt x="58" y="62"/>
                    <a:pt x="59" y="63"/>
                    <a:pt x="59" y="63"/>
                  </a:cubicBezTo>
                  <a:cubicBezTo>
                    <a:pt x="61" y="63"/>
                    <a:pt x="64" y="64"/>
                    <a:pt x="65" y="66"/>
                  </a:cubicBezTo>
                  <a:cubicBezTo>
                    <a:pt x="65" y="67"/>
                    <a:pt x="66" y="67"/>
                    <a:pt x="66" y="67"/>
                  </a:cubicBezTo>
                  <a:cubicBezTo>
                    <a:pt x="68" y="67"/>
                    <a:pt x="72" y="69"/>
                    <a:pt x="72" y="67"/>
                  </a:cubicBezTo>
                  <a:cubicBezTo>
                    <a:pt x="72" y="66"/>
                    <a:pt x="72" y="65"/>
                    <a:pt x="71" y="65"/>
                  </a:cubicBezTo>
                  <a:cubicBezTo>
                    <a:pt x="70" y="65"/>
                    <a:pt x="68" y="65"/>
                    <a:pt x="67" y="63"/>
                  </a:cubicBezTo>
                  <a:cubicBezTo>
                    <a:pt x="67" y="62"/>
                    <a:pt x="67" y="62"/>
                    <a:pt x="66" y="62"/>
                  </a:cubicBezTo>
                  <a:cubicBezTo>
                    <a:pt x="65" y="62"/>
                    <a:pt x="64" y="62"/>
                    <a:pt x="63" y="62"/>
                  </a:cubicBezTo>
                  <a:cubicBezTo>
                    <a:pt x="61" y="62"/>
                    <a:pt x="61" y="60"/>
                    <a:pt x="60" y="60"/>
                  </a:cubicBezTo>
                  <a:cubicBezTo>
                    <a:pt x="56" y="59"/>
                    <a:pt x="53" y="61"/>
                    <a:pt x="50" y="59"/>
                  </a:cubicBezTo>
                  <a:cubicBezTo>
                    <a:pt x="47" y="57"/>
                    <a:pt x="49" y="53"/>
                    <a:pt x="48" y="51"/>
                  </a:cubicBezTo>
                  <a:cubicBezTo>
                    <a:pt x="48" y="50"/>
                    <a:pt x="47" y="49"/>
                    <a:pt x="46" y="48"/>
                  </a:cubicBezTo>
                  <a:cubicBezTo>
                    <a:pt x="45" y="48"/>
                    <a:pt x="44" y="48"/>
                    <a:pt x="44" y="47"/>
                  </a:cubicBezTo>
                  <a:cubicBezTo>
                    <a:pt x="43" y="47"/>
                    <a:pt x="42" y="47"/>
                    <a:pt x="42" y="46"/>
                  </a:cubicBezTo>
                  <a:cubicBezTo>
                    <a:pt x="40" y="44"/>
                    <a:pt x="38" y="42"/>
                    <a:pt x="35" y="40"/>
                  </a:cubicBezTo>
                  <a:cubicBezTo>
                    <a:pt x="35" y="40"/>
                    <a:pt x="35" y="39"/>
                    <a:pt x="36" y="39"/>
                  </a:cubicBezTo>
                  <a:cubicBezTo>
                    <a:pt x="37" y="39"/>
                    <a:pt x="38" y="38"/>
                    <a:pt x="39" y="37"/>
                  </a:cubicBezTo>
                  <a:cubicBezTo>
                    <a:pt x="40" y="37"/>
                    <a:pt x="40" y="36"/>
                    <a:pt x="40" y="35"/>
                  </a:cubicBezTo>
                  <a:cubicBezTo>
                    <a:pt x="40" y="35"/>
                    <a:pt x="41" y="34"/>
                    <a:pt x="41" y="34"/>
                  </a:cubicBezTo>
                  <a:cubicBezTo>
                    <a:pt x="43" y="34"/>
                    <a:pt x="46" y="35"/>
                    <a:pt x="48" y="34"/>
                  </a:cubicBezTo>
                  <a:cubicBezTo>
                    <a:pt x="49" y="33"/>
                    <a:pt x="50" y="33"/>
                    <a:pt x="51" y="32"/>
                  </a:cubicBezTo>
                  <a:cubicBezTo>
                    <a:pt x="53" y="32"/>
                    <a:pt x="55" y="32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8" y="31"/>
                    <a:pt x="60" y="31"/>
                    <a:pt x="61" y="30"/>
                  </a:cubicBezTo>
                  <a:cubicBezTo>
                    <a:pt x="62" y="30"/>
                    <a:pt x="63" y="29"/>
                    <a:pt x="64" y="28"/>
                  </a:cubicBezTo>
                  <a:cubicBezTo>
                    <a:pt x="65" y="27"/>
                    <a:pt x="65" y="26"/>
                    <a:pt x="66" y="26"/>
                  </a:cubicBezTo>
                  <a:cubicBezTo>
                    <a:pt x="66" y="25"/>
                    <a:pt x="66" y="25"/>
                    <a:pt x="66" y="24"/>
                  </a:cubicBezTo>
                  <a:cubicBezTo>
                    <a:pt x="67" y="23"/>
                    <a:pt x="67" y="22"/>
                    <a:pt x="68" y="21"/>
                  </a:cubicBezTo>
                  <a:cubicBezTo>
                    <a:pt x="69" y="21"/>
                    <a:pt x="70" y="20"/>
                    <a:pt x="70" y="20"/>
                  </a:cubicBezTo>
                  <a:cubicBezTo>
                    <a:pt x="71" y="20"/>
                    <a:pt x="72" y="19"/>
                    <a:pt x="72" y="19"/>
                  </a:cubicBezTo>
                  <a:cubicBezTo>
                    <a:pt x="74" y="18"/>
                    <a:pt x="74" y="17"/>
                    <a:pt x="76" y="16"/>
                  </a:cubicBezTo>
                  <a:cubicBezTo>
                    <a:pt x="77" y="15"/>
                    <a:pt x="78" y="14"/>
                    <a:pt x="79" y="13"/>
                  </a:cubicBezTo>
                  <a:cubicBezTo>
                    <a:pt x="79" y="13"/>
                    <a:pt x="80" y="14"/>
                    <a:pt x="80" y="13"/>
                  </a:cubicBezTo>
                  <a:cubicBezTo>
                    <a:pt x="81" y="13"/>
                    <a:pt x="82" y="13"/>
                    <a:pt x="82" y="13"/>
                  </a:cubicBezTo>
                  <a:cubicBezTo>
                    <a:pt x="84" y="12"/>
                    <a:pt x="86" y="12"/>
                    <a:pt x="87" y="12"/>
                  </a:cubicBezTo>
                  <a:cubicBezTo>
                    <a:pt x="89" y="11"/>
                    <a:pt x="90" y="10"/>
                    <a:pt x="91" y="9"/>
                  </a:cubicBezTo>
                  <a:cubicBezTo>
                    <a:pt x="92" y="8"/>
                    <a:pt x="92" y="8"/>
                    <a:pt x="93" y="8"/>
                  </a:cubicBezTo>
                  <a:cubicBezTo>
                    <a:pt x="93" y="9"/>
                    <a:pt x="93" y="9"/>
                    <a:pt x="92" y="10"/>
                  </a:cubicBezTo>
                  <a:cubicBezTo>
                    <a:pt x="92" y="11"/>
                    <a:pt x="92" y="12"/>
                    <a:pt x="93" y="12"/>
                  </a:cubicBezTo>
                  <a:cubicBezTo>
                    <a:pt x="93" y="13"/>
                    <a:pt x="95" y="12"/>
                    <a:pt x="95" y="11"/>
                  </a:cubicBezTo>
                  <a:cubicBezTo>
                    <a:pt x="96" y="11"/>
                    <a:pt x="95" y="9"/>
                    <a:pt x="96" y="8"/>
                  </a:cubicBezTo>
                  <a:cubicBezTo>
                    <a:pt x="96" y="7"/>
                    <a:pt x="97" y="6"/>
                    <a:pt x="98" y="6"/>
                  </a:cubicBezTo>
                  <a:cubicBezTo>
                    <a:pt x="100" y="6"/>
                    <a:pt x="101" y="6"/>
                    <a:pt x="103" y="6"/>
                  </a:cubicBezTo>
                  <a:cubicBezTo>
                    <a:pt x="104" y="6"/>
                    <a:pt x="104" y="5"/>
                    <a:pt x="105" y="5"/>
                  </a:cubicBezTo>
                  <a:cubicBezTo>
                    <a:pt x="107" y="5"/>
                    <a:pt x="110" y="6"/>
                    <a:pt x="113" y="5"/>
                  </a:cubicBezTo>
                  <a:cubicBezTo>
                    <a:pt x="116" y="4"/>
                    <a:pt x="118" y="2"/>
                    <a:pt x="120" y="0"/>
                  </a:cubicBezTo>
                  <a:cubicBezTo>
                    <a:pt x="123" y="0"/>
                    <a:pt x="125" y="0"/>
                    <a:pt x="127" y="1"/>
                  </a:cubicBezTo>
                  <a:cubicBezTo>
                    <a:pt x="128" y="4"/>
                    <a:pt x="124" y="4"/>
                    <a:pt x="122" y="6"/>
                  </a:cubicBezTo>
                  <a:cubicBezTo>
                    <a:pt x="122" y="7"/>
                    <a:pt x="122" y="7"/>
                    <a:pt x="122" y="8"/>
                  </a:cubicBezTo>
                  <a:cubicBezTo>
                    <a:pt x="123" y="8"/>
                    <a:pt x="124" y="8"/>
                    <a:pt x="125" y="8"/>
                  </a:cubicBezTo>
                  <a:cubicBezTo>
                    <a:pt x="126" y="9"/>
                    <a:pt x="126" y="10"/>
                    <a:pt x="127" y="11"/>
                  </a:cubicBezTo>
                  <a:cubicBezTo>
                    <a:pt x="127" y="11"/>
                    <a:pt x="128" y="11"/>
                    <a:pt x="128" y="11"/>
                  </a:cubicBezTo>
                  <a:cubicBezTo>
                    <a:pt x="128" y="9"/>
                    <a:pt x="127" y="7"/>
                    <a:pt x="128" y="5"/>
                  </a:cubicBezTo>
                  <a:cubicBezTo>
                    <a:pt x="129" y="4"/>
                    <a:pt x="130" y="4"/>
                    <a:pt x="131" y="3"/>
                  </a:cubicBezTo>
                  <a:cubicBezTo>
                    <a:pt x="132" y="2"/>
                    <a:pt x="133" y="3"/>
                    <a:pt x="134" y="4"/>
                  </a:cubicBezTo>
                  <a:cubicBezTo>
                    <a:pt x="134" y="5"/>
                    <a:pt x="133" y="6"/>
                    <a:pt x="133" y="7"/>
                  </a:cubicBezTo>
                  <a:cubicBezTo>
                    <a:pt x="132" y="8"/>
                    <a:pt x="132" y="9"/>
                    <a:pt x="133" y="9"/>
                  </a:cubicBezTo>
                  <a:cubicBezTo>
                    <a:pt x="133" y="9"/>
                    <a:pt x="134" y="9"/>
                    <a:pt x="134" y="9"/>
                  </a:cubicBezTo>
                  <a:cubicBezTo>
                    <a:pt x="135" y="8"/>
                    <a:pt x="136" y="6"/>
                    <a:pt x="138" y="6"/>
                  </a:cubicBezTo>
                  <a:cubicBezTo>
                    <a:pt x="138" y="6"/>
                    <a:pt x="138" y="6"/>
                    <a:pt x="138" y="6"/>
                  </a:cubicBezTo>
                  <a:cubicBezTo>
                    <a:pt x="139" y="5"/>
                    <a:pt x="139" y="6"/>
                    <a:pt x="139" y="6"/>
                  </a:cubicBezTo>
                  <a:cubicBezTo>
                    <a:pt x="142" y="6"/>
                    <a:pt x="146" y="5"/>
                    <a:pt x="149" y="7"/>
                  </a:cubicBezTo>
                  <a:cubicBezTo>
                    <a:pt x="149" y="7"/>
                    <a:pt x="149" y="8"/>
                    <a:pt x="148" y="9"/>
                  </a:cubicBezTo>
                  <a:cubicBezTo>
                    <a:pt x="148" y="9"/>
                    <a:pt x="147" y="9"/>
                    <a:pt x="147" y="9"/>
                  </a:cubicBezTo>
                  <a:cubicBezTo>
                    <a:pt x="147" y="10"/>
                    <a:pt x="148" y="10"/>
                    <a:pt x="149" y="11"/>
                  </a:cubicBezTo>
                  <a:cubicBezTo>
                    <a:pt x="151" y="11"/>
                    <a:pt x="153" y="12"/>
                    <a:pt x="154" y="13"/>
                  </a:cubicBezTo>
                  <a:cubicBezTo>
                    <a:pt x="154" y="13"/>
                    <a:pt x="154" y="14"/>
                    <a:pt x="155" y="15"/>
                  </a:cubicBezTo>
                  <a:cubicBezTo>
                    <a:pt x="155" y="15"/>
                    <a:pt x="156" y="15"/>
                    <a:pt x="156" y="15"/>
                  </a:cubicBezTo>
                  <a:cubicBezTo>
                    <a:pt x="157" y="14"/>
                    <a:pt x="157" y="13"/>
                    <a:pt x="159" y="13"/>
                  </a:cubicBezTo>
                  <a:cubicBezTo>
                    <a:pt x="159" y="12"/>
                    <a:pt x="160" y="12"/>
                    <a:pt x="161" y="11"/>
                  </a:cubicBezTo>
                  <a:cubicBezTo>
                    <a:pt x="162" y="11"/>
                    <a:pt x="163" y="10"/>
                    <a:pt x="164" y="10"/>
                  </a:cubicBezTo>
                  <a:cubicBezTo>
                    <a:pt x="166" y="9"/>
                    <a:pt x="168" y="9"/>
                    <a:pt x="169" y="11"/>
                  </a:cubicBezTo>
                  <a:cubicBezTo>
                    <a:pt x="170" y="11"/>
                    <a:pt x="170" y="12"/>
                    <a:pt x="171" y="12"/>
                  </a:cubicBezTo>
                  <a:cubicBezTo>
                    <a:pt x="174" y="12"/>
                    <a:pt x="176" y="14"/>
                    <a:pt x="178" y="15"/>
                  </a:cubicBezTo>
                  <a:cubicBezTo>
                    <a:pt x="179" y="16"/>
                    <a:pt x="179" y="16"/>
                    <a:pt x="180" y="16"/>
                  </a:cubicBezTo>
                  <a:cubicBezTo>
                    <a:pt x="181" y="17"/>
                    <a:pt x="182" y="17"/>
                    <a:pt x="183" y="16"/>
                  </a:cubicBezTo>
                  <a:cubicBezTo>
                    <a:pt x="183" y="16"/>
                    <a:pt x="183" y="16"/>
                    <a:pt x="183" y="16"/>
                  </a:cubicBezTo>
                  <a:cubicBezTo>
                    <a:pt x="184" y="16"/>
                    <a:pt x="184" y="16"/>
                    <a:pt x="184" y="16"/>
                  </a:cubicBezTo>
                  <a:cubicBezTo>
                    <a:pt x="188" y="14"/>
                    <a:pt x="191" y="17"/>
                    <a:pt x="195" y="17"/>
                  </a:cubicBezTo>
                  <a:cubicBezTo>
                    <a:pt x="195" y="17"/>
                    <a:pt x="196" y="18"/>
                    <a:pt x="197" y="18"/>
                  </a:cubicBezTo>
                  <a:cubicBezTo>
                    <a:pt x="197" y="18"/>
                    <a:pt x="198" y="18"/>
                    <a:pt x="199" y="18"/>
                  </a:cubicBezTo>
                  <a:cubicBezTo>
                    <a:pt x="200" y="18"/>
                    <a:pt x="201" y="17"/>
                    <a:pt x="203" y="17"/>
                  </a:cubicBezTo>
                  <a:cubicBezTo>
                    <a:pt x="205" y="16"/>
                    <a:pt x="207" y="17"/>
                    <a:pt x="209" y="17"/>
                  </a:cubicBezTo>
                  <a:cubicBezTo>
                    <a:pt x="211" y="17"/>
                    <a:pt x="212" y="18"/>
                    <a:pt x="213" y="19"/>
                  </a:cubicBezTo>
                  <a:cubicBezTo>
                    <a:pt x="214" y="19"/>
                    <a:pt x="216" y="19"/>
                    <a:pt x="217" y="19"/>
                  </a:cubicBezTo>
                  <a:cubicBezTo>
                    <a:pt x="218" y="20"/>
                    <a:pt x="218" y="21"/>
                    <a:pt x="219" y="21"/>
                  </a:cubicBezTo>
                  <a:cubicBezTo>
                    <a:pt x="220" y="22"/>
                    <a:pt x="221" y="22"/>
                    <a:pt x="222" y="22"/>
                  </a:cubicBezTo>
                  <a:cubicBezTo>
                    <a:pt x="221" y="24"/>
                    <a:pt x="221" y="24"/>
                    <a:pt x="221" y="24"/>
                  </a:cubicBezTo>
                  <a:cubicBezTo>
                    <a:pt x="184" y="131"/>
                    <a:pt x="184" y="131"/>
                    <a:pt x="184" y="131"/>
                  </a:cubicBezTo>
                  <a:cubicBezTo>
                    <a:pt x="182" y="133"/>
                    <a:pt x="182" y="136"/>
                    <a:pt x="182" y="137"/>
                  </a:cubicBezTo>
                  <a:cubicBezTo>
                    <a:pt x="181" y="139"/>
                    <a:pt x="181" y="140"/>
                    <a:pt x="182" y="142"/>
                  </a:cubicBezTo>
                  <a:cubicBezTo>
                    <a:pt x="183" y="142"/>
                    <a:pt x="185" y="141"/>
                    <a:pt x="187" y="143"/>
                  </a:cubicBezTo>
                  <a:cubicBezTo>
                    <a:pt x="187" y="143"/>
                    <a:pt x="188" y="143"/>
                    <a:pt x="189" y="142"/>
                  </a:cubicBezTo>
                  <a:cubicBezTo>
                    <a:pt x="190" y="142"/>
                    <a:pt x="191" y="142"/>
                    <a:pt x="191" y="141"/>
                  </a:cubicBezTo>
                  <a:cubicBezTo>
                    <a:pt x="192" y="141"/>
                    <a:pt x="194" y="141"/>
                    <a:pt x="194" y="142"/>
                  </a:cubicBezTo>
                  <a:cubicBezTo>
                    <a:pt x="195" y="143"/>
                    <a:pt x="194" y="145"/>
                    <a:pt x="195" y="147"/>
                  </a:cubicBezTo>
                  <a:cubicBezTo>
                    <a:pt x="195" y="147"/>
                    <a:pt x="195" y="148"/>
                    <a:pt x="195" y="149"/>
                  </a:cubicBezTo>
                  <a:cubicBezTo>
                    <a:pt x="196" y="150"/>
                    <a:pt x="197" y="152"/>
                    <a:pt x="198" y="153"/>
                  </a:cubicBezTo>
                  <a:cubicBezTo>
                    <a:pt x="199" y="154"/>
                    <a:pt x="200" y="156"/>
                    <a:pt x="202" y="157"/>
                  </a:cubicBezTo>
                  <a:cubicBezTo>
                    <a:pt x="203" y="158"/>
                    <a:pt x="204" y="158"/>
                    <a:pt x="204" y="157"/>
                  </a:cubicBezTo>
                  <a:cubicBezTo>
                    <a:pt x="205" y="156"/>
                    <a:pt x="206" y="156"/>
                    <a:pt x="207" y="155"/>
                  </a:cubicBezTo>
                  <a:cubicBezTo>
                    <a:pt x="208" y="154"/>
                    <a:pt x="210" y="153"/>
                    <a:pt x="212" y="152"/>
                  </a:cubicBezTo>
                  <a:cubicBezTo>
                    <a:pt x="212" y="151"/>
                    <a:pt x="212" y="151"/>
                    <a:pt x="213" y="150"/>
                  </a:cubicBezTo>
                  <a:cubicBezTo>
                    <a:pt x="214" y="150"/>
                    <a:pt x="214" y="149"/>
                    <a:pt x="215" y="149"/>
                  </a:cubicBezTo>
                  <a:cubicBezTo>
                    <a:pt x="216" y="148"/>
                    <a:pt x="217" y="148"/>
                    <a:pt x="219" y="149"/>
                  </a:cubicBezTo>
                  <a:cubicBezTo>
                    <a:pt x="220" y="150"/>
                    <a:pt x="221" y="152"/>
                    <a:pt x="221" y="154"/>
                  </a:cubicBezTo>
                  <a:cubicBezTo>
                    <a:pt x="222" y="156"/>
                    <a:pt x="225" y="156"/>
                    <a:pt x="226" y="158"/>
                  </a:cubicBezTo>
                  <a:cubicBezTo>
                    <a:pt x="227" y="160"/>
                    <a:pt x="228" y="161"/>
                    <a:pt x="229" y="163"/>
                  </a:cubicBezTo>
                  <a:cubicBezTo>
                    <a:pt x="229" y="164"/>
                    <a:pt x="229" y="165"/>
                    <a:pt x="229" y="166"/>
                  </a:cubicBezTo>
                  <a:cubicBezTo>
                    <a:pt x="230" y="168"/>
                    <a:pt x="231" y="169"/>
                    <a:pt x="232" y="170"/>
                  </a:cubicBezTo>
                  <a:cubicBezTo>
                    <a:pt x="232" y="172"/>
                    <a:pt x="233" y="173"/>
                    <a:pt x="234" y="175"/>
                  </a:cubicBezTo>
                  <a:cubicBezTo>
                    <a:pt x="235" y="177"/>
                    <a:pt x="234" y="179"/>
                    <a:pt x="234" y="180"/>
                  </a:cubicBezTo>
                  <a:cubicBezTo>
                    <a:pt x="235" y="183"/>
                    <a:pt x="235" y="185"/>
                    <a:pt x="236" y="187"/>
                  </a:cubicBezTo>
                  <a:cubicBezTo>
                    <a:pt x="236" y="188"/>
                    <a:pt x="238" y="188"/>
                    <a:pt x="239" y="189"/>
                  </a:cubicBezTo>
                  <a:cubicBezTo>
                    <a:pt x="241" y="190"/>
                    <a:pt x="244" y="191"/>
                    <a:pt x="246" y="191"/>
                  </a:cubicBezTo>
                  <a:cubicBezTo>
                    <a:pt x="246" y="192"/>
                    <a:pt x="246" y="193"/>
                    <a:pt x="246" y="194"/>
                  </a:cubicBezTo>
                  <a:cubicBezTo>
                    <a:pt x="245" y="197"/>
                    <a:pt x="244" y="199"/>
                    <a:pt x="244" y="202"/>
                  </a:cubicBezTo>
                  <a:lnTo>
                    <a:pt x="243" y="204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5" name="Freeform 78"/>
            <p:cNvSpPr>
              <a:spLocks/>
            </p:cNvSpPr>
            <p:nvPr/>
          </p:nvSpPr>
          <p:spPr bwMode="auto">
            <a:xfrm>
              <a:off x="6363476" y="3286433"/>
              <a:ext cx="5518" cy="3785"/>
            </a:xfrm>
            <a:custGeom>
              <a:avLst/>
              <a:gdLst>
                <a:gd name="T0" fmla="*/ 6931750 w 12"/>
                <a:gd name="T1" fmla="*/ 0 h 8"/>
                <a:gd name="T2" fmla="*/ 3961001 w 12"/>
                <a:gd name="T3" fmla="*/ 1359459 h 8"/>
                <a:gd name="T4" fmla="*/ 0 w 12"/>
                <a:gd name="T5" fmla="*/ 1359459 h 8"/>
                <a:gd name="T6" fmla="*/ 0 w 12"/>
                <a:gd name="T7" fmla="*/ 1699274 h 8"/>
                <a:gd name="T8" fmla="*/ 2970751 w 12"/>
                <a:gd name="T9" fmla="*/ 3058782 h 8"/>
                <a:gd name="T10" fmla="*/ 7659274 w 12"/>
                <a:gd name="T11" fmla="*/ 3058782 h 8"/>
                <a:gd name="T12" fmla="*/ 8614988 w 12"/>
                <a:gd name="T13" fmla="*/ 2453348 h 8"/>
                <a:gd name="T14" fmla="*/ 9242333 w 12"/>
                <a:gd name="T15" fmla="*/ 0 h 8"/>
                <a:gd name="T16" fmla="*/ 6931750 w 12"/>
                <a:gd name="T17" fmla="*/ 0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8"/>
                <a:gd name="T29" fmla="*/ 12 w 12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8">
                  <a:moveTo>
                    <a:pt x="9" y="0"/>
                  </a:moveTo>
                  <a:cubicBezTo>
                    <a:pt x="8" y="1"/>
                    <a:pt x="7" y="2"/>
                    <a:pt x="5" y="3"/>
                  </a:cubicBezTo>
                  <a:cubicBezTo>
                    <a:pt x="4" y="3"/>
                    <a:pt x="3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1" y="5"/>
                    <a:pt x="3" y="6"/>
                    <a:pt x="4" y="7"/>
                  </a:cubicBezTo>
                  <a:cubicBezTo>
                    <a:pt x="6" y="8"/>
                    <a:pt x="8" y="8"/>
                    <a:pt x="10" y="7"/>
                  </a:cubicBezTo>
                  <a:cubicBezTo>
                    <a:pt x="11" y="7"/>
                    <a:pt x="11" y="7"/>
                    <a:pt x="11" y="6"/>
                  </a:cubicBezTo>
                  <a:cubicBezTo>
                    <a:pt x="11" y="4"/>
                    <a:pt x="12" y="2"/>
                    <a:pt x="12" y="0"/>
                  </a:cubicBezTo>
                  <a:cubicBezTo>
                    <a:pt x="11" y="0"/>
                    <a:pt x="10" y="0"/>
                    <a:pt x="9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6" name="Freeform 79"/>
            <p:cNvSpPr>
              <a:spLocks/>
            </p:cNvSpPr>
            <p:nvPr/>
          </p:nvSpPr>
          <p:spPr bwMode="auto">
            <a:xfrm>
              <a:off x="6355701" y="3266966"/>
              <a:ext cx="9281" cy="4326"/>
            </a:xfrm>
            <a:custGeom>
              <a:avLst/>
              <a:gdLst>
                <a:gd name="T0" fmla="*/ 13930621 w 20"/>
                <a:gd name="T1" fmla="*/ 2970751 h 9"/>
                <a:gd name="T2" fmla="*/ 9534738 w 20"/>
                <a:gd name="T3" fmla="*/ 727531 h 9"/>
                <a:gd name="T4" fmla="*/ 4391010 w 20"/>
                <a:gd name="T5" fmla="*/ 1697572 h 9"/>
                <a:gd name="T6" fmla="*/ 2522523 w 20"/>
                <a:gd name="T7" fmla="*/ 0 h 9"/>
                <a:gd name="T8" fmla="*/ 795113 w 20"/>
                <a:gd name="T9" fmla="*/ 0 h 9"/>
                <a:gd name="T10" fmla="*/ 0 w 20"/>
                <a:gd name="T11" fmla="*/ 2243220 h 9"/>
                <a:gd name="T12" fmla="*/ 0 w 20"/>
                <a:gd name="T13" fmla="*/ 3961001 h 9"/>
                <a:gd name="T14" fmla="*/ 7062610 w 20"/>
                <a:gd name="T15" fmla="*/ 3961001 h 9"/>
                <a:gd name="T16" fmla="*/ 9534738 w 20"/>
                <a:gd name="T17" fmla="*/ 6931749 h 9"/>
                <a:gd name="T18" fmla="*/ 11455630 w 20"/>
                <a:gd name="T19" fmla="*/ 6931749 h 9"/>
                <a:gd name="T20" fmla="*/ 12876646 w 20"/>
                <a:gd name="T21" fmla="*/ 5234180 h 9"/>
                <a:gd name="T22" fmla="*/ 17186742 w 20"/>
                <a:gd name="T23" fmla="*/ 5234180 h 9"/>
                <a:gd name="T24" fmla="*/ 17186742 w 20"/>
                <a:gd name="T25" fmla="*/ 3961001 h 9"/>
                <a:gd name="T26" fmla="*/ 14725738 w 20"/>
                <a:gd name="T27" fmla="*/ 2970751 h 9"/>
                <a:gd name="T28" fmla="*/ 13930621 w 20"/>
                <a:gd name="T29" fmla="*/ 2970751 h 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"/>
                <a:gd name="T46" fmla="*/ 0 h 9"/>
                <a:gd name="T47" fmla="*/ 20 w 20"/>
                <a:gd name="T48" fmla="*/ 9 h 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" h="9">
                  <a:moveTo>
                    <a:pt x="16" y="4"/>
                  </a:moveTo>
                  <a:cubicBezTo>
                    <a:pt x="14" y="4"/>
                    <a:pt x="12" y="3"/>
                    <a:pt x="11" y="1"/>
                  </a:cubicBezTo>
                  <a:cubicBezTo>
                    <a:pt x="9" y="1"/>
                    <a:pt x="7" y="2"/>
                    <a:pt x="5" y="2"/>
                  </a:cubicBezTo>
                  <a:cubicBezTo>
                    <a:pt x="4" y="2"/>
                    <a:pt x="4" y="0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2" y="6"/>
                    <a:pt x="5" y="4"/>
                    <a:pt x="8" y="5"/>
                  </a:cubicBezTo>
                  <a:cubicBezTo>
                    <a:pt x="9" y="6"/>
                    <a:pt x="10" y="8"/>
                    <a:pt x="11" y="9"/>
                  </a:cubicBezTo>
                  <a:cubicBezTo>
                    <a:pt x="12" y="9"/>
                    <a:pt x="12" y="9"/>
                    <a:pt x="13" y="9"/>
                  </a:cubicBezTo>
                  <a:cubicBezTo>
                    <a:pt x="14" y="8"/>
                    <a:pt x="14" y="7"/>
                    <a:pt x="15" y="7"/>
                  </a:cubicBezTo>
                  <a:cubicBezTo>
                    <a:pt x="17" y="7"/>
                    <a:pt x="18" y="7"/>
                    <a:pt x="20" y="7"/>
                  </a:cubicBezTo>
                  <a:cubicBezTo>
                    <a:pt x="20" y="7"/>
                    <a:pt x="20" y="6"/>
                    <a:pt x="20" y="5"/>
                  </a:cubicBezTo>
                  <a:cubicBezTo>
                    <a:pt x="19" y="6"/>
                    <a:pt x="18" y="5"/>
                    <a:pt x="17" y="4"/>
                  </a:cubicBezTo>
                  <a:cubicBezTo>
                    <a:pt x="17" y="4"/>
                    <a:pt x="16" y="4"/>
                    <a:pt x="16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7" name="Freeform 80"/>
            <p:cNvSpPr>
              <a:spLocks/>
            </p:cNvSpPr>
            <p:nvPr/>
          </p:nvSpPr>
          <p:spPr bwMode="auto">
            <a:xfrm>
              <a:off x="6360466" y="3316986"/>
              <a:ext cx="6271" cy="4326"/>
            </a:xfrm>
            <a:custGeom>
              <a:avLst/>
              <a:gdLst>
                <a:gd name="T0" fmla="*/ 8621839 w 13"/>
                <a:gd name="T1" fmla="*/ 1324701 h 9"/>
                <a:gd name="T2" fmla="*/ 4595099 w 13"/>
                <a:gd name="T3" fmla="*/ 3238158 h 9"/>
                <a:gd name="T4" fmla="*/ 0 w 13"/>
                <a:gd name="T5" fmla="*/ 11470653 h 9"/>
                <a:gd name="T6" fmla="*/ 0 w 13"/>
                <a:gd name="T7" fmla="*/ 13330806 h 9"/>
                <a:gd name="T8" fmla="*/ 2335724 w 13"/>
                <a:gd name="T9" fmla="*/ 13330806 h 9"/>
                <a:gd name="T10" fmla="*/ 6350665 w 13"/>
                <a:gd name="T11" fmla="*/ 10015063 h 9"/>
                <a:gd name="T12" fmla="*/ 11938254 w 13"/>
                <a:gd name="T13" fmla="*/ 7915496 h 9"/>
                <a:gd name="T14" fmla="*/ 14203962 w 13"/>
                <a:gd name="T15" fmla="*/ 4692541 h 9"/>
                <a:gd name="T16" fmla="*/ 13281841 w 13"/>
                <a:gd name="T17" fmla="*/ 1324701 h 9"/>
                <a:gd name="T18" fmla="*/ 8621839 w 13"/>
                <a:gd name="T19" fmla="*/ 1324701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9"/>
                <a:gd name="T32" fmla="*/ 13 w 1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9">
                  <a:moveTo>
                    <a:pt x="8" y="1"/>
                  </a:moveTo>
                  <a:cubicBezTo>
                    <a:pt x="7" y="1"/>
                    <a:pt x="5" y="1"/>
                    <a:pt x="4" y="2"/>
                  </a:cubicBezTo>
                  <a:cubicBezTo>
                    <a:pt x="3" y="3"/>
                    <a:pt x="2" y="5"/>
                    <a:pt x="0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9"/>
                    <a:pt x="1" y="9"/>
                    <a:pt x="2" y="8"/>
                  </a:cubicBezTo>
                  <a:cubicBezTo>
                    <a:pt x="4" y="8"/>
                    <a:pt x="4" y="7"/>
                    <a:pt x="6" y="6"/>
                  </a:cubicBezTo>
                  <a:cubicBezTo>
                    <a:pt x="7" y="5"/>
                    <a:pt x="9" y="6"/>
                    <a:pt x="11" y="5"/>
                  </a:cubicBezTo>
                  <a:cubicBezTo>
                    <a:pt x="12" y="5"/>
                    <a:pt x="13" y="4"/>
                    <a:pt x="13" y="3"/>
                  </a:cubicBezTo>
                  <a:cubicBezTo>
                    <a:pt x="13" y="2"/>
                    <a:pt x="13" y="1"/>
                    <a:pt x="12" y="1"/>
                  </a:cubicBezTo>
                  <a:cubicBezTo>
                    <a:pt x="11" y="0"/>
                    <a:pt x="10" y="1"/>
                    <a:pt x="8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8" name="Freeform 81"/>
            <p:cNvSpPr>
              <a:spLocks/>
            </p:cNvSpPr>
            <p:nvPr/>
          </p:nvSpPr>
          <p:spPr bwMode="auto">
            <a:xfrm>
              <a:off x="6350684" y="3323204"/>
              <a:ext cx="4264" cy="3515"/>
            </a:xfrm>
            <a:custGeom>
              <a:avLst/>
              <a:gdLst>
                <a:gd name="T0" fmla="*/ 6550065 w 9"/>
                <a:gd name="T1" fmla="*/ 1213713 h 7"/>
                <a:gd name="T2" fmla="*/ 6550065 w 9"/>
                <a:gd name="T3" fmla="*/ 2947589 h 7"/>
                <a:gd name="T4" fmla="*/ 1324701 w 9"/>
                <a:gd name="T5" fmla="*/ 7158428 h 7"/>
                <a:gd name="T6" fmla="*/ 1324701 w 9"/>
                <a:gd name="T7" fmla="*/ 10226328 h 7"/>
                <a:gd name="T8" fmla="*/ 4692541 w 9"/>
                <a:gd name="T9" fmla="*/ 10226328 h 7"/>
                <a:gd name="T10" fmla="*/ 13330806 w 9"/>
                <a:gd name="T11" fmla="*/ 4210842 h 7"/>
                <a:gd name="T12" fmla="*/ 13330806 w 9"/>
                <a:gd name="T13" fmla="*/ 1213713 h 7"/>
                <a:gd name="T14" fmla="*/ 7915496 w 9"/>
                <a:gd name="T15" fmla="*/ 0 h 7"/>
                <a:gd name="T16" fmla="*/ 6550065 w 9"/>
                <a:gd name="T17" fmla="*/ 1213713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7"/>
                <a:gd name="T29" fmla="*/ 9 w 9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7">
                  <a:moveTo>
                    <a:pt x="4" y="1"/>
                  </a:moveTo>
                  <a:cubicBezTo>
                    <a:pt x="4" y="1"/>
                    <a:pt x="4" y="2"/>
                    <a:pt x="4" y="2"/>
                  </a:cubicBezTo>
                  <a:cubicBezTo>
                    <a:pt x="3" y="3"/>
                    <a:pt x="2" y="4"/>
                    <a:pt x="1" y="5"/>
                  </a:cubicBezTo>
                  <a:cubicBezTo>
                    <a:pt x="1" y="5"/>
                    <a:pt x="0" y="6"/>
                    <a:pt x="1" y="7"/>
                  </a:cubicBezTo>
                  <a:cubicBezTo>
                    <a:pt x="1" y="7"/>
                    <a:pt x="2" y="7"/>
                    <a:pt x="3" y="7"/>
                  </a:cubicBezTo>
                  <a:cubicBezTo>
                    <a:pt x="5" y="6"/>
                    <a:pt x="7" y="5"/>
                    <a:pt x="8" y="3"/>
                  </a:cubicBezTo>
                  <a:cubicBezTo>
                    <a:pt x="9" y="2"/>
                    <a:pt x="9" y="1"/>
                    <a:pt x="8" y="1"/>
                  </a:cubicBezTo>
                  <a:cubicBezTo>
                    <a:pt x="8" y="0"/>
                    <a:pt x="6" y="0"/>
                    <a:pt x="5" y="0"/>
                  </a:cubicBezTo>
                  <a:cubicBezTo>
                    <a:pt x="5" y="1"/>
                    <a:pt x="5" y="1"/>
                    <a:pt x="4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9" name="Freeform 82"/>
            <p:cNvSpPr>
              <a:spLocks/>
            </p:cNvSpPr>
            <p:nvPr/>
          </p:nvSpPr>
          <p:spPr bwMode="auto">
            <a:xfrm>
              <a:off x="6411794" y="3302926"/>
              <a:ext cx="9782" cy="6219"/>
            </a:xfrm>
            <a:custGeom>
              <a:avLst/>
              <a:gdLst>
                <a:gd name="T0" fmla="*/ 4688532 w 21"/>
                <a:gd name="T1" fmla="*/ 3318681 h 13"/>
                <a:gd name="T2" fmla="*/ 727531 w 21"/>
                <a:gd name="T3" fmla="*/ 4595099 h 13"/>
                <a:gd name="T4" fmla="*/ 727531 w 21"/>
                <a:gd name="T5" fmla="*/ 7913775 h 13"/>
                <a:gd name="T6" fmla="*/ 1697572 w 21"/>
                <a:gd name="T7" fmla="*/ 13281841 h 13"/>
                <a:gd name="T8" fmla="*/ 2970751 w 21"/>
                <a:gd name="T9" fmla="*/ 13281841 h 13"/>
                <a:gd name="T10" fmla="*/ 3961001 w 21"/>
                <a:gd name="T11" fmla="*/ 10957538 h 13"/>
                <a:gd name="T12" fmla="*/ 4688532 w 21"/>
                <a:gd name="T13" fmla="*/ 10957538 h 13"/>
                <a:gd name="T14" fmla="*/ 4688532 w 21"/>
                <a:gd name="T15" fmla="*/ 14203962 h 13"/>
                <a:gd name="T16" fmla="*/ 6253184 w 21"/>
                <a:gd name="T17" fmla="*/ 14203962 h 13"/>
                <a:gd name="T18" fmla="*/ 7659274 w 21"/>
                <a:gd name="T19" fmla="*/ 8621839 h 13"/>
                <a:gd name="T20" fmla="*/ 8614988 w 21"/>
                <a:gd name="T21" fmla="*/ 8621839 h 13"/>
                <a:gd name="T22" fmla="*/ 10939909 w 21"/>
                <a:gd name="T23" fmla="*/ 8621839 h 13"/>
                <a:gd name="T24" fmla="*/ 12213087 w 21"/>
                <a:gd name="T25" fmla="*/ 6350665 h 13"/>
                <a:gd name="T26" fmla="*/ 16174077 w 21"/>
                <a:gd name="T27" fmla="*/ 5569804 h 13"/>
                <a:gd name="T28" fmla="*/ 16174077 w 21"/>
                <a:gd name="T29" fmla="*/ 979497 h 13"/>
                <a:gd name="T30" fmla="*/ 15628432 w 21"/>
                <a:gd name="T31" fmla="*/ 979497 h 13"/>
                <a:gd name="T32" fmla="*/ 11620010 w 21"/>
                <a:gd name="T33" fmla="*/ 0 h 13"/>
                <a:gd name="T34" fmla="*/ 8614988 w 21"/>
                <a:gd name="T35" fmla="*/ 0 h 13"/>
                <a:gd name="T36" fmla="*/ 7659274 w 21"/>
                <a:gd name="T37" fmla="*/ 2335724 h 13"/>
                <a:gd name="T38" fmla="*/ 4688532 w 21"/>
                <a:gd name="T39" fmla="*/ 2335724 h 13"/>
                <a:gd name="T40" fmla="*/ 4688532 w 21"/>
                <a:gd name="T41" fmla="*/ 3318681 h 1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1"/>
                <a:gd name="T64" fmla="*/ 0 h 13"/>
                <a:gd name="T65" fmla="*/ 21 w 21"/>
                <a:gd name="T66" fmla="*/ 13 h 1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1" h="13">
                  <a:moveTo>
                    <a:pt x="6" y="3"/>
                  </a:moveTo>
                  <a:cubicBezTo>
                    <a:pt x="4" y="3"/>
                    <a:pt x="3" y="3"/>
                    <a:pt x="1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8"/>
                    <a:pt x="1" y="10"/>
                    <a:pt x="2" y="12"/>
                  </a:cubicBezTo>
                  <a:cubicBezTo>
                    <a:pt x="2" y="12"/>
                    <a:pt x="3" y="12"/>
                    <a:pt x="4" y="12"/>
                  </a:cubicBezTo>
                  <a:cubicBezTo>
                    <a:pt x="4" y="11"/>
                    <a:pt x="5" y="11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1"/>
                    <a:pt x="6" y="12"/>
                    <a:pt x="6" y="13"/>
                  </a:cubicBezTo>
                  <a:cubicBezTo>
                    <a:pt x="6" y="13"/>
                    <a:pt x="7" y="13"/>
                    <a:pt x="8" y="13"/>
                  </a:cubicBezTo>
                  <a:cubicBezTo>
                    <a:pt x="9" y="12"/>
                    <a:pt x="9" y="10"/>
                    <a:pt x="10" y="8"/>
                  </a:cubicBezTo>
                  <a:cubicBezTo>
                    <a:pt x="10" y="8"/>
                    <a:pt x="11" y="8"/>
                    <a:pt x="11" y="8"/>
                  </a:cubicBezTo>
                  <a:cubicBezTo>
                    <a:pt x="12" y="8"/>
                    <a:pt x="13" y="8"/>
                    <a:pt x="14" y="8"/>
                  </a:cubicBezTo>
                  <a:cubicBezTo>
                    <a:pt x="15" y="7"/>
                    <a:pt x="16" y="6"/>
                    <a:pt x="16" y="6"/>
                  </a:cubicBezTo>
                  <a:cubicBezTo>
                    <a:pt x="17" y="4"/>
                    <a:pt x="19" y="6"/>
                    <a:pt x="21" y="5"/>
                  </a:cubicBezTo>
                  <a:cubicBezTo>
                    <a:pt x="21" y="4"/>
                    <a:pt x="21" y="3"/>
                    <a:pt x="21" y="1"/>
                  </a:cubicBezTo>
                  <a:cubicBezTo>
                    <a:pt x="21" y="1"/>
                    <a:pt x="20" y="1"/>
                    <a:pt x="20" y="1"/>
                  </a:cubicBezTo>
                  <a:cubicBezTo>
                    <a:pt x="18" y="0"/>
                    <a:pt x="16" y="1"/>
                    <a:pt x="15" y="0"/>
                  </a:cubicBezTo>
                  <a:cubicBezTo>
                    <a:pt x="14" y="0"/>
                    <a:pt x="12" y="0"/>
                    <a:pt x="11" y="0"/>
                  </a:cubicBezTo>
                  <a:cubicBezTo>
                    <a:pt x="10" y="0"/>
                    <a:pt x="10" y="1"/>
                    <a:pt x="10" y="2"/>
                  </a:cubicBezTo>
                  <a:cubicBezTo>
                    <a:pt x="9" y="3"/>
                    <a:pt x="7" y="2"/>
                    <a:pt x="6" y="2"/>
                  </a:cubicBezTo>
                  <a:cubicBezTo>
                    <a:pt x="6" y="2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0" name="Freeform 83"/>
            <p:cNvSpPr>
              <a:spLocks/>
            </p:cNvSpPr>
            <p:nvPr/>
          </p:nvSpPr>
          <p:spPr bwMode="auto">
            <a:xfrm>
              <a:off x="6419821" y="3299411"/>
              <a:ext cx="3762" cy="2433"/>
            </a:xfrm>
            <a:custGeom>
              <a:avLst/>
              <a:gdLst>
                <a:gd name="T0" fmla="*/ 4351847 w 8"/>
                <a:gd name="T1" fmla="*/ 1064436 h 5"/>
                <a:gd name="T2" fmla="*/ 896786 w 8"/>
                <a:gd name="T3" fmla="*/ 2554647 h 5"/>
                <a:gd name="T4" fmla="*/ 896786 w 8"/>
                <a:gd name="T5" fmla="*/ 5085394 h 5"/>
                <a:gd name="T6" fmla="*/ 4351847 w 8"/>
                <a:gd name="T7" fmla="*/ 6131150 h 5"/>
                <a:gd name="T8" fmla="*/ 8176458 w 8"/>
                <a:gd name="T9" fmla="*/ 2554647 h 5"/>
                <a:gd name="T10" fmla="*/ 8176458 w 8"/>
                <a:gd name="T11" fmla="*/ 1064436 h 5"/>
                <a:gd name="T12" fmla="*/ 4351847 w 8"/>
                <a:gd name="T13" fmla="*/ 1064436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5"/>
                <a:gd name="T23" fmla="*/ 8 w 8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5">
                  <a:moveTo>
                    <a:pt x="4" y="1"/>
                  </a:moveTo>
                  <a:cubicBezTo>
                    <a:pt x="3" y="1"/>
                    <a:pt x="2" y="1"/>
                    <a:pt x="1" y="2"/>
                  </a:cubicBezTo>
                  <a:cubicBezTo>
                    <a:pt x="1" y="3"/>
                    <a:pt x="0" y="3"/>
                    <a:pt x="1" y="4"/>
                  </a:cubicBezTo>
                  <a:cubicBezTo>
                    <a:pt x="1" y="5"/>
                    <a:pt x="3" y="5"/>
                    <a:pt x="4" y="5"/>
                  </a:cubicBezTo>
                  <a:cubicBezTo>
                    <a:pt x="5" y="4"/>
                    <a:pt x="6" y="3"/>
                    <a:pt x="8" y="2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7" y="0"/>
                    <a:pt x="6" y="1"/>
                    <a:pt x="4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1" name="Freeform 84"/>
            <p:cNvSpPr>
              <a:spLocks/>
            </p:cNvSpPr>
            <p:nvPr/>
          </p:nvSpPr>
          <p:spPr bwMode="auto">
            <a:xfrm>
              <a:off x="6482779" y="3310226"/>
              <a:ext cx="4766" cy="9193"/>
            </a:xfrm>
            <a:custGeom>
              <a:avLst/>
              <a:gdLst>
                <a:gd name="T0" fmla="*/ 9650293 w 10"/>
                <a:gd name="T1" fmla="*/ 9968069 h 19"/>
                <a:gd name="T2" fmla="*/ 8585865 w 10"/>
                <a:gd name="T3" fmla="*/ 4854159 h 19"/>
                <a:gd name="T4" fmla="*/ 6131150 w 10"/>
                <a:gd name="T5" fmla="*/ 865359 h 19"/>
                <a:gd name="T6" fmla="*/ 5085394 w 10"/>
                <a:gd name="T7" fmla="*/ 865359 h 19"/>
                <a:gd name="T8" fmla="*/ 3577445 w 10"/>
                <a:gd name="T9" fmla="*/ 865359 h 19"/>
                <a:gd name="T10" fmla="*/ 1064436 w 10"/>
                <a:gd name="T11" fmla="*/ 2959271 h 19"/>
                <a:gd name="T12" fmla="*/ 1064436 w 10"/>
                <a:gd name="T13" fmla="*/ 4854159 h 19"/>
                <a:gd name="T14" fmla="*/ 2554647 w 10"/>
                <a:gd name="T15" fmla="*/ 5759327 h 19"/>
                <a:gd name="T16" fmla="*/ 1064436 w 10"/>
                <a:gd name="T17" fmla="*/ 7881242 h 19"/>
                <a:gd name="T18" fmla="*/ 1064436 w 10"/>
                <a:gd name="T19" fmla="*/ 8696832 h 19"/>
                <a:gd name="T20" fmla="*/ 3577445 w 10"/>
                <a:gd name="T21" fmla="*/ 10840510 h 19"/>
                <a:gd name="T22" fmla="*/ 1064436 w 10"/>
                <a:gd name="T23" fmla="*/ 11496685 h 19"/>
                <a:gd name="T24" fmla="*/ 1064436 w 10"/>
                <a:gd name="T25" fmla="*/ 12773055 h 19"/>
                <a:gd name="T26" fmla="*/ 5085394 w 10"/>
                <a:gd name="T27" fmla="*/ 14822601 h 19"/>
                <a:gd name="T28" fmla="*/ 9650293 w 10"/>
                <a:gd name="T29" fmla="*/ 17849252 h 19"/>
                <a:gd name="T30" fmla="*/ 11140513 w 10"/>
                <a:gd name="T31" fmla="*/ 12773055 h 19"/>
                <a:gd name="T32" fmla="*/ 9650293 w 10"/>
                <a:gd name="T33" fmla="*/ 11496685 h 19"/>
                <a:gd name="T34" fmla="*/ 9650293 w 10"/>
                <a:gd name="T35" fmla="*/ 9968069 h 1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"/>
                <a:gd name="T55" fmla="*/ 0 h 19"/>
                <a:gd name="T56" fmla="*/ 10 w 10"/>
                <a:gd name="T57" fmla="*/ 19 h 1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" h="19">
                  <a:moveTo>
                    <a:pt x="8" y="10"/>
                  </a:moveTo>
                  <a:cubicBezTo>
                    <a:pt x="8" y="8"/>
                    <a:pt x="8" y="7"/>
                    <a:pt x="7" y="5"/>
                  </a:cubicBezTo>
                  <a:cubicBezTo>
                    <a:pt x="6" y="4"/>
                    <a:pt x="5" y="3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0"/>
                    <a:pt x="3" y="0"/>
                    <a:pt x="3" y="1"/>
                  </a:cubicBezTo>
                  <a:cubicBezTo>
                    <a:pt x="2" y="1"/>
                    <a:pt x="1" y="2"/>
                    <a:pt x="1" y="3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1" y="5"/>
                    <a:pt x="2" y="5"/>
                    <a:pt x="2" y="6"/>
                  </a:cubicBezTo>
                  <a:cubicBezTo>
                    <a:pt x="3" y="7"/>
                    <a:pt x="2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2" y="10"/>
                    <a:pt x="3" y="10"/>
                    <a:pt x="3" y="11"/>
                  </a:cubicBezTo>
                  <a:cubicBezTo>
                    <a:pt x="2" y="12"/>
                    <a:pt x="1" y="12"/>
                    <a:pt x="1" y="12"/>
                  </a:cubicBezTo>
                  <a:cubicBezTo>
                    <a:pt x="1" y="12"/>
                    <a:pt x="1" y="13"/>
                    <a:pt x="1" y="13"/>
                  </a:cubicBezTo>
                  <a:cubicBezTo>
                    <a:pt x="2" y="13"/>
                    <a:pt x="4" y="14"/>
                    <a:pt x="4" y="15"/>
                  </a:cubicBezTo>
                  <a:cubicBezTo>
                    <a:pt x="5" y="16"/>
                    <a:pt x="6" y="19"/>
                    <a:pt x="8" y="18"/>
                  </a:cubicBezTo>
                  <a:cubicBezTo>
                    <a:pt x="10" y="17"/>
                    <a:pt x="10" y="15"/>
                    <a:pt x="9" y="13"/>
                  </a:cubicBezTo>
                  <a:cubicBezTo>
                    <a:pt x="9" y="13"/>
                    <a:pt x="9" y="12"/>
                    <a:pt x="8" y="12"/>
                  </a:cubicBezTo>
                  <a:cubicBezTo>
                    <a:pt x="8" y="11"/>
                    <a:pt x="8" y="11"/>
                    <a:pt x="8" y="1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2" name="Freeform 85"/>
            <p:cNvSpPr>
              <a:spLocks/>
            </p:cNvSpPr>
            <p:nvPr/>
          </p:nvSpPr>
          <p:spPr bwMode="auto">
            <a:xfrm>
              <a:off x="6478766" y="3305359"/>
              <a:ext cx="2007" cy="4867"/>
            </a:xfrm>
            <a:custGeom>
              <a:avLst/>
              <a:gdLst>
                <a:gd name="T0" fmla="*/ 1245675 w 5"/>
                <a:gd name="T1" fmla="*/ 1399401 h 10"/>
                <a:gd name="T2" fmla="*/ 940581 w 5"/>
                <a:gd name="T3" fmla="*/ 0 h 10"/>
                <a:gd name="T4" fmla="*/ 0 w 5"/>
                <a:gd name="T5" fmla="*/ 0 h 10"/>
                <a:gd name="T6" fmla="*/ 0 w 5"/>
                <a:gd name="T7" fmla="*/ 3218622 h 10"/>
                <a:gd name="T8" fmla="*/ 257371 w 5"/>
                <a:gd name="T9" fmla="*/ 6155913 h 10"/>
                <a:gd name="T10" fmla="*/ 566216 w 5"/>
                <a:gd name="T11" fmla="*/ 6155913 h 10"/>
                <a:gd name="T12" fmla="*/ 1500783 w 5"/>
                <a:gd name="T13" fmla="*/ 1855345 h 10"/>
                <a:gd name="T14" fmla="*/ 1245675 w 5"/>
                <a:gd name="T15" fmla="*/ 1399401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10"/>
                <a:gd name="T26" fmla="*/ 5 w 5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10">
                  <a:moveTo>
                    <a:pt x="4" y="2"/>
                  </a:moveTo>
                  <a:cubicBezTo>
                    <a:pt x="3" y="2"/>
                    <a:pt x="4" y="1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2" y="6"/>
                    <a:pt x="0" y="9"/>
                    <a:pt x="1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4" y="8"/>
                    <a:pt x="5" y="5"/>
                    <a:pt x="5" y="3"/>
                  </a:cubicBezTo>
                  <a:cubicBezTo>
                    <a:pt x="5" y="2"/>
                    <a:pt x="4" y="2"/>
                    <a:pt x="4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3" name="Freeform 86"/>
            <p:cNvSpPr>
              <a:spLocks/>
            </p:cNvSpPr>
            <p:nvPr/>
          </p:nvSpPr>
          <p:spPr bwMode="auto">
            <a:xfrm>
              <a:off x="6475505" y="3300493"/>
              <a:ext cx="5769" cy="4326"/>
            </a:xfrm>
            <a:custGeom>
              <a:avLst/>
              <a:gdLst>
                <a:gd name="T0" fmla="*/ 8321772 w 12"/>
                <a:gd name="T1" fmla="*/ 0 h 9"/>
                <a:gd name="T2" fmla="*/ 1147259 w 12"/>
                <a:gd name="T3" fmla="*/ 727531 h 9"/>
                <a:gd name="T4" fmla="*/ 1147259 w 12"/>
                <a:gd name="T5" fmla="*/ 2243220 h 9"/>
                <a:gd name="T6" fmla="*/ 3927944 w 12"/>
                <a:gd name="T7" fmla="*/ 6253179 h 9"/>
                <a:gd name="T8" fmla="*/ 5549682 w 12"/>
                <a:gd name="T9" fmla="*/ 6931749 h 9"/>
                <a:gd name="T10" fmla="*/ 8321772 w 12"/>
                <a:gd name="T11" fmla="*/ 4688532 h 9"/>
                <a:gd name="T12" fmla="*/ 13411727 w 12"/>
                <a:gd name="T13" fmla="*/ 6253179 h 9"/>
                <a:gd name="T14" fmla="*/ 10639125 w 12"/>
                <a:gd name="T15" fmla="*/ 3961001 h 9"/>
                <a:gd name="T16" fmla="*/ 10639125 w 12"/>
                <a:gd name="T17" fmla="*/ 2970751 h 9"/>
                <a:gd name="T18" fmla="*/ 16192411 w 12"/>
                <a:gd name="T19" fmla="*/ 2243220 h 9"/>
                <a:gd name="T20" fmla="*/ 16192411 w 12"/>
                <a:gd name="T21" fmla="*/ 1697572 h 9"/>
                <a:gd name="T22" fmla="*/ 12264884 w 12"/>
                <a:gd name="T23" fmla="*/ 0 h 9"/>
                <a:gd name="T24" fmla="*/ 8321772 w 12"/>
                <a:gd name="T25" fmla="*/ 0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2"/>
                <a:gd name="T40" fmla="*/ 0 h 9"/>
                <a:gd name="T41" fmla="*/ 12 w 12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2" h="9">
                  <a:moveTo>
                    <a:pt x="6" y="0"/>
                  </a:moveTo>
                  <a:cubicBezTo>
                    <a:pt x="5" y="0"/>
                    <a:pt x="3" y="0"/>
                    <a:pt x="1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2" y="5"/>
                    <a:pt x="2" y="7"/>
                    <a:pt x="3" y="8"/>
                  </a:cubicBezTo>
                  <a:cubicBezTo>
                    <a:pt x="3" y="9"/>
                    <a:pt x="4" y="9"/>
                    <a:pt x="4" y="9"/>
                  </a:cubicBezTo>
                  <a:cubicBezTo>
                    <a:pt x="4" y="8"/>
                    <a:pt x="4" y="6"/>
                    <a:pt x="6" y="6"/>
                  </a:cubicBezTo>
                  <a:cubicBezTo>
                    <a:pt x="6" y="8"/>
                    <a:pt x="8" y="8"/>
                    <a:pt x="10" y="8"/>
                  </a:cubicBezTo>
                  <a:cubicBezTo>
                    <a:pt x="10" y="7"/>
                    <a:pt x="9" y="6"/>
                    <a:pt x="8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3"/>
                    <a:pt x="11" y="4"/>
                    <a:pt x="12" y="3"/>
                  </a:cubicBezTo>
                  <a:cubicBezTo>
                    <a:pt x="12" y="3"/>
                    <a:pt x="12" y="2"/>
                    <a:pt x="12" y="2"/>
                  </a:cubicBezTo>
                  <a:cubicBezTo>
                    <a:pt x="11" y="1"/>
                    <a:pt x="10" y="0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4" name="Freeform 87"/>
            <p:cNvSpPr>
              <a:spLocks/>
            </p:cNvSpPr>
            <p:nvPr/>
          </p:nvSpPr>
          <p:spPr bwMode="auto">
            <a:xfrm>
              <a:off x="6481274" y="3300763"/>
              <a:ext cx="3010" cy="5408"/>
            </a:xfrm>
            <a:custGeom>
              <a:avLst/>
              <a:gdLst>
                <a:gd name="T0" fmla="*/ 727531 w 6"/>
                <a:gd name="T1" fmla="*/ 2007625 h 11"/>
                <a:gd name="T2" fmla="*/ 727531 w 6"/>
                <a:gd name="T3" fmla="*/ 8480159 h 11"/>
                <a:gd name="T4" fmla="*/ 727531 w 6"/>
                <a:gd name="T5" fmla="*/ 10341118 h 11"/>
                <a:gd name="T6" fmla="*/ 1697572 w 6"/>
                <a:gd name="T7" fmla="*/ 10341118 h 11"/>
                <a:gd name="T8" fmla="*/ 4688532 w 6"/>
                <a:gd name="T9" fmla="*/ 6840539 h 11"/>
                <a:gd name="T10" fmla="*/ 2970751 w 6"/>
                <a:gd name="T11" fmla="*/ 849380 h 11"/>
                <a:gd name="T12" fmla="*/ 1697572 w 6"/>
                <a:gd name="T13" fmla="*/ 849380 h 11"/>
                <a:gd name="T14" fmla="*/ 727531 w 6"/>
                <a:gd name="T15" fmla="*/ 2007625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11"/>
                <a:gd name="T26" fmla="*/ 6 w 6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11">
                  <a:moveTo>
                    <a:pt x="1" y="2"/>
                  </a:moveTo>
                  <a:cubicBezTo>
                    <a:pt x="0" y="5"/>
                    <a:pt x="2" y="7"/>
                    <a:pt x="1" y="9"/>
                  </a:cubicBezTo>
                  <a:cubicBezTo>
                    <a:pt x="1" y="10"/>
                    <a:pt x="1" y="11"/>
                    <a:pt x="1" y="11"/>
                  </a:cubicBezTo>
                  <a:cubicBezTo>
                    <a:pt x="1" y="11"/>
                    <a:pt x="2" y="11"/>
                    <a:pt x="2" y="11"/>
                  </a:cubicBezTo>
                  <a:cubicBezTo>
                    <a:pt x="3" y="10"/>
                    <a:pt x="5" y="9"/>
                    <a:pt x="6" y="7"/>
                  </a:cubicBezTo>
                  <a:cubicBezTo>
                    <a:pt x="6" y="5"/>
                    <a:pt x="6" y="2"/>
                    <a:pt x="4" y="1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1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5" name="Freeform 88"/>
            <p:cNvSpPr>
              <a:spLocks/>
            </p:cNvSpPr>
            <p:nvPr/>
          </p:nvSpPr>
          <p:spPr bwMode="auto">
            <a:xfrm>
              <a:off x="6483281" y="3306171"/>
              <a:ext cx="3512" cy="3515"/>
            </a:xfrm>
            <a:custGeom>
              <a:avLst/>
              <a:gdLst>
                <a:gd name="T0" fmla="*/ 5058432 w 8"/>
                <a:gd name="T1" fmla="*/ 2947589 h 7"/>
                <a:gd name="T2" fmla="*/ 0 w 8"/>
                <a:gd name="T3" fmla="*/ 1213713 h 7"/>
                <a:gd name="T4" fmla="*/ 0 w 8"/>
                <a:gd name="T5" fmla="*/ 5930334 h 7"/>
                <a:gd name="T6" fmla="*/ 2129866 w 8"/>
                <a:gd name="T7" fmla="*/ 10226328 h 7"/>
                <a:gd name="T8" fmla="*/ 4351847 w 8"/>
                <a:gd name="T9" fmla="*/ 10226328 h 7"/>
                <a:gd name="T10" fmla="*/ 5058432 w 8"/>
                <a:gd name="T11" fmla="*/ 7158428 h 7"/>
                <a:gd name="T12" fmla="*/ 7279645 w 8"/>
                <a:gd name="T13" fmla="*/ 7158428 h 7"/>
                <a:gd name="T14" fmla="*/ 7279645 w 8"/>
                <a:gd name="T15" fmla="*/ 5930334 h 7"/>
                <a:gd name="T16" fmla="*/ 5058432 w 8"/>
                <a:gd name="T17" fmla="*/ 2947589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7"/>
                <a:gd name="T29" fmla="*/ 8 w 8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7">
                  <a:moveTo>
                    <a:pt x="5" y="2"/>
                  </a:moveTo>
                  <a:cubicBezTo>
                    <a:pt x="3" y="1"/>
                    <a:pt x="2" y="0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5"/>
                    <a:pt x="1" y="6"/>
                    <a:pt x="2" y="7"/>
                  </a:cubicBezTo>
                  <a:cubicBezTo>
                    <a:pt x="3" y="7"/>
                    <a:pt x="4" y="7"/>
                    <a:pt x="4" y="7"/>
                  </a:cubicBezTo>
                  <a:cubicBezTo>
                    <a:pt x="5" y="7"/>
                    <a:pt x="4" y="5"/>
                    <a:pt x="5" y="5"/>
                  </a:cubicBezTo>
                  <a:cubicBezTo>
                    <a:pt x="5" y="4"/>
                    <a:pt x="6" y="5"/>
                    <a:pt x="7" y="5"/>
                  </a:cubicBezTo>
                  <a:cubicBezTo>
                    <a:pt x="7" y="5"/>
                    <a:pt x="8" y="4"/>
                    <a:pt x="7" y="4"/>
                  </a:cubicBezTo>
                  <a:cubicBezTo>
                    <a:pt x="7" y="3"/>
                    <a:pt x="5" y="3"/>
                    <a:pt x="5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6" name="Freeform 89"/>
            <p:cNvSpPr>
              <a:spLocks/>
            </p:cNvSpPr>
            <p:nvPr/>
          </p:nvSpPr>
          <p:spPr bwMode="auto">
            <a:xfrm>
              <a:off x="6481274" y="3307252"/>
              <a:ext cx="1505" cy="3785"/>
            </a:xfrm>
            <a:custGeom>
              <a:avLst/>
              <a:gdLst>
                <a:gd name="T0" fmla="*/ 2243220 w 3"/>
                <a:gd name="T1" fmla="*/ 4351847 h 8"/>
                <a:gd name="T2" fmla="*/ 2243220 w 3"/>
                <a:gd name="T3" fmla="*/ 896786 h 8"/>
                <a:gd name="T4" fmla="*/ 727531 w 3"/>
                <a:gd name="T5" fmla="*/ 0 h 8"/>
                <a:gd name="T6" fmla="*/ 0 w 3"/>
                <a:gd name="T7" fmla="*/ 8176458 h 8"/>
                <a:gd name="T8" fmla="*/ 727531 w 3"/>
                <a:gd name="T9" fmla="*/ 7279645 h 8"/>
                <a:gd name="T10" fmla="*/ 1697572 w 3"/>
                <a:gd name="T11" fmla="*/ 5058432 h 8"/>
                <a:gd name="T12" fmla="*/ 2243220 w 3"/>
                <a:gd name="T13" fmla="*/ 43518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8"/>
                <a:gd name="T23" fmla="*/ 3 w 3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8">
                  <a:moveTo>
                    <a:pt x="3" y="4"/>
                  </a:moveTo>
                  <a:cubicBezTo>
                    <a:pt x="3" y="3"/>
                    <a:pt x="3" y="2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2" y="6"/>
                    <a:pt x="3" y="7"/>
                    <a:pt x="2" y="5"/>
                  </a:cubicBezTo>
                  <a:cubicBezTo>
                    <a:pt x="3" y="5"/>
                    <a:pt x="3" y="4"/>
                    <a:pt x="3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7" name="Freeform 97"/>
            <p:cNvSpPr>
              <a:spLocks/>
            </p:cNvSpPr>
            <p:nvPr/>
          </p:nvSpPr>
          <p:spPr bwMode="auto">
            <a:xfrm>
              <a:off x="6957349" y="3335642"/>
              <a:ext cx="14046" cy="10274"/>
            </a:xfrm>
            <a:custGeom>
              <a:avLst/>
              <a:gdLst>
                <a:gd name="T0" fmla="*/ 0 w 30"/>
                <a:gd name="T1" fmla="*/ 4514290 h 21"/>
                <a:gd name="T2" fmla="*/ 727531 w 30"/>
                <a:gd name="T3" fmla="*/ 4514290 h 21"/>
                <a:gd name="T4" fmla="*/ 1697572 w 30"/>
                <a:gd name="T5" fmla="*/ 3149955 h 21"/>
                <a:gd name="T6" fmla="*/ 4688532 w 30"/>
                <a:gd name="T7" fmla="*/ 2284540 h 21"/>
                <a:gd name="T8" fmla="*/ 9242333 w 30"/>
                <a:gd name="T9" fmla="*/ 959507 h 21"/>
                <a:gd name="T10" fmla="*/ 10939910 w 30"/>
                <a:gd name="T11" fmla="*/ 959507 h 21"/>
                <a:gd name="T12" fmla="*/ 14590764 w 30"/>
                <a:gd name="T13" fmla="*/ 0 h 21"/>
                <a:gd name="T14" fmla="*/ 16901612 w 30"/>
                <a:gd name="T15" fmla="*/ 0 h 21"/>
                <a:gd name="T16" fmla="*/ 18594716 w 30"/>
                <a:gd name="T17" fmla="*/ 3149955 h 21"/>
                <a:gd name="T18" fmla="*/ 19144832 w 30"/>
                <a:gd name="T19" fmla="*/ 6246233 h 21"/>
                <a:gd name="T20" fmla="*/ 20837921 w 30"/>
                <a:gd name="T21" fmla="*/ 7499890 h 21"/>
                <a:gd name="T22" fmla="*/ 21565436 w 30"/>
                <a:gd name="T23" fmla="*/ 9396189 h 21"/>
                <a:gd name="T24" fmla="*/ 23105809 w 30"/>
                <a:gd name="T25" fmla="*/ 11680953 h 21"/>
                <a:gd name="T26" fmla="*/ 23105809 w 30"/>
                <a:gd name="T27" fmla="*/ 12950905 h 21"/>
                <a:gd name="T28" fmla="*/ 20101652 w 30"/>
                <a:gd name="T29" fmla="*/ 11680953 h 21"/>
                <a:gd name="T30" fmla="*/ 19144832 w 30"/>
                <a:gd name="T31" fmla="*/ 12950905 h 21"/>
                <a:gd name="T32" fmla="*/ 19144832 w 30"/>
                <a:gd name="T33" fmla="*/ 14871980 h 21"/>
                <a:gd name="T34" fmla="*/ 19144832 w 30"/>
                <a:gd name="T35" fmla="*/ 17856874 h 21"/>
                <a:gd name="T36" fmla="*/ 19144832 w 30"/>
                <a:gd name="T37" fmla="*/ 17856874 h 21"/>
                <a:gd name="T38" fmla="*/ 19144832 w 30"/>
                <a:gd name="T39" fmla="*/ 21410687 h 21"/>
                <a:gd name="T40" fmla="*/ 19144832 w 30"/>
                <a:gd name="T41" fmla="*/ 21410687 h 21"/>
                <a:gd name="T42" fmla="*/ 16901612 w 30"/>
                <a:gd name="T43" fmla="*/ 21410687 h 21"/>
                <a:gd name="T44" fmla="*/ 13906434 w 30"/>
                <a:gd name="T45" fmla="*/ 17856874 h 21"/>
                <a:gd name="T46" fmla="*/ 11620011 w 30"/>
                <a:gd name="T47" fmla="*/ 16919961 h 21"/>
                <a:gd name="T48" fmla="*/ 9902491 w 30"/>
                <a:gd name="T49" fmla="*/ 13910476 h 21"/>
                <a:gd name="T50" fmla="*/ 727531 w 30"/>
                <a:gd name="T51" fmla="*/ 5439381 h 21"/>
                <a:gd name="T52" fmla="*/ 0 w 30"/>
                <a:gd name="T53" fmla="*/ 4514290 h 2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0"/>
                <a:gd name="T82" fmla="*/ 0 h 21"/>
                <a:gd name="T83" fmla="*/ 30 w 30"/>
                <a:gd name="T84" fmla="*/ 21 h 2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0" h="21">
                  <a:moveTo>
                    <a:pt x="0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2"/>
                    <a:pt x="5" y="3"/>
                    <a:pt x="6" y="2"/>
                  </a:cubicBezTo>
                  <a:cubicBezTo>
                    <a:pt x="8" y="1"/>
                    <a:pt x="10" y="1"/>
                    <a:pt x="12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7" y="1"/>
                    <a:pt x="19" y="0"/>
                  </a:cubicBezTo>
                  <a:cubicBezTo>
                    <a:pt x="20" y="0"/>
                    <a:pt x="21" y="0"/>
                    <a:pt x="22" y="0"/>
                  </a:cubicBezTo>
                  <a:cubicBezTo>
                    <a:pt x="24" y="1"/>
                    <a:pt x="24" y="2"/>
                    <a:pt x="24" y="3"/>
                  </a:cubicBezTo>
                  <a:cubicBezTo>
                    <a:pt x="25" y="5"/>
                    <a:pt x="24" y="5"/>
                    <a:pt x="25" y="6"/>
                  </a:cubicBezTo>
                  <a:cubicBezTo>
                    <a:pt x="26" y="7"/>
                    <a:pt x="27" y="7"/>
                    <a:pt x="27" y="7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9" y="9"/>
                    <a:pt x="30" y="10"/>
                    <a:pt x="30" y="11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1"/>
                    <a:pt x="28" y="11"/>
                    <a:pt x="26" y="11"/>
                  </a:cubicBezTo>
                  <a:cubicBezTo>
                    <a:pt x="26" y="11"/>
                    <a:pt x="25" y="12"/>
                    <a:pt x="25" y="12"/>
                  </a:cubicBezTo>
                  <a:cubicBezTo>
                    <a:pt x="25" y="13"/>
                    <a:pt x="25" y="13"/>
                    <a:pt x="25" y="14"/>
                  </a:cubicBezTo>
                  <a:cubicBezTo>
                    <a:pt x="24" y="15"/>
                    <a:pt x="25" y="16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8"/>
                    <a:pt x="25" y="19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3" y="21"/>
                    <a:pt x="22" y="20"/>
                  </a:cubicBezTo>
                  <a:cubicBezTo>
                    <a:pt x="20" y="20"/>
                    <a:pt x="19" y="18"/>
                    <a:pt x="18" y="17"/>
                  </a:cubicBezTo>
                  <a:cubicBezTo>
                    <a:pt x="17" y="16"/>
                    <a:pt x="16" y="16"/>
                    <a:pt x="15" y="16"/>
                  </a:cubicBezTo>
                  <a:cubicBezTo>
                    <a:pt x="14" y="15"/>
                    <a:pt x="14" y="13"/>
                    <a:pt x="13" y="13"/>
                  </a:cubicBezTo>
                  <a:cubicBezTo>
                    <a:pt x="9" y="11"/>
                    <a:pt x="4" y="9"/>
                    <a:pt x="1" y="5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8" name="Freeform 98"/>
            <p:cNvSpPr>
              <a:spLocks/>
            </p:cNvSpPr>
            <p:nvPr/>
          </p:nvSpPr>
          <p:spPr bwMode="auto">
            <a:xfrm>
              <a:off x="6962867" y="3324556"/>
              <a:ext cx="10786" cy="14330"/>
            </a:xfrm>
            <a:custGeom>
              <a:avLst/>
              <a:gdLst>
                <a:gd name="T0" fmla="*/ 12713535 w 23"/>
                <a:gd name="T1" fmla="*/ 23105809 h 30"/>
                <a:gd name="T2" fmla="*/ 11241599 w 23"/>
                <a:gd name="T3" fmla="*/ 22560164 h 30"/>
                <a:gd name="T4" fmla="*/ 10214021 w 23"/>
                <a:gd name="T5" fmla="*/ 20101652 h 30"/>
                <a:gd name="T6" fmla="*/ 8361068 w 23"/>
                <a:gd name="T7" fmla="*/ 17871663 h 30"/>
                <a:gd name="T8" fmla="*/ 5868462 w 23"/>
                <a:gd name="T9" fmla="*/ 17871663 h 30"/>
                <a:gd name="T10" fmla="*/ 1852956 w 23"/>
                <a:gd name="T11" fmla="*/ 18594716 h 30"/>
                <a:gd name="T12" fmla="*/ 0 w 23"/>
                <a:gd name="T13" fmla="*/ 18594716 h 30"/>
                <a:gd name="T14" fmla="*/ 789222 w 23"/>
                <a:gd name="T15" fmla="*/ 16901612 h 30"/>
                <a:gd name="T16" fmla="*/ 1852956 w 23"/>
                <a:gd name="T17" fmla="*/ 16174079 h 30"/>
                <a:gd name="T18" fmla="*/ 1852956 w 23"/>
                <a:gd name="T19" fmla="*/ 14590764 h 30"/>
                <a:gd name="T20" fmla="*/ 1852956 w 23"/>
                <a:gd name="T21" fmla="*/ 11620011 h 30"/>
                <a:gd name="T22" fmla="*/ 3227747 w 23"/>
                <a:gd name="T23" fmla="*/ 9902491 h 30"/>
                <a:gd name="T24" fmla="*/ 4350418 w 23"/>
                <a:gd name="T25" fmla="*/ 3961001 h 30"/>
                <a:gd name="T26" fmla="*/ 7578186 w 23"/>
                <a:gd name="T27" fmla="*/ 4688532 h 30"/>
                <a:gd name="T28" fmla="*/ 8361068 w 23"/>
                <a:gd name="T29" fmla="*/ 9242333 h 30"/>
                <a:gd name="T30" fmla="*/ 10214021 w 23"/>
                <a:gd name="T31" fmla="*/ 9242333 h 30"/>
                <a:gd name="T32" fmla="*/ 9424793 w 23"/>
                <a:gd name="T33" fmla="*/ 3961001 h 30"/>
                <a:gd name="T34" fmla="*/ 10214021 w 23"/>
                <a:gd name="T35" fmla="*/ 1697572 h 30"/>
                <a:gd name="T36" fmla="*/ 12713535 w 23"/>
                <a:gd name="T37" fmla="*/ 1697572 h 30"/>
                <a:gd name="T38" fmla="*/ 17792257 w 23"/>
                <a:gd name="T39" fmla="*/ 727531 h 30"/>
                <a:gd name="T40" fmla="*/ 19630332 w 23"/>
                <a:gd name="T41" fmla="*/ 1697572 h 30"/>
                <a:gd name="T42" fmla="*/ 19630332 w 23"/>
                <a:gd name="T43" fmla="*/ 2243220 h 30"/>
                <a:gd name="T44" fmla="*/ 18819769 w 23"/>
                <a:gd name="T45" fmla="*/ 6931751 h 30"/>
                <a:gd name="T46" fmla="*/ 17003040 w 23"/>
                <a:gd name="T47" fmla="*/ 7659284 h 30"/>
                <a:gd name="T48" fmla="*/ 17003040 w 23"/>
                <a:gd name="T49" fmla="*/ 11620011 h 30"/>
                <a:gd name="T50" fmla="*/ 15292894 w 23"/>
                <a:gd name="T51" fmla="*/ 13184931 h 30"/>
                <a:gd name="T52" fmla="*/ 14564485 w 23"/>
                <a:gd name="T53" fmla="*/ 14590764 h 30"/>
                <a:gd name="T54" fmla="*/ 12713535 w 23"/>
                <a:gd name="T55" fmla="*/ 16174079 h 30"/>
                <a:gd name="T56" fmla="*/ 12713535 w 23"/>
                <a:gd name="T57" fmla="*/ 23105809 h 3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3"/>
                <a:gd name="T88" fmla="*/ 0 h 30"/>
                <a:gd name="T89" fmla="*/ 23 w 23"/>
                <a:gd name="T90" fmla="*/ 30 h 3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3" h="30">
                  <a:moveTo>
                    <a:pt x="15" y="30"/>
                  </a:moveTo>
                  <a:cubicBezTo>
                    <a:pt x="15" y="30"/>
                    <a:pt x="14" y="30"/>
                    <a:pt x="13" y="29"/>
                  </a:cubicBezTo>
                  <a:cubicBezTo>
                    <a:pt x="12" y="28"/>
                    <a:pt x="13" y="28"/>
                    <a:pt x="12" y="26"/>
                  </a:cubicBezTo>
                  <a:cubicBezTo>
                    <a:pt x="12" y="25"/>
                    <a:pt x="12" y="24"/>
                    <a:pt x="10" y="23"/>
                  </a:cubicBezTo>
                  <a:cubicBezTo>
                    <a:pt x="9" y="23"/>
                    <a:pt x="8" y="23"/>
                    <a:pt x="7" y="23"/>
                  </a:cubicBezTo>
                  <a:cubicBezTo>
                    <a:pt x="5" y="24"/>
                    <a:pt x="4" y="23"/>
                    <a:pt x="2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" y="23"/>
                    <a:pt x="0" y="22"/>
                    <a:pt x="1" y="22"/>
                  </a:cubicBezTo>
                  <a:cubicBezTo>
                    <a:pt x="1" y="22"/>
                    <a:pt x="2" y="22"/>
                    <a:pt x="2" y="21"/>
                  </a:cubicBezTo>
                  <a:cubicBezTo>
                    <a:pt x="3" y="21"/>
                    <a:pt x="2" y="20"/>
                    <a:pt x="2" y="19"/>
                  </a:cubicBezTo>
                  <a:cubicBezTo>
                    <a:pt x="1" y="18"/>
                    <a:pt x="1" y="16"/>
                    <a:pt x="2" y="15"/>
                  </a:cubicBezTo>
                  <a:cubicBezTo>
                    <a:pt x="2" y="15"/>
                    <a:pt x="4" y="14"/>
                    <a:pt x="4" y="13"/>
                  </a:cubicBezTo>
                  <a:cubicBezTo>
                    <a:pt x="5" y="10"/>
                    <a:pt x="4" y="7"/>
                    <a:pt x="5" y="5"/>
                  </a:cubicBezTo>
                  <a:cubicBezTo>
                    <a:pt x="7" y="5"/>
                    <a:pt x="8" y="5"/>
                    <a:pt x="9" y="6"/>
                  </a:cubicBezTo>
                  <a:cubicBezTo>
                    <a:pt x="10" y="8"/>
                    <a:pt x="9" y="10"/>
                    <a:pt x="10" y="12"/>
                  </a:cubicBezTo>
                  <a:cubicBezTo>
                    <a:pt x="10" y="13"/>
                    <a:pt x="12" y="12"/>
                    <a:pt x="12" y="12"/>
                  </a:cubicBezTo>
                  <a:cubicBezTo>
                    <a:pt x="12" y="9"/>
                    <a:pt x="12" y="7"/>
                    <a:pt x="11" y="5"/>
                  </a:cubicBezTo>
                  <a:cubicBezTo>
                    <a:pt x="10" y="4"/>
                    <a:pt x="11" y="2"/>
                    <a:pt x="12" y="2"/>
                  </a:cubicBezTo>
                  <a:cubicBezTo>
                    <a:pt x="13" y="2"/>
                    <a:pt x="14" y="2"/>
                    <a:pt x="15" y="2"/>
                  </a:cubicBezTo>
                  <a:cubicBezTo>
                    <a:pt x="17" y="1"/>
                    <a:pt x="19" y="0"/>
                    <a:pt x="21" y="1"/>
                  </a:cubicBezTo>
                  <a:cubicBezTo>
                    <a:pt x="21" y="1"/>
                    <a:pt x="22" y="3"/>
                    <a:pt x="23" y="2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5"/>
                    <a:pt x="23" y="7"/>
                    <a:pt x="22" y="9"/>
                  </a:cubicBezTo>
                  <a:cubicBezTo>
                    <a:pt x="21" y="9"/>
                    <a:pt x="20" y="9"/>
                    <a:pt x="20" y="10"/>
                  </a:cubicBezTo>
                  <a:cubicBezTo>
                    <a:pt x="20" y="12"/>
                    <a:pt x="20" y="13"/>
                    <a:pt x="20" y="15"/>
                  </a:cubicBezTo>
                  <a:cubicBezTo>
                    <a:pt x="19" y="16"/>
                    <a:pt x="18" y="16"/>
                    <a:pt x="18" y="17"/>
                  </a:cubicBezTo>
                  <a:cubicBezTo>
                    <a:pt x="18" y="18"/>
                    <a:pt x="17" y="18"/>
                    <a:pt x="17" y="19"/>
                  </a:cubicBezTo>
                  <a:cubicBezTo>
                    <a:pt x="17" y="20"/>
                    <a:pt x="16" y="20"/>
                    <a:pt x="15" y="21"/>
                  </a:cubicBezTo>
                  <a:cubicBezTo>
                    <a:pt x="15" y="24"/>
                    <a:pt x="15" y="27"/>
                    <a:pt x="15" y="30"/>
                  </a:cubicBezTo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9" name="Freeform 99"/>
            <p:cNvSpPr>
              <a:spLocks/>
            </p:cNvSpPr>
            <p:nvPr/>
          </p:nvSpPr>
          <p:spPr bwMode="auto">
            <a:xfrm>
              <a:off x="6969890" y="3316986"/>
              <a:ext cx="31354" cy="40557"/>
            </a:xfrm>
            <a:custGeom>
              <a:avLst/>
              <a:gdLst>
                <a:gd name="T0" fmla="*/ 8997191 w 67"/>
                <a:gd name="T1" fmla="*/ 13592483 h 84"/>
                <a:gd name="T2" fmla="*/ 14010851 w 67"/>
                <a:gd name="T3" fmla="*/ 12766088 h 84"/>
                <a:gd name="T4" fmla="*/ 15285508 w 67"/>
                <a:gd name="T5" fmla="*/ 14713191 h 84"/>
                <a:gd name="T6" fmla="*/ 21351526 w 67"/>
                <a:gd name="T7" fmla="*/ 10823096 h 84"/>
                <a:gd name="T8" fmla="*/ 19238759 w 67"/>
                <a:gd name="T9" fmla="*/ 1947959 h 84"/>
                <a:gd name="T10" fmla="*/ 19238759 w 67"/>
                <a:gd name="T11" fmla="*/ 0 h 84"/>
                <a:gd name="T12" fmla="*/ 28235948 w 67"/>
                <a:gd name="T13" fmla="*/ 0 h 84"/>
                <a:gd name="T14" fmla="*/ 49447383 w 67"/>
                <a:gd name="T15" fmla="*/ 6241960 h 84"/>
                <a:gd name="T16" fmla="*/ 63966554 w 67"/>
                <a:gd name="T17" fmla="*/ 8174844 h 84"/>
                <a:gd name="T18" fmla="*/ 61763641 w 67"/>
                <a:gd name="T19" fmla="*/ 19269273 h 84"/>
                <a:gd name="T20" fmla="*/ 62691934 w 67"/>
                <a:gd name="T21" fmla="*/ 30864540 h 84"/>
                <a:gd name="T22" fmla="*/ 67007657 w 67"/>
                <a:gd name="T23" fmla="*/ 38064251 h 84"/>
                <a:gd name="T24" fmla="*/ 67007657 w 67"/>
                <a:gd name="T25" fmla="*/ 38890646 h 84"/>
                <a:gd name="T26" fmla="*/ 61763641 w 67"/>
                <a:gd name="T27" fmla="*/ 41687414 h 84"/>
                <a:gd name="T28" fmla="*/ 56787996 w 67"/>
                <a:gd name="T29" fmla="*/ 42857575 h 84"/>
                <a:gd name="T30" fmla="*/ 49447383 w 67"/>
                <a:gd name="T31" fmla="*/ 46240583 h 84"/>
                <a:gd name="T32" fmla="*/ 46546427 w 67"/>
                <a:gd name="T33" fmla="*/ 48187733 h 84"/>
                <a:gd name="T34" fmla="*/ 47768913 w 67"/>
                <a:gd name="T35" fmla="*/ 50835991 h 84"/>
                <a:gd name="T36" fmla="*/ 51560117 w 67"/>
                <a:gd name="T37" fmla="*/ 58186503 h 84"/>
                <a:gd name="T38" fmla="*/ 56787996 w 67"/>
                <a:gd name="T39" fmla="*/ 62755097 h 84"/>
                <a:gd name="T40" fmla="*/ 57464131 w 67"/>
                <a:gd name="T41" fmla="*/ 62755097 h 84"/>
                <a:gd name="T42" fmla="*/ 55859703 w 67"/>
                <a:gd name="T43" fmla="*/ 66223905 h 84"/>
                <a:gd name="T44" fmla="*/ 51560117 w 67"/>
                <a:gd name="T45" fmla="*/ 68171847 h 84"/>
                <a:gd name="T46" fmla="*/ 51560117 w 67"/>
                <a:gd name="T47" fmla="*/ 70105571 h 84"/>
                <a:gd name="T48" fmla="*/ 50670021 w 67"/>
                <a:gd name="T49" fmla="*/ 71576880 h 84"/>
                <a:gd name="T50" fmla="*/ 42563018 w 67"/>
                <a:gd name="T51" fmla="*/ 73571663 h 84"/>
                <a:gd name="T52" fmla="*/ 36274547 w 67"/>
                <a:gd name="T53" fmla="*/ 74346239 h 84"/>
                <a:gd name="T54" fmla="*/ 34524314 w 67"/>
                <a:gd name="T55" fmla="*/ 72752094 h 84"/>
                <a:gd name="T56" fmla="*/ 30208629 w 67"/>
                <a:gd name="T57" fmla="*/ 74346239 h 84"/>
                <a:gd name="T58" fmla="*/ 28235948 w 67"/>
                <a:gd name="T59" fmla="*/ 71576880 h 84"/>
                <a:gd name="T60" fmla="*/ 19238759 w 67"/>
                <a:gd name="T61" fmla="*/ 73571663 h 84"/>
                <a:gd name="T62" fmla="*/ 11898173 w 67"/>
                <a:gd name="T63" fmla="*/ 73571663 h 84"/>
                <a:gd name="T64" fmla="*/ 11898173 w 67"/>
                <a:gd name="T65" fmla="*/ 74346239 h 84"/>
                <a:gd name="T66" fmla="*/ 11131851 w 67"/>
                <a:gd name="T67" fmla="*/ 68993226 h 84"/>
                <a:gd name="T68" fmla="*/ 13334802 w 67"/>
                <a:gd name="T69" fmla="*/ 66223905 h 84"/>
                <a:gd name="T70" fmla="*/ 15285508 w 67"/>
                <a:gd name="T71" fmla="*/ 61632267 h 84"/>
                <a:gd name="T72" fmla="*/ 16213802 w 67"/>
                <a:gd name="T73" fmla="*/ 59010861 h 84"/>
                <a:gd name="T74" fmla="*/ 14010851 w 67"/>
                <a:gd name="T75" fmla="*/ 58186503 h 84"/>
                <a:gd name="T76" fmla="*/ 8997191 w 67"/>
                <a:gd name="T77" fmla="*/ 56252779 h 84"/>
                <a:gd name="T78" fmla="*/ 3024951 w 67"/>
                <a:gd name="T79" fmla="*/ 55389462 h 84"/>
                <a:gd name="T80" fmla="*/ 890253 w 67"/>
                <a:gd name="T81" fmla="*/ 43481784 h 84"/>
                <a:gd name="T82" fmla="*/ 2112690 w 67"/>
                <a:gd name="T83" fmla="*/ 32039415 h 84"/>
                <a:gd name="T84" fmla="*/ 5013697 w 67"/>
                <a:gd name="T85" fmla="*/ 28094992 h 84"/>
                <a:gd name="T86" fmla="*/ 7178612 w 67"/>
                <a:gd name="T87" fmla="*/ 22742187 h 84"/>
                <a:gd name="T88" fmla="*/ 8106901 w 67"/>
                <a:gd name="T89" fmla="*/ 16148473 h 8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"/>
                <a:gd name="T136" fmla="*/ 0 h 84"/>
                <a:gd name="T137" fmla="*/ 67 w 67"/>
                <a:gd name="T138" fmla="*/ 84 h 8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" h="84">
                  <a:moveTo>
                    <a:pt x="8" y="18"/>
                  </a:moveTo>
                  <a:cubicBezTo>
                    <a:pt x="9" y="17"/>
                    <a:pt x="8" y="16"/>
                    <a:pt x="9" y="15"/>
                  </a:cubicBezTo>
                  <a:cubicBezTo>
                    <a:pt x="10" y="14"/>
                    <a:pt x="10" y="14"/>
                    <a:pt x="11" y="14"/>
                  </a:cubicBezTo>
                  <a:cubicBezTo>
                    <a:pt x="12" y="13"/>
                    <a:pt x="13" y="13"/>
                    <a:pt x="14" y="14"/>
                  </a:cubicBezTo>
                  <a:cubicBezTo>
                    <a:pt x="15" y="14"/>
                    <a:pt x="15" y="15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5"/>
                    <a:pt x="16" y="15"/>
                    <a:pt x="17" y="14"/>
                  </a:cubicBezTo>
                  <a:cubicBezTo>
                    <a:pt x="18" y="13"/>
                    <a:pt x="19" y="12"/>
                    <a:pt x="21" y="12"/>
                  </a:cubicBezTo>
                  <a:cubicBezTo>
                    <a:pt x="21" y="10"/>
                    <a:pt x="21" y="8"/>
                    <a:pt x="21" y="6"/>
                  </a:cubicBezTo>
                  <a:cubicBezTo>
                    <a:pt x="21" y="5"/>
                    <a:pt x="19" y="4"/>
                    <a:pt x="19" y="2"/>
                  </a:cubicBezTo>
                  <a:cubicBezTo>
                    <a:pt x="19" y="2"/>
                    <a:pt x="19" y="1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2" y="0"/>
                    <a:pt x="24" y="0"/>
                    <a:pt x="2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2"/>
                    <a:pt x="30" y="5"/>
                    <a:pt x="31" y="7"/>
                  </a:cubicBezTo>
                  <a:cubicBezTo>
                    <a:pt x="37" y="7"/>
                    <a:pt x="43" y="7"/>
                    <a:pt x="49" y="7"/>
                  </a:cubicBezTo>
                  <a:cubicBezTo>
                    <a:pt x="51" y="7"/>
                    <a:pt x="54" y="9"/>
                    <a:pt x="56" y="9"/>
                  </a:cubicBezTo>
                  <a:cubicBezTo>
                    <a:pt x="58" y="10"/>
                    <a:pt x="61" y="10"/>
                    <a:pt x="63" y="9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3" y="14"/>
                    <a:pt x="63" y="18"/>
                    <a:pt x="61" y="21"/>
                  </a:cubicBezTo>
                  <a:cubicBezTo>
                    <a:pt x="60" y="22"/>
                    <a:pt x="60" y="24"/>
                    <a:pt x="62" y="24"/>
                  </a:cubicBezTo>
                  <a:cubicBezTo>
                    <a:pt x="63" y="28"/>
                    <a:pt x="62" y="31"/>
                    <a:pt x="62" y="34"/>
                  </a:cubicBezTo>
                  <a:cubicBezTo>
                    <a:pt x="63" y="35"/>
                    <a:pt x="64" y="36"/>
                    <a:pt x="64" y="37"/>
                  </a:cubicBezTo>
                  <a:cubicBezTo>
                    <a:pt x="65" y="39"/>
                    <a:pt x="66" y="40"/>
                    <a:pt x="66" y="42"/>
                  </a:cubicBezTo>
                  <a:cubicBezTo>
                    <a:pt x="67" y="42"/>
                    <a:pt x="67" y="43"/>
                    <a:pt x="67" y="4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5" y="43"/>
                    <a:pt x="63" y="42"/>
                    <a:pt x="61" y="42"/>
                  </a:cubicBezTo>
                  <a:cubicBezTo>
                    <a:pt x="60" y="43"/>
                    <a:pt x="61" y="45"/>
                    <a:pt x="61" y="46"/>
                  </a:cubicBezTo>
                  <a:cubicBezTo>
                    <a:pt x="61" y="46"/>
                    <a:pt x="60" y="47"/>
                    <a:pt x="60" y="47"/>
                  </a:cubicBezTo>
                  <a:cubicBezTo>
                    <a:pt x="58" y="47"/>
                    <a:pt x="57" y="47"/>
                    <a:pt x="56" y="47"/>
                  </a:cubicBezTo>
                  <a:cubicBezTo>
                    <a:pt x="54" y="48"/>
                    <a:pt x="54" y="49"/>
                    <a:pt x="53" y="50"/>
                  </a:cubicBezTo>
                  <a:cubicBezTo>
                    <a:pt x="51" y="50"/>
                    <a:pt x="51" y="51"/>
                    <a:pt x="49" y="51"/>
                  </a:cubicBezTo>
                  <a:cubicBezTo>
                    <a:pt x="49" y="52"/>
                    <a:pt x="49" y="52"/>
                    <a:pt x="48" y="52"/>
                  </a:cubicBezTo>
                  <a:cubicBezTo>
                    <a:pt x="47" y="53"/>
                    <a:pt x="46" y="53"/>
                    <a:pt x="46" y="53"/>
                  </a:cubicBezTo>
                  <a:cubicBezTo>
                    <a:pt x="45" y="54"/>
                    <a:pt x="45" y="54"/>
                    <a:pt x="46" y="55"/>
                  </a:cubicBezTo>
                  <a:cubicBezTo>
                    <a:pt x="46" y="55"/>
                    <a:pt x="47" y="56"/>
                    <a:pt x="47" y="56"/>
                  </a:cubicBezTo>
                  <a:cubicBezTo>
                    <a:pt x="48" y="57"/>
                    <a:pt x="48" y="58"/>
                    <a:pt x="48" y="60"/>
                  </a:cubicBezTo>
                  <a:cubicBezTo>
                    <a:pt x="49" y="61"/>
                    <a:pt x="50" y="63"/>
                    <a:pt x="51" y="64"/>
                  </a:cubicBezTo>
                  <a:cubicBezTo>
                    <a:pt x="51" y="65"/>
                    <a:pt x="52" y="65"/>
                    <a:pt x="53" y="65"/>
                  </a:cubicBezTo>
                  <a:cubicBezTo>
                    <a:pt x="54" y="66"/>
                    <a:pt x="55" y="68"/>
                    <a:pt x="56" y="69"/>
                  </a:cubicBezTo>
                  <a:cubicBezTo>
                    <a:pt x="57" y="69"/>
                    <a:pt x="57" y="69"/>
                    <a:pt x="58" y="69"/>
                  </a:cubicBezTo>
                  <a:cubicBezTo>
                    <a:pt x="57" y="69"/>
                    <a:pt x="57" y="69"/>
                    <a:pt x="57" y="69"/>
                  </a:cubicBezTo>
                  <a:cubicBezTo>
                    <a:pt x="57" y="70"/>
                    <a:pt x="57" y="71"/>
                    <a:pt x="56" y="72"/>
                  </a:cubicBezTo>
                  <a:cubicBezTo>
                    <a:pt x="56" y="72"/>
                    <a:pt x="56" y="73"/>
                    <a:pt x="55" y="73"/>
                  </a:cubicBezTo>
                  <a:cubicBezTo>
                    <a:pt x="55" y="73"/>
                    <a:pt x="54" y="73"/>
                    <a:pt x="53" y="73"/>
                  </a:cubicBezTo>
                  <a:cubicBezTo>
                    <a:pt x="52" y="73"/>
                    <a:pt x="52" y="74"/>
                    <a:pt x="51" y="75"/>
                  </a:cubicBez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0" y="77"/>
                    <a:pt x="51" y="77"/>
                  </a:cubicBezTo>
                  <a:cubicBezTo>
                    <a:pt x="51" y="77"/>
                    <a:pt x="51" y="77"/>
                    <a:pt x="52" y="77"/>
                  </a:cubicBezTo>
                  <a:cubicBezTo>
                    <a:pt x="52" y="79"/>
                    <a:pt x="51" y="79"/>
                    <a:pt x="50" y="79"/>
                  </a:cubicBezTo>
                  <a:cubicBezTo>
                    <a:pt x="48" y="80"/>
                    <a:pt x="45" y="79"/>
                    <a:pt x="43" y="80"/>
                  </a:cubicBezTo>
                  <a:cubicBezTo>
                    <a:pt x="43" y="80"/>
                    <a:pt x="42" y="80"/>
                    <a:pt x="42" y="81"/>
                  </a:cubicBezTo>
                  <a:cubicBezTo>
                    <a:pt x="41" y="81"/>
                    <a:pt x="39" y="81"/>
                    <a:pt x="38" y="82"/>
                  </a:cubicBezTo>
                  <a:cubicBezTo>
                    <a:pt x="37" y="82"/>
                    <a:pt x="37" y="82"/>
                    <a:pt x="36" y="82"/>
                  </a:cubicBezTo>
                  <a:cubicBezTo>
                    <a:pt x="36" y="81"/>
                    <a:pt x="36" y="80"/>
                    <a:pt x="35" y="80"/>
                  </a:cubicBezTo>
                  <a:cubicBezTo>
                    <a:pt x="35" y="80"/>
                    <a:pt x="34" y="80"/>
                    <a:pt x="34" y="80"/>
                  </a:cubicBezTo>
                  <a:cubicBezTo>
                    <a:pt x="33" y="81"/>
                    <a:pt x="34" y="84"/>
                    <a:pt x="32" y="83"/>
                  </a:cubicBezTo>
                  <a:cubicBezTo>
                    <a:pt x="31" y="83"/>
                    <a:pt x="31" y="82"/>
                    <a:pt x="30" y="82"/>
                  </a:cubicBezTo>
                  <a:cubicBezTo>
                    <a:pt x="29" y="82"/>
                    <a:pt x="29" y="82"/>
                    <a:pt x="28" y="82"/>
                  </a:cubicBezTo>
                  <a:cubicBezTo>
                    <a:pt x="28" y="81"/>
                    <a:pt x="28" y="80"/>
                    <a:pt x="28" y="79"/>
                  </a:cubicBezTo>
                  <a:cubicBezTo>
                    <a:pt x="25" y="80"/>
                    <a:pt x="23" y="79"/>
                    <a:pt x="20" y="80"/>
                  </a:cubicBezTo>
                  <a:cubicBezTo>
                    <a:pt x="19" y="80"/>
                    <a:pt x="19" y="81"/>
                    <a:pt x="19" y="81"/>
                  </a:cubicBezTo>
                  <a:cubicBezTo>
                    <a:pt x="17" y="81"/>
                    <a:pt x="15" y="81"/>
                    <a:pt x="13" y="81"/>
                  </a:cubicBezTo>
                  <a:cubicBezTo>
                    <a:pt x="13" y="81"/>
                    <a:pt x="12" y="81"/>
                    <a:pt x="12" y="81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1"/>
                    <a:pt x="11" y="81"/>
                    <a:pt x="11" y="80"/>
                  </a:cubicBezTo>
                  <a:cubicBezTo>
                    <a:pt x="11" y="78"/>
                    <a:pt x="11" y="77"/>
                    <a:pt x="11" y="76"/>
                  </a:cubicBezTo>
                  <a:cubicBezTo>
                    <a:pt x="11" y="76"/>
                    <a:pt x="11" y="76"/>
                    <a:pt x="12" y="75"/>
                  </a:cubicBezTo>
                  <a:cubicBezTo>
                    <a:pt x="12" y="75"/>
                    <a:pt x="12" y="74"/>
                    <a:pt x="13" y="73"/>
                  </a:cubicBezTo>
                  <a:cubicBezTo>
                    <a:pt x="13" y="72"/>
                    <a:pt x="13" y="71"/>
                    <a:pt x="13" y="70"/>
                  </a:cubicBezTo>
                  <a:cubicBezTo>
                    <a:pt x="14" y="69"/>
                    <a:pt x="14" y="69"/>
                    <a:pt x="15" y="68"/>
                  </a:cubicBezTo>
                  <a:cubicBezTo>
                    <a:pt x="15" y="67"/>
                    <a:pt x="15" y="67"/>
                    <a:pt x="16" y="66"/>
                  </a:cubicBezTo>
                  <a:cubicBezTo>
                    <a:pt x="16" y="66"/>
                    <a:pt x="16" y="66"/>
                    <a:pt x="16" y="65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5" y="64"/>
                    <a:pt x="14" y="64"/>
                    <a:pt x="14" y="64"/>
                  </a:cubicBezTo>
                  <a:cubicBezTo>
                    <a:pt x="13" y="63"/>
                    <a:pt x="12" y="63"/>
                    <a:pt x="11" y="62"/>
                  </a:cubicBezTo>
                  <a:cubicBezTo>
                    <a:pt x="10" y="62"/>
                    <a:pt x="10" y="62"/>
                    <a:pt x="9" y="62"/>
                  </a:cubicBezTo>
                  <a:cubicBezTo>
                    <a:pt x="8" y="63"/>
                    <a:pt x="7" y="63"/>
                    <a:pt x="6" y="63"/>
                  </a:cubicBezTo>
                  <a:cubicBezTo>
                    <a:pt x="5" y="63"/>
                    <a:pt x="4" y="62"/>
                    <a:pt x="3" y="61"/>
                  </a:cubicBezTo>
                  <a:cubicBezTo>
                    <a:pt x="2" y="57"/>
                    <a:pt x="4" y="54"/>
                    <a:pt x="3" y="50"/>
                  </a:cubicBezTo>
                  <a:cubicBezTo>
                    <a:pt x="3" y="49"/>
                    <a:pt x="2" y="48"/>
                    <a:pt x="1" y="48"/>
                  </a:cubicBezTo>
                  <a:cubicBezTo>
                    <a:pt x="0" y="44"/>
                    <a:pt x="0" y="41"/>
                    <a:pt x="0" y="37"/>
                  </a:cubicBezTo>
                  <a:cubicBezTo>
                    <a:pt x="1" y="36"/>
                    <a:pt x="2" y="36"/>
                    <a:pt x="2" y="35"/>
                  </a:cubicBezTo>
                  <a:cubicBezTo>
                    <a:pt x="2" y="34"/>
                    <a:pt x="3" y="34"/>
                    <a:pt x="3" y="33"/>
                  </a:cubicBezTo>
                  <a:cubicBezTo>
                    <a:pt x="3" y="32"/>
                    <a:pt x="4" y="32"/>
                    <a:pt x="5" y="31"/>
                  </a:cubicBezTo>
                  <a:cubicBezTo>
                    <a:pt x="5" y="29"/>
                    <a:pt x="5" y="28"/>
                    <a:pt x="5" y="26"/>
                  </a:cubicBezTo>
                  <a:cubicBezTo>
                    <a:pt x="5" y="25"/>
                    <a:pt x="6" y="25"/>
                    <a:pt x="7" y="25"/>
                  </a:cubicBezTo>
                  <a:cubicBezTo>
                    <a:pt x="8" y="23"/>
                    <a:pt x="7" y="21"/>
                    <a:pt x="8" y="19"/>
                  </a:cubicBezTo>
                  <a:lnTo>
                    <a:pt x="8" y="18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0" name="Freeform 100"/>
            <p:cNvSpPr>
              <a:spLocks/>
            </p:cNvSpPr>
            <p:nvPr/>
          </p:nvSpPr>
          <p:spPr bwMode="auto">
            <a:xfrm>
              <a:off x="6996980" y="3359706"/>
              <a:ext cx="8779" cy="6759"/>
            </a:xfrm>
            <a:custGeom>
              <a:avLst/>
              <a:gdLst>
                <a:gd name="T0" fmla="*/ 0 w 19"/>
                <a:gd name="T1" fmla="*/ 10957538 h 13"/>
                <a:gd name="T2" fmla="*/ 2049534 w 19"/>
                <a:gd name="T3" fmla="*/ 10957538 h 13"/>
                <a:gd name="T4" fmla="*/ 2049534 w 19"/>
                <a:gd name="T5" fmla="*/ 13281841 h 13"/>
                <a:gd name="T6" fmla="*/ 2959271 w 19"/>
                <a:gd name="T7" fmla="*/ 14203962 h 13"/>
                <a:gd name="T8" fmla="*/ 7008797 w 19"/>
                <a:gd name="T9" fmla="*/ 13281841 h 13"/>
                <a:gd name="T10" fmla="*/ 10840510 w 19"/>
                <a:gd name="T11" fmla="*/ 10957538 h 13"/>
                <a:gd name="T12" fmla="*/ 11496685 w 19"/>
                <a:gd name="T13" fmla="*/ 10957538 h 13"/>
                <a:gd name="T14" fmla="*/ 14822601 w 19"/>
                <a:gd name="T15" fmla="*/ 7913775 h 13"/>
                <a:gd name="T16" fmla="*/ 14822601 w 19"/>
                <a:gd name="T17" fmla="*/ 5569804 h 13"/>
                <a:gd name="T18" fmla="*/ 18666092 w 19"/>
                <a:gd name="T19" fmla="*/ 3318681 h 13"/>
                <a:gd name="T20" fmla="*/ 18666092 w 19"/>
                <a:gd name="T21" fmla="*/ 4595099 h 13"/>
                <a:gd name="T22" fmla="*/ 18666092 w 19"/>
                <a:gd name="T23" fmla="*/ 3318681 h 13"/>
                <a:gd name="T24" fmla="*/ 17849252 w 19"/>
                <a:gd name="T25" fmla="*/ 979497 h 13"/>
                <a:gd name="T26" fmla="*/ 12773055 w 19"/>
                <a:gd name="T27" fmla="*/ 979497 h 13"/>
                <a:gd name="T28" fmla="*/ 9968069 w 19"/>
                <a:gd name="T29" fmla="*/ 979497 h 13"/>
                <a:gd name="T30" fmla="*/ 5759327 w 19"/>
                <a:gd name="T31" fmla="*/ 3318681 h 13"/>
                <a:gd name="T32" fmla="*/ 865359 w 19"/>
                <a:gd name="T33" fmla="*/ 3318681 h 13"/>
                <a:gd name="T34" fmla="*/ 0 w 19"/>
                <a:gd name="T35" fmla="*/ 4595099 h 13"/>
                <a:gd name="T36" fmla="*/ 0 w 19"/>
                <a:gd name="T37" fmla="*/ 9596174 h 13"/>
                <a:gd name="T38" fmla="*/ 0 w 19"/>
                <a:gd name="T39" fmla="*/ 10957538 h 1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"/>
                <a:gd name="T61" fmla="*/ 0 h 13"/>
                <a:gd name="T62" fmla="*/ 19 w 19"/>
                <a:gd name="T63" fmla="*/ 13 h 1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" h="13">
                  <a:moveTo>
                    <a:pt x="0" y="10"/>
                  </a:moveTo>
                  <a:cubicBezTo>
                    <a:pt x="1" y="10"/>
                    <a:pt x="2" y="10"/>
                    <a:pt x="2" y="10"/>
                  </a:cubicBezTo>
                  <a:cubicBezTo>
                    <a:pt x="2" y="11"/>
                    <a:pt x="2" y="12"/>
                    <a:pt x="2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12"/>
                    <a:pt x="6" y="13"/>
                    <a:pt x="7" y="12"/>
                  </a:cubicBezTo>
                  <a:cubicBezTo>
                    <a:pt x="8" y="12"/>
                    <a:pt x="9" y="11"/>
                    <a:pt x="11" y="10"/>
                  </a:cubicBezTo>
                  <a:cubicBezTo>
                    <a:pt x="11" y="10"/>
                    <a:pt x="12" y="10"/>
                    <a:pt x="12" y="10"/>
                  </a:cubicBezTo>
                  <a:cubicBezTo>
                    <a:pt x="13" y="9"/>
                    <a:pt x="14" y="8"/>
                    <a:pt x="15" y="7"/>
                  </a:cubicBezTo>
                  <a:cubicBezTo>
                    <a:pt x="15" y="7"/>
                    <a:pt x="15" y="6"/>
                    <a:pt x="15" y="5"/>
                  </a:cubicBezTo>
                  <a:cubicBezTo>
                    <a:pt x="16" y="4"/>
                    <a:pt x="17" y="3"/>
                    <a:pt x="19" y="3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8" y="2"/>
                    <a:pt x="18" y="2"/>
                    <a:pt x="18" y="1"/>
                  </a:cubicBezTo>
                  <a:cubicBezTo>
                    <a:pt x="16" y="1"/>
                    <a:pt x="14" y="2"/>
                    <a:pt x="13" y="1"/>
                  </a:cubicBezTo>
                  <a:cubicBezTo>
                    <a:pt x="12" y="1"/>
                    <a:pt x="11" y="0"/>
                    <a:pt x="10" y="1"/>
                  </a:cubicBezTo>
                  <a:cubicBezTo>
                    <a:pt x="8" y="1"/>
                    <a:pt x="7" y="3"/>
                    <a:pt x="6" y="3"/>
                  </a:cubicBezTo>
                  <a:cubicBezTo>
                    <a:pt x="4" y="3"/>
                    <a:pt x="2" y="3"/>
                    <a:pt x="1" y="3"/>
                  </a:cubicBezTo>
                  <a:cubicBezTo>
                    <a:pt x="0" y="3"/>
                    <a:pt x="1" y="3"/>
                    <a:pt x="0" y="4"/>
                  </a:cubicBezTo>
                  <a:cubicBezTo>
                    <a:pt x="0" y="6"/>
                    <a:pt x="1" y="7"/>
                    <a:pt x="0" y="9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1" name="Freeform 101"/>
            <p:cNvSpPr>
              <a:spLocks/>
            </p:cNvSpPr>
            <p:nvPr/>
          </p:nvSpPr>
          <p:spPr bwMode="auto">
            <a:xfrm>
              <a:off x="6997983" y="3361328"/>
              <a:ext cx="17558" cy="15952"/>
            </a:xfrm>
            <a:custGeom>
              <a:avLst/>
              <a:gdLst>
                <a:gd name="T0" fmla="*/ 21466005 w 38"/>
                <a:gd name="T1" fmla="*/ 30553758 h 33"/>
                <a:gd name="T2" fmla="*/ 19416389 w 38"/>
                <a:gd name="T3" fmla="*/ 31262565 h 33"/>
                <a:gd name="T4" fmla="*/ 15706817 w 38"/>
                <a:gd name="T5" fmla="*/ 31262565 h 33"/>
                <a:gd name="T6" fmla="*/ 12773055 w 38"/>
                <a:gd name="T7" fmla="*/ 28518479 h 33"/>
                <a:gd name="T8" fmla="*/ 11496685 w 38"/>
                <a:gd name="T9" fmla="*/ 27670974 h 33"/>
                <a:gd name="T10" fmla="*/ 10840510 w 38"/>
                <a:gd name="T11" fmla="*/ 22924719 h 33"/>
                <a:gd name="T12" fmla="*/ 9968069 w 38"/>
                <a:gd name="T13" fmla="*/ 21764401 h 33"/>
                <a:gd name="T14" fmla="*/ 7008797 w 38"/>
                <a:gd name="T15" fmla="*/ 17330084 h 33"/>
                <a:gd name="T16" fmla="*/ 3671997 w 38"/>
                <a:gd name="T17" fmla="*/ 17330084 h 33"/>
                <a:gd name="T18" fmla="*/ 3671997 w 38"/>
                <a:gd name="T19" fmla="*/ 17330084 h 33"/>
                <a:gd name="T20" fmla="*/ 865359 w 38"/>
                <a:gd name="T21" fmla="*/ 18036102 h 33"/>
                <a:gd name="T22" fmla="*/ 0 w 38"/>
                <a:gd name="T23" fmla="*/ 18036102 h 33"/>
                <a:gd name="T24" fmla="*/ 0 w 38"/>
                <a:gd name="T25" fmla="*/ 10341117 h 33"/>
                <a:gd name="T26" fmla="*/ 0 w 38"/>
                <a:gd name="T27" fmla="*/ 8480158 h 33"/>
                <a:gd name="T28" fmla="*/ 865359 w 38"/>
                <a:gd name="T29" fmla="*/ 9698924 h 33"/>
                <a:gd name="T30" fmla="*/ 4854159 w 38"/>
                <a:gd name="T31" fmla="*/ 8480158 h 33"/>
                <a:gd name="T32" fmla="*/ 8696832 w 38"/>
                <a:gd name="T33" fmla="*/ 6840533 h 33"/>
                <a:gd name="T34" fmla="*/ 9968069 w 38"/>
                <a:gd name="T35" fmla="*/ 6840533 h 33"/>
                <a:gd name="T36" fmla="*/ 12773055 w 38"/>
                <a:gd name="T37" fmla="*/ 3587761 h 33"/>
                <a:gd name="T38" fmla="*/ 12773055 w 38"/>
                <a:gd name="T39" fmla="*/ 2007625 h 33"/>
                <a:gd name="T40" fmla="*/ 16599778 w 38"/>
                <a:gd name="T41" fmla="*/ 0 h 33"/>
                <a:gd name="T42" fmla="*/ 16599778 w 38"/>
                <a:gd name="T43" fmla="*/ 849380 h 33"/>
                <a:gd name="T44" fmla="*/ 20597761 w 38"/>
                <a:gd name="T45" fmla="*/ 3587761 h 33"/>
                <a:gd name="T46" fmla="*/ 23608573 w 38"/>
                <a:gd name="T47" fmla="*/ 4745294 h 33"/>
                <a:gd name="T48" fmla="*/ 25674877 w 38"/>
                <a:gd name="T49" fmla="*/ 7630663 h 33"/>
                <a:gd name="T50" fmla="*/ 34448850 w 38"/>
                <a:gd name="T51" fmla="*/ 7630663 h 33"/>
                <a:gd name="T52" fmla="*/ 36383698 w 38"/>
                <a:gd name="T53" fmla="*/ 7630663 h 33"/>
                <a:gd name="T54" fmla="*/ 36383698 w 38"/>
                <a:gd name="T55" fmla="*/ 7630663 h 33"/>
                <a:gd name="T56" fmla="*/ 37200348 w 38"/>
                <a:gd name="T57" fmla="*/ 9698924 h 33"/>
                <a:gd name="T58" fmla="*/ 37200348 w 38"/>
                <a:gd name="T59" fmla="*/ 14073912 h 33"/>
                <a:gd name="T60" fmla="*/ 37200348 w 38"/>
                <a:gd name="T61" fmla="*/ 14073912 h 33"/>
                <a:gd name="T62" fmla="*/ 36383698 w 38"/>
                <a:gd name="T63" fmla="*/ 17330084 h 33"/>
                <a:gd name="T64" fmla="*/ 35106153 w 38"/>
                <a:gd name="T65" fmla="*/ 16168527 h 33"/>
                <a:gd name="T66" fmla="*/ 24492638 w 38"/>
                <a:gd name="T67" fmla="*/ 16168527 h 33"/>
                <a:gd name="T68" fmla="*/ 23608573 w 38"/>
                <a:gd name="T69" fmla="*/ 14073912 h 33"/>
                <a:gd name="T70" fmla="*/ 21466005 w 38"/>
                <a:gd name="T71" fmla="*/ 14073912 h 33"/>
                <a:gd name="T72" fmla="*/ 15706817 w 38"/>
                <a:gd name="T73" fmla="*/ 16168527 h 33"/>
                <a:gd name="T74" fmla="*/ 13640503 w 38"/>
                <a:gd name="T75" fmla="*/ 20043996 h 33"/>
                <a:gd name="T76" fmla="*/ 14822601 w 38"/>
                <a:gd name="T77" fmla="*/ 20043996 h 33"/>
                <a:gd name="T78" fmla="*/ 15706817 w 38"/>
                <a:gd name="T79" fmla="*/ 22924719 h 33"/>
                <a:gd name="T80" fmla="*/ 18666092 w 38"/>
                <a:gd name="T81" fmla="*/ 25663075 h 33"/>
                <a:gd name="T82" fmla="*/ 20597761 w 38"/>
                <a:gd name="T83" fmla="*/ 29407055 h 33"/>
                <a:gd name="T84" fmla="*/ 21466005 w 38"/>
                <a:gd name="T85" fmla="*/ 30553758 h 3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8"/>
                <a:gd name="T130" fmla="*/ 0 h 33"/>
                <a:gd name="T131" fmla="*/ 38 w 38"/>
                <a:gd name="T132" fmla="*/ 33 h 3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8" h="33">
                  <a:moveTo>
                    <a:pt x="22" y="32"/>
                  </a:moveTo>
                  <a:cubicBezTo>
                    <a:pt x="21" y="32"/>
                    <a:pt x="20" y="32"/>
                    <a:pt x="20" y="33"/>
                  </a:cubicBezTo>
                  <a:cubicBezTo>
                    <a:pt x="19" y="33"/>
                    <a:pt x="17" y="33"/>
                    <a:pt x="16" y="33"/>
                  </a:cubicBezTo>
                  <a:cubicBezTo>
                    <a:pt x="15" y="32"/>
                    <a:pt x="15" y="30"/>
                    <a:pt x="13" y="30"/>
                  </a:cubicBezTo>
                  <a:cubicBezTo>
                    <a:pt x="13" y="29"/>
                    <a:pt x="12" y="29"/>
                    <a:pt x="12" y="29"/>
                  </a:cubicBezTo>
                  <a:cubicBezTo>
                    <a:pt x="11" y="28"/>
                    <a:pt x="12" y="26"/>
                    <a:pt x="11" y="24"/>
                  </a:cubicBezTo>
                  <a:cubicBezTo>
                    <a:pt x="11" y="24"/>
                    <a:pt x="10" y="24"/>
                    <a:pt x="10" y="23"/>
                  </a:cubicBezTo>
                  <a:cubicBezTo>
                    <a:pt x="9" y="21"/>
                    <a:pt x="8" y="19"/>
                    <a:pt x="7" y="18"/>
                  </a:cubicBezTo>
                  <a:cubicBezTo>
                    <a:pt x="6" y="18"/>
                    <a:pt x="5" y="18"/>
                    <a:pt x="4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3" y="17"/>
                    <a:pt x="2" y="18"/>
                    <a:pt x="1" y="19"/>
                  </a:cubicBezTo>
                  <a:cubicBezTo>
                    <a:pt x="1" y="19"/>
                    <a:pt x="0" y="19"/>
                    <a:pt x="0" y="19"/>
                  </a:cubicBezTo>
                  <a:cubicBezTo>
                    <a:pt x="0" y="16"/>
                    <a:pt x="0" y="14"/>
                    <a:pt x="0" y="11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3" y="9"/>
                    <a:pt x="4" y="10"/>
                    <a:pt x="5" y="9"/>
                  </a:cubicBezTo>
                  <a:cubicBezTo>
                    <a:pt x="6" y="9"/>
                    <a:pt x="7" y="8"/>
                    <a:pt x="9" y="7"/>
                  </a:cubicBezTo>
                  <a:cubicBezTo>
                    <a:pt x="9" y="7"/>
                    <a:pt x="10" y="7"/>
                    <a:pt x="10" y="7"/>
                  </a:cubicBezTo>
                  <a:cubicBezTo>
                    <a:pt x="11" y="6"/>
                    <a:pt x="12" y="5"/>
                    <a:pt x="13" y="4"/>
                  </a:cubicBezTo>
                  <a:cubicBezTo>
                    <a:pt x="13" y="4"/>
                    <a:pt x="13" y="3"/>
                    <a:pt x="13" y="2"/>
                  </a:cubicBezTo>
                  <a:cubicBezTo>
                    <a:pt x="14" y="1"/>
                    <a:pt x="15" y="0"/>
                    <a:pt x="17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2"/>
                    <a:pt x="20" y="3"/>
                    <a:pt x="21" y="4"/>
                  </a:cubicBezTo>
                  <a:cubicBezTo>
                    <a:pt x="22" y="4"/>
                    <a:pt x="23" y="5"/>
                    <a:pt x="24" y="5"/>
                  </a:cubicBezTo>
                  <a:cubicBezTo>
                    <a:pt x="25" y="6"/>
                    <a:pt x="26" y="7"/>
                    <a:pt x="26" y="8"/>
                  </a:cubicBezTo>
                  <a:cubicBezTo>
                    <a:pt x="29" y="8"/>
                    <a:pt x="32" y="8"/>
                    <a:pt x="35" y="8"/>
                  </a:cubicBezTo>
                  <a:cubicBezTo>
                    <a:pt x="35" y="8"/>
                    <a:pt x="36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8" y="8"/>
                    <a:pt x="38" y="9"/>
                    <a:pt x="38" y="10"/>
                  </a:cubicBezTo>
                  <a:cubicBezTo>
                    <a:pt x="38" y="12"/>
                    <a:pt x="37" y="14"/>
                    <a:pt x="38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6"/>
                    <a:pt x="37" y="17"/>
                    <a:pt x="37" y="18"/>
                  </a:cubicBezTo>
                  <a:cubicBezTo>
                    <a:pt x="37" y="18"/>
                    <a:pt x="36" y="17"/>
                    <a:pt x="36" y="17"/>
                  </a:cubicBezTo>
                  <a:cubicBezTo>
                    <a:pt x="32" y="16"/>
                    <a:pt x="28" y="18"/>
                    <a:pt x="25" y="17"/>
                  </a:cubicBezTo>
                  <a:cubicBezTo>
                    <a:pt x="24" y="16"/>
                    <a:pt x="24" y="16"/>
                    <a:pt x="24" y="15"/>
                  </a:cubicBezTo>
                  <a:cubicBezTo>
                    <a:pt x="23" y="15"/>
                    <a:pt x="22" y="14"/>
                    <a:pt x="22" y="15"/>
                  </a:cubicBezTo>
                  <a:cubicBezTo>
                    <a:pt x="20" y="16"/>
                    <a:pt x="18" y="17"/>
                    <a:pt x="16" y="17"/>
                  </a:cubicBezTo>
                  <a:cubicBezTo>
                    <a:pt x="15" y="18"/>
                    <a:pt x="14" y="19"/>
                    <a:pt x="14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2"/>
                    <a:pt x="15" y="23"/>
                    <a:pt x="16" y="24"/>
                  </a:cubicBezTo>
                  <a:cubicBezTo>
                    <a:pt x="16" y="25"/>
                    <a:pt x="18" y="26"/>
                    <a:pt x="19" y="27"/>
                  </a:cubicBezTo>
                  <a:cubicBezTo>
                    <a:pt x="20" y="29"/>
                    <a:pt x="19" y="30"/>
                    <a:pt x="21" y="31"/>
                  </a:cubicBezTo>
                  <a:lnTo>
                    <a:pt x="22" y="32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2" name="Freeform 102"/>
            <p:cNvSpPr>
              <a:spLocks/>
            </p:cNvSpPr>
            <p:nvPr/>
          </p:nvSpPr>
          <p:spPr bwMode="auto">
            <a:xfrm>
              <a:off x="7004505" y="3368087"/>
              <a:ext cx="11037" cy="14060"/>
            </a:xfrm>
            <a:custGeom>
              <a:avLst/>
              <a:gdLst>
                <a:gd name="T0" fmla="*/ 20751062 w 24"/>
                <a:gd name="T1" fmla="*/ 30549718 h 29"/>
                <a:gd name="T2" fmla="*/ 14143705 w 24"/>
                <a:gd name="T3" fmla="*/ 27582281 h 29"/>
                <a:gd name="T4" fmla="*/ 14143705 w 24"/>
                <a:gd name="T5" fmla="*/ 26065557 h 29"/>
                <a:gd name="T6" fmla="*/ 14143705 w 24"/>
                <a:gd name="T7" fmla="*/ 26065557 h 29"/>
                <a:gd name="T8" fmla="*/ 14143705 w 24"/>
                <a:gd name="T9" fmla="*/ 25373006 h 29"/>
                <a:gd name="T10" fmla="*/ 11242634 w 24"/>
                <a:gd name="T11" fmla="*/ 22147900 h 29"/>
                <a:gd name="T12" fmla="*/ 8176465 w 24"/>
                <a:gd name="T13" fmla="*/ 19024842 h 29"/>
                <a:gd name="T14" fmla="*/ 7280415 w 24"/>
                <a:gd name="T15" fmla="*/ 17709997 h 29"/>
                <a:gd name="T16" fmla="*/ 5287420 w 24"/>
                <a:gd name="T17" fmla="*/ 13792987 h 29"/>
                <a:gd name="T18" fmla="*/ 2226282 w 24"/>
                <a:gd name="T19" fmla="*/ 10664023 h 29"/>
                <a:gd name="T20" fmla="*/ 937382 w 24"/>
                <a:gd name="T21" fmla="*/ 7443335 h 29"/>
                <a:gd name="T22" fmla="*/ 0 w 24"/>
                <a:gd name="T23" fmla="*/ 7443335 h 29"/>
                <a:gd name="T24" fmla="*/ 2226282 w 24"/>
                <a:gd name="T25" fmla="*/ 3128358 h 29"/>
                <a:gd name="T26" fmla="*/ 8176465 w 24"/>
                <a:gd name="T27" fmla="*/ 953242 h 29"/>
                <a:gd name="T28" fmla="*/ 10335640 w 24"/>
                <a:gd name="T29" fmla="*/ 953242 h 29"/>
                <a:gd name="T30" fmla="*/ 11242634 w 24"/>
                <a:gd name="T31" fmla="*/ 3128358 h 29"/>
                <a:gd name="T32" fmla="*/ 22349417 w 24"/>
                <a:gd name="T33" fmla="*/ 3128358 h 29"/>
                <a:gd name="T34" fmla="*/ 23798965 w 24"/>
                <a:gd name="T35" fmla="*/ 4481981 h 29"/>
                <a:gd name="T36" fmla="*/ 24547147 w 24"/>
                <a:gd name="T37" fmla="*/ 6187297 h 29"/>
                <a:gd name="T38" fmla="*/ 24547147 w 24"/>
                <a:gd name="T39" fmla="*/ 19024842 h 29"/>
                <a:gd name="T40" fmla="*/ 23798965 w 24"/>
                <a:gd name="T41" fmla="*/ 19977817 h 29"/>
                <a:gd name="T42" fmla="*/ 20751062 w 24"/>
                <a:gd name="T43" fmla="*/ 25373006 h 29"/>
                <a:gd name="T44" fmla="*/ 20751062 w 24"/>
                <a:gd name="T45" fmla="*/ 26065557 h 29"/>
                <a:gd name="T46" fmla="*/ 19419101 w 24"/>
                <a:gd name="T47" fmla="*/ 29589619 h 29"/>
                <a:gd name="T48" fmla="*/ 20751062 w 24"/>
                <a:gd name="T49" fmla="*/ 30549718 h 2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4"/>
                <a:gd name="T76" fmla="*/ 0 h 29"/>
                <a:gd name="T77" fmla="*/ 24 w 24"/>
                <a:gd name="T78" fmla="*/ 29 h 2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4" h="29">
                  <a:moveTo>
                    <a:pt x="20" y="29"/>
                  </a:moveTo>
                  <a:cubicBezTo>
                    <a:pt x="17" y="29"/>
                    <a:pt x="15" y="28"/>
                    <a:pt x="14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4"/>
                    <a:pt x="14" y="24"/>
                  </a:cubicBezTo>
                  <a:cubicBezTo>
                    <a:pt x="13" y="23"/>
                    <a:pt x="12" y="22"/>
                    <a:pt x="11" y="21"/>
                  </a:cubicBezTo>
                  <a:cubicBezTo>
                    <a:pt x="11" y="20"/>
                    <a:pt x="9" y="19"/>
                    <a:pt x="8" y="18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5" y="16"/>
                    <a:pt x="6" y="15"/>
                    <a:pt x="5" y="13"/>
                  </a:cubicBezTo>
                  <a:cubicBezTo>
                    <a:pt x="4" y="12"/>
                    <a:pt x="2" y="11"/>
                    <a:pt x="2" y="10"/>
                  </a:cubicBezTo>
                  <a:cubicBezTo>
                    <a:pt x="1" y="9"/>
                    <a:pt x="1" y="8"/>
                    <a:pt x="1" y="7"/>
                  </a:cubicBezTo>
                  <a:cubicBezTo>
                    <a:pt x="1" y="7"/>
                    <a:pt x="1" y="7"/>
                    <a:pt x="0" y="7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4" y="3"/>
                    <a:pt x="6" y="2"/>
                    <a:pt x="8" y="1"/>
                  </a:cubicBezTo>
                  <a:cubicBezTo>
                    <a:pt x="8" y="0"/>
                    <a:pt x="9" y="1"/>
                    <a:pt x="10" y="1"/>
                  </a:cubicBezTo>
                  <a:cubicBezTo>
                    <a:pt x="10" y="2"/>
                    <a:pt x="10" y="2"/>
                    <a:pt x="11" y="3"/>
                  </a:cubicBezTo>
                  <a:cubicBezTo>
                    <a:pt x="14" y="4"/>
                    <a:pt x="18" y="2"/>
                    <a:pt x="22" y="3"/>
                  </a:cubicBezTo>
                  <a:cubicBezTo>
                    <a:pt x="22" y="3"/>
                    <a:pt x="23" y="4"/>
                    <a:pt x="23" y="4"/>
                  </a:cubicBezTo>
                  <a:cubicBezTo>
                    <a:pt x="24" y="5"/>
                    <a:pt x="24" y="5"/>
                    <a:pt x="24" y="6"/>
                  </a:cubicBezTo>
                  <a:cubicBezTo>
                    <a:pt x="24" y="10"/>
                    <a:pt x="24" y="14"/>
                    <a:pt x="24" y="18"/>
                  </a:cubicBezTo>
                  <a:cubicBezTo>
                    <a:pt x="24" y="18"/>
                    <a:pt x="23" y="19"/>
                    <a:pt x="23" y="19"/>
                  </a:cubicBezTo>
                  <a:cubicBezTo>
                    <a:pt x="22" y="20"/>
                    <a:pt x="21" y="22"/>
                    <a:pt x="20" y="24"/>
                  </a:cubicBezTo>
                  <a:cubicBezTo>
                    <a:pt x="20" y="24"/>
                    <a:pt x="20" y="24"/>
                    <a:pt x="20" y="25"/>
                  </a:cubicBezTo>
                  <a:cubicBezTo>
                    <a:pt x="19" y="26"/>
                    <a:pt x="19" y="27"/>
                    <a:pt x="19" y="28"/>
                  </a:cubicBezTo>
                  <a:lnTo>
                    <a:pt x="20" y="29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3" name="Freeform 103"/>
            <p:cNvSpPr>
              <a:spLocks/>
            </p:cNvSpPr>
            <p:nvPr/>
          </p:nvSpPr>
          <p:spPr bwMode="auto">
            <a:xfrm>
              <a:off x="7013284" y="3362950"/>
              <a:ext cx="16555" cy="21090"/>
            </a:xfrm>
            <a:custGeom>
              <a:avLst/>
              <a:gdLst>
                <a:gd name="T0" fmla="*/ 5519055 w 36"/>
                <a:gd name="T1" fmla="*/ 40962012 h 44"/>
                <a:gd name="T2" fmla="*/ 4679924 w 36"/>
                <a:gd name="T3" fmla="*/ 39736174 h 44"/>
                <a:gd name="T4" fmla="*/ 839472 w 36"/>
                <a:gd name="T5" fmla="*/ 38216536 h 44"/>
                <a:gd name="T6" fmla="*/ 0 w 36"/>
                <a:gd name="T7" fmla="*/ 36884088 h 44"/>
                <a:gd name="T8" fmla="*/ 839472 w 36"/>
                <a:gd name="T9" fmla="*/ 34141571 h 44"/>
                <a:gd name="T10" fmla="*/ 839472 w 36"/>
                <a:gd name="T11" fmla="*/ 33265627 h 44"/>
                <a:gd name="T12" fmla="*/ 3548896 w 36"/>
                <a:gd name="T13" fmla="*/ 28518482 h 44"/>
                <a:gd name="T14" fmla="*/ 4679924 w 36"/>
                <a:gd name="T15" fmla="*/ 27670977 h 44"/>
                <a:gd name="T16" fmla="*/ 4679924 w 36"/>
                <a:gd name="T17" fmla="*/ 16168539 h 44"/>
                <a:gd name="T18" fmla="*/ 3548896 w 36"/>
                <a:gd name="T19" fmla="*/ 14073923 h 44"/>
                <a:gd name="T20" fmla="*/ 4679924 w 36"/>
                <a:gd name="T21" fmla="*/ 11216146 h 44"/>
                <a:gd name="T22" fmla="*/ 4679924 w 36"/>
                <a:gd name="T23" fmla="*/ 11216146 h 44"/>
                <a:gd name="T24" fmla="*/ 4679924 w 36"/>
                <a:gd name="T25" fmla="*/ 6840539 h 44"/>
                <a:gd name="T26" fmla="*/ 3548896 w 36"/>
                <a:gd name="T27" fmla="*/ 4745295 h 44"/>
                <a:gd name="T28" fmla="*/ 3548896 w 36"/>
                <a:gd name="T29" fmla="*/ 4745295 h 44"/>
                <a:gd name="T30" fmla="*/ 5519055 w 36"/>
                <a:gd name="T31" fmla="*/ 3587761 h 44"/>
                <a:gd name="T32" fmla="*/ 6662007 w 36"/>
                <a:gd name="T33" fmla="*/ 2894074 h 44"/>
                <a:gd name="T34" fmla="*/ 7500980 w 36"/>
                <a:gd name="T35" fmla="*/ 849380 h 44"/>
                <a:gd name="T36" fmla="*/ 8379337 w 36"/>
                <a:gd name="T37" fmla="*/ 0 h 44"/>
                <a:gd name="T38" fmla="*/ 9573822 w 36"/>
                <a:gd name="T39" fmla="*/ 0 h 44"/>
                <a:gd name="T40" fmla="*/ 11049821 w 36"/>
                <a:gd name="T41" fmla="*/ 849380 h 44"/>
                <a:gd name="T42" fmla="*/ 15040843 w 36"/>
                <a:gd name="T43" fmla="*/ 2007625 h 44"/>
                <a:gd name="T44" fmla="*/ 15040843 w 36"/>
                <a:gd name="T45" fmla="*/ 849380 h 44"/>
                <a:gd name="T46" fmla="*/ 17710644 w 36"/>
                <a:gd name="T47" fmla="*/ 9698926 h 44"/>
                <a:gd name="T48" fmla="*/ 20558989 w 36"/>
                <a:gd name="T49" fmla="*/ 12441464 h 44"/>
                <a:gd name="T50" fmla="*/ 22604843 w 36"/>
                <a:gd name="T51" fmla="*/ 16168539 h 44"/>
                <a:gd name="T52" fmla="*/ 22604843 w 36"/>
                <a:gd name="T53" fmla="*/ 16168539 h 44"/>
                <a:gd name="T54" fmla="*/ 28785776 w 36"/>
                <a:gd name="T55" fmla="*/ 16168539 h 44"/>
                <a:gd name="T56" fmla="*/ 29992152 w 36"/>
                <a:gd name="T57" fmla="*/ 17330086 h 44"/>
                <a:gd name="T58" fmla="*/ 30767843 w 36"/>
                <a:gd name="T59" fmla="*/ 20043998 h 44"/>
                <a:gd name="T60" fmla="*/ 29992152 w 36"/>
                <a:gd name="T61" fmla="*/ 18819602 h 44"/>
                <a:gd name="T62" fmla="*/ 28785776 w 36"/>
                <a:gd name="T63" fmla="*/ 25663078 h 44"/>
                <a:gd name="T64" fmla="*/ 31608852 w 36"/>
                <a:gd name="T65" fmla="*/ 28518482 h 44"/>
                <a:gd name="T66" fmla="*/ 31608852 w 36"/>
                <a:gd name="T67" fmla="*/ 29407096 h 44"/>
                <a:gd name="T68" fmla="*/ 32815247 w 36"/>
                <a:gd name="T69" fmla="*/ 29407096 h 44"/>
                <a:gd name="T70" fmla="*/ 32815247 w 36"/>
                <a:gd name="T71" fmla="*/ 31262588 h 44"/>
                <a:gd name="T72" fmla="*/ 30767843 w 36"/>
                <a:gd name="T73" fmla="*/ 33265627 h 44"/>
                <a:gd name="T74" fmla="*/ 28785776 w 36"/>
                <a:gd name="T75" fmla="*/ 39736174 h 44"/>
                <a:gd name="T76" fmla="*/ 28123853 w 36"/>
                <a:gd name="T77" fmla="*/ 39736174 h 44"/>
                <a:gd name="T78" fmla="*/ 26089842 w 36"/>
                <a:gd name="T79" fmla="*/ 40962012 h 44"/>
                <a:gd name="T80" fmla="*/ 24107926 w 36"/>
                <a:gd name="T81" fmla="*/ 40962012 h 44"/>
                <a:gd name="T82" fmla="*/ 17710644 w 36"/>
                <a:gd name="T83" fmla="*/ 40962012 h 44"/>
                <a:gd name="T84" fmla="*/ 17710644 w 36"/>
                <a:gd name="T85" fmla="*/ 40962012 h 44"/>
                <a:gd name="T86" fmla="*/ 12191625 w 36"/>
                <a:gd name="T87" fmla="*/ 36884088 h 44"/>
                <a:gd name="T88" fmla="*/ 10210418 w 36"/>
                <a:gd name="T89" fmla="*/ 38216536 h 44"/>
                <a:gd name="T90" fmla="*/ 7500980 w 36"/>
                <a:gd name="T91" fmla="*/ 39736174 h 44"/>
                <a:gd name="T92" fmla="*/ 5519055 w 36"/>
                <a:gd name="T93" fmla="*/ 40962012 h 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6"/>
                <a:gd name="T142" fmla="*/ 0 h 44"/>
                <a:gd name="T143" fmla="*/ 36 w 36"/>
                <a:gd name="T144" fmla="*/ 44 h 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6" h="44">
                  <a:moveTo>
                    <a:pt x="6" y="43"/>
                  </a:moveTo>
                  <a:cubicBezTo>
                    <a:pt x="6" y="43"/>
                    <a:pt x="6" y="42"/>
                    <a:pt x="5" y="42"/>
                  </a:cubicBezTo>
                  <a:cubicBezTo>
                    <a:pt x="4" y="41"/>
                    <a:pt x="2" y="40"/>
                    <a:pt x="1" y="4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8"/>
                    <a:pt x="0" y="37"/>
                    <a:pt x="1" y="36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2" y="33"/>
                    <a:pt x="3" y="31"/>
                    <a:pt x="4" y="30"/>
                  </a:cubicBezTo>
                  <a:cubicBezTo>
                    <a:pt x="4" y="30"/>
                    <a:pt x="5" y="29"/>
                    <a:pt x="5" y="29"/>
                  </a:cubicBezTo>
                  <a:cubicBezTo>
                    <a:pt x="5" y="25"/>
                    <a:pt x="5" y="21"/>
                    <a:pt x="5" y="17"/>
                  </a:cubicBezTo>
                  <a:cubicBezTo>
                    <a:pt x="5" y="16"/>
                    <a:pt x="5" y="16"/>
                    <a:pt x="4" y="15"/>
                  </a:cubicBezTo>
                  <a:cubicBezTo>
                    <a:pt x="4" y="14"/>
                    <a:pt x="5" y="13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1"/>
                    <a:pt x="5" y="9"/>
                    <a:pt x="5" y="7"/>
                  </a:cubicBezTo>
                  <a:cubicBezTo>
                    <a:pt x="5" y="6"/>
                    <a:pt x="5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6" y="4"/>
                    <a:pt x="7" y="4"/>
                    <a:pt x="7" y="3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1"/>
                    <a:pt x="8" y="0"/>
                    <a:pt x="9" y="0"/>
                  </a:cubicBezTo>
                  <a:cubicBezTo>
                    <a:pt x="9" y="0"/>
                    <a:pt x="9" y="0"/>
                    <a:pt x="10" y="0"/>
                  </a:cubicBezTo>
                  <a:cubicBezTo>
                    <a:pt x="11" y="1"/>
                    <a:pt x="11" y="1"/>
                    <a:pt x="12" y="1"/>
                  </a:cubicBezTo>
                  <a:cubicBezTo>
                    <a:pt x="13" y="2"/>
                    <a:pt x="14" y="2"/>
                    <a:pt x="16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5" y="5"/>
                    <a:pt x="17" y="7"/>
                    <a:pt x="19" y="10"/>
                  </a:cubicBezTo>
                  <a:cubicBezTo>
                    <a:pt x="20" y="11"/>
                    <a:pt x="22" y="11"/>
                    <a:pt x="22" y="13"/>
                  </a:cubicBezTo>
                  <a:cubicBezTo>
                    <a:pt x="23" y="14"/>
                    <a:pt x="24" y="15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6" y="17"/>
                    <a:pt x="29" y="16"/>
                    <a:pt x="31" y="17"/>
                  </a:cubicBezTo>
                  <a:cubicBezTo>
                    <a:pt x="32" y="17"/>
                    <a:pt x="32" y="18"/>
                    <a:pt x="32" y="18"/>
                  </a:cubicBezTo>
                  <a:cubicBezTo>
                    <a:pt x="33" y="19"/>
                    <a:pt x="32" y="20"/>
                    <a:pt x="33" y="21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3"/>
                    <a:pt x="31" y="25"/>
                    <a:pt x="31" y="27"/>
                  </a:cubicBezTo>
                  <a:cubicBezTo>
                    <a:pt x="33" y="28"/>
                    <a:pt x="34" y="28"/>
                    <a:pt x="34" y="30"/>
                  </a:cubicBezTo>
                  <a:cubicBezTo>
                    <a:pt x="34" y="30"/>
                    <a:pt x="34" y="31"/>
                    <a:pt x="34" y="31"/>
                  </a:cubicBezTo>
                  <a:cubicBezTo>
                    <a:pt x="34" y="31"/>
                    <a:pt x="35" y="31"/>
                    <a:pt x="35" y="31"/>
                  </a:cubicBezTo>
                  <a:cubicBezTo>
                    <a:pt x="36" y="32"/>
                    <a:pt x="36" y="33"/>
                    <a:pt x="35" y="33"/>
                  </a:cubicBezTo>
                  <a:cubicBezTo>
                    <a:pt x="35" y="34"/>
                    <a:pt x="34" y="35"/>
                    <a:pt x="33" y="35"/>
                  </a:cubicBezTo>
                  <a:cubicBezTo>
                    <a:pt x="32" y="37"/>
                    <a:pt x="32" y="40"/>
                    <a:pt x="31" y="42"/>
                  </a:cubicBezTo>
                  <a:cubicBezTo>
                    <a:pt x="31" y="42"/>
                    <a:pt x="30" y="42"/>
                    <a:pt x="30" y="42"/>
                  </a:cubicBezTo>
                  <a:cubicBezTo>
                    <a:pt x="29" y="42"/>
                    <a:pt x="29" y="43"/>
                    <a:pt x="28" y="43"/>
                  </a:cubicBezTo>
                  <a:cubicBezTo>
                    <a:pt x="27" y="44"/>
                    <a:pt x="26" y="44"/>
                    <a:pt x="26" y="43"/>
                  </a:cubicBezTo>
                  <a:cubicBezTo>
                    <a:pt x="24" y="42"/>
                    <a:pt x="21" y="42"/>
                    <a:pt x="19" y="43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7" y="41"/>
                    <a:pt x="16" y="38"/>
                    <a:pt x="13" y="39"/>
                  </a:cubicBezTo>
                  <a:cubicBezTo>
                    <a:pt x="12" y="39"/>
                    <a:pt x="12" y="40"/>
                    <a:pt x="11" y="40"/>
                  </a:cubicBezTo>
                  <a:cubicBezTo>
                    <a:pt x="10" y="41"/>
                    <a:pt x="9" y="41"/>
                    <a:pt x="8" y="42"/>
                  </a:cubicBezTo>
                  <a:lnTo>
                    <a:pt x="6" y="4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4" name="Freeform 104"/>
            <p:cNvSpPr>
              <a:spLocks/>
            </p:cNvSpPr>
            <p:nvPr/>
          </p:nvSpPr>
          <p:spPr bwMode="auto">
            <a:xfrm>
              <a:off x="7020809" y="3382958"/>
              <a:ext cx="9030" cy="7571"/>
            </a:xfrm>
            <a:custGeom>
              <a:avLst/>
              <a:gdLst>
                <a:gd name="T0" fmla="*/ 5187343 w 20"/>
                <a:gd name="T1" fmla="*/ 18043546 h 15"/>
                <a:gd name="T2" fmla="*/ 5187343 w 20"/>
                <a:gd name="T3" fmla="*/ 17271725 h 15"/>
                <a:gd name="T4" fmla="*/ 2522523 w 20"/>
                <a:gd name="T5" fmla="*/ 13074693 h 15"/>
                <a:gd name="T6" fmla="*/ 2522523 w 20"/>
                <a:gd name="T7" fmla="*/ 12204942 h 15"/>
                <a:gd name="T8" fmla="*/ 795113 w 20"/>
                <a:gd name="T9" fmla="*/ 11140514 h 15"/>
                <a:gd name="T10" fmla="*/ 795113 w 20"/>
                <a:gd name="T11" fmla="*/ 6131151 h 15"/>
                <a:gd name="T12" fmla="*/ 2522523 w 20"/>
                <a:gd name="T13" fmla="*/ 3577445 h 15"/>
                <a:gd name="T14" fmla="*/ 2522523 w 20"/>
                <a:gd name="T15" fmla="*/ 1064436 h 15"/>
                <a:gd name="T16" fmla="*/ 2522523 w 20"/>
                <a:gd name="T17" fmla="*/ 1064436 h 15"/>
                <a:gd name="T18" fmla="*/ 8799889 w 20"/>
                <a:gd name="T19" fmla="*/ 1064436 h 15"/>
                <a:gd name="T20" fmla="*/ 10318870 w 20"/>
                <a:gd name="T21" fmla="*/ 1064436 h 15"/>
                <a:gd name="T22" fmla="*/ 12190249 w 20"/>
                <a:gd name="T23" fmla="*/ 0 h 15"/>
                <a:gd name="T24" fmla="*/ 12876646 w 20"/>
                <a:gd name="T25" fmla="*/ 0 h 15"/>
                <a:gd name="T26" fmla="*/ 13930621 w 20"/>
                <a:gd name="T27" fmla="*/ 0 h 15"/>
                <a:gd name="T28" fmla="*/ 16597127 w 20"/>
                <a:gd name="T29" fmla="*/ 3577445 h 15"/>
                <a:gd name="T30" fmla="*/ 16597127 w 20"/>
                <a:gd name="T31" fmla="*/ 8585866 h 15"/>
                <a:gd name="T32" fmla="*/ 17186742 w 20"/>
                <a:gd name="T33" fmla="*/ 8585866 h 15"/>
                <a:gd name="T34" fmla="*/ 17186742 w 20"/>
                <a:gd name="T35" fmla="*/ 12204942 h 15"/>
                <a:gd name="T36" fmla="*/ 15548153 w 20"/>
                <a:gd name="T37" fmla="*/ 14714756 h 15"/>
                <a:gd name="T38" fmla="*/ 9534738 w 20"/>
                <a:gd name="T39" fmla="*/ 14714756 h 15"/>
                <a:gd name="T40" fmla="*/ 5927927 w 20"/>
                <a:gd name="T41" fmla="*/ 18043546 h 15"/>
                <a:gd name="T42" fmla="*/ 5187343 w 20"/>
                <a:gd name="T43" fmla="*/ 18043546 h 1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"/>
                <a:gd name="T67" fmla="*/ 0 h 15"/>
                <a:gd name="T68" fmla="*/ 20 w 20"/>
                <a:gd name="T69" fmla="*/ 15 h 1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" h="15">
                  <a:moveTo>
                    <a:pt x="6" y="15"/>
                  </a:moveTo>
                  <a:cubicBezTo>
                    <a:pt x="6" y="15"/>
                    <a:pt x="6" y="15"/>
                    <a:pt x="6" y="14"/>
                  </a:cubicBezTo>
                  <a:cubicBezTo>
                    <a:pt x="5" y="13"/>
                    <a:pt x="3" y="12"/>
                    <a:pt x="3" y="11"/>
                  </a:cubicBezTo>
                  <a:cubicBezTo>
                    <a:pt x="3" y="11"/>
                    <a:pt x="3" y="10"/>
                    <a:pt x="3" y="10"/>
                  </a:cubicBezTo>
                  <a:cubicBezTo>
                    <a:pt x="2" y="10"/>
                    <a:pt x="1" y="9"/>
                    <a:pt x="1" y="9"/>
                  </a:cubicBezTo>
                  <a:cubicBezTo>
                    <a:pt x="0" y="8"/>
                    <a:pt x="0" y="6"/>
                    <a:pt x="1" y="5"/>
                  </a:cubicBezTo>
                  <a:cubicBezTo>
                    <a:pt x="1" y="4"/>
                    <a:pt x="3" y="4"/>
                    <a:pt x="3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5" y="0"/>
                    <a:pt x="8" y="0"/>
                    <a:pt x="10" y="1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3" y="1"/>
                    <a:pt x="13" y="0"/>
                    <a:pt x="14" y="0"/>
                  </a:cubicBezTo>
                  <a:cubicBezTo>
                    <a:pt x="14" y="0"/>
                    <a:pt x="15" y="0"/>
                    <a:pt x="15" y="0"/>
                  </a:cubicBezTo>
                  <a:cubicBezTo>
                    <a:pt x="16" y="0"/>
                    <a:pt x="15" y="0"/>
                    <a:pt x="16" y="0"/>
                  </a:cubicBezTo>
                  <a:cubicBezTo>
                    <a:pt x="17" y="1"/>
                    <a:pt x="18" y="2"/>
                    <a:pt x="19" y="3"/>
                  </a:cubicBezTo>
                  <a:cubicBezTo>
                    <a:pt x="19" y="4"/>
                    <a:pt x="18" y="5"/>
                    <a:pt x="19" y="7"/>
                  </a:cubicBezTo>
                  <a:cubicBezTo>
                    <a:pt x="19" y="7"/>
                    <a:pt x="19" y="7"/>
                    <a:pt x="20" y="7"/>
                  </a:cubicBezTo>
                  <a:cubicBezTo>
                    <a:pt x="20" y="8"/>
                    <a:pt x="20" y="9"/>
                    <a:pt x="20" y="10"/>
                  </a:cubicBezTo>
                  <a:cubicBezTo>
                    <a:pt x="19" y="11"/>
                    <a:pt x="19" y="11"/>
                    <a:pt x="18" y="12"/>
                  </a:cubicBezTo>
                  <a:cubicBezTo>
                    <a:pt x="16" y="12"/>
                    <a:pt x="14" y="11"/>
                    <a:pt x="11" y="12"/>
                  </a:cubicBezTo>
                  <a:cubicBezTo>
                    <a:pt x="11" y="14"/>
                    <a:pt x="9" y="15"/>
                    <a:pt x="7" y="15"/>
                  </a:cubicBezTo>
                  <a:cubicBezTo>
                    <a:pt x="7" y="15"/>
                    <a:pt x="7" y="15"/>
                    <a:pt x="6" y="1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5" name="Freeform 105"/>
            <p:cNvSpPr>
              <a:spLocks/>
            </p:cNvSpPr>
            <p:nvPr/>
          </p:nvSpPr>
          <p:spPr bwMode="auto">
            <a:xfrm>
              <a:off x="7016043" y="3381066"/>
              <a:ext cx="7525" cy="13519"/>
            </a:xfrm>
            <a:custGeom>
              <a:avLst/>
              <a:gdLst>
                <a:gd name="T0" fmla="*/ 9111496 w 16"/>
                <a:gd name="T1" fmla="*/ 25511586 h 28"/>
                <a:gd name="T2" fmla="*/ 5058432 w 16"/>
                <a:gd name="T3" fmla="*/ 23498568 h 28"/>
                <a:gd name="T4" fmla="*/ 4351847 w 16"/>
                <a:gd name="T5" fmla="*/ 21914983 h 28"/>
                <a:gd name="T6" fmla="*/ 4351847 w 16"/>
                <a:gd name="T7" fmla="*/ 16148475 h 28"/>
                <a:gd name="T8" fmla="*/ 4351847 w 16"/>
                <a:gd name="T9" fmla="*/ 11919092 h 28"/>
                <a:gd name="T10" fmla="*/ 3065115 w 16"/>
                <a:gd name="T11" fmla="*/ 9297269 h 28"/>
                <a:gd name="T12" fmla="*/ 2129866 w 16"/>
                <a:gd name="T13" fmla="*/ 6527726 h 28"/>
                <a:gd name="T14" fmla="*/ 896786 w 16"/>
                <a:gd name="T15" fmla="*/ 5415918 h 28"/>
                <a:gd name="T16" fmla="*/ 0 w 16"/>
                <a:gd name="T17" fmla="*/ 4591618 h 28"/>
                <a:gd name="T18" fmla="*/ 2129866 w 16"/>
                <a:gd name="T19" fmla="*/ 3468116 h 28"/>
                <a:gd name="T20" fmla="*/ 5058432 w 16"/>
                <a:gd name="T21" fmla="*/ 1947959 h 28"/>
                <a:gd name="T22" fmla="*/ 7279645 w 16"/>
                <a:gd name="T23" fmla="*/ 826407 h 28"/>
                <a:gd name="T24" fmla="*/ 13463332 w 16"/>
                <a:gd name="T25" fmla="*/ 4591618 h 28"/>
                <a:gd name="T26" fmla="*/ 13463332 w 16"/>
                <a:gd name="T27" fmla="*/ 6527726 h 28"/>
                <a:gd name="T28" fmla="*/ 11241359 w 16"/>
                <a:gd name="T29" fmla="*/ 8174845 h 28"/>
                <a:gd name="T30" fmla="*/ 11241359 w 16"/>
                <a:gd name="T31" fmla="*/ 11919092 h 28"/>
                <a:gd name="T32" fmla="*/ 13463332 w 16"/>
                <a:gd name="T33" fmla="*/ 12766089 h 28"/>
                <a:gd name="T34" fmla="*/ 13463332 w 16"/>
                <a:gd name="T35" fmla="*/ 13592494 h 28"/>
                <a:gd name="T36" fmla="*/ 16353582 w 16"/>
                <a:gd name="T37" fmla="*/ 16148475 h 28"/>
                <a:gd name="T38" fmla="*/ 16353582 w 16"/>
                <a:gd name="T39" fmla="*/ 17326122 h 28"/>
                <a:gd name="T40" fmla="*/ 14143703 w 16"/>
                <a:gd name="T41" fmla="*/ 20120368 h 28"/>
                <a:gd name="T42" fmla="*/ 10335629 w 16"/>
                <a:gd name="T43" fmla="*/ 24685191 h 28"/>
                <a:gd name="T44" fmla="*/ 10335629 w 16"/>
                <a:gd name="T45" fmla="*/ 24685191 h 28"/>
                <a:gd name="T46" fmla="*/ 9111496 w 16"/>
                <a:gd name="T47" fmla="*/ 25511586 h 2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6"/>
                <a:gd name="T73" fmla="*/ 0 h 28"/>
                <a:gd name="T74" fmla="*/ 16 w 16"/>
                <a:gd name="T75" fmla="*/ 28 h 2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6" h="28">
                  <a:moveTo>
                    <a:pt x="9" y="28"/>
                  </a:moveTo>
                  <a:cubicBezTo>
                    <a:pt x="8" y="26"/>
                    <a:pt x="7" y="26"/>
                    <a:pt x="5" y="26"/>
                  </a:cubicBezTo>
                  <a:cubicBezTo>
                    <a:pt x="5" y="25"/>
                    <a:pt x="4" y="24"/>
                    <a:pt x="4" y="24"/>
                  </a:cubicBezTo>
                  <a:cubicBezTo>
                    <a:pt x="3" y="22"/>
                    <a:pt x="3" y="20"/>
                    <a:pt x="4" y="18"/>
                  </a:cubicBezTo>
                  <a:cubicBezTo>
                    <a:pt x="5" y="16"/>
                    <a:pt x="5" y="14"/>
                    <a:pt x="4" y="13"/>
                  </a:cubicBezTo>
                  <a:cubicBezTo>
                    <a:pt x="4" y="12"/>
                    <a:pt x="4" y="11"/>
                    <a:pt x="3" y="10"/>
                  </a:cubicBezTo>
                  <a:cubicBezTo>
                    <a:pt x="3" y="9"/>
                    <a:pt x="3" y="8"/>
                    <a:pt x="2" y="7"/>
                  </a:cubicBezTo>
                  <a:cubicBezTo>
                    <a:pt x="2" y="7"/>
                    <a:pt x="2" y="6"/>
                    <a:pt x="1" y="6"/>
                  </a:cubicBezTo>
                  <a:cubicBezTo>
                    <a:pt x="1" y="6"/>
                    <a:pt x="1" y="5"/>
                    <a:pt x="0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4" y="3"/>
                    <a:pt x="5" y="2"/>
                  </a:cubicBezTo>
                  <a:cubicBezTo>
                    <a:pt x="6" y="2"/>
                    <a:pt x="6" y="1"/>
                    <a:pt x="7" y="1"/>
                  </a:cubicBezTo>
                  <a:cubicBezTo>
                    <a:pt x="10" y="0"/>
                    <a:pt x="11" y="3"/>
                    <a:pt x="13" y="5"/>
                  </a:cubicBezTo>
                  <a:cubicBezTo>
                    <a:pt x="13" y="6"/>
                    <a:pt x="13" y="6"/>
                    <a:pt x="13" y="7"/>
                  </a:cubicBezTo>
                  <a:cubicBezTo>
                    <a:pt x="13" y="8"/>
                    <a:pt x="11" y="8"/>
                    <a:pt x="11" y="9"/>
                  </a:cubicBezTo>
                  <a:cubicBezTo>
                    <a:pt x="10" y="10"/>
                    <a:pt x="10" y="12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3" y="14"/>
                    <a:pt x="13" y="15"/>
                    <a:pt x="13" y="15"/>
                  </a:cubicBezTo>
                  <a:cubicBezTo>
                    <a:pt x="13" y="16"/>
                    <a:pt x="15" y="17"/>
                    <a:pt x="16" y="18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5" y="22"/>
                    <a:pt x="14" y="22"/>
                  </a:cubicBezTo>
                  <a:cubicBezTo>
                    <a:pt x="13" y="24"/>
                    <a:pt x="11" y="25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lnTo>
                    <a:pt x="9" y="28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6" name="Freeform 106"/>
            <p:cNvSpPr>
              <a:spLocks/>
            </p:cNvSpPr>
            <p:nvPr/>
          </p:nvSpPr>
          <p:spPr bwMode="auto">
            <a:xfrm>
              <a:off x="7027832" y="3372413"/>
              <a:ext cx="22324" cy="15952"/>
            </a:xfrm>
            <a:custGeom>
              <a:avLst/>
              <a:gdLst>
                <a:gd name="T0" fmla="*/ 49283761 w 48"/>
                <a:gd name="T1" fmla="*/ 4745294 h 33"/>
                <a:gd name="T2" fmla="*/ 48346530 w 48"/>
                <a:gd name="T3" fmla="*/ 9698924 h 33"/>
                <a:gd name="T4" fmla="*/ 43059211 w 48"/>
                <a:gd name="T5" fmla="*/ 14073912 h 33"/>
                <a:gd name="T6" fmla="*/ 43059211 w 48"/>
                <a:gd name="T7" fmla="*/ 18036102 h 33"/>
                <a:gd name="T8" fmla="*/ 43989565 w 48"/>
                <a:gd name="T9" fmla="*/ 22924719 h 33"/>
                <a:gd name="T10" fmla="*/ 45228631 w 48"/>
                <a:gd name="T11" fmla="*/ 22924719 h 33"/>
                <a:gd name="T12" fmla="*/ 43989565 w 48"/>
                <a:gd name="T13" fmla="*/ 23659148 h 33"/>
                <a:gd name="T14" fmla="*/ 41066074 w 48"/>
                <a:gd name="T15" fmla="*/ 23659148 h 33"/>
                <a:gd name="T16" fmla="*/ 40170186 w 48"/>
                <a:gd name="T17" fmla="*/ 22924719 h 33"/>
                <a:gd name="T18" fmla="*/ 37943206 w 48"/>
                <a:gd name="T19" fmla="*/ 22924719 h 33"/>
                <a:gd name="T20" fmla="*/ 30663511 w 48"/>
                <a:gd name="T21" fmla="*/ 25663075 h 33"/>
                <a:gd name="T22" fmla="*/ 31975403 w 48"/>
                <a:gd name="T23" fmla="*/ 29407055 h 33"/>
                <a:gd name="T24" fmla="*/ 30663511 w 48"/>
                <a:gd name="T25" fmla="*/ 29407055 h 33"/>
                <a:gd name="T26" fmla="*/ 29824338 w 48"/>
                <a:gd name="T27" fmla="*/ 29407055 h 33"/>
                <a:gd name="T28" fmla="*/ 21639806 w 48"/>
                <a:gd name="T29" fmla="*/ 29407055 h 33"/>
                <a:gd name="T30" fmla="*/ 19419101 w 48"/>
                <a:gd name="T31" fmla="*/ 29407055 h 33"/>
                <a:gd name="T32" fmla="*/ 15581415 w 48"/>
                <a:gd name="T33" fmla="*/ 29407055 h 33"/>
                <a:gd name="T34" fmla="*/ 13463334 w 48"/>
                <a:gd name="T35" fmla="*/ 30553758 h 33"/>
                <a:gd name="T36" fmla="*/ 5287420 w 48"/>
                <a:gd name="T37" fmla="*/ 29407055 h 33"/>
                <a:gd name="T38" fmla="*/ 5287420 w 48"/>
                <a:gd name="T39" fmla="*/ 29407055 h 33"/>
                <a:gd name="T40" fmla="*/ 5287420 w 48"/>
                <a:gd name="T41" fmla="*/ 27670974 h 33"/>
                <a:gd name="T42" fmla="*/ 4351850 w 48"/>
                <a:gd name="T43" fmla="*/ 27670974 h 33"/>
                <a:gd name="T44" fmla="*/ 4351850 w 48"/>
                <a:gd name="T45" fmla="*/ 23659148 h 33"/>
                <a:gd name="T46" fmla="*/ 937382 w 48"/>
                <a:gd name="T47" fmla="*/ 20915062 h 33"/>
                <a:gd name="T48" fmla="*/ 0 w 48"/>
                <a:gd name="T49" fmla="*/ 20915062 h 33"/>
                <a:gd name="T50" fmla="*/ 2226282 w 48"/>
                <a:gd name="T51" fmla="*/ 14073912 h 33"/>
                <a:gd name="T52" fmla="*/ 4351850 w 48"/>
                <a:gd name="T53" fmla="*/ 12441453 h 33"/>
                <a:gd name="T54" fmla="*/ 4351850 w 48"/>
                <a:gd name="T55" fmla="*/ 10341117 h 33"/>
                <a:gd name="T56" fmla="*/ 3065439 w 48"/>
                <a:gd name="T57" fmla="*/ 10341117 h 33"/>
                <a:gd name="T58" fmla="*/ 3065439 w 48"/>
                <a:gd name="T59" fmla="*/ 9698924 h 33"/>
                <a:gd name="T60" fmla="*/ 0 w 48"/>
                <a:gd name="T61" fmla="*/ 6840533 h 33"/>
                <a:gd name="T62" fmla="*/ 937382 w 48"/>
                <a:gd name="T63" fmla="*/ 0 h 33"/>
                <a:gd name="T64" fmla="*/ 2226282 w 48"/>
                <a:gd name="T65" fmla="*/ 849380 h 33"/>
                <a:gd name="T66" fmla="*/ 3065439 w 48"/>
                <a:gd name="T67" fmla="*/ 2894072 h 33"/>
                <a:gd name="T68" fmla="*/ 5287420 w 48"/>
                <a:gd name="T69" fmla="*/ 4745294 h 33"/>
                <a:gd name="T70" fmla="*/ 9111497 w 48"/>
                <a:gd name="T71" fmla="*/ 4745294 h 33"/>
                <a:gd name="T72" fmla="*/ 15581415 w 48"/>
                <a:gd name="T73" fmla="*/ 5595819 h 33"/>
                <a:gd name="T74" fmla="*/ 27595012 w 48"/>
                <a:gd name="T75" fmla="*/ 5595819 h 33"/>
                <a:gd name="T76" fmla="*/ 28533592 w 48"/>
                <a:gd name="T77" fmla="*/ 4745294 h 33"/>
                <a:gd name="T78" fmla="*/ 31975403 w 48"/>
                <a:gd name="T79" fmla="*/ 2894072 h 33"/>
                <a:gd name="T80" fmla="*/ 37005842 w 48"/>
                <a:gd name="T81" fmla="*/ 2894072 h 33"/>
                <a:gd name="T82" fmla="*/ 40170186 w 48"/>
                <a:gd name="T83" fmla="*/ 2007625 h 33"/>
                <a:gd name="T84" fmla="*/ 41066074 w 48"/>
                <a:gd name="T85" fmla="*/ 2007625 h 33"/>
                <a:gd name="T86" fmla="*/ 41768504 w 48"/>
                <a:gd name="T87" fmla="*/ 2007625 h 33"/>
                <a:gd name="T88" fmla="*/ 48346530 w 48"/>
                <a:gd name="T89" fmla="*/ 4745294 h 33"/>
                <a:gd name="T90" fmla="*/ 49283761 w 48"/>
                <a:gd name="T91" fmla="*/ 4745294 h 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8"/>
                <a:gd name="T139" fmla="*/ 0 h 33"/>
                <a:gd name="T140" fmla="*/ 48 w 48"/>
                <a:gd name="T141" fmla="*/ 33 h 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8" h="33">
                  <a:moveTo>
                    <a:pt x="48" y="5"/>
                  </a:moveTo>
                  <a:cubicBezTo>
                    <a:pt x="48" y="7"/>
                    <a:pt x="48" y="9"/>
                    <a:pt x="47" y="10"/>
                  </a:cubicBezTo>
                  <a:cubicBezTo>
                    <a:pt x="45" y="11"/>
                    <a:pt x="43" y="12"/>
                    <a:pt x="42" y="15"/>
                  </a:cubicBezTo>
                  <a:cubicBezTo>
                    <a:pt x="41" y="16"/>
                    <a:pt x="41" y="18"/>
                    <a:pt x="42" y="19"/>
                  </a:cubicBezTo>
                  <a:cubicBezTo>
                    <a:pt x="42" y="21"/>
                    <a:pt x="42" y="23"/>
                    <a:pt x="43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1" y="26"/>
                    <a:pt x="40" y="25"/>
                  </a:cubicBezTo>
                  <a:cubicBezTo>
                    <a:pt x="40" y="25"/>
                    <a:pt x="39" y="24"/>
                    <a:pt x="39" y="24"/>
                  </a:cubicBezTo>
                  <a:cubicBezTo>
                    <a:pt x="38" y="24"/>
                    <a:pt x="38" y="24"/>
                    <a:pt x="37" y="24"/>
                  </a:cubicBezTo>
                  <a:cubicBezTo>
                    <a:pt x="35" y="26"/>
                    <a:pt x="33" y="26"/>
                    <a:pt x="30" y="27"/>
                  </a:cubicBezTo>
                  <a:cubicBezTo>
                    <a:pt x="30" y="29"/>
                    <a:pt x="31" y="30"/>
                    <a:pt x="31" y="31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30" y="31"/>
                    <a:pt x="29" y="31"/>
                    <a:pt x="29" y="31"/>
                  </a:cubicBezTo>
                  <a:cubicBezTo>
                    <a:pt x="26" y="31"/>
                    <a:pt x="24" y="32"/>
                    <a:pt x="21" y="31"/>
                  </a:cubicBezTo>
                  <a:cubicBezTo>
                    <a:pt x="20" y="31"/>
                    <a:pt x="20" y="31"/>
                    <a:pt x="19" y="31"/>
                  </a:cubicBezTo>
                  <a:cubicBezTo>
                    <a:pt x="18" y="31"/>
                    <a:pt x="17" y="30"/>
                    <a:pt x="15" y="31"/>
                  </a:cubicBezTo>
                  <a:cubicBezTo>
                    <a:pt x="14" y="31"/>
                    <a:pt x="14" y="32"/>
                    <a:pt x="13" y="32"/>
                  </a:cubicBezTo>
                  <a:cubicBezTo>
                    <a:pt x="10" y="33"/>
                    <a:pt x="7" y="31"/>
                    <a:pt x="5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0"/>
                    <a:pt x="5" y="30"/>
                    <a:pt x="5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3" y="27"/>
                    <a:pt x="4" y="26"/>
                    <a:pt x="4" y="25"/>
                  </a:cubicBezTo>
                  <a:cubicBezTo>
                    <a:pt x="3" y="24"/>
                    <a:pt x="2" y="23"/>
                    <a:pt x="1" y="22"/>
                  </a:cubicBezTo>
                  <a:cubicBezTo>
                    <a:pt x="0" y="22"/>
                    <a:pt x="1" y="22"/>
                    <a:pt x="0" y="22"/>
                  </a:cubicBezTo>
                  <a:cubicBezTo>
                    <a:pt x="1" y="20"/>
                    <a:pt x="1" y="17"/>
                    <a:pt x="2" y="15"/>
                  </a:cubicBezTo>
                  <a:cubicBezTo>
                    <a:pt x="3" y="15"/>
                    <a:pt x="4" y="14"/>
                    <a:pt x="4" y="13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4" y="11"/>
                    <a:pt x="3" y="11"/>
                    <a:pt x="3" y="11"/>
                  </a:cubicBezTo>
                  <a:cubicBezTo>
                    <a:pt x="3" y="11"/>
                    <a:pt x="3" y="10"/>
                    <a:pt x="3" y="10"/>
                  </a:cubicBezTo>
                  <a:cubicBezTo>
                    <a:pt x="3" y="8"/>
                    <a:pt x="2" y="8"/>
                    <a:pt x="0" y="7"/>
                  </a:cubicBezTo>
                  <a:cubicBezTo>
                    <a:pt x="0" y="5"/>
                    <a:pt x="1" y="3"/>
                    <a:pt x="1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3" y="3"/>
                  </a:cubicBezTo>
                  <a:cubicBezTo>
                    <a:pt x="3" y="4"/>
                    <a:pt x="4" y="5"/>
                    <a:pt x="5" y="5"/>
                  </a:cubicBezTo>
                  <a:cubicBezTo>
                    <a:pt x="6" y="6"/>
                    <a:pt x="7" y="5"/>
                    <a:pt x="9" y="5"/>
                  </a:cubicBezTo>
                  <a:cubicBezTo>
                    <a:pt x="11" y="5"/>
                    <a:pt x="13" y="5"/>
                    <a:pt x="15" y="6"/>
                  </a:cubicBezTo>
                  <a:cubicBezTo>
                    <a:pt x="19" y="7"/>
                    <a:pt x="23" y="6"/>
                    <a:pt x="27" y="6"/>
                  </a:cubicBezTo>
                  <a:cubicBezTo>
                    <a:pt x="27" y="6"/>
                    <a:pt x="28" y="6"/>
                    <a:pt x="28" y="5"/>
                  </a:cubicBezTo>
                  <a:cubicBezTo>
                    <a:pt x="29" y="4"/>
                    <a:pt x="30" y="4"/>
                    <a:pt x="31" y="3"/>
                  </a:cubicBezTo>
                  <a:cubicBezTo>
                    <a:pt x="33" y="2"/>
                    <a:pt x="34" y="3"/>
                    <a:pt x="36" y="3"/>
                  </a:cubicBezTo>
                  <a:cubicBezTo>
                    <a:pt x="37" y="2"/>
                    <a:pt x="38" y="2"/>
                    <a:pt x="39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3" y="3"/>
                    <a:pt x="45" y="4"/>
                    <a:pt x="47" y="5"/>
                  </a:cubicBezTo>
                  <a:lnTo>
                    <a:pt x="48" y="5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7" name="Freeform 107"/>
            <p:cNvSpPr>
              <a:spLocks/>
            </p:cNvSpPr>
            <p:nvPr/>
          </p:nvSpPr>
          <p:spPr bwMode="auto">
            <a:xfrm>
              <a:off x="7020056" y="3352135"/>
              <a:ext cx="34113" cy="23793"/>
            </a:xfrm>
            <a:custGeom>
              <a:avLst/>
              <a:gdLst>
                <a:gd name="T0" fmla="*/ 166228189 w 73"/>
                <a:gd name="T1" fmla="*/ 73924173 h 49"/>
                <a:gd name="T2" fmla="*/ 169176980 w 73"/>
                <a:gd name="T3" fmla="*/ 77611627 h 49"/>
                <a:gd name="T4" fmla="*/ 169176980 w 73"/>
                <a:gd name="T5" fmla="*/ 85451236 h 49"/>
                <a:gd name="T6" fmla="*/ 166228189 w 73"/>
                <a:gd name="T7" fmla="*/ 87497305 h 49"/>
                <a:gd name="T8" fmla="*/ 159510521 w 73"/>
                <a:gd name="T9" fmla="*/ 87497305 h 49"/>
                <a:gd name="T10" fmla="*/ 157383371 w 73"/>
                <a:gd name="T11" fmla="*/ 85451236 h 49"/>
                <a:gd name="T12" fmla="*/ 152453300 w 73"/>
                <a:gd name="T13" fmla="*/ 85451236 h 49"/>
                <a:gd name="T14" fmla="*/ 152453300 w 73"/>
                <a:gd name="T15" fmla="*/ 101068146 h 49"/>
                <a:gd name="T16" fmla="*/ 150286829 w 73"/>
                <a:gd name="T17" fmla="*/ 104011003 h 49"/>
                <a:gd name="T18" fmla="*/ 150286829 w 73"/>
                <a:gd name="T19" fmla="*/ 108200486 h 49"/>
                <a:gd name="T20" fmla="*/ 147553866 w 73"/>
                <a:gd name="T21" fmla="*/ 108200486 h 49"/>
                <a:gd name="T22" fmla="*/ 133556210 w 73"/>
                <a:gd name="T23" fmla="*/ 101068146 h 49"/>
                <a:gd name="T24" fmla="*/ 131650992 w 73"/>
                <a:gd name="T25" fmla="*/ 101068146 h 49"/>
                <a:gd name="T26" fmla="*/ 128661023 w 73"/>
                <a:gd name="T27" fmla="*/ 101068146 h 49"/>
                <a:gd name="T28" fmla="*/ 121599289 w 73"/>
                <a:gd name="T29" fmla="*/ 104011003 h 49"/>
                <a:gd name="T30" fmla="*/ 109774625 w 73"/>
                <a:gd name="T31" fmla="*/ 104011003 h 49"/>
                <a:gd name="T32" fmla="*/ 102774546 w 73"/>
                <a:gd name="T33" fmla="*/ 108200486 h 49"/>
                <a:gd name="T34" fmla="*/ 101142716 w 73"/>
                <a:gd name="T35" fmla="*/ 110986834 h 49"/>
                <a:gd name="T36" fmla="*/ 72299504 w 73"/>
                <a:gd name="T37" fmla="*/ 110986834 h 49"/>
                <a:gd name="T38" fmla="*/ 58529885 w 73"/>
                <a:gd name="T39" fmla="*/ 108200486 h 49"/>
                <a:gd name="T40" fmla="*/ 49396285 w 73"/>
                <a:gd name="T41" fmla="*/ 108200486 h 49"/>
                <a:gd name="T42" fmla="*/ 44784155 w 73"/>
                <a:gd name="T43" fmla="*/ 104011003 h 49"/>
                <a:gd name="T44" fmla="*/ 42678731 w 73"/>
                <a:gd name="T45" fmla="*/ 99183056 h 49"/>
                <a:gd name="T46" fmla="*/ 39632122 w 73"/>
                <a:gd name="T47" fmla="*/ 92588652 h 49"/>
                <a:gd name="T48" fmla="*/ 37567119 w 73"/>
                <a:gd name="T49" fmla="*/ 89640795 h 49"/>
                <a:gd name="T50" fmla="*/ 20843534 w 73"/>
                <a:gd name="T51" fmla="*/ 89640795 h 49"/>
                <a:gd name="T52" fmla="*/ 20843534 w 73"/>
                <a:gd name="T53" fmla="*/ 89640795 h 49"/>
                <a:gd name="T54" fmla="*/ 16723391 w 73"/>
                <a:gd name="T55" fmla="*/ 80530641 h 49"/>
                <a:gd name="T56" fmla="*/ 8795248 w 73"/>
                <a:gd name="T57" fmla="*/ 73924173 h 49"/>
                <a:gd name="T58" fmla="*/ 2067696 w 73"/>
                <a:gd name="T59" fmla="*/ 52576165 h 49"/>
                <a:gd name="T60" fmla="*/ 11612689 w 73"/>
                <a:gd name="T61" fmla="*/ 48398234 h 49"/>
                <a:gd name="T62" fmla="*/ 16723391 w 73"/>
                <a:gd name="T63" fmla="*/ 32132075 h 49"/>
                <a:gd name="T64" fmla="*/ 20843534 w 73"/>
                <a:gd name="T65" fmla="*/ 27078246 h 49"/>
                <a:gd name="T66" fmla="*/ 35397937 w 73"/>
                <a:gd name="T67" fmla="*/ 13573033 h 49"/>
                <a:gd name="T68" fmla="*/ 37567119 w 73"/>
                <a:gd name="T69" fmla="*/ 2040963 h 49"/>
                <a:gd name="T70" fmla="*/ 37567119 w 73"/>
                <a:gd name="T71" fmla="*/ 2040963 h 49"/>
                <a:gd name="T72" fmla="*/ 46321115 w 73"/>
                <a:gd name="T73" fmla="*/ 6978664 h 49"/>
                <a:gd name="T74" fmla="*/ 54290524 w 73"/>
                <a:gd name="T75" fmla="*/ 8635868 h 49"/>
                <a:gd name="T76" fmla="*/ 75254096 w 73"/>
                <a:gd name="T77" fmla="*/ 13573033 h 49"/>
                <a:gd name="T78" fmla="*/ 82310920 w 73"/>
                <a:gd name="T79" fmla="*/ 13573033 h 49"/>
                <a:gd name="T80" fmla="*/ 93922637 w 73"/>
                <a:gd name="T81" fmla="*/ 8635868 h 49"/>
                <a:gd name="T82" fmla="*/ 106132242 w 73"/>
                <a:gd name="T83" fmla="*/ 6978664 h 49"/>
                <a:gd name="T84" fmla="*/ 114888522 w 73"/>
                <a:gd name="T85" fmla="*/ 0 h 49"/>
                <a:gd name="T86" fmla="*/ 117062349 w 73"/>
                <a:gd name="T87" fmla="*/ 6978664 h 49"/>
                <a:gd name="T88" fmla="*/ 119878049 w 73"/>
                <a:gd name="T89" fmla="*/ 11438226 h 49"/>
                <a:gd name="T90" fmla="*/ 126595413 w 73"/>
                <a:gd name="T91" fmla="*/ 18559052 h 49"/>
                <a:gd name="T92" fmla="*/ 128661023 w 73"/>
                <a:gd name="T93" fmla="*/ 23479482 h 49"/>
                <a:gd name="T94" fmla="*/ 135729961 w 73"/>
                <a:gd name="T95" fmla="*/ 34919048 h 49"/>
                <a:gd name="T96" fmla="*/ 138707721 w 73"/>
                <a:gd name="T97" fmla="*/ 67050953 h 49"/>
                <a:gd name="T98" fmla="*/ 138707721 w 73"/>
                <a:gd name="T99" fmla="*/ 69092097 h 49"/>
                <a:gd name="T100" fmla="*/ 138707721 w 73"/>
                <a:gd name="T101" fmla="*/ 73924173 h 49"/>
                <a:gd name="T102" fmla="*/ 138707721 w 73"/>
                <a:gd name="T103" fmla="*/ 76067739 h 49"/>
                <a:gd name="T104" fmla="*/ 145396571 w 73"/>
                <a:gd name="T105" fmla="*/ 76067739 h 49"/>
                <a:gd name="T106" fmla="*/ 150286829 w 73"/>
                <a:gd name="T107" fmla="*/ 76067739 h 49"/>
                <a:gd name="T108" fmla="*/ 166228189 w 73"/>
                <a:gd name="T109" fmla="*/ 76067739 h 49"/>
                <a:gd name="T110" fmla="*/ 166228189 w 73"/>
                <a:gd name="T111" fmla="*/ 73924173 h 4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"/>
                <a:gd name="T169" fmla="*/ 0 h 49"/>
                <a:gd name="T170" fmla="*/ 73 w 73"/>
                <a:gd name="T171" fmla="*/ 49 h 49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" h="49">
                  <a:moveTo>
                    <a:pt x="71" y="32"/>
                  </a:moveTo>
                  <a:cubicBezTo>
                    <a:pt x="71" y="33"/>
                    <a:pt x="72" y="33"/>
                    <a:pt x="72" y="34"/>
                  </a:cubicBezTo>
                  <a:cubicBezTo>
                    <a:pt x="72" y="35"/>
                    <a:pt x="73" y="36"/>
                    <a:pt x="72" y="37"/>
                  </a:cubicBezTo>
                  <a:cubicBezTo>
                    <a:pt x="72" y="38"/>
                    <a:pt x="72" y="38"/>
                    <a:pt x="71" y="38"/>
                  </a:cubicBezTo>
                  <a:cubicBezTo>
                    <a:pt x="70" y="39"/>
                    <a:pt x="69" y="39"/>
                    <a:pt x="68" y="38"/>
                  </a:cubicBezTo>
                  <a:cubicBezTo>
                    <a:pt x="68" y="38"/>
                    <a:pt x="68" y="37"/>
                    <a:pt x="67" y="37"/>
                  </a:cubicBezTo>
                  <a:cubicBezTo>
                    <a:pt x="66" y="36"/>
                    <a:pt x="65" y="36"/>
                    <a:pt x="65" y="37"/>
                  </a:cubicBezTo>
                  <a:cubicBezTo>
                    <a:pt x="65" y="39"/>
                    <a:pt x="65" y="42"/>
                    <a:pt x="65" y="44"/>
                  </a:cubicBezTo>
                  <a:cubicBezTo>
                    <a:pt x="65" y="44"/>
                    <a:pt x="64" y="44"/>
                    <a:pt x="64" y="45"/>
                  </a:cubicBezTo>
                  <a:cubicBezTo>
                    <a:pt x="64" y="46"/>
                    <a:pt x="64" y="46"/>
                    <a:pt x="64" y="47"/>
                  </a:cubicBezTo>
                  <a:cubicBezTo>
                    <a:pt x="63" y="47"/>
                    <a:pt x="63" y="47"/>
                    <a:pt x="63" y="47"/>
                  </a:cubicBezTo>
                  <a:cubicBezTo>
                    <a:pt x="61" y="46"/>
                    <a:pt x="59" y="45"/>
                    <a:pt x="57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4"/>
                    <a:pt x="56" y="44"/>
                    <a:pt x="55" y="44"/>
                  </a:cubicBezTo>
                  <a:cubicBezTo>
                    <a:pt x="54" y="44"/>
                    <a:pt x="53" y="44"/>
                    <a:pt x="52" y="45"/>
                  </a:cubicBezTo>
                  <a:cubicBezTo>
                    <a:pt x="50" y="45"/>
                    <a:pt x="49" y="44"/>
                    <a:pt x="47" y="45"/>
                  </a:cubicBezTo>
                  <a:cubicBezTo>
                    <a:pt x="46" y="46"/>
                    <a:pt x="45" y="46"/>
                    <a:pt x="44" y="47"/>
                  </a:cubicBezTo>
                  <a:cubicBezTo>
                    <a:pt x="44" y="48"/>
                    <a:pt x="43" y="48"/>
                    <a:pt x="43" y="48"/>
                  </a:cubicBezTo>
                  <a:cubicBezTo>
                    <a:pt x="39" y="48"/>
                    <a:pt x="35" y="49"/>
                    <a:pt x="31" y="48"/>
                  </a:cubicBezTo>
                  <a:cubicBezTo>
                    <a:pt x="29" y="47"/>
                    <a:pt x="27" y="47"/>
                    <a:pt x="25" y="47"/>
                  </a:cubicBezTo>
                  <a:cubicBezTo>
                    <a:pt x="23" y="47"/>
                    <a:pt x="22" y="48"/>
                    <a:pt x="21" y="47"/>
                  </a:cubicBezTo>
                  <a:cubicBezTo>
                    <a:pt x="20" y="47"/>
                    <a:pt x="19" y="46"/>
                    <a:pt x="19" y="45"/>
                  </a:cubicBezTo>
                  <a:cubicBezTo>
                    <a:pt x="18" y="44"/>
                    <a:pt x="18" y="44"/>
                    <a:pt x="18" y="43"/>
                  </a:cubicBezTo>
                  <a:cubicBezTo>
                    <a:pt x="17" y="42"/>
                    <a:pt x="18" y="41"/>
                    <a:pt x="17" y="40"/>
                  </a:cubicBezTo>
                  <a:cubicBezTo>
                    <a:pt x="17" y="40"/>
                    <a:pt x="17" y="39"/>
                    <a:pt x="16" y="39"/>
                  </a:cubicBezTo>
                  <a:cubicBezTo>
                    <a:pt x="14" y="38"/>
                    <a:pt x="11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7"/>
                    <a:pt x="8" y="36"/>
                    <a:pt x="7" y="35"/>
                  </a:cubicBezTo>
                  <a:cubicBezTo>
                    <a:pt x="7" y="33"/>
                    <a:pt x="5" y="33"/>
                    <a:pt x="4" y="32"/>
                  </a:cubicBezTo>
                  <a:cubicBezTo>
                    <a:pt x="2" y="29"/>
                    <a:pt x="0" y="27"/>
                    <a:pt x="1" y="23"/>
                  </a:cubicBezTo>
                  <a:cubicBezTo>
                    <a:pt x="2" y="23"/>
                    <a:pt x="4" y="21"/>
                    <a:pt x="5" y="21"/>
                  </a:cubicBezTo>
                  <a:cubicBezTo>
                    <a:pt x="7" y="19"/>
                    <a:pt x="7" y="17"/>
                    <a:pt x="7" y="14"/>
                  </a:cubicBezTo>
                  <a:cubicBezTo>
                    <a:pt x="7" y="14"/>
                    <a:pt x="8" y="13"/>
                    <a:pt x="9" y="12"/>
                  </a:cubicBezTo>
                  <a:cubicBezTo>
                    <a:pt x="11" y="11"/>
                    <a:pt x="13" y="8"/>
                    <a:pt x="15" y="6"/>
                  </a:cubicBezTo>
                  <a:cubicBezTo>
                    <a:pt x="15" y="4"/>
                    <a:pt x="15" y="3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2"/>
                    <a:pt x="19" y="2"/>
                    <a:pt x="20" y="3"/>
                  </a:cubicBezTo>
                  <a:cubicBezTo>
                    <a:pt x="21" y="3"/>
                    <a:pt x="22" y="4"/>
                    <a:pt x="23" y="4"/>
                  </a:cubicBezTo>
                  <a:cubicBezTo>
                    <a:pt x="26" y="4"/>
                    <a:pt x="29" y="5"/>
                    <a:pt x="32" y="6"/>
                  </a:cubicBezTo>
                  <a:cubicBezTo>
                    <a:pt x="33" y="6"/>
                    <a:pt x="34" y="6"/>
                    <a:pt x="35" y="6"/>
                  </a:cubicBezTo>
                  <a:cubicBezTo>
                    <a:pt x="36" y="5"/>
                    <a:pt x="38" y="5"/>
                    <a:pt x="40" y="4"/>
                  </a:cubicBezTo>
                  <a:cubicBezTo>
                    <a:pt x="42" y="3"/>
                    <a:pt x="44" y="4"/>
                    <a:pt x="45" y="3"/>
                  </a:cubicBezTo>
                  <a:cubicBezTo>
                    <a:pt x="47" y="2"/>
                    <a:pt x="47" y="1"/>
                    <a:pt x="49" y="0"/>
                  </a:cubicBezTo>
                  <a:cubicBezTo>
                    <a:pt x="49" y="1"/>
                    <a:pt x="50" y="2"/>
                    <a:pt x="50" y="3"/>
                  </a:cubicBezTo>
                  <a:cubicBezTo>
                    <a:pt x="50" y="3"/>
                    <a:pt x="51" y="4"/>
                    <a:pt x="51" y="5"/>
                  </a:cubicBezTo>
                  <a:cubicBezTo>
                    <a:pt x="52" y="6"/>
                    <a:pt x="52" y="7"/>
                    <a:pt x="54" y="8"/>
                  </a:cubicBezTo>
                  <a:cubicBezTo>
                    <a:pt x="55" y="9"/>
                    <a:pt x="55" y="9"/>
                    <a:pt x="55" y="10"/>
                  </a:cubicBezTo>
                  <a:cubicBezTo>
                    <a:pt x="57" y="12"/>
                    <a:pt x="58" y="13"/>
                    <a:pt x="58" y="15"/>
                  </a:cubicBezTo>
                  <a:cubicBezTo>
                    <a:pt x="59" y="21"/>
                    <a:pt x="59" y="25"/>
                    <a:pt x="59" y="29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30"/>
                    <a:pt x="59" y="31"/>
                    <a:pt x="59" y="32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9" y="32"/>
                    <a:pt x="61" y="32"/>
                    <a:pt x="62" y="33"/>
                  </a:cubicBezTo>
                  <a:cubicBezTo>
                    <a:pt x="62" y="34"/>
                    <a:pt x="64" y="34"/>
                    <a:pt x="64" y="33"/>
                  </a:cubicBezTo>
                  <a:cubicBezTo>
                    <a:pt x="67" y="32"/>
                    <a:pt x="69" y="33"/>
                    <a:pt x="71" y="33"/>
                  </a:cubicBezTo>
                  <a:lnTo>
                    <a:pt x="71" y="32"/>
                  </a:ln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 w="9525" algn="ctr">
              <a:solidFill>
                <a:srgbClr val="D3CFB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8" name="Freeform 108"/>
            <p:cNvSpPr>
              <a:spLocks/>
            </p:cNvSpPr>
            <p:nvPr/>
          </p:nvSpPr>
          <p:spPr bwMode="auto">
            <a:xfrm>
              <a:off x="7043132" y="3350242"/>
              <a:ext cx="10535" cy="16223"/>
            </a:xfrm>
            <a:custGeom>
              <a:avLst/>
              <a:gdLst>
                <a:gd name="T0" fmla="*/ 8361068 w 23"/>
                <a:gd name="T1" fmla="*/ 29344636 h 34"/>
                <a:gd name="T2" fmla="*/ 7578186 w 23"/>
                <a:gd name="T3" fmla="*/ 16877917 h 34"/>
                <a:gd name="T4" fmla="*/ 5078724 w 23"/>
                <a:gd name="T5" fmla="*/ 12471472 h 34"/>
                <a:gd name="T6" fmla="*/ 4350418 w 23"/>
                <a:gd name="T7" fmla="*/ 10511040 h 34"/>
                <a:gd name="T8" fmla="*/ 1852956 w 23"/>
                <a:gd name="T9" fmla="*/ 7807999 h 34"/>
                <a:gd name="T10" fmla="*/ 789222 w 23"/>
                <a:gd name="T11" fmla="*/ 6023953 h 34"/>
                <a:gd name="T12" fmla="*/ 0 w 23"/>
                <a:gd name="T13" fmla="*/ 3318400 h 34"/>
                <a:gd name="T14" fmla="*/ 1852956 w 23"/>
                <a:gd name="T15" fmla="*/ 806887 h 34"/>
                <a:gd name="T16" fmla="*/ 5078724 w 23"/>
                <a:gd name="T17" fmla="*/ 806887 h 34"/>
                <a:gd name="T18" fmla="*/ 6988262 w 23"/>
                <a:gd name="T19" fmla="*/ 3318400 h 34"/>
                <a:gd name="T20" fmla="*/ 11923961 w 23"/>
                <a:gd name="T21" fmla="*/ 5300376 h 34"/>
                <a:gd name="T22" fmla="*/ 13778124 w 23"/>
                <a:gd name="T23" fmla="*/ 7173119 h 34"/>
                <a:gd name="T24" fmla="*/ 14564485 w 23"/>
                <a:gd name="T25" fmla="*/ 11661007 h 34"/>
                <a:gd name="T26" fmla="*/ 17003040 w 23"/>
                <a:gd name="T27" fmla="*/ 14174003 h 34"/>
                <a:gd name="T28" fmla="*/ 17003040 w 23"/>
                <a:gd name="T29" fmla="*/ 16877917 h 34"/>
                <a:gd name="T30" fmla="*/ 19630332 w 23"/>
                <a:gd name="T31" fmla="*/ 19433342 h 34"/>
                <a:gd name="T32" fmla="*/ 19630332 w 23"/>
                <a:gd name="T33" fmla="*/ 21075652 h 34"/>
                <a:gd name="T34" fmla="*/ 17792257 w 23"/>
                <a:gd name="T35" fmla="*/ 21075652 h 34"/>
                <a:gd name="T36" fmla="*/ 13778124 w 23"/>
                <a:gd name="T37" fmla="*/ 20263812 h 34"/>
                <a:gd name="T38" fmla="*/ 12713535 w 23"/>
                <a:gd name="T39" fmla="*/ 22985392 h 34"/>
                <a:gd name="T40" fmla="*/ 12713535 w 23"/>
                <a:gd name="T41" fmla="*/ 24050521 h 34"/>
                <a:gd name="T42" fmla="*/ 11923961 w 23"/>
                <a:gd name="T43" fmla="*/ 25480374 h 34"/>
                <a:gd name="T44" fmla="*/ 11241599 w 23"/>
                <a:gd name="T45" fmla="*/ 29344636 h 34"/>
                <a:gd name="T46" fmla="*/ 10214021 w 23"/>
                <a:gd name="T47" fmla="*/ 29344636 h 34"/>
                <a:gd name="T48" fmla="*/ 9424793 w 23"/>
                <a:gd name="T49" fmla="*/ 29344636 h 34"/>
                <a:gd name="T50" fmla="*/ 8361068 w 23"/>
                <a:gd name="T51" fmla="*/ 29948683 h 34"/>
                <a:gd name="T52" fmla="*/ 8361068 w 23"/>
                <a:gd name="T53" fmla="*/ 29344636 h 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"/>
                <a:gd name="T82" fmla="*/ 0 h 34"/>
                <a:gd name="T83" fmla="*/ 23 w 23"/>
                <a:gd name="T84" fmla="*/ 34 h 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" h="34">
                  <a:moveTo>
                    <a:pt x="10" y="33"/>
                  </a:moveTo>
                  <a:cubicBezTo>
                    <a:pt x="10" y="29"/>
                    <a:pt x="10" y="25"/>
                    <a:pt x="9" y="19"/>
                  </a:cubicBezTo>
                  <a:cubicBezTo>
                    <a:pt x="9" y="17"/>
                    <a:pt x="8" y="16"/>
                    <a:pt x="6" y="14"/>
                  </a:cubicBezTo>
                  <a:cubicBezTo>
                    <a:pt x="6" y="13"/>
                    <a:pt x="6" y="13"/>
                    <a:pt x="5" y="12"/>
                  </a:cubicBezTo>
                  <a:cubicBezTo>
                    <a:pt x="3" y="11"/>
                    <a:pt x="3" y="10"/>
                    <a:pt x="2" y="9"/>
                  </a:cubicBezTo>
                  <a:cubicBezTo>
                    <a:pt x="2" y="8"/>
                    <a:pt x="1" y="7"/>
                    <a:pt x="1" y="7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7" y="1"/>
                    <a:pt x="8" y="3"/>
                    <a:pt x="8" y="4"/>
                  </a:cubicBezTo>
                  <a:cubicBezTo>
                    <a:pt x="10" y="5"/>
                    <a:pt x="12" y="6"/>
                    <a:pt x="14" y="6"/>
                  </a:cubicBezTo>
                  <a:cubicBezTo>
                    <a:pt x="15" y="7"/>
                    <a:pt x="16" y="7"/>
                    <a:pt x="16" y="8"/>
                  </a:cubicBezTo>
                  <a:cubicBezTo>
                    <a:pt x="17" y="10"/>
                    <a:pt x="16" y="12"/>
                    <a:pt x="17" y="13"/>
                  </a:cubicBezTo>
                  <a:cubicBezTo>
                    <a:pt x="18" y="14"/>
                    <a:pt x="19" y="15"/>
                    <a:pt x="20" y="16"/>
                  </a:cubicBezTo>
                  <a:cubicBezTo>
                    <a:pt x="20" y="17"/>
                    <a:pt x="20" y="18"/>
                    <a:pt x="20" y="19"/>
                  </a:cubicBezTo>
                  <a:cubicBezTo>
                    <a:pt x="21" y="20"/>
                    <a:pt x="22" y="21"/>
                    <a:pt x="23" y="22"/>
                  </a:cubicBezTo>
                  <a:cubicBezTo>
                    <a:pt x="23" y="23"/>
                    <a:pt x="23" y="24"/>
                    <a:pt x="23" y="24"/>
                  </a:cubicBezTo>
                  <a:cubicBezTo>
                    <a:pt x="22" y="24"/>
                    <a:pt x="21" y="25"/>
                    <a:pt x="21" y="24"/>
                  </a:cubicBezTo>
                  <a:cubicBezTo>
                    <a:pt x="20" y="22"/>
                    <a:pt x="18" y="22"/>
                    <a:pt x="16" y="23"/>
                  </a:cubicBezTo>
                  <a:cubicBezTo>
                    <a:pt x="15" y="23"/>
                    <a:pt x="16" y="25"/>
                    <a:pt x="15" y="26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8"/>
                    <a:pt x="15" y="29"/>
                    <a:pt x="14" y="29"/>
                  </a:cubicBezTo>
                  <a:cubicBezTo>
                    <a:pt x="14" y="30"/>
                    <a:pt x="13" y="31"/>
                    <a:pt x="13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3"/>
                    <a:pt x="11" y="33"/>
                    <a:pt x="11" y="33"/>
                  </a:cubicBezTo>
                  <a:cubicBezTo>
                    <a:pt x="10" y="33"/>
                    <a:pt x="10" y="33"/>
                    <a:pt x="10" y="34"/>
                  </a:cubicBezTo>
                  <a:lnTo>
                    <a:pt x="10" y="3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9" name="Freeform 109"/>
            <p:cNvSpPr>
              <a:spLocks/>
            </p:cNvSpPr>
            <p:nvPr/>
          </p:nvSpPr>
          <p:spPr bwMode="auto">
            <a:xfrm>
              <a:off x="7005508" y="3350242"/>
              <a:ext cx="22324" cy="14871"/>
            </a:xfrm>
            <a:custGeom>
              <a:avLst/>
              <a:gdLst>
                <a:gd name="T0" fmla="*/ 69517597 w 48"/>
                <a:gd name="T1" fmla="*/ 58883707 h 31"/>
                <a:gd name="T2" fmla="*/ 60559864 w 48"/>
                <a:gd name="T3" fmla="*/ 57367078 h 31"/>
                <a:gd name="T4" fmla="*/ 57026957 w 48"/>
                <a:gd name="T5" fmla="*/ 54635428 h 31"/>
                <a:gd name="T6" fmla="*/ 54439108 w 48"/>
                <a:gd name="T7" fmla="*/ 54635428 h 31"/>
                <a:gd name="T8" fmla="*/ 52536301 w 48"/>
                <a:gd name="T9" fmla="*/ 57367078 h 31"/>
                <a:gd name="T10" fmla="*/ 49921859 w 48"/>
                <a:gd name="T11" fmla="*/ 60796702 h 31"/>
                <a:gd name="T12" fmla="*/ 48018412 w 48"/>
                <a:gd name="T13" fmla="*/ 63330056 h 31"/>
                <a:gd name="T14" fmla="*/ 43520900 w 48"/>
                <a:gd name="T15" fmla="*/ 65327599 h 31"/>
                <a:gd name="T16" fmla="*/ 40185104 w 48"/>
                <a:gd name="T17" fmla="*/ 65327599 h 31"/>
                <a:gd name="T18" fmla="*/ 21205752 w 48"/>
                <a:gd name="T19" fmla="*/ 65327599 h 31"/>
                <a:gd name="T20" fmla="*/ 17069789 w 48"/>
                <a:gd name="T21" fmla="*/ 58883707 h 31"/>
                <a:gd name="T22" fmla="*/ 10571848 w 48"/>
                <a:gd name="T23" fmla="*/ 57367078 h 31"/>
                <a:gd name="T24" fmla="*/ 1907553 w 48"/>
                <a:gd name="T25" fmla="*/ 50945755 h 31"/>
                <a:gd name="T26" fmla="*/ 1907553 w 48"/>
                <a:gd name="T27" fmla="*/ 48202802 h 31"/>
                <a:gd name="T28" fmla="*/ 0 w 48"/>
                <a:gd name="T29" fmla="*/ 43670699 h 31"/>
                <a:gd name="T30" fmla="*/ 0 w 48"/>
                <a:gd name="T31" fmla="*/ 40326189 h 31"/>
                <a:gd name="T32" fmla="*/ 6081086 w 48"/>
                <a:gd name="T33" fmla="*/ 35624170 h 31"/>
                <a:gd name="T34" fmla="*/ 4490697 w 48"/>
                <a:gd name="T35" fmla="*/ 27741868 h 31"/>
                <a:gd name="T36" fmla="*/ 4490697 w 48"/>
                <a:gd name="T37" fmla="*/ 23201344 h 31"/>
                <a:gd name="T38" fmla="*/ 12543556 w 48"/>
                <a:gd name="T39" fmla="*/ 18545099 h 31"/>
                <a:gd name="T40" fmla="*/ 14315885 w 48"/>
                <a:gd name="T41" fmla="*/ 14397231 h 31"/>
                <a:gd name="T42" fmla="*/ 18486761 w 48"/>
                <a:gd name="T43" fmla="*/ 14397231 h 31"/>
                <a:gd name="T44" fmla="*/ 23124586 w 48"/>
                <a:gd name="T45" fmla="*/ 17124821 h 31"/>
                <a:gd name="T46" fmla="*/ 37440966 w 48"/>
                <a:gd name="T47" fmla="*/ 23201344 h 31"/>
                <a:gd name="T48" fmla="*/ 40185104 w 48"/>
                <a:gd name="T49" fmla="*/ 14397231 h 31"/>
                <a:gd name="T50" fmla="*/ 40185104 w 48"/>
                <a:gd name="T51" fmla="*/ 12593830 h 31"/>
                <a:gd name="T52" fmla="*/ 46092817 w 48"/>
                <a:gd name="T53" fmla="*/ 10618742 h 31"/>
                <a:gd name="T54" fmla="*/ 49921859 w 48"/>
                <a:gd name="T55" fmla="*/ 7875316 h 31"/>
                <a:gd name="T56" fmla="*/ 60559864 w 48"/>
                <a:gd name="T57" fmla="*/ 6113892 h 31"/>
                <a:gd name="T58" fmla="*/ 66996944 w 48"/>
                <a:gd name="T59" fmla="*/ 1914920 h 31"/>
                <a:gd name="T60" fmla="*/ 88142270 w 48"/>
                <a:gd name="T61" fmla="*/ 1914920 h 31"/>
                <a:gd name="T62" fmla="*/ 92633039 w 48"/>
                <a:gd name="T63" fmla="*/ 4509328 h 31"/>
                <a:gd name="T64" fmla="*/ 92633039 w 48"/>
                <a:gd name="T65" fmla="*/ 4509328 h 31"/>
                <a:gd name="T66" fmla="*/ 100547858 w 48"/>
                <a:gd name="T67" fmla="*/ 10618742 h 31"/>
                <a:gd name="T68" fmla="*/ 100547858 w 48"/>
                <a:gd name="T69" fmla="*/ 10618742 h 31"/>
                <a:gd name="T70" fmla="*/ 98582487 w 48"/>
                <a:gd name="T71" fmla="*/ 21634510 h 31"/>
                <a:gd name="T72" fmla="*/ 86232043 w 48"/>
                <a:gd name="T73" fmla="*/ 33903141 h 31"/>
                <a:gd name="T74" fmla="*/ 82060988 w 48"/>
                <a:gd name="T75" fmla="*/ 37594548 h 31"/>
                <a:gd name="T76" fmla="*/ 77568355 w 48"/>
                <a:gd name="T77" fmla="*/ 52711281 h 31"/>
                <a:gd name="T78" fmla="*/ 69517597 w 48"/>
                <a:gd name="T79" fmla="*/ 57367078 h 31"/>
                <a:gd name="T80" fmla="*/ 69517597 w 48"/>
                <a:gd name="T81" fmla="*/ 58883707 h 3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8"/>
                <a:gd name="T124" fmla="*/ 0 h 31"/>
                <a:gd name="T125" fmla="*/ 48 w 48"/>
                <a:gd name="T126" fmla="*/ 31 h 3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8" h="31">
                  <a:moveTo>
                    <a:pt x="33" y="28"/>
                  </a:moveTo>
                  <a:cubicBezTo>
                    <a:pt x="31" y="28"/>
                    <a:pt x="30" y="28"/>
                    <a:pt x="29" y="27"/>
                  </a:cubicBezTo>
                  <a:cubicBezTo>
                    <a:pt x="28" y="27"/>
                    <a:pt x="28" y="27"/>
                    <a:pt x="27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5" y="26"/>
                    <a:pt x="25" y="27"/>
                    <a:pt x="25" y="27"/>
                  </a:cubicBezTo>
                  <a:cubicBezTo>
                    <a:pt x="25" y="28"/>
                    <a:pt x="24" y="28"/>
                    <a:pt x="24" y="29"/>
                  </a:cubicBezTo>
                  <a:cubicBezTo>
                    <a:pt x="24" y="30"/>
                    <a:pt x="23" y="30"/>
                    <a:pt x="23" y="30"/>
                  </a:cubicBezTo>
                  <a:cubicBezTo>
                    <a:pt x="22" y="30"/>
                    <a:pt x="22" y="30"/>
                    <a:pt x="21" y="31"/>
                  </a:cubicBezTo>
                  <a:cubicBezTo>
                    <a:pt x="20" y="31"/>
                    <a:pt x="19" y="31"/>
                    <a:pt x="19" y="31"/>
                  </a:cubicBezTo>
                  <a:cubicBezTo>
                    <a:pt x="16" y="31"/>
                    <a:pt x="13" y="31"/>
                    <a:pt x="10" y="31"/>
                  </a:cubicBezTo>
                  <a:cubicBezTo>
                    <a:pt x="10" y="30"/>
                    <a:pt x="9" y="29"/>
                    <a:pt x="8" y="28"/>
                  </a:cubicBezTo>
                  <a:cubicBezTo>
                    <a:pt x="7" y="28"/>
                    <a:pt x="6" y="27"/>
                    <a:pt x="5" y="27"/>
                  </a:cubicBezTo>
                  <a:cubicBezTo>
                    <a:pt x="4" y="26"/>
                    <a:pt x="2" y="25"/>
                    <a:pt x="1" y="24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0" y="22"/>
                    <a:pt x="0" y="22"/>
                    <a:pt x="0" y="21"/>
                  </a:cubicBezTo>
                  <a:cubicBezTo>
                    <a:pt x="0" y="21"/>
                    <a:pt x="0" y="19"/>
                    <a:pt x="0" y="19"/>
                  </a:cubicBezTo>
                  <a:cubicBezTo>
                    <a:pt x="1" y="18"/>
                    <a:pt x="2" y="18"/>
                    <a:pt x="3" y="17"/>
                  </a:cubicBezTo>
                  <a:cubicBezTo>
                    <a:pt x="3" y="15"/>
                    <a:pt x="4" y="14"/>
                    <a:pt x="2" y="13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3" y="10"/>
                    <a:pt x="6" y="11"/>
                    <a:pt x="6" y="9"/>
                  </a:cubicBezTo>
                  <a:cubicBezTo>
                    <a:pt x="7" y="8"/>
                    <a:pt x="7" y="8"/>
                    <a:pt x="7" y="7"/>
                  </a:cubicBezTo>
                  <a:cubicBezTo>
                    <a:pt x="7" y="7"/>
                    <a:pt x="9" y="7"/>
                    <a:pt x="9" y="7"/>
                  </a:cubicBezTo>
                  <a:cubicBezTo>
                    <a:pt x="10" y="7"/>
                    <a:pt x="11" y="7"/>
                    <a:pt x="11" y="8"/>
                  </a:cubicBezTo>
                  <a:cubicBezTo>
                    <a:pt x="13" y="9"/>
                    <a:pt x="15" y="11"/>
                    <a:pt x="18" y="11"/>
                  </a:cubicBezTo>
                  <a:cubicBezTo>
                    <a:pt x="18" y="9"/>
                    <a:pt x="19" y="8"/>
                    <a:pt x="19" y="7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0" y="5"/>
                    <a:pt x="22" y="6"/>
                    <a:pt x="22" y="5"/>
                  </a:cubicBezTo>
                  <a:cubicBezTo>
                    <a:pt x="23" y="5"/>
                    <a:pt x="24" y="4"/>
                    <a:pt x="24" y="4"/>
                  </a:cubicBezTo>
                  <a:cubicBezTo>
                    <a:pt x="26" y="3"/>
                    <a:pt x="27" y="4"/>
                    <a:pt x="29" y="3"/>
                  </a:cubicBezTo>
                  <a:cubicBezTo>
                    <a:pt x="30" y="3"/>
                    <a:pt x="31" y="1"/>
                    <a:pt x="32" y="1"/>
                  </a:cubicBezTo>
                  <a:cubicBezTo>
                    <a:pt x="35" y="0"/>
                    <a:pt x="39" y="0"/>
                    <a:pt x="42" y="1"/>
                  </a:cubicBezTo>
                  <a:cubicBezTo>
                    <a:pt x="43" y="1"/>
                    <a:pt x="44" y="3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6" y="3"/>
                    <a:pt x="47" y="4"/>
                    <a:pt x="48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7" y="7"/>
                    <a:pt x="47" y="8"/>
                    <a:pt x="47" y="10"/>
                  </a:cubicBezTo>
                  <a:cubicBezTo>
                    <a:pt x="45" y="12"/>
                    <a:pt x="43" y="15"/>
                    <a:pt x="41" y="16"/>
                  </a:cubicBezTo>
                  <a:cubicBezTo>
                    <a:pt x="40" y="17"/>
                    <a:pt x="39" y="18"/>
                    <a:pt x="39" y="18"/>
                  </a:cubicBezTo>
                  <a:cubicBezTo>
                    <a:pt x="39" y="21"/>
                    <a:pt x="39" y="23"/>
                    <a:pt x="37" y="25"/>
                  </a:cubicBezTo>
                  <a:cubicBezTo>
                    <a:pt x="36" y="25"/>
                    <a:pt x="34" y="27"/>
                    <a:pt x="33" y="27"/>
                  </a:cubicBezTo>
                  <a:lnTo>
                    <a:pt x="33" y="28"/>
                  </a:ln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0" name="Freeform 110"/>
            <p:cNvSpPr>
              <a:spLocks/>
            </p:cNvSpPr>
            <p:nvPr/>
          </p:nvSpPr>
          <p:spPr bwMode="auto">
            <a:xfrm>
              <a:off x="6982682" y="3348891"/>
              <a:ext cx="25835" cy="12437"/>
            </a:xfrm>
            <a:custGeom>
              <a:avLst/>
              <a:gdLst>
                <a:gd name="T0" fmla="*/ 7350477 w 56"/>
                <a:gd name="T1" fmla="*/ 19444641 h 26"/>
                <a:gd name="T2" fmla="*/ 13592494 w 56"/>
                <a:gd name="T3" fmla="*/ 17604740 h 26"/>
                <a:gd name="T4" fmla="*/ 18182010 w 56"/>
                <a:gd name="T5" fmla="*/ 17604740 h 26"/>
                <a:gd name="T6" fmla="*/ 20120368 w 56"/>
                <a:gd name="T7" fmla="*/ 20026566 h 26"/>
                <a:gd name="T8" fmla="*/ 21914983 w 56"/>
                <a:gd name="T9" fmla="*/ 21137273 h 26"/>
                <a:gd name="T10" fmla="*/ 26163364 w 56"/>
                <a:gd name="T11" fmla="*/ 21137273 h 26"/>
                <a:gd name="T12" fmla="*/ 28921409 w 56"/>
                <a:gd name="T13" fmla="*/ 21921488 h 26"/>
                <a:gd name="T14" fmla="*/ 33474540 w 56"/>
                <a:gd name="T15" fmla="*/ 21921488 h 26"/>
                <a:gd name="T16" fmla="*/ 37455339 w 56"/>
                <a:gd name="T17" fmla="*/ 20026566 h 26"/>
                <a:gd name="T18" fmla="*/ 40014111 w 56"/>
                <a:gd name="T19" fmla="*/ 20026566 h 26"/>
                <a:gd name="T20" fmla="*/ 44657153 w 56"/>
                <a:gd name="T21" fmla="*/ 20026566 h 26"/>
                <a:gd name="T22" fmla="*/ 44657153 w 56"/>
                <a:gd name="T23" fmla="*/ 18660434 h 26"/>
                <a:gd name="T24" fmla="*/ 47426588 w 56"/>
                <a:gd name="T25" fmla="*/ 16821088 h 26"/>
                <a:gd name="T26" fmla="*/ 46240851 w 56"/>
                <a:gd name="T27" fmla="*/ 13633585 h 26"/>
                <a:gd name="T28" fmla="*/ 46240851 w 56"/>
                <a:gd name="T29" fmla="*/ 11820412 h 26"/>
                <a:gd name="T30" fmla="*/ 50009978 w 56"/>
                <a:gd name="T31" fmla="*/ 10127813 h 26"/>
                <a:gd name="T32" fmla="*/ 50837165 w 56"/>
                <a:gd name="T33" fmla="*/ 8287882 h 26"/>
                <a:gd name="T34" fmla="*/ 50009978 w 56"/>
                <a:gd name="T35" fmla="*/ 8287882 h 26"/>
                <a:gd name="T36" fmla="*/ 48897822 w 56"/>
                <a:gd name="T37" fmla="*/ 7503662 h 26"/>
                <a:gd name="T38" fmla="*/ 48897822 w 56"/>
                <a:gd name="T39" fmla="*/ 3198282 h 26"/>
                <a:gd name="T40" fmla="*/ 48897822 w 56"/>
                <a:gd name="T41" fmla="*/ 3198282 h 26"/>
                <a:gd name="T42" fmla="*/ 48897822 w 56"/>
                <a:gd name="T43" fmla="*/ 2476837 h 26"/>
                <a:gd name="T44" fmla="*/ 48187775 w 56"/>
                <a:gd name="T45" fmla="*/ 2476837 h 26"/>
                <a:gd name="T46" fmla="*/ 48187775 w 56"/>
                <a:gd name="T47" fmla="*/ 1839936 h 26"/>
                <a:gd name="T48" fmla="*/ 45420414 w 56"/>
                <a:gd name="T49" fmla="*/ 2476837 h 26"/>
                <a:gd name="T50" fmla="*/ 42857579 w 56"/>
                <a:gd name="T51" fmla="*/ 1839936 h 26"/>
                <a:gd name="T52" fmla="*/ 36268829 w 56"/>
                <a:gd name="T53" fmla="*/ 784235 h 26"/>
                <a:gd name="T54" fmla="*/ 33474540 w 56"/>
                <a:gd name="T55" fmla="*/ 2476837 h 26"/>
                <a:gd name="T56" fmla="*/ 32648221 w 56"/>
                <a:gd name="T57" fmla="*/ 5811039 h 26"/>
                <a:gd name="T58" fmla="*/ 32039437 w 56"/>
                <a:gd name="T59" fmla="*/ 5811039 h 26"/>
                <a:gd name="T60" fmla="*/ 28094995 w 56"/>
                <a:gd name="T61" fmla="*/ 2476837 h 26"/>
                <a:gd name="T62" fmla="*/ 27333808 w 56"/>
                <a:gd name="T63" fmla="*/ 2476837 h 26"/>
                <a:gd name="T64" fmla="*/ 26163364 w 56"/>
                <a:gd name="T65" fmla="*/ 5038211 h 26"/>
                <a:gd name="T66" fmla="*/ 25511586 w 56"/>
                <a:gd name="T67" fmla="*/ 5811039 h 26"/>
                <a:gd name="T68" fmla="*/ 23498568 w 56"/>
                <a:gd name="T69" fmla="*/ 5811039 h 26"/>
                <a:gd name="T70" fmla="*/ 21914983 w 56"/>
                <a:gd name="T71" fmla="*/ 7503662 h 26"/>
                <a:gd name="T72" fmla="*/ 21914983 w 56"/>
                <a:gd name="T73" fmla="*/ 7503662 h 26"/>
                <a:gd name="T74" fmla="*/ 21914983 w 56"/>
                <a:gd name="T75" fmla="*/ 9343585 h 26"/>
                <a:gd name="T76" fmla="*/ 22742189 w 56"/>
                <a:gd name="T77" fmla="*/ 9343585 h 26"/>
                <a:gd name="T78" fmla="*/ 20744539 w 56"/>
                <a:gd name="T79" fmla="*/ 11156751 h 26"/>
                <a:gd name="T80" fmla="*/ 14716077 w 56"/>
                <a:gd name="T81" fmla="*/ 11820412 h 26"/>
                <a:gd name="T82" fmla="*/ 13592494 w 56"/>
                <a:gd name="T83" fmla="*/ 12522682 h 26"/>
                <a:gd name="T84" fmla="*/ 9969095 w 56"/>
                <a:gd name="T85" fmla="*/ 13633585 h 26"/>
                <a:gd name="T86" fmla="*/ 8174845 w 56"/>
                <a:gd name="T87" fmla="*/ 13633585 h 26"/>
                <a:gd name="T88" fmla="*/ 7350477 w 56"/>
                <a:gd name="T89" fmla="*/ 11820412 h 26"/>
                <a:gd name="T90" fmla="*/ 6527726 w 56"/>
                <a:gd name="T91" fmla="*/ 11820412 h 26"/>
                <a:gd name="T92" fmla="*/ 4591618 w 56"/>
                <a:gd name="T93" fmla="*/ 14406455 h 26"/>
                <a:gd name="T94" fmla="*/ 2769339 w 56"/>
                <a:gd name="T95" fmla="*/ 13633585 h 26"/>
                <a:gd name="T96" fmla="*/ 826407 w 56"/>
                <a:gd name="T97" fmla="*/ 13633585 h 26"/>
                <a:gd name="T98" fmla="*/ 826407 w 56"/>
                <a:gd name="T99" fmla="*/ 14406455 h 26"/>
                <a:gd name="T100" fmla="*/ 0 w 56"/>
                <a:gd name="T101" fmla="*/ 16821088 h 26"/>
                <a:gd name="T102" fmla="*/ 1947959 w 56"/>
                <a:gd name="T103" fmla="*/ 17604740 h 26"/>
                <a:gd name="T104" fmla="*/ 2769339 w 56"/>
                <a:gd name="T105" fmla="*/ 18660434 h 26"/>
                <a:gd name="T106" fmla="*/ 7350477 w 56"/>
                <a:gd name="T107" fmla="*/ 19444641 h 2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6"/>
                <a:gd name="T163" fmla="*/ 0 h 26"/>
                <a:gd name="T164" fmla="*/ 56 w 56"/>
                <a:gd name="T165" fmla="*/ 26 h 2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6" h="26">
                  <a:moveTo>
                    <a:pt x="8" y="23"/>
                  </a:moveTo>
                  <a:cubicBezTo>
                    <a:pt x="10" y="22"/>
                    <a:pt x="13" y="24"/>
                    <a:pt x="15" y="21"/>
                  </a:cubicBezTo>
                  <a:cubicBezTo>
                    <a:pt x="16" y="21"/>
                    <a:pt x="18" y="21"/>
                    <a:pt x="20" y="21"/>
                  </a:cubicBezTo>
                  <a:cubicBezTo>
                    <a:pt x="20" y="22"/>
                    <a:pt x="21" y="23"/>
                    <a:pt x="22" y="24"/>
                  </a:cubicBezTo>
                  <a:cubicBezTo>
                    <a:pt x="23" y="25"/>
                    <a:pt x="23" y="25"/>
                    <a:pt x="24" y="25"/>
                  </a:cubicBezTo>
                  <a:cubicBezTo>
                    <a:pt x="26" y="26"/>
                    <a:pt x="27" y="25"/>
                    <a:pt x="29" y="25"/>
                  </a:cubicBezTo>
                  <a:cubicBezTo>
                    <a:pt x="30" y="26"/>
                    <a:pt x="31" y="26"/>
                    <a:pt x="32" y="26"/>
                  </a:cubicBezTo>
                  <a:cubicBezTo>
                    <a:pt x="33" y="26"/>
                    <a:pt x="35" y="26"/>
                    <a:pt x="37" y="26"/>
                  </a:cubicBezTo>
                  <a:cubicBezTo>
                    <a:pt x="38" y="26"/>
                    <a:pt x="39" y="24"/>
                    <a:pt x="41" y="24"/>
                  </a:cubicBezTo>
                  <a:cubicBezTo>
                    <a:pt x="42" y="23"/>
                    <a:pt x="43" y="24"/>
                    <a:pt x="44" y="24"/>
                  </a:cubicBezTo>
                  <a:cubicBezTo>
                    <a:pt x="45" y="25"/>
                    <a:pt x="47" y="24"/>
                    <a:pt x="49" y="24"/>
                  </a:cubicBezTo>
                  <a:cubicBezTo>
                    <a:pt x="49" y="24"/>
                    <a:pt x="49" y="22"/>
                    <a:pt x="49" y="22"/>
                  </a:cubicBezTo>
                  <a:cubicBezTo>
                    <a:pt x="50" y="21"/>
                    <a:pt x="51" y="21"/>
                    <a:pt x="52" y="20"/>
                  </a:cubicBezTo>
                  <a:cubicBezTo>
                    <a:pt x="52" y="18"/>
                    <a:pt x="53" y="17"/>
                    <a:pt x="51" y="16"/>
                  </a:cubicBezTo>
                  <a:cubicBezTo>
                    <a:pt x="51" y="16"/>
                    <a:pt x="51" y="15"/>
                    <a:pt x="51" y="14"/>
                  </a:cubicBezTo>
                  <a:cubicBezTo>
                    <a:pt x="52" y="13"/>
                    <a:pt x="55" y="14"/>
                    <a:pt x="55" y="12"/>
                  </a:cubicBezTo>
                  <a:cubicBezTo>
                    <a:pt x="56" y="11"/>
                    <a:pt x="56" y="11"/>
                    <a:pt x="56" y="10"/>
                  </a:cubicBezTo>
                  <a:cubicBezTo>
                    <a:pt x="55" y="10"/>
                    <a:pt x="56" y="10"/>
                    <a:pt x="55" y="10"/>
                  </a:cubicBezTo>
                  <a:cubicBezTo>
                    <a:pt x="55" y="10"/>
                    <a:pt x="55" y="9"/>
                    <a:pt x="54" y="9"/>
                  </a:cubicBezTo>
                  <a:cubicBezTo>
                    <a:pt x="54" y="7"/>
                    <a:pt x="54" y="6"/>
                    <a:pt x="54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4" y="4"/>
                    <a:pt x="54" y="4"/>
                    <a:pt x="54" y="3"/>
                  </a:cubicBezTo>
                  <a:cubicBezTo>
                    <a:pt x="54" y="3"/>
                    <a:pt x="54" y="3"/>
                    <a:pt x="53" y="3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2" y="2"/>
                    <a:pt x="51" y="2"/>
                    <a:pt x="50" y="3"/>
                  </a:cubicBezTo>
                  <a:cubicBezTo>
                    <a:pt x="49" y="3"/>
                    <a:pt x="48" y="2"/>
                    <a:pt x="47" y="2"/>
                  </a:cubicBezTo>
                  <a:cubicBezTo>
                    <a:pt x="45" y="2"/>
                    <a:pt x="42" y="2"/>
                    <a:pt x="40" y="1"/>
                  </a:cubicBezTo>
                  <a:cubicBezTo>
                    <a:pt x="38" y="0"/>
                    <a:pt x="37" y="1"/>
                    <a:pt x="37" y="3"/>
                  </a:cubicBezTo>
                  <a:cubicBezTo>
                    <a:pt x="36" y="4"/>
                    <a:pt x="37" y="6"/>
                    <a:pt x="36" y="7"/>
                  </a:cubicBezTo>
                  <a:cubicBezTo>
                    <a:pt x="36" y="7"/>
                    <a:pt x="35" y="7"/>
                    <a:pt x="35" y="7"/>
                  </a:cubicBezTo>
                  <a:cubicBezTo>
                    <a:pt x="33" y="6"/>
                    <a:pt x="32" y="4"/>
                    <a:pt x="31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4"/>
                    <a:pt x="30" y="5"/>
                    <a:pt x="29" y="6"/>
                  </a:cubicBezTo>
                  <a:cubicBezTo>
                    <a:pt x="29" y="6"/>
                    <a:pt x="29" y="7"/>
                    <a:pt x="28" y="7"/>
                  </a:cubicBezTo>
                  <a:cubicBezTo>
                    <a:pt x="28" y="7"/>
                    <a:pt x="27" y="7"/>
                    <a:pt x="26" y="7"/>
                  </a:cubicBezTo>
                  <a:cubicBezTo>
                    <a:pt x="25" y="7"/>
                    <a:pt x="25" y="8"/>
                    <a:pt x="24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3" y="11"/>
                    <a:pt x="24" y="11"/>
                  </a:cubicBezTo>
                  <a:cubicBezTo>
                    <a:pt x="24" y="11"/>
                    <a:pt x="24" y="11"/>
                    <a:pt x="25" y="11"/>
                  </a:cubicBezTo>
                  <a:cubicBezTo>
                    <a:pt x="25" y="13"/>
                    <a:pt x="24" y="13"/>
                    <a:pt x="23" y="13"/>
                  </a:cubicBezTo>
                  <a:cubicBezTo>
                    <a:pt x="21" y="14"/>
                    <a:pt x="18" y="13"/>
                    <a:pt x="16" y="14"/>
                  </a:cubicBezTo>
                  <a:cubicBezTo>
                    <a:pt x="16" y="14"/>
                    <a:pt x="15" y="14"/>
                    <a:pt x="15" y="15"/>
                  </a:cubicBezTo>
                  <a:cubicBezTo>
                    <a:pt x="14" y="15"/>
                    <a:pt x="12" y="15"/>
                    <a:pt x="11" y="16"/>
                  </a:cubicBezTo>
                  <a:cubicBezTo>
                    <a:pt x="10" y="16"/>
                    <a:pt x="10" y="16"/>
                    <a:pt x="9" y="16"/>
                  </a:cubicBezTo>
                  <a:cubicBezTo>
                    <a:pt x="9" y="15"/>
                    <a:pt x="9" y="14"/>
                    <a:pt x="8" y="14"/>
                  </a:cubicBezTo>
                  <a:cubicBezTo>
                    <a:pt x="8" y="14"/>
                    <a:pt x="7" y="14"/>
                    <a:pt x="7" y="14"/>
                  </a:cubicBezTo>
                  <a:cubicBezTo>
                    <a:pt x="6" y="15"/>
                    <a:pt x="7" y="18"/>
                    <a:pt x="5" y="17"/>
                  </a:cubicBezTo>
                  <a:cubicBezTo>
                    <a:pt x="4" y="17"/>
                    <a:pt x="4" y="16"/>
                    <a:pt x="3" y="16"/>
                  </a:cubicBezTo>
                  <a:cubicBezTo>
                    <a:pt x="2" y="16"/>
                    <a:pt x="2" y="16"/>
                    <a:pt x="1" y="16"/>
                  </a:cubicBezTo>
                  <a:cubicBezTo>
                    <a:pt x="1" y="16"/>
                    <a:pt x="1" y="16"/>
                    <a:pt x="1" y="17"/>
                  </a:cubicBezTo>
                  <a:cubicBezTo>
                    <a:pt x="0" y="18"/>
                    <a:pt x="0" y="19"/>
                    <a:pt x="0" y="20"/>
                  </a:cubicBezTo>
                  <a:cubicBezTo>
                    <a:pt x="0" y="20"/>
                    <a:pt x="1" y="20"/>
                    <a:pt x="2" y="21"/>
                  </a:cubicBezTo>
                  <a:cubicBezTo>
                    <a:pt x="2" y="21"/>
                    <a:pt x="2" y="22"/>
                    <a:pt x="3" y="22"/>
                  </a:cubicBezTo>
                  <a:cubicBezTo>
                    <a:pt x="4" y="22"/>
                    <a:pt x="6" y="22"/>
                    <a:pt x="8" y="2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1" name="Freeform 111"/>
            <p:cNvSpPr>
              <a:spLocks/>
            </p:cNvSpPr>
            <p:nvPr/>
          </p:nvSpPr>
          <p:spPr bwMode="auto">
            <a:xfrm>
              <a:off x="7007765" y="3345105"/>
              <a:ext cx="20066" cy="10545"/>
            </a:xfrm>
            <a:custGeom>
              <a:avLst/>
              <a:gdLst>
                <a:gd name="T0" fmla="*/ 4369091 w 43"/>
                <a:gd name="T1" fmla="*/ 40962012 h 22"/>
                <a:gd name="T2" fmla="*/ 1860108 w 43"/>
                <a:gd name="T3" fmla="*/ 40962012 h 22"/>
                <a:gd name="T4" fmla="*/ 0 w 43"/>
                <a:gd name="T5" fmla="*/ 38216536 h 22"/>
                <a:gd name="T6" fmla="*/ 0 w 43"/>
                <a:gd name="T7" fmla="*/ 29407096 h 22"/>
                <a:gd name="T8" fmla="*/ 0 w 43"/>
                <a:gd name="T9" fmla="*/ 26510886 h 22"/>
                <a:gd name="T10" fmla="*/ 0 w 43"/>
                <a:gd name="T11" fmla="*/ 26510886 h 22"/>
                <a:gd name="T12" fmla="*/ 5893195 w 43"/>
                <a:gd name="T13" fmla="*/ 24442629 h 22"/>
                <a:gd name="T14" fmla="*/ 7609730 w 43"/>
                <a:gd name="T15" fmla="*/ 22924722 h 22"/>
                <a:gd name="T16" fmla="*/ 16494699 w 43"/>
                <a:gd name="T17" fmla="*/ 22924722 h 22"/>
                <a:gd name="T18" fmla="*/ 19735327 w 43"/>
                <a:gd name="T19" fmla="*/ 16168539 h 22"/>
                <a:gd name="T20" fmla="*/ 24104407 w 43"/>
                <a:gd name="T21" fmla="*/ 13226484 h 22"/>
                <a:gd name="T22" fmla="*/ 26613378 w 43"/>
                <a:gd name="T23" fmla="*/ 8480159 h 22"/>
                <a:gd name="T24" fmla="*/ 30003951 w 43"/>
                <a:gd name="T25" fmla="*/ 4745295 h 22"/>
                <a:gd name="T26" fmla="*/ 30003951 w 43"/>
                <a:gd name="T27" fmla="*/ 2007625 h 22"/>
                <a:gd name="T28" fmla="*/ 30003951 w 43"/>
                <a:gd name="T29" fmla="*/ 2007625 h 22"/>
                <a:gd name="T30" fmla="*/ 41983120 w 43"/>
                <a:gd name="T31" fmla="*/ 4745295 h 22"/>
                <a:gd name="T32" fmla="*/ 41983120 w 43"/>
                <a:gd name="T33" fmla="*/ 8480159 h 22"/>
                <a:gd name="T34" fmla="*/ 48224523 w 43"/>
                <a:gd name="T35" fmla="*/ 8480159 h 22"/>
                <a:gd name="T36" fmla="*/ 52248212 w 43"/>
                <a:gd name="T37" fmla="*/ 4745295 h 22"/>
                <a:gd name="T38" fmla="*/ 62510484 w 43"/>
                <a:gd name="T39" fmla="*/ 6840539 h 22"/>
                <a:gd name="T40" fmla="*/ 68742906 w 43"/>
                <a:gd name="T41" fmla="*/ 8480159 h 22"/>
                <a:gd name="T42" fmla="*/ 76367567 w 43"/>
                <a:gd name="T43" fmla="*/ 13226484 h 22"/>
                <a:gd name="T44" fmla="*/ 86629858 w 43"/>
                <a:gd name="T45" fmla="*/ 16168539 h 22"/>
                <a:gd name="T46" fmla="*/ 86629858 w 43"/>
                <a:gd name="T47" fmla="*/ 13226484 h 22"/>
                <a:gd name="T48" fmla="*/ 85106535 w 43"/>
                <a:gd name="T49" fmla="*/ 20043998 h 22"/>
                <a:gd name="T50" fmla="*/ 78876218 w 43"/>
                <a:gd name="T51" fmla="*/ 29407096 h 22"/>
                <a:gd name="T52" fmla="*/ 74507100 w 43"/>
                <a:gd name="T53" fmla="*/ 26510886 h 22"/>
                <a:gd name="T54" fmla="*/ 54108340 w 43"/>
                <a:gd name="T55" fmla="*/ 26510886 h 22"/>
                <a:gd name="T56" fmla="*/ 48224523 w 43"/>
                <a:gd name="T57" fmla="*/ 31262588 h 22"/>
                <a:gd name="T58" fmla="*/ 38743351 w 43"/>
                <a:gd name="T59" fmla="*/ 33265627 h 22"/>
                <a:gd name="T60" fmla="*/ 34373369 w 43"/>
                <a:gd name="T61" fmla="*/ 36149092 h 22"/>
                <a:gd name="T62" fmla="*/ 28474633 w 43"/>
                <a:gd name="T63" fmla="*/ 38216536 h 22"/>
                <a:gd name="T64" fmla="*/ 28474633 w 43"/>
                <a:gd name="T65" fmla="*/ 40962012 h 22"/>
                <a:gd name="T66" fmla="*/ 26613378 w 43"/>
                <a:gd name="T67" fmla="*/ 49435626 h 22"/>
                <a:gd name="T68" fmla="*/ 12122866 w 43"/>
                <a:gd name="T69" fmla="*/ 42630814 h 22"/>
                <a:gd name="T70" fmla="*/ 7609730 w 43"/>
                <a:gd name="T71" fmla="*/ 40962012 h 22"/>
                <a:gd name="T72" fmla="*/ 4369091 w 43"/>
                <a:gd name="T73" fmla="*/ 40962012 h 2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3"/>
                <a:gd name="T112" fmla="*/ 0 h 22"/>
                <a:gd name="T113" fmla="*/ 43 w 43"/>
                <a:gd name="T114" fmla="*/ 22 h 2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3" h="22">
                  <a:moveTo>
                    <a:pt x="2" y="18"/>
                  </a:moveTo>
                  <a:cubicBezTo>
                    <a:pt x="1" y="18"/>
                    <a:pt x="2" y="18"/>
                    <a:pt x="1" y="18"/>
                  </a:cubicBezTo>
                  <a:cubicBezTo>
                    <a:pt x="1" y="18"/>
                    <a:pt x="1" y="17"/>
                    <a:pt x="0" y="17"/>
                  </a:cubicBezTo>
                  <a:cubicBezTo>
                    <a:pt x="0" y="16"/>
                    <a:pt x="0" y="14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2" y="12"/>
                    <a:pt x="3" y="11"/>
                  </a:cubicBezTo>
                  <a:cubicBezTo>
                    <a:pt x="4" y="11"/>
                    <a:pt x="4" y="11"/>
                    <a:pt x="4" y="10"/>
                  </a:cubicBezTo>
                  <a:cubicBezTo>
                    <a:pt x="6" y="10"/>
                    <a:pt x="7" y="10"/>
                    <a:pt x="8" y="10"/>
                  </a:cubicBezTo>
                  <a:cubicBezTo>
                    <a:pt x="9" y="10"/>
                    <a:pt x="9" y="8"/>
                    <a:pt x="10" y="7"/>
                  </a:cubicBezTo>
                  <a:cubicBezTo>
                    <a:pt x="10" y="7"/>
                    <a:pt x="11" y="7"/>
                    <a:pt x="12" y="6"/>
                  </a:cubicBezTo>
                  <a:cubicBezTo>
                    <a:pt x="12" y="5"/>
                    <a:pt x="12" y="4"/>
                    <a:pt x="13" y="4"/>
                  </a:cubicBezTo>
                  <a:cubicBezTo>
                    <a:pt x="14" y="3"/>
                    <a:pt x="14" y="3"/>
                    <a:pt x="15" y="2"/>
                  </a:cubicBezTo>
                  <a:cubicBezTo>
                    <a:pt x="15" y="2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1"/>
                    <a:pt x="19" y="0"/>
                    <a:pt x="21" y="2"/>
                  </a:cubicBezTo>
                  <a:cubicBezTo>
                    <a:pt x="21" y="2"/>
                    <a:pt x="21" y="4"/>
                    <a:pt x="21" y="4"/>
                  </a:cubicBezTo>
                  <a:cubicBezTo>
                    <a:pt x="22" y="4"/>
                    <a:pt x="23" y="4"/>
                    <a:pt x="24" y="4"/>
                  </a:cubicBezTo>
                  <a:cubicBezTo>
                    <a:pt x="25" y="4"/>
                    <a:pt x="25" y="3"/>
                    <a:pt x="26" y="2"/>
                  </a:cubicBezTo>
                  <a:cubicBezTo>
                    <a:pt x="28" y="2"/>
                    <a:pt x="29" y="2"/>
                    <a:pt x="31" y="3"/>
                  </a:cubicBezTo>
                  <a:cubicBezTo>
                    <a:pt x="32" y="3"/>
                    <a:pt x="33" y="4"/>
                    <a:pt x="34" y="4"/>
                  </a:cubicBezTo>
                  <a:cubicBezTo>
                    <a:pt x="36" y="5"/>
                    <a:pt x="37" y="6"/>
                    <a:pt x="38" y="6"/>
                  </a:cubicBezTo>
                  <a:cubicBezTo>
                    <a:pt x="40" y="7"/>
                    <a:pt x="41" y="7"/>
                    <a:pt x="43" y="7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7"/>
                    <a:pt x="43" y="9"/>
                    <a:pt x="42" y="9"/>
                  </a:cubicBezTo>
                  <a:cubicBezTo>
                    <a:pt x="41" y="10"/>
                    <a:pt x="40" y="11"/>
                    <a:pt x="39" y="13"/>
                  </a:cubicBezTo>
                  <a:cubicBezTo>
                    <a:pt x="39" y="14"/>
                    <a:pt x="38" y="12"/>
                    <a:pt x="37" y="12"/>
                  </a:cubicBezTo>
                  <a:cubicBezTo>
                    <a:pt x="34" y="11"/>
                    <a:pt x="30" y="11"/>
                    <a:pt x="27" y="12"/>
                  </a:cubicBezTo>
                  <a:cubicBezTo>
                    <a:pt x="26" y="12"/>
                    <a:pt x="25" y="14"/>
                    <a:pt x="24" y="14"/>
                  </a:cubicBezTo>
                  <a:cubicBezTo>
                    <a:pt x="22" y="15"/>
                    <a:pt x="21" y="14"/>
                    <a:pt x="19" y="15"/>
                  </a:cubicBezTo>
                  <a:cubicBezTo>
                    <a:pt x="19" y="15"/>
                    <a:pt x="18" y="16"/>
                    <a:pt x="17" y="16"/>
                  </a:cubicBezTo>
                  <a:cubicBezTo>
                    <a:pt x="17" y="17"/>
                    <a:pt x="15" y="16"/>
                    <a:pt x="14" y="17"/>
                  </a:cubicBezTo>
                  <a:cubicBezTo>
                    <a:pt x="14" y="17"/>
                    <a:pt x="14" y="17"/>
                    <a:pt x="14" y="18"/>
                  </a:cubicBezTo>
                  <a:cubicBezTo>
                    <a:pt x="14" y="19"/>
                    <a:pt x="13" y="20"/>
                    <a:pt x="13" y="22"/>
                  </a:cubicBezTo>
                  <a:cubicBezTo>
                    <a:pt x="10" y="22"/>
                    <a:pt x="8" y="20"/>
                    <a:pt x="6" y="19"/>
                  </a:cubicBezTo>
                  <a:cubicBezTo>
                    <a:pt x="6" y="18"/>
                    <a:pt x="5" y="18"/>
                    <a:pt x="4" y="18"/>
                  </a:cubicBezTo>
                  <a:cubicBezTo>
                    <a:pt x="4" y="18"/>
                    <a:pt x="2" y="18"/>
                    <a:pt x="2" y="18"/>
                  </a:cubicBezTo>
                </a:path>
              </a:pathLst>
            </a:custGeom>
            <a:solidFill>
              <a:schemeClr val="accent1">
                <a:alpha val="50000"/>
              </a:schemeClr>
            </a:solidFill>
            <a:ln w="9525" algn="ctr">
              <a:solidFill>
                <a:srgbClr val="7A69AF">
                  <a:alpha val="50000"/>
                </a:srgbClr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2" name="Freeform 112"/>
            <p:cNvSpPr>
              <a:spLocks/>
            </p:cNvSpPr>
            <p:nvPr/>
          </p:nvSpPr>
          <p:spPr bwMode="auto">
            <a:xfrm>
              <a:off x="6997983" y="3316986"/>
              <a:ext cx="34364" cy="31364"/>
            </a:xfrm>
            <a:custGeom>
              <a:avLst/>
              <a:gdLst>
                <a:gd name="T0" fmla="*/ 92766648 w 74"/>
                <a:gd name="T1" fmla="*/ 12525963 h 65"/>
                <a:gd name="T2" fmla="*/ 76489593 w 74"/>
                <a:gd name="T3" fmla="*/ 12525963 h 65"/>
                <a:gd name="T4" fmla="*/ 74443929 w 74"/>
                <a:gd name="T5" fmla="*/ 6047412 h 65"/>
                <a:gd name="T6" fmla="*/ 69967298 w 74"/>
                <a:gd name="T7" fmla="*/ 1905316 h 65"/>
                <a:gd name="T8" fmla="*/ 65842332 w 74"/>
                <a:gd name="T9" fmla="*/ 0 h 65"/>
                <a:gd name="T10" fmla="*/ 56667379 w 74"/>
                <a:gd name="T11" fmla="*/ 1905316 h 65"/>
                <a:gd name="T12" fmla="*/ 44857703 w 74"/>
                <a:gd name="T13" fmla="*/ 7841282 h 65"/>
                <a:gd name="T14" fmla="*/ 38488226 w 74"/>
                <a:gd name="T15" fmla="*/ 10556576 h 65"/>
                <a:gd name="T16" fmla="*/ 26715063 w 74"/>
                <a:gd name="T17" fmla="*/ 17012015 h 65"/>
                <a:gd name="T18" fmla="*/ 23071868 w 74"/>
                <a:gd name="T19" fmla="*/ 17012015 h 65"/>
                <a:gd name="T20" fmla="*/ 11296657 w 74"/>
                <a:gd name="T21" fmla="*/ 18457163 h 65"/>
                <a:gd name="T22" fmla="*/ 6882012 w 74"/>
                <a:gd name="T23" fmla="*/ 18457163 h 65"/>
                <a:gd name="T24" fmla="*/ 6882012 w 74"/>
                <a:gd name="T25" fmla="*/ 23082530 h 65"/>
                <a:gd name="T26" fmla="*/ 2019935 w 74"/>
                <a:gd name="T27" fmla="*/ 43445295 h 65"/>
                <a:gd name="T28" fmla="*/ 4776873 w 74"/>
                <a:gd name="T29" fmla="*/ 49847829 h 65"/>
                <a:gd name="T30" fmla="*/ 4776873 w 74"/>
                <a:gd name="T31" fmla="*/ 71024977 h 65"/>
                <a:gd name="T32" fmla="*/ 8541281 w 74"/>
                <a:gd name="T33" fmla="*/ 77415120 h 65"/>
                <a:gd name="T34" fmla="*/ 13311199 w 74"/>
                <a:gd name="T35" fmla="*/ 87827608 h 65"/>
                <a:gd name="T36" fmla="*/ 16275026 w 74"/>
                <a:gd name="T37" fmla="*/ 89743977 h 65"/>
                <a:gd name="T38" fmla="*/ 20198974 w 74"/>
                <a:gd name="T39" fmla="*/ 92485736 h 65"/>
                <a:gd name="T40" fmla="*/ 24656591 w 74"/>
                <a:gd name="T41" fmla="*/ 95873465 h 65"/>
                <a:gd name="T42" fmla="*/ 26715063 w 74"/>
                <a:gd name="T43" fmla="*/ 95873465 h 65"/>
                <a:gd name="T44" fmla="*/ 36476105 w 74"/>
                <a:gd name="T45" fmla="*/ 100384712 h 65"/>
                <a:gd name="T46" fmla="*/ 38488226 w 74"/>
                <a:gd name="T47" fmla="*/ 102263495 h 65"/>
                <a:gd name="T48" fmla="*/ 41246083 w 74"/>
                <a:gd name="T49" fmla="*/ 106431872 h 65"/>
                <a:gd name="T50" fmla="*/ 49785285 w 74"/>
                <a:gd name="T51" fmla="*/ 104812577 h 65"/>
                <a:gd name="T52" fmla="*/ 58309465 w 74"/>
                <a:gd name="T53" fmla="*/ 108337394 h 65"/>
                <a:gd name="T54" fmla="*/ 61067426 w 74"/>
                <a:gd name="T55" fmla="*/ 110916455 h 65"/>
                <a:gd name="T56" fmla="*/ 65842332 w 74"/>
                <a:gd name="T57" fmla="*/ 112822204 h 65"/>
                <a:gd name="T58" fmla="*/ 69967298 w 74"/>
                <a:gd name="T59" fmla="*/ 114727500 h 65"/>
                <a:gd name="T60" fmla="*/ 79362373 w 74"/>
                <a:gd name="T61" fmla="*/ 121472904 h 65"/>
                <a:gd name="T62" fmla="*/ 81266069 w 74"/>
                <a:gd name="T63" fmla="*/ 123378728 h 65"/>
                <a:gd name="T64" fmla="*/ 94642874 w 74"/>
                <a:gd name="T65" fmla="*/ 125148970 h 65"/>
                <a:gd name="T66" fmla="*/ 94642874 w 74"/>
                <a:gd name="T67" fmla="*/ 129858468 h 65"/>
                <a:gd name="T68" fmla="*/ 101665650 w 74"/>
                <a:gd name="T69" fmla="*/ 129858468 h 65"/>
                <a:gd name="T70" fmla="*/ 106082383 w 74"/>
                <a:gd name="T71" fmla="*/ 125148970 h 65"/>
                <a:gd name="T72" fmla="*/ 117735449 w 74"/>
                <a:gd name="T73" fmla="*/ 127890804 h 65"/>
                <a:gd name="T74" fmla="*/ 124217143 w 74"/>
                <a:gd name="T75" fmla="*/ 129858468 h 65"/>
                <a:gd name="T76" fmla="*/ 134010631 w 74"/>
                <a:gd name="T77" fmla="*/ 133998825 h 65"/>
                <a:gd name="T78" fmla="*/ 144416184 w 74"/>
                <a:gd name="T79" fmla="*/ 135796183 h 65"/>
                <a:gd name="T80" fmla="*/ 144416184 w 74"/>
                <a:gd name="T81" fmla="*/ 121472904 h 65"/>
                <a:gd name="T82" fmla="*/ 149406160 w 74"/>
                <a:gd name="T83" fmla="*/ 114727500 h 65"/>
                <a:gd name="T84" fmla="*/ 158981286 w 74"/>
                <a:gd name="T85" fmla="*/ 104812577 h 65"/>
                <a:gd name="T86" fmla="*/ 160693220 w 74"/>
                <a:gd name="T87" fmla="*/ 102263495 h 65"/>
                <a:gd name="T88" fmla="*/ 165463207 w 74"/>
                <a:gd name="T89" fmla="*/ 98385789 h 65"/>
                <a:gd name="T90" fmla="*/ 165463207 w 74"/>
                <a:gd name="T91" fmla="*/ 87827608 h 65"/>
                <a:gd name="T92" fmla="*/ 162749630 w 74"/>
                <a:gd name="T93" fmla="*/ 83337978 h 65"/>
                <a:gd name="T94" fmla="*/ 160693220 w 74"/>
                <a:gd name="T95" fmla="*/ 66858671 h 65"/>
                <a:gd name="T96" fmla="*/ 155708125 w 74"/>
                <a:gd name="T97" fmla="*/ 62975091 h 65"/>
                <a:gd name="T98" fmla="*/ 155708125 w 74"/>
                <a:gd name="T99" fmla="*/ 58489641 h 65"/>
                <a:gd name="T100" fmla="*/ 160693220 w 74"/>
                <a:gd name="T101" fmla="*/ 52415817 h 65"/>
                <a:gd name="T102" fmla="*/ 158981286 w 74"/>
                <a:gd name="T103" fmla="*/ 37312408 h 65"/>
                <a:gd name="T104" fmla="*/ 155708125 w 74"/>
                <a:gd name="T105" fmla="*/ 33506222 h 65"/>
                <a:gd name="T106" fmla="*/ 155708125 w 74"/>
                <a:gd name="T107" fmla="*/ 23082530 h 65"/>
                <a:gd name="T108" fmla="*/ 154208234 w 74"/>
                <a:gd name="T109" fmla="*/ 23082530 h 65"/>
                <a:gd name="T110" fmla="*/ 140806531 w 74"/>
                <a:gd name="T111" fmla="*/ 12525963 h 65"/>
                <a:gd name="T112" fmla="*/ 122718539 w 74"/>
                <a:gd name="T113" fmla="*/ 14234676 h 65"/>
                <a:gd name="T114" fmla="*/ 109325312 w 74"/>
                <a:gd name="T115" fmla="*/ 14234676 h 65"/>
                <a:gd name="T116" fmla="*/ 101665650 w 74"/>
                <a:gd name="T117" fmla="*/ 12525963 h 65"/>
                <a:gd name="T118" fmla="*/ 94642874 w 74"/>
                <a:gd name="T119" fmla="*/ 10556576 h 65"/>
                <a:gd name="T120" fmla="*/ 92766648 w 74"/>
                <a:gd name="T121" fmla="*/ 12525963 h 6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4"/>
                <a:gd name="T184" fmla="*/ 0 h 65"/>
                <a:gd name="T185" fmla="*/ 74 w 74"/>
                <a:gd name="T186" fmla="*/ 65 h 6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4" h="65">
                  <a:moveTo>
                    <a:pt x="41" y="6"/>
                  </a:moveTo>
                  <a:cubicBezTo>
                    <a:pt x="39" y="7"/>
                    <a:pt x="36" y="7"/>
                    <a:pt x="34" y="6"/>
                  </a:cubicBezTo>
                  <a:cubicBezTo>
                    <a:pt x="33" y="5"/>
                    <a:pt x="33" y="4"/>
                    <a:pt x="33" y="3"/>
                  </a:cubicBezTo>
                  <a:cubicBezTo>
                    <a:pt x="32" y="2"/>
                    <a:pt x="32" y="2"/>
                    <a:pt x="31" y="1"/>
                  </a:cubicBezTo>
                  <a:cubicBezTo>
                    <a:pt x="30" y="1"/>
                    <a:pt x="30" y="1"/>
                    <a:pt x="29" y="0"/>
                  </a:cubicBezTo>
                  <a:cubicBezTo>
                    <a:pt x="27" y="0"/>
                    <a:pt x="26" y="0"/>
                    <a:pt x="25" y="1"/>
                  </a:cubicBezTo>
                  <a:cubicBezTo>
                    <a:pt x="24" y="2"/>
                    <a:pt x="22" y="3"/>
                    <a:pt x="20" y="4"/>
                  </a:cubicBezTo>
                  <a:cubicBezTo>
                    <a:pt x="19" y="5"/>
                    <a:pt x="18" y="4"/>
                    <a:pt x="17" y="5"/>
                  </a:cubicBezTo>
                  <a:cubicBezTo>
                    <a:pt x="15" y="5"/>
                    <a:pt x="13" y="6"/>
                    <a:pt x="12" y="8"/>
                  </a:cubicBezTo>
                  <a:cubicBezTo>
                    <a:pt x="11" y="8"/>
                    <a:pt x="10" y="8"/>
                    <a:pt x="10" y="8"/>
                  </a:cubicBezTo>
                  <a:cubicBezTo>
                    <a:pt x="8" y="9"/>
                    <a:pt x="7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4"/>
                    <a:pt x="3" y="18"/>
                    <a:pt x="1" y="21"/>
                  </a:cubicBezTo>
                  <a:cubicBezTo>
                    <a:pt x="0" y="22"/>
                    <a:pt x="0" y="24"/>
                    <a:pt x="2" y="24"/>
                  </a:cubicBezTo>
                  <a:cubicBezTo>
                    <a:pt x="3" y="28"/>
                    <a:pt x="2" y="31"/>
                    <a:pt x="2" y="34"/>
                  </a:cubicBezTo>
                  <a:cubicBezTo>
                    <a:pt x="3" y="35"/>
                    <a:pt x="4" y="36"/>
                    <a:pt x="4" y="37"/>
                  </a:cubicBezTo>
                  <a:cubicBezTo>
                    <a:pt x="5" y="39"/>
                    <a:pt x="6" y="40"/>
                    <a:pt x="6" y="42"/>
                  </a:cubicBezTo>
                  <a:cubicBezTo>
                    <a:pt x="7" y="42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6"/>
                    <a:pt x="11" y="46"/>
                  </a:cubicBezTo>
                  <a:cubicBezTo>
                    <a:pt x="11" y="46"/>
                    <a:pt x="12" y="46"/>
                    <a:pt x="12" y="46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7" y="48"/>
                    <a:pt x="17" y="49"/>
                    <a:pt x="17" y="49"/>
                  </a:cubicBezTo>
                  <a:cubicBezTo>
                    <a:pt x="17" y="50"/>
                    <a:pt x="17" y="51"/>
                    <a:pt x="18" y="51"/>
                  </a:cubicBezTo>
                  <a:cubicBezTo>
                    <a:pt x="19" y="52"/>
                    <a:pt x="21" y="51"/>
                    <a:pt x="22" y="50"/>
                  </a:cubicBezTo>
                  <a:cubicBezTo>
                    <a:pt x="24" y="49"/>
                    <a:pt x="25" y="50"/>
                    <a:pt x="26" y="52"/>
                  </a:cubicBezTo>
                  <a:cubicBezTo>
                    <a:pt x="26" y="52"/>
                    <a:pt x="26" y="53"/>
                    <a:pt x="27" y="53"/>
                  </a:cubicBezTo>
                  <a:cubicBezTo>
                    <a:pt x="28" y="53"/>
                    <a:pt x="29" y="53"/>
                    <a:pt x="29" y="54"/>
                  </a:cubicBezTo>
                  <a:cubicBezTo>
                    <a:pt x="30" y="54"/>
                    <a:pt x="30" y="54"/>
                    <a:pt x="31" y="55"/>
                  </a:cubicBezTo>
                  <a:cubicBezTo>
                    <a:pt x="32" y="56"/>
                    <a:pt x="33" y="57"/>
                    <a:pt x="35" y="58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8" y="59"/>
                    <a:pt x="40" y="58"/>
                    <a:pt x="42" y="60"/>
                  </a:cubicBezTo>
                  <a:cubicBezTo>
                    <a:pt x="42" y="60"/>
                    <a:pt x="42" y="62"/>
                    <a:pt x="42" y="62"/>
                  </a:cubicBezTo>
                  <a:cubicBezTo>
                    <a:pt x="43" y="62"/>
                    <a:pt x="44" y="62"/>
                    <a:pt x="45" y="62"/>
                  </a:cubicBezTo>
                  <a:cubicBezTo>
                    <a:pt x="46" y="62"/>
                    <a:pt x="46" y="61"/>
                    <a:pt x="47" y="60"/>
                  </a:cubicBezTo>
                  <a:cubicBezTo>
                    <a:pt x="49" y="60"/>
                    <a:pt x="50" y="60"/>
                    <a:pt x="52" y="61"/>
                  </a:cubicBezTo>
                  <a:cubicBezTo>
                    <a:pt x="53" y="61"/>
                    <a:pt x="54" y="62"/>
                    <a:pt x="55" y="62"/>
                  </a:cubicBezTo>
                  <a:cubicBezTo>
                    <a:pt x="57" y="63"/>
                    <a:pt x="58" y="64"/>
                    <a:pt x="59" y="64"/>
                  </a:cubicBezTo>
                  <a:cubicBezTo>
                    <a:pt x="61" y="65"/>
                    <a:pt x="62" y="65"/>
                    <a:pt x="64" y="65"/>
                  </a:cubicBezTo>
                  <a:cubicBezTo>
                    <a:pt x="64" y="63"/>
                    <a:pt x="64" y="60"/>
                    <a:pt x="64" y="58"/>
                  </a:cubicBezTo>
                  <a:cubicBezTo>
                    <a:pt x="64" y="57"/>
                    <a:pt x="66" y="56"/>
                    <a:pt x="66" y="55"/>
                  </a:cubicBezTo>
                  <a:cubicBezTo>
                    <a:pt x="68" y="54"/>
                    <a:pt x="69" y="52"/>
                    <a:pt x="70" y="50"/>
                  </a:cubicBezTo>
                  <a:cubicBezTo>
                    <a:pt x="70" y="50"/>
                    <a:pt x="71" y="50"/>
                    <a:pt x="71" y="49"/>
                  </a:cubicBezTo>
                  <a:cubicBezTo>
                    <a:pt x="72" y="49"/>
                    <a:pt x="73" y="48"/>
                    <a:pt x="73" y="47"/>
                  </a:cubicBezTo>
                  <a:cubicBezTo>
                    <a:pt x="74" y="45"/>
                    <a:pt x="73" y="43"/>
                    <a:pt x="73" y="42"/>
                  </a:cubicBezTo>
                  <a:cubicBezTo>
                    <a:pt x="72" y="41"/>
                    <a:pt x="72" y="40"/>
                    <a:pt x="72" y="40"/>
                  </a:cubicBezTo>
                  <a:cubicBezTo>
                    <a:pt x="70" y="37"/>
                    <a:pt x="72" y="35"/>
                    <a:pt x="71" y="32"/>
                  </a:cubicBezTo>
                  <a:cubicBezTo>
                    <a:pt x="70" y="31"/>
                    <a:pt x="70" y="31"/>
                    <a:pt x="69" y="30"/>
                  </a:cubicBezTo>
                  <a:cubicBezTo>
                    <a:pt x="69" y="29"/>
                    <a:pt x="69" y="29"/>
                    <a:pt x="69" y="28"/>
                  </a:cubicBezTo>
                  <a:cubicBezTo>
                    <a:pt x="69" y="27"/>
                    <a:pt x="71" y="26"/>
                    <a:pt x="71" y="25"/>
                  </a:cubicBezTo>
                  <a:cubicBezTo>
                    <a:pt x="72" y="23"/>
                    <a:pt x="71" y="20"/>
                    <a:pt x="70" y="18"/>
                  </a:cubicBezTo>
                  <a:cubicBezTo>
                    <a:pt x="70" y="17"/>
                    <a:pt x="69" y="16"/>
                    <a:pt x="69" y="16"/>
                  </a:cubicBezTo>
                  <a:cubicBezTo>
                    <a:pt x="69" y="14"/>
                    <a:pt x="69" y="13"/>
                    <a:pt x="69" y="11"/>
                  </a:cubicBezTo>
                  <a:cubicBezTo>
                    <a:pt x="69" y="11"/>
                    <a:pt x="68" y="11"/>
                    <a:pt x="68" y="11"/>
                  </a:cubicBezTo>
                  <a:cubicBezTo>
                    <a:pt x="66" y="9"/>
                    <a:pt x="64" y="8"/>
                    <a:pt x="62" y="6"/>
                  </a:cubicBezTo>
                  <a:cubicBezTo>
                    <a:pt x="60" y="7"/>
                    <a:pt x="57" y="6"/>
                    <a:pt x="54" y="7"/>
                  </a:cubicBezTo>
                  <a:cubicBezTo>
                    <a:pt x="53" y="8"/>
                    <a:pt x="50" y="7"/>
                    <a:pt x="48" y="7"/>
                  </a:cubicBezTo>
                  <a:cubicBezTo>
                    <a:pt x="47" y="6"/>
                    <a:pt x="46" y="6"/>
                    <a:pt x="45" y="6"/>
                  </a:cubicBezTo>
                  <a:cubicBezTo>
                    <a:pt x="44" y="5"/>
                    <a:pt x="43" y="5"/>
                    <a:pt x="42" y="5"/>
                  </a:cubicBezTo>
                  <a:lnTo>
                    <a:pt x="41" y="6"/>
                  </a:ln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3" name="Freeform 113"/>
            <p:cNvSpPr>
              <a:spLocks/>
            </p:cNvSpPr>
            <p:nvPr/>
          </p:nvSpPr>
          <p:spPr bwMode="auto">
            <a:xfrm>
              <a:off x="7020056" y="3308874"/>
              <a:ext cx="20819" cy="14330"/>
            </a:xfrm>
            <a:custGeom>
              <a:avLst/>
              <a:gdLst>
                <a:gd name="T0" fmla="*/ 0 w 44"/>
                <a:gd name="T1" fmla="*/ 13529051 h 30"/>
                <a:gd name="T2" fmla="*/ 849380 w 44"/>
                <a:gd name="T3" fmla="*/ 11390399 h 30"/>
                <a:gd name="T4" fmla="*/ 849380 w 44"/>
                <a:gd name="T5" fmla="*/ 8611898 h 30"/>
                <a:gd name="T6" fmla="*/ 849380 w 44"/>
                <a:gd name="T7" fmla="*/ 4812844 h 30"/>
                <a:gd name="T8" fmla="*/ 0 w 44"/>
                <a:gd name="T9" fmla="*/ 2936809 h 30"/>
                <a:gd name="T10" fmla="*/ 849380 w 44"/>
                <a:gd name="T11" fmla="*/ 2936809 h 30"/>
                <a:gd name="T12" fmla="*/ 8480159 w 44"/>
                <a:gd name="T13" fmla="*/ 0 h 30"/>
                <a:gd name="T14" fmla="*/ 18036113 w 44"/>
                <a:gd name="T15" fmla="*/ 859266 h 30"/>
                <a:gd name="T16" fmla="*/ 25663078 w 44"/>
                <a:gd name="T17" fmla="*/ 2936809 h 30"/>
                <a:gd name="T18" fmla="*/ 32133918 w 44"/>
                <a:gd name="T19" fmla="*/ 2936809 h 30"/>
                <a:gd name="T20" fmla="*/ 33265627 w 44"/>
                <a:gd name="T21" fmla="*/ 3638831 h 30"/>
                <a:gd name="T22" fmla="*/ 36149092 w 44"/>
                <a:gd name="T23" fmla="*/ 7817668 h 30"/>
                <a:gd name="T24" fmla="*/ 38886749 w 44"/>
                <a:gd name="T25" fmla="*/ 7817668 h 30"/>
                <a:gd name="T26" fmla="*/ 38886749 w 44"/>
                <a:gd name="T27" fmla="*/ 8611898 h 30"/>
                <a:gd name="T28" fmla="*/ 40962012 w 44"/>
                <a:gd name="T29" fmla="*/ 11390399 h 30"/>
                <a:gd name="T30" fmla="*/ 41744243 w 44"/>
                <a:gd name="T31" fmla="*/ 12629529 h 30"/>
                <a:gd name="T32" fmla="*/ 36149092 w 44"/>
                <a:gd name="T33" fmla="*/ 15562709 h 30"/>
                <a:gd name="T34" fmla="*/ 35002578 w 44"/>
                <a:gd name="T35" fmla="*/ 16449385 h 30"/>
                <a:gd name="T36" fmla="*/ 34141571 w 44"/>
                <a:gd name="T37" fmla="*/ 22140284 h 30"/>
                <a:gd name="T38" fmla="*/ 34141571 w 44"/>
                <a:gd name="T39" fmla="*/ 23379470 h 30"/>
                <a:gd name="T40" fmla="*/ 27670977 w 44"/>
                <a:gd name="T41" fmla="*/ 25441348 h 30"/>
                <a:gd name="T42" fmla="*/ 26510886 w 44"/>
                <a:gd name="T43" fmla="*/ 28219852 h 30"/>
                <a:gd name="T44" fmla="*/ 21764422 w 44"/>
                <a:gd name="T45" fmla="*/ 26957264 h 30"/>
                <a:gd name="T46" fmla="*/ 20043998 w 44"/>
                <a:gd name="T47" fmla="*/ 26957264 h 30"/>
                <a:gd name="T48" fmla="*/ 20043998 w 44"/>
                <a:gd name="T49" fmla="*/ 26957264 h 30"/>
                <a:gd name="T50" fmla="*/ 18819602 w 44"/>
                <a:gd name="T51" fmla="*/ 26957264 h 30"/>
                <a:gd name="T52" fmla="*/ 13226484 w 44"/>
                <a:gd name="T53" fmla="*/ 22140284 h 30"/>
                <a:gd name="T54" fmla="*/ 12441464 w 44"/>
                <a:gd name="T55" fmla="*/ 22140284 h 30"/>
                <a:gd name="T56" fmla="*/ 10341118 w 44"/>
                <a:gd name="T57" fmla="*/ 17602945 h 30"/>
                <a:gd name="T58" fmla="*/ 7630664 w 44"/>
                <a:gd name="T59" fmla="*/ 16449385 h 30"/>
                <a:gd name="T60" fmla="*/ 849380 w 44"/>
                <a:gd name="T61" fmla="*/ 13529051 h 30"/>
                <a:gd name="T62" fmla="*/ 0 w 44"/>
                <a:gd name="T63" fmla="*/ 13529051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4"/>
                <a:gd name="T97" fmla="*/ 0 h 30"/>
                <a:gd name="T98" fmla="*/ 44 w 44"/>
                <a:gd name="T99" fmla="*/ 30 h 3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4" h="30">
                  <a:moveTo>
                    <a:pt x="0" y="14"/>
                  </a:moveTo>
                  <a:cubicBezTo>
                    <a:pt x="0" y="13"/>
                    <a:pt x="1" y="13"/>
                    <a:pt x="1" y="12"/>
                  </a:cubicBezTo>
                  <a:cubicBezTo>
                    <a:pt x="1" y="11"/>
                    <a:pt x="1" y="10"/>
                    <a:pt x="1" y="9"/>
                  </a:cubicBezTo>
                  <a:cubicBezTo>
                    <a:pt x="2" y="8"/>
                    <a:pt x="1" y="6"/>
                    <a:pt x="1" y="5"/>
                  </a:cubicBezTo>
                  <a:cubicBezTo>
                    <a:pt x="1" y="4"/>
                    <a:pt x="0" y="4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4" y="2"/>
                    <a:pt x="7" y="2"/>
                    <a:pt x="9" y="0"/>
                  </a:cubicBezTo>
                  <a:cubicBezTo>
                    <a:pt x="12" y="0"/>
                    <a:pt x="16" y="0"/>
                    <a:pt x="19" y="1"/>
                  </a:cubicBezTo>
                  <a:cubicBezTo>
                    <a:pt x="22" y="1"/>
                    <a:pt x="24" y="2"/>
                    <a:pt x="27" y="3"/>
                  </a:cubicBezTo>
                  <a:cubicBezTo>
                    <a:pt x="29" y="3"/>
                    <a:pt x="31" y="2"/>
                    <a:pt x="34" y="3"/>
                  </a:cubicBezTo>
                  <a:cubicBezTo>
                    <a:pt x="34" y="3"/>
                    <a:pt x="35" y="3"/>
                    <a:pt x="35" y="4"/>
                  </a:cubicBezTo>
                  <a:cubicBezTo>
                    <a:pt x="35" y="6"/>
                    <a:pt x="36" y="8"/>
                    <a:pt x="38" y="8"/>
                  </a:cubicBezTo>
                  <a:cubicBezTo>
                    <a:pt x="39" y="9"/>
                    <a:pt x="39" y="9"/>
                    <a:pt x="41" y="8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10"/>
                    <a:pt x="42" y="11"/>
                    <a:pt x="43" y="12"/>
                  </a:cubicBezTo>
                  <a:cubicBezTo>
                    <a:pt x="44" y="12"/>
                    <a:pt x="44" y="12"/>
                    <a:pt x="44" y="13"/>
                  </a:cubicBezTo>
                  <a:cubicBezTo>
                    <a:pt x="44" y="15"/>
                    <a:pt x="40" y="16"/>
                    <a:pt x="38" y="16"/>
                  </a:cubicBezTo>
                  <a:cubicBezTo>
                    <a:pt x="38" y="16"/>
                    <a:pt x="37" y="17"/>
                    <a:pt x="37" y="17"/>
                  </a:cubicBezTo>
                  <a:cubicBezTo>
                    <a:pt x="36" y="19"/>
                    <a:pt x="37" y="21"/>
                    <a:pt x="36" y="23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3" y="25"/>
                    <a:pt x="31" y="24"/>
                    <a:pt x="29" y="26"/>
                  </a:cubicBezTo>
                  <a:cubicBezTo>
                    <a:pt x="28" y="27"/>
                    <a:pt x="29" y="29"/>
                    <a:pt x="28" y="29"/>
                  </a:cubicBezTo>
                  <a:cubicBezTo>
                    <a:pt x="26" y="30"/>
                    <a:pt x="24" y="29"/>
                    <a:pt x="23" y="28"/>
                  </a:cubicBezTo>
                  <a:cubicBezTo>
                    <a:pt x="22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0" y="28"/>
                    <a:pt x="20" y="28"/>
                  </a:cubicBezTo>
                  <a:cubicBezTo>
                    <a:pt x="18" y="26"/>
                    <a:pt x="16" y="25"/>
                    <a:pt x="14" y="23"/>
                  </a:cubicBezTo>
                  <a:cubicBezTo>
                    <a:pt x="14" y="23"/>
                    <a:pt x="14" y="23"/>
                    <a:pt x="13" y="23"/>
                  </a:cubicBezTo>
                  <a:cubicBezTo>
                    <a:pt x="13" y="21"/>
                    <a:pt x="13" y="19"/>
                    <a:pt x="11" y="18"/>
                  </a:cubicBezTo>
                  <a:cubicBezTo>
                    <a:pt x="11" y="17"/>
                    <a:pt x="9" y="18"/>
                    <a:pt x="8" y="17"/>
                  </a:cubicBezTo>
                  <a:cubicBezTo>
                    <a:pt x="6" y="16"/>
                    <a:pt x="4" y="15"/>
                    <a:pt x="1" y="14"/>
                  </a:cubicBezTo>
                  <a:lnTo>
                    <a:pt x="0" y="14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4" name="Freeform 114"/>
            <p:cNvSpPr>
              <a:spLocks/>
            </p:cNvSpPr>
            <p:nvPr/>
          </p:nvSpPr>
          <p:spPr bwMode="auto">
            <a:xfrm>
              <a:off x="7020056" y="3298600"/>
              <a:ext cx="25334" cy="14330"/>
            </a:xfrm>
            <a:custGeom>
              <a:avLst/>
              <a:gdLst>
                <a:gd name="T0" fmla="*/ 0 w 54"/>
                <a:gd name="T1" fmla="*/ 24415991 h 29"/>
                <a:gd name="T2" fmla="*/ 874095 w 54"/>
                <a:gd name="T3" fmla="*/ 19024842 h 29"/>
                <a:gd name="T4" fmla="*/ 2071929 w 54"/>
                <a:gd name="T5" fmla="*/ 16060441 h 29"/>
                <a:gd name="T6" fmla="*/ 3739447 w 54"/>
                <a:gd name="T7" fmla="*/ 13792987 h 29"/>
                <a:gd name="T8" fmla="*/ 2984029 w 54"/>
                <a:gd name="T9" fmla="*/ 10664023 h 29"/>
                <a:gd name="T10" fmla="*/ 3739447 w 54"/>
                <a:gd name="T11" fmla="*/ 6187297 h 29"/>
                <a:gd name="T12" fmla="*/ 8863872 w 54"/>
                <a:gd name="T13" fmla="*/ 4481981 h 29"/>
                <a:gd name="T14" fmla="*/ 10951795 w 54"/>
                <a:gd name="T15" fmla="*/ 4481981 h 29"/>
                <a:gd name="T16" fmla="*/ 11641450 w 54"/>
                <a:gd name="T17" fmla="*/ 6187297 h 29"/>
                <a:gd name="T18" fmla="*/ 18064640 w 54"/>
                <a:gd name="T19" fmla="*/ 11592554 h 29"/>
                <a:gd name="T20" fmla="*/ 18943658 w 54"/>
                <a:gd name="T21" fmla="*/ 12839740 h 29"/>
                <a:gd name="T22" fmla="*/ 22964094 w 54"/>
                <a:gd name="T23" fmla="*/ 10664023 h 29"/>
                <a:gd name="T24" fmla="*/ 22964094 w 54"/>
                <a:gd name="T25" fmla="*/ 7443335 h 29"/>
                <a:gd name="T26" fmla="*/ 22964094 w 54"/>
                <a:gd name="T27" fmla="*/ 4481981 h 29"/>
                <a:gd name="T28" fmla="*/ 23876004 w 54"/>
                <a:gd name="T29" fmla="*/ 2268059 h 29"/>
                <a:gd name="T30" fmla="*/ 24755278 w 54"/>
                <a:gd name="T31" fmla="*/ 2268059 h 29"/>
                <a:gd name="T32" fmla="*/ 29666476 w 54"/>
                <a:gd name="T33" fmla="*/ 0 h 29"/>
                <a:gd name="T34" fmla="*/ 31844808 w 54"/>
                <a:gd name="T35" fmla="*/ 0 h 29"/>
                <a:gd name="T36" fmla="*/ 33951763 w 54"/>
                <a:gd name="T37" fmla="*/ 3128358 h 29"/>
                <a:gd name="T38" fmla="*/ 38549332 w 54"/>
                <a:gd name="T39" fmla="*/ 7443335 h 29"/>
                <a:gd name="T40" fmla="*/ 46472236 w 54"/>
                <a:gd name="T41" fmla="*/ 7443335 h 29"/>
                <a:gd name="T42" fmla="*/ 48605189 w 54"/>
                <a:gd name="T43" fmla="*/ 10664023 h 29"/>
                <a:gd name="T44" fmla="*/ 48605189 w 54"/>
                <a:gd name="T45" fmla="*/ 10664023 h 29"/>
                <a:gd name="T46" fmla="*/ 49803041 w 54"/>
                <a:gd name="T47" fmla="*/ 11592554 h 29"/>
                <a:gd name="T48" fmla="*/ 48605189 w 54"/>
                <a:gd name="T49" fmla="*/ 17709997 h 29"/>
                <a:gd name="T50" fmla="*/ 53542461 w 54"/>
                <a:gd name="T51" fmla="*/ 24415991 h 29"/>
                <a:gd name="T52" fmla="*/ 52895407 w 54"/>
                <a:gd name="T53" fmla="*/ 24415991 h 29"/>
                <a:gd name="T54" fmla="*/ 52895407 w 54"/>
                <a:gd name="T55" fmla="*/ 24415991 h 29"/>
                <a:gd name="T56" fmla="*/ 47731111 w 54"/>
                <a:gd name="T57" fmla="*/ 27582281 h 29"/>
                <a:gd name="T58" fmla="*/ 46472236 w 54"/>
                <a:gd name="T59" fmla="*/ 28345583 h 29"/>
                <a:gd name="T60" fmla="*/ 45648068 w 54"/>
                <a:gd name="T61" fmla="*/ 28345583 h 29"/>
                <a:gd name="T62" fmla="*/ 40654059 w 54"/>
                <a:gd name="T63" fmla="*/ 29589619 h 29"/>
                <a:gd name="T64" fmla="*/ 37658319 w 54"/>
                <a:gd name="T65" fmla="*/ 29589619 h 29"/>
                <a:gd name="T66" fmla="*/ 34830772 w 54"/>
                <a:gd name="T67" fmla="*/ 25373006 h 29"/>
                <a:gd name="T68" fmla="*/ 33951763 w 54"/>
                <a:gd name="T69" fmla="*/ 24415991 h 29"/>
                <a:gd name="T70" fmla="*/ 26838890 w 54"/>
                <a:gd name="T71" fmla="*/ 24415991 h 29"/>
                <a:gd name="T72" fmla="*/ 18943658 w 54"/>
                <a:gd name="T73" fmla="*/ 22147900 h 29"/>
                <a:gd name="T74" fmla="*/ 8863872 w 54"/>
                <a:gd name="T75" fmla="*/ 21234112 h 29"/>
                <a:gd name="T76" fmla="*/ 874095 w 54"/>
                <a:gd name="T77" fmla="*/ 24415991 h 29"/>
                <a:gd name="T78" fmla="*/ 0 w 54"/>
                <a:gd name="T79" fmla="*/ 24415991 h 2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4"/>
                <a:gd name="T121" fmla="*/ 0 h 29"/>
                <a:gd name="T122" fmla="*/ 54 w 54"/>
                <a:gd name="T123" fmla="*/ 29 h 2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4" h="29">
                  <a:moveTo>
                    <a:pt x="0" y="23"/>
                  </a:moveTo>
                  <a:cubicBezTo>
                    <a:pt x="0" y="21"/>
                    <a:pt x="0" y="20"/>
                    <a:pt x="1" y="18"/>
                  </a:cubicBezTo>
                  <a:cubicBezTo>
                    <a:pt x="1" y="17"/>
                    <a:pt x="1" y="16"/>
                    <a:pt x="2" y="15"/>
                  </a:cubicBezTo>
                  <a:cubicBezTo>
                    <a:pt x="2" y="14"/>
                    <a:pt x="4" y="14"/>
                    <a:pt x="4" y="13"/>
                  </a:cubicBezTo>
                  <a:cubicBezTo>
                    <a:pt x="4" y="12"/>
                    <a:pt x="5" y="10"/>
                    <a:pt x="3" y="10"/>
                  </a:cubicBezTo>
                  <a:cubicBezTo>
                    <a:pt x="3" y="8"/>
                    <a:pt x="3" y="7"/>
                    <a:pt x="4" y="6"/>
                  </a:cubicBezTo>
                  <a:cubicBezTo>
                    <a:pt x="5" y="5"/>
                    <a:pt x="8" y="5"/>
                    <a:pt x="9" y="4"/>
                  </a:cubicBezTo>
                  <a:cubicBezTo>
                    <a:pt x="9" y="4"/>
                    <a:pt x="10" y="4"/>
                    <a:pt x="11" y="4"/>
                  </a:cubicBezTo>
                  <a:cubicBezTo>
                    <a:pt x="12" y="5"/>
                    <a:pt x="12" y="6"/>
                    <a:pt x="12" y="6"/>
                  </a:cubicBezTo>
                  <a:cubicBezTo>
                    <a:pt x="15" y="7"/>
                    <a:pt x="17" y="9"/>
                    <a:pt x="18" y="11"/>
                  </a:cubicBezTo>
                  <a:cubicBezTo>
                    <a:pt x="18" y="11"/>
                    <a:pt x="18" y="12"/>
                    <a:pt x="19" y="12"/>
                  </a:cubicBezTo>
                  <a:cubicBezTo>
                    <a:pt x="21" y="12"/>
                    <a:pt x="22" y="12"/>
                    <a:pt x="23" y="10"/>
                  </a:cubicBezTo>
                  <a:cubicBezTo>
                    <a:pt x="24" y="9"/>
                    <a:pt x="24" y="8"/>
                    <a:pt x="23" y="7"/>
                  </a:cubicBezTo>
                  <a:cubicBezTo>
                    <a:pt x="23" y="6"/>
                    <a:pt x="22" y="5"/>
                    <a:pt x="23" y="4"/>
                  </a:cubicBezTo>
                  <a:cubicBezTo>
                    <a:pt x="23" y="3"/>
                    <a:pt x="24" y="3"/>
                    <a:pt x="24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7" y="2"/>
                    <a:pt x="29" y="2"/>
                    <a:pt x="30" y="0"/>
                  </a:cubicBezTo>
                  <a:cubicBezTo>
                    <a:pt x="30" y="0"/>
                    <a:pt x="31" y="0"/>
                    <a:pt x="32" y="0"/>
                  </a:cubicBezTo>
                  <a:cubicBezTo>
                    <a:pt x="33" y="1"/>
                    <a:pt x="33" y="2"/>
                    <a:pt x="34" y="3"/>
                  </a:cubicBezTo>
                  <a:cubicBezTo>
                    <a:pt x="35" y="5"/>
                    <a:pt x="38" y="5"/>
                    <a:pt x="39" y="7"/>
                  </a:cubicBezTo>
                  <a:cubicBezTo>
                    <a:pt x="42" y="7"/>
                    <a:pt x="44" y="7"/>
                    <a:pt x="47" y="7"/>
                  </a:cubicBezTo>
                  <a:cubicBezTo>
                    <a:pt x="47" y="8"/>
                    <a:pt x="48" y="9"/>
                    <a:pt x="49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1"/>
                    <a:pt x="50" y="11"/>
                    <a:pt x="50" y="11"/>
                  </a:cubicBezTo>
                  <a:cubicBezTo>
                    <a:pt x="49" y="13"/>
                    <a:pt x="49" y="15"/>
                    <a:pt x="49" y="17"/>
                  </a:cubicBezTo>
                  <a:cubicBezTo>
                    <a:pt x="50" y="19"/>
                    <a:pt x="53" y="20"/>
                    <a:pt x="54" y="23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1" y="24"/>
                    <a:pt x="50" y="25"/>
                    <a:pt x="48" y="26"/>
                  </a:cubicBezTo>
                  <a:cubicBezTo>
                    <a:pt x="48" y="27"/>
                    <a:pt x="48" y="27"/>
                    <a:pt x="47" y="27"/>
                  </a:cubicBezTo>
                  <a:cubicBezTo>
                    <a:pt x="47" y="27"/>
                    <a:pt x="46" y="27"/>
                    <a:pt x="46" y="27"/>
                  </a:cubicBezTo>
                  <a:cubicBezTo>
                    <a:pt x="44" y="28"/>
                    <a:pt x="42" y="28"/>
                    <a:pt x="41" y="28"/>
                  </a:cubicBezTo>
                  <a:cubicBezTo>
                    <a:pt x="39" y="29"/>
                    <a:pt x="39" y="29"/>
                    <a:pt x="38" y="28"/>
                  </a:cubicBezTo>
                  <a:cubicBezTo>
                    <a:pt x="36" y="28"/>
                    <a:pt x="35" y="26"/>
                    <a:pt x="35" y="24"/>
                  </a:cubicBezTo>
                  <a:cubicBezTo>
                    <a:pt x="35" y="23"/>
                    <a:pt x="34" y="23"/>
                    <a:pt x="34" y="23"/>
                  </a:cubicBezTo>
                  <a:cubicBezTo>
                    <a:pt x="31" y="22"/>
                    <a:pt x="29" y="23"/>
                    <a:pt x="27" y="23"/>
                  </a:cubicBezTo>
                  <a:cubicBezTo>
                    <a:pt x="24" y="22"/>
                    <a:pt x="22" y="21"/>
                    <a:pt x="19" y="21"/>
                  </a:cubicBezTo>
                  <a:cubicBezTo>
                    <a:pt x="16" y="20"/>
                    <a:pt x="12" y="20"/>
                    <a:pt x="9" y="20"/>
                  </a:cubicBezTo>
                  <a:cubicBezTo>
                    <a:pt x="7" y="22"/>
                    <a:pt x="4" y="22"/>
                    <a:pt x="1" y="23"/>
                  </a:cubicBezTo>
                  <a:lnTo>
                    <a:pt x="0" y="2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5" name="Freeform 115"/>
            <p:cNvSpPr>
              <a:spLocks/>
            </p:cNvSpPr>
            <p:nvPr/>
          </p:nvSpPr>
          <p:spPr bwMode="auto">
            <a:xfrm>
              <a:off x="7028333" y="3289677"/>
              <a:ext cx="15802" cy="12437"/>
            </a:xfrm>
            <a:custGeom>
              <a:avLst/>
              <a:gdLst>
                <a:gd name="T0" fmla="*/ 6023953 w 34"/>
                <a:gd name="T1" fmla="*/ 17604740 h 26"/>
                <a:gd name="T2" fmla="*/ 6023953 w 34"/>
                <a:gd name="T3" fmla="*/ 13633585 h 26"/>
                <a:gd name="T4" fmla="*/ 5300376 w 34"/>
                <a:gd name="T5" fmla="*/ 13633585 h 26"/>
                <a:gd name="T6" fmla="*/ 2560181 w 34"/>
                <a:gd name="T7" fmla="*/ 14406455 h 26"/>
                <a:gd name="T8" fmla="*/ 1898557 w 34"/>
                <a:gd name="T9" fmla="*/ 13633585 h 26"/>
                <a:gd name="T10" fmla="*/ 1898557 w 34"/>
                <a:gd name="T11" fmla="*/ 11156751 h 26"/>
                <a:gd name="T12" fmla="*/ 806887 w 34"/>
                <a:gd name="T13" fmla="*/ 11156751 h 26"/>
                <a:gd name="T14" fmla="*/ 0 w 34"/>
                <a:gd name="T15" fmla="*/ 7503662 h 26"/>
                <a:gd name="T16" fmla="*/ 0 w 34"/>
                <a:gd name="T17" fmla="*/ 5038211 h 26"/>
                <a:gd name="T18" fmla="*/ 1898557 w 34"/>
                <a:gd name="T19" fmla="*/ 4316773 h 26"/>
                <a:gd name="T20" fmla="*/ 3318400 w 34"/>
                <a:gd name="T21" fmla="*/ 4316773 h 26"/>
                <a:gd name="T22" fmla="*/ 5300376 w 34"/>
                <a:gd name="T23" fmla="*/ 3198282 h 26"/>
                <a:gd name="T24" fmla="*/ 8957156 w 34"/>
                <a:gd name="T25" fmla="*/ 1839936 h 26"/>
                <a:gd name="T26" fmla="*/ 14174003 w 34"/>
                <a:gd name="T27" fmla="*/ 784235 h 26"/>
                <a:gd name="T28" fmla="*/ 19433342 w 34"/>
                <a:gd name="T29" fmla="*/ 784235 h 26"/>
                <a:gd name="T30" fmla="*/ 26630397 w 34"/>
                <a:gd name="T31" fmla="*/ 1839936 h 26"/>
                <a:gd name="T32" fmla="*/ 29344636 w 34"/>
                <a:gd name="T33" fmla="*/ 1839936 h 26"/>
                <a:gd name="T34" fmla="*/ 29948683 w 34"/>
                <a:gd name="T35" fmla="*/ 1839936 h 26"/>
                <a:gd name="T36" fmla="*/ 26630397 w 34"/>
                <a:gd name="T37" fmla="*/ 6922623 h 26"/>
                <a:gd name="T38" fmla="*/ 26630397 w 34"/>
                <a:gd name="T39" fmla="*/ 14406455 h 26"/>
                <a:gd name="T40" fmla="*/ 29344636 w 34"/>
                <a:gd name="T41" fmla="*/ 16821088 h 26"/>
                <a:gd name="T42" fmla="*/ 27437644 w 34"/>
                <a:gd name="T43" fmla="*/ 18660434 h 26"/>
                <a:gd name="T44" fmla="*/ 26630397 w 34"/>
                <a:gd name="T45" fmla="*/ 20026566 h 26"/>
                <a:gd name="T46" fmla="*/ 26630397 w 34"/>
                <a:gd name="T47" fmla="*/ 21921488 h 26"/>
                <a:gd name="T48" fmla="*/ 19433342 w 34"/>
                <a:gd name="T49" fmla="*/ 21921488 h 26"/>
                <a:gd name="T50" fmla="*/ 14978991 w 34"/>
                <a:gd name="T51" fmla="*/ 18660434 h 26"/>
                <a:gd name="T52" fmla="*/ 13070851 w 34"/>
                <a:gd name="T53" fmla="*/ 16241531 h 26"/>
                <a:gd name="T54" fmla="*/ 11661007 w 34"/>
                <a:gd name="T55" fmla="*/ 16241531 h 26"/>
                <a:gd name="T56" fmla="*/ 7173119 w 34"/>
                <a:gd name="T57" fmla="*/ 17604740 h 26"/>
                <a:gd name="T58" fmla="*/ 6023953 w 34"/>
                <a:gd name="T59" fmla="*/ 17604740 h 2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4"/>
                <a:gd name="T91" fmla="*/ 0 h 26"/>
                <a:gd name="T92" fmla="*/ 34 w 34"/>
                <a:gd name="T93" fmla="*/ 26 h 2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4" h="26">
                  <a:moveTo>
                    <a:pt x="7" y="21"/>
                  </a:moveTo>
                  <a:cubicBezTo>
                    <a:pt x="7" y="19"/>
                    <a:pt x="7" y="18"/>
                    <a:pt x="7" y="16"/>
                  </a:cubicBezTo>
                  <a:cubicBezTo>
                    <a:pt x="7" y="16"/>
                    <a:pt x="6" y="16"/>
                    <a:pt x="6" y="16"/>
                  </a:cubicBezTo>
                  <a:cubicBezTo>
                    <a:pt x="6" y="17"/>
                    <a:pt x="4" y="18"/>
                    <a:pt x="3" y="17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2" y="15"/>
                    <a:pt x="2" y="14"/>
                    <a:pt x="2" y="13"/>
                  </a:cubicBezTo>
                  <a:cubicBezTo>
                    <a:pt x="2" y="13"/>
                    <a:pt x="1" y="13"/>
                    <a:pt x="1" y="13"/>
                  </a:cubicBezTo>
                  <a:cubicBezTo>
                    <a:pt x="1" y="12"/>
                    <a:pt x="1" y="10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1" y="5"/>
                    <a:pt x="2" y="5"/>
                  </a:cubicBezTo>
                  <a:cubicBezTo>
                    <a:pt x="3" y="5"/>
                    <a:pt x="3" y="5"/>
                    <a:pt x="4" y="5"/>
                  </a:cubicBezTo>
                  <a:cubicBezTo>
                    <a:pt x="5" y="5"/>
                    <a:pt x="5" y="4"/>
                    <a:pt x="6" y="4"/>
                  </a:cubicBezTo>
                  <a:cubicBezTo>
                    <a:pt x="7" y="3"/>
                    <a:pt x="8" y="3"/>
                    <a:pt x="10" y="2"/>
                  </a:cubicBezTo>
                  <a:cubicBezTo>
                    <a:pt x="12" y="1"/>
                    <a:pt x="14" y="2"/>
                    <a:pt x="16" y="1"/>
                  </a:cubicBezTo>
                  <a:cubicBezTo>
                    <a:pt x="18" y="0"/>
                    <a:pt x="21" y="1"/>
                    <a:pt x="22" y="1"/>
                  </a:cubicBezTo>
                  <a:cubicBezTo>
                    <a:pt x="25" y="2"/>
                    <a:pt x="27" y="1"/>
                    <a:pt x="30" y="2"/>
                  </a:cubicBezTo>
                  <a:cubicBezTo>
                    <a:pt x="31" y="3"/>
                    <a:pt x="32" y="3"/>
                    <a:pt x="33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5"/>
                    <a:pt x="32" y="7"/>
                    <a:pt x="30" y="8"/>
                  </a:cubicBezTo>
                  <a:cubicBezTo>
                    <a:pt x="30" y="11"/>
                    <a:pt x="30" y="14"/>
                    <a:pt x="30" y="17"/>
                  </a:cubicBezTo>
                  <a:cubicBezTo>
                    <a:pt x="31" y="18"/>
                    <a:pt x="34" y="19"/>
                    <a:pt x="33" y="20"/>
                  </a:cubicBezTo>
                  <a:cubicBezTo>
                    <a:pt x="32" y="21"/>
                    <a:pt x="32" y="22"/>
                    <a:pt x="31" y="22"/>
                  </a:cubicBezTo>
                  <a:cubicBezTo>
                    <a:pt x="31" y="23"/>
                    <a:pt x="30" y="23"/>
                    <a:pt x="30" y="24"/>
                  </a:cubicBezTo>
                  <a:cubicBezTo>
                    <a:pt x="30" y="25"/>
                    <a:pt x="29" y="25"/>
                    <a:pt x="30" y="26"/>
                  </a:cubicBezTo>
                  <a:cubicBezTo>
                    <a:pt x="27" y="26"/>
                    <a:pt x="25" y="26"/>
                    <a:pt x="22" y="26"/>
                  </a:cubicBezTo>
                  <a:cubicBezTo>
                    <a:pt x="21" y="24"/>
                    <a:pt x="18" y="24"/>
                    <a:pt x="17" y="22"/>
                  </a:cubicBezTo>
                  <a:cubicBezTo>
                    <a:pt x="16" y="21"/>
                    <a:pt x="16" y="20"/>
                    <a:pt x="15" y="19"/>
                  </a:cubicBezTo>
                  <a:cubicBezTo>
                    <a:pt x="14" y="19"/>
                    <a:pt x="13" y="19"/>
                    <a:pt x="13" y="19"/>
                  </a:cubicBezTo>
                  <a:cubicBezTo>
                    <a:pt x="12" y="21"/>
                    <a:pt x="10" y="21"/>
                    <a:pt x="8" y="21"/>
                  </a:cubicBezTo>
                  <a:lnTo>
                    <a:pt x="7" y="21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6" name="Freeform 116"/>
            <p:cNvSpPr>
              <a:spLocks/>
            </p:cNvSpPr>
            <p:nvPr/>
          </p:nvSpPr>
          <p:spPr bwMode="auto">
            <a:xfrm>
              <a:off x="7029838" y="3310226"/>
              <a:ext cx="30852" cy="25956"/>
            </a:xfrm>
            <a:custGeom>
              <a:avLst/>
              <a:gdLst>
                <a:gd name="T0" fmla="*/ 18819581 w 66"/>
                <a:gd name="T1" fmla="*/ 4442262 h 54"/>
                <a:gd name="T2" fmla="*/ 23659148 w 66"/>
                <a:gd name="T3" fmla="*/ 3286163 h 54"/>
                <a:gd name="T4" fmla="*/ 24442627 w 66"/>
                <a:gd name="T5" fmla="*/ 3286163 h 54"/>
                <a:gd name="T6" fmla="*/ 25663075 w 66"/>
                <a:gd name="T7" fmla="*/ 2546795 h 54"/>
                <a:gd name="T8" fmla="*/ 30553758 w 66"/>
                <a:gd name="T9" fmla="*/ 0 h 54"/>
                <a:gd name="T10" fmla="*/ 30553758 w 66"/>
                <a:gd name="T11" fmla="*/ 0 h 54"/>
                <a:gd name="T12" fmla="*/ 31262565 w 66"/>
                <a:gd name="T13" fmla="*/ 0 h 54"/>
                <a:gd name="T14" fmla="*/ 38886745 w 66"/>
                <a:gd name="T15" fmla="*/ 803127 h 54"/>
                <a:gd name="T16" fmla="*/ 39736169 w 66"/>
                <a:gd name="T17" fmla="*/ 4442262 h 54"/>
                <a:gd name="T18" fmla="*/ 43839705 w 66"/>
                <a:gd name="T19" fmla="*/ 4442262 h 54"/>
                <a:gd name="T20" fmla="*/ 44482614 w 66"/>
                <a:gd name="T21" fmla="*/ 3286163 h 54"/>
                <a:gd name="T22" fmla="*/ 46582089 w 66"/>
                <a:gd name="T23" fmla="*/ 3286163 h 54"/>
                <a:gd name="T24" fmla="*/ 49435583 w 66"/>
                <a:gd name="T25" fmla="*/ 7134310 h 54"/>
                <a:gd name="T26" fmla="*/ 51443122 w 66"/>
                <a:gd name="T27" fmla="*/ 14889923 h 54"/>
                <a:gd name="T28" fmla="*/ 52962808 w 66"/>
                <a:gd name="T29" fmla="*/ 16778835 h 54"/>
                <a:gd name="T30" fmla="*/ 52962808 w 66"/>
                <a:gd name="T31" fmla="*/ 19336972 h 54"/>
                <a:gd name="T32" fmla="*/ 55073742 w 66"/>
                <a:gd name="T33" fmla="*/ 20129127 h 54"/>
                <a:gd name="T34" fmla="*/ 57074852 w 66"/>
                <a:gd name="T35" fmla="*/ 20879594 h 54"/>
                <a:gd name="T36" fmla="*/ 57773467 w 66"/>
                <a:gd name="T37" fmla="*/ 20879594 h 54"/>
                <a:gd name="T38" fmla="*/ 58931611 w 66"/>
                <a:gd name="T39" fmla="*/ 24571059 h 54"/>
                <a:gd name="T40" fmla="*/ 61811426 w 66"/>
                <a:gd name="T41" fmla="*/ 27290458 h 54"/>
                <a:gd name="T42" fmla="*/ 60658161 w 66"/>
                <a:gd name="T43" fmla="*/ 30587791 h 54"/>
                <a:gd name="T44" fmla="*/ 59808765 w 66"/>
                <a:gd name="T45" fmla="*/ 31644412 h 54"/>
                <a:gd name="T46" fmla="*/ 58931611 w 66"/>
                <a:gd name="T47" fmla="*/ 30587791 h 54"/>
                <a:gd name="T48" fmla="*/ 57773467 w 66"/>
                <a:gd name="T49" fmla="*/ 29784624 h 54"/>
                <a:gd name="T50" fmla="*/ 55921587 w 66"/>
                <a:gd name="T51" fmla="*/ 30587791 h 54"/>
                <a:gd name="T52" fmla="*/ 55921587 w 66"/>
                <a:gd name="T53" fmla="*/ 39461335 h 54"/>
                <a:gd name="T54" fmla="*/ 55073742 w 66"/>
                <a:gd name="T55" fmla="*/ 40205047 h 54"/>
                <a:gd name="T56" fmla="*/ 50082122 w 66"/>
                <a:gd name="T57" fmla="*/ 44647486 h 54"/>
                <a:gd name="T58" fmla="*/ 45332010 w 66"/>
                <a:gd name="T59" fmla="*/ 45477671 h 54"/>
                <a:gd name="T60" fmla="*/ 42630772 w 66"/>
                <a:gd name="T61" fmla="*/ 44647486 h 54"/>
                <a:gd name="T62" fmla="*/ 36884084 w 66"/>
                <a:gd name="T63" fmla="*/ 46539052 h 54"/>
                <a:gd name="T64" fmla="*/ 36149069 w 66"/>
                <a:gd name="T65" fmla="*/ 45477671 h 54"/>
                <a:gd name="T66" fmla="*/ 32133915 w 66"/>
                <a:gd name="T67" fmla="*/ 45477671 h 54"/>
                <a:gd name="T68" fmla="*/ 29407055 w 66"/>
                <a:gd name="T69" fmla="*/ 45477671 h 54"/>
                <a:gd name="T70" fmla="*/ 17330084 w 66"/>
                <a:gd name="T71" fmla="*/ 42153997 h 54"/>
                <a:gd name="T72" fmla="*/ 10341117 w 66"/>
                <a:gd name="T73" fmla="*/ 42153997 h 54"/>
                <a:gd name="T74" fmla="*/ 4745294 w 66"/>
                <a:gd name="T75" fmla="*/ 44042854 h 54"/>
                <a:gd name="T76" fmla="*/ 2007625 w 66"/>
                <a:gd name="T77" fmla="*/ 45477671 h 54"/>
                <a:gd name="T78" fmla="*/ 2007625 w 66"/>
                <a:gd name="T79" fmla="*/ 44647486 h 54"/>
                <a:gd name="T80" fmla="*/ 2007625 w 66"/>
                <a:gd name="T81" fmla="*/ 40205047 h 54"/>
                <a:gd name="T82" fmla="*/ 0 w 66"/>
                <a:gd name="T83" fmla="*/ 38316350 h 54"/>
                <a:gd name="T84" fmla="*/ 0 w 66"/>
                <a:gd name="T85" fmla="*/ 36918861 h 54"/>
                <a:gd name="T86" fmla="*/ 2007625 w 66"/>
                <a:gd name="T87" fmla="*/ 34215700 h 54"/>
                <a:gd name="T88" fmla="*/ 849380 w 66"/>
                <a:gd name="T89" fmla="*/ 27895730 h 54"/>
                <a:gd name="T90" fmla="*/ 0 w 66"/>
                <a:gd name="T91" fmla="*/ 26459878 h 54"/>
                <a:gd name="T92" fmla="*/ 0 w 66"/>
                <a:gd name="T93" fmla="*/ 22024230 h 54"/>
                <a:gd name="T94" fmla="*/ 0 w 66"/>
                <a:gd name="T95" fmla="*/ 22024230 h 54"/>
                <a:gd name="T96" fmla="*/ 2007625 w 66"/>
                <a:gd name="T97" fmla="*/ 22024230 h 54"/>
                <a:gd name="T98" fmla="*/ 6840533 w 66"/>
                <a:gd name="T99" fmla="*/ 22625156 h 54"/>
                <a:gd name="T100" fmla="*/ 7630663 w 66"/>
                <a:gd name="T101" fmla="*/ 20129127 h 54"/>
                <a:gd name="T102" fmla="*/ 14073912 w 66"/>
                <a:gd name="T103" fmla="*/ 18176437 h 54"/>
                <a:gd name="T104" fmla="*/ 14073912 w 66"/>
                <a:gd name="T105" fmla="*/ 17581964 h 54"/>
                <a:gd name="T106" fmla="*/ 15293841 w 66"/>
                <a:gd name="T107" fmla="*/ 12312200 h 54"/>
                <a:gd name="T108" fmla="*/ 16168527 w 66"/>
                <a:gd name="T109" fmla="*/ 11603822 h 54"/>
                <a:gd name="T110" fmla="*/ 21764401 w 66"/>
                <a:gd name="T111" fmla="*/ 8877940 h 54"/>
                <a:gd name="T112" fmla="*/ 20915062 w 66"/>
                <a:gd name="T113" fmla="*/ 7728566 h 54"/>
                <a:gd name="T114" fmla="*/ 18819581 w 66"/>
                <a:gd name="T115" fmla="*/ 5235110 h 54"/>
                <a:gd name="T116" fmla="*/ 18819581 w 66"/>
                <a:gd name="T117" fmla="*/ 4442262 h 5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6"/>
                <a:gd name="T178" fmla="*/ 0 h 54"/>
                <a:gd name="T179" fmla="*/ 66 w 66"/>
                <a:gd name="T180" fmla="*/ 54 h 5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6" h="54">
                  <a:moveTo>
                    <a:pt x="20" y="5"/>
                  </a:moveTo>
                  <a:cubicBezTo>
                    <a:pt x="21" y="5"/>
                    <a:pt x="23" y="5"/>
                    <a:pt x="25" y="4"/>
                  </a:cubicBezTo>
                  <a:cubicBezTo>
                    <a:pt x="25" y="4"/>
                    <a:pt x="26" y="4"/>
                    <a:pt x="26" y="4"/>
                  </a:cubicBezTo>
                  <a:cubicBezTo>
                    <a:pt x="27" y="4"/>
                    <a:pt x="27" y="4"/>
                    <a:pt x="27" y="3"/>
                  </a:cubicBezTo>
                  <a:cubicBezTo>
                    <a:pt x="29" y="2"/>
                    <a:pt x="30" y="1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1"/>
                    <a:pt x="38" y="0"/>
                    <a:pt x="41" y="1"/>
                  </a:cubicBezTo>
                  <a:cubicBezTo>
                    <a:pt x="42" y="2"/>
                    <a:pt x="41" y="4"/>
                    <a:pt x="42" y="5"/>
                  </a:cubicBezTo>
                  <a:cubicBezTo>
                    <a:pt x="43" y="6"/>
                    <a:pt x="44" y="5"/>
                    <a:pt x="46" y="5"/>
                  </a:cubicBezTo>
                  <a:cubicBezTo>
                    <a:pt x="47" y="5"/>
                    <a:pt x="47" y="4"/>
                    <a:pt x="47" y="4"/>
                  </a:cubicBezTo>
                  <a:cubicBezTo>
                    <a:pt x="48" y="4"/>
                    <a:pt x="48" y="4"/>
                    <a:pt x="49" y="4"/>
                  </a:cubicBezTo>
                  <a:cubicBezTo>
                    <a:pt x="50" y="5"/>
                    <a:pt x="52" y="7"/>
                    <a:pt x="52" y="8"/>
                  </a:cubicBezTo>
                  <a:cubicBezTo>
                    <a:pt x="53" y="11"/>
                    <a:pt x="51" y="15"/>
                    <a:pt x="54" y="17"/>
                  </a:cubicBezTo>
                  <a:cubicBezTo>
                    <a:pt x="54" y="17"/>
                    <a:pt x="55" y="18"/>
                    <a:pt x="56" y="19"/>
                  </a:cubicBezTo>
                  <a:cubicBezTo>
                    <a:pt x="56" y="20"/>
                    <a:pt x="56" y="21"/>
                    <a:pt x="56" y="22"/>
                  </a:cubicBezTo>
                  <a:cubicBezTo>
                    <a:pt x="57" y="23"/>
                    <a:pt x="57" y="23"/>
                    <a:pt x="58" y="23"/>
                  </a:cubicBezTo>
                  <a:cubicBezTo>
                    <a:pt x="59" y="24"/>
                    <a:pt x="60" y="23"/>
                    <a:pt x="60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2" y="25"/>
                    <a:pt x="61" y="27"/>
                    <a:pt x="62" y="28"/>
                  </a:cubicBezTo>
                  <a:cubicBezTo>
                    <a:pt x="62" y="29"/>
                    <a:pt x="64" y="30"/>
                    <a:pt x="65" y="31"/>
                  </a:cubicBezTo>
                  <a:cubicBezTo>
                    <a:pt x="65" y="32"/>
                    <a:pt x="66" y="34"/>
                    <a:pt x="64" y="35"/>
                  </a:cubicBezTo>
                  <a:cubicBezTo>
                    <a:pt x="64" y="35"/>
                    <a:pt x="63" y="35"/>
                    <a:pt x="63" y="36"/>
                  </a:cubicBezTo>
                  <a:cubicBezTo>
                    <a:pt x="63" y="36"/>
                    <a:pt x="62" y="36"/>
                    <a:pt x="62" y="35"/>
                  </a:cubicBezTo>
                  <a:cubicBezTo>
                    <a:pt x="61" y="35"/>
                    <a:pt x="61" y="35"/>
                    <a:pt x="61" y="34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59" y="38"/>
                    <a:pt x="59" y="42"/>
                    <a:pt x="59" y="45"/>
                  </a:cubicBezTo>
                  <a:cubicBezTo>
                    <a:pt x="59" y="45"/>
                    <a:pt x="58" y="45"/>
                    <a:pt x="58" y="46"/>
                  </a:cubicBezTo>
                  <a:cubicBezTo>
                    <a:pt x="56" y="47"/>
                    <a:pt x="54" y="49"/>
                    <a:pt x="53" y="51"/>
                  </a:cubicBezTo>
                  <a:cubicBezTo>
                    <a:pt x="51" y="52"/>
                    <a:pt x="50" y="52"/>
                    <a:pt x="48" y="52"/>
                  </a:cubicBezTo>
                  <a:cubicBezTo>
                    <a:pt x="47" y="51"/>
                    <a:pt x="46" y="51"/>
                    <a:pt x="45" y="51"/>
                  </a:cubicBezTo>
                  <a:cubicBezTo>
                    <a:pt x="44" y="53"/>
                    <a:pt x="41" y="54"/>
                    <a:pt x="39" y="53"/>
                  </a:cubicBezTo>
                  <a:cubicBezTo>
                    <a:pt x="38" y="53"/>
                    <a:pt x="38" y="52"/>
                    <a:pt x="38" y="52"/>
                  </a:cubicBezTo>
                  <a:cubicBezTo>
                    <a:pt x="37" y="51"/>
                    <a:pt x="35" y="51"/>
                    <a:pt x="34" y="52"/>
                  </a:cubicBezTo>
                  <a:cubicBezTo>
                    <a:pt x="33" y="52"/>
                    <a:pt x="32" y="52"/>
                    <a:pt x="31" y="52"/>
                  </a:cubicBezTo>
                  <a:cubicBezTo>
                    <a:pt x="27" y="49"/>
                    <a:pt x="22" y="49"/>
                    <a:pt x="18" y="48"/>
                  </a:cubicBezTo>
                  <a:cubicBezTo>
                    <a:pt x="16" y="48"/>
                    <a:pt x="13" y="48"/>
                    <a:pt x="11" y="48"/>
                  </a:cubicBezTo>
                  <a:cubicBezTo>
                    <a:pt x="9" y="49"/>
                    <a:pt x="7" y="50"/>
                    <a:pt x="5" y="50"/>
                  </a:cubicBezTo>
                  <a:cubicBezTo>
                    <a:pt x="4" y="50"/>
                    <a:pt x="3" y="51"/>
                    <a:pt x="2" y="52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0"/>
                    <a:pt x="2" y="48"/>
                    <a:pt x="2" y="46"/>
                  </a:cubicBezTo>
                  <a:cubicBezTo>
                    <a:pt x="1" y="45"/>
                    <a:pt x="1" y="45"/>
                    <a:pt x="0" y="44"/>
                  </a:cubicBezTo>
                  <a:cubicBezTo>
                    <a:pt x="0" y="43"/>
                    <a:pt x="0" y="43"/>
                    <a:pt x="0" y="42"/>
                  </a:cubicBezTo>
                  <a:cubicBezTo>
                    <a:pt x="0" y="41"/>
                    <a:pt x="2" y="40"/>
                    <a:pt x="2" y="39"/>
                  </a:cubicBezTo>
                  <a:cubicBezTo>
                    <a:pt x="3" y="37"/>
                    <a:pt x="2" y="34"/>
                    <a:pt x="1" y="32"/>
                  </a:cubicBezTo>
                  <a:cubicBezTo>
                    <a:pt x="1" y="31"/>
                    <a:pt x="0" y="30"/>
                    <a:pt x="0" y="30"/>
                  </a:cubicBezTo>
                  <a:cubicBezTo>
                    <a:pt x="0" y="28"/>
                    <a:pt x="0" y="27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1" y="25"/>
                    <a:pt x="2" y="25"/>
                  </a:cubicBezTo>
                  <a:cubicBezTo>
                    <a:pt x="3" y="26"/>
                    <a:pt x="5" y="27"/>
                    <a:pt x="7" y="26"/>
                  </a:cubicBezTo>
                  <a:cubicBezTo>
                    <a:pt x="8" y="26"/>
                    <a:pt x="7" y="24"/>
                    <a:pt x="8" y="23"/>
                  </a:cubicBezTo>
                  <a:cubicBezTo>
                    <a:pt x="10" y="21"/>
                    <a:pt x="12" y="22"/>
                    <a:pt x="15" y="21"/>
                  </a:cubicBezTo>
                  <a:cubicBezTo>
                    <a:pt x="15" y="21"/>
                    <a:pt x="15" y="21"/>
                    <a:pt x="15" y="20"/>
                  </a:cubicBezTo>
                  <a:cubicBezTo>
                    <a:pt x="16" y="18"/>
                    <a:pt x="15" y="16"/>
                    <a:pt x="16" y="14"/>
                  </a:cubicBezTo>
                  <a:cubicBezTo>
                    <a:pt x="16" y="14"/>
                    <a:pt x="17" y="13"/>
                    <a:pt x="17" y="13"/>
                  </a:cubicBezTo>
                  <a:cubicBezTo>
                    <a:pt x="19" y="13"/>
                    <a:pt x="23" y="12"/>
                    <a:pt x="23" y="10"/>
                  </a:cubicBezTo>
                  <a:cubicBezTo>
                    <a:pt x="23" y="9"/>
                    <a:pt x="23" y="9"/>
                    <a:pt x="22" y="9"/>
                  </a:cubicBezTo>
                  <a:cubicBezTo>
                    <a:pt x="21" y="8"/>
                    <a:pt x="20" y="7"/>
                    <a:pt x="20" y="6"/>
                  </a:cubicBezTo>
                  <a:lnTo>
                    <a:pt x="20" y="5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7" name="Freeform 118"/>
            <p:cNvSpPr>
              <a:spLocks/>
            </p:cNvSpPr>
            <p:nvPr/>
          </p:nvSpPr>
          <p:spPr bwMode="auto">
            <a:xfrm>
              <a:off x="7016544" y="3225868"/>
              <a:ext cx="36621" cy="62187"/>
            </a:xfrm>
            <a:custGeom>
              <a:avLst/>
              <a:gdLst>
                <a:gd name="T0" fmla="*/ 46815598 w 79"/>
                <a:gd name="T1" fmla="*/ 111301276 h 129"/>
                <a:gd name="T2" fmla="*/ 36918946 w 79"/>
                <a:gd name="T3" fmla="*/ 112063453 h 129"/>
                <a:gd name="T4" fmla="*/ 32091337 w 79"/>
                <a:gd name="T5" fmla="*/ 114054072 h 129"/>
                <a:gd name="T6" fmla="*/ 30043030 w 79"/>
                <a:gd name="T7" fmla="*/ 115997560 h 129"/>
                <a:gd name="T8" fmla="*/ 24261446 w 79"/>
                <a:gd name="T9" fmla="*/ 116642096 h 129"/>
                <a:gd name="T10" fmla="*/ 20416444 w 79"/>
                <a:gd name="T11" fmla="*/ 114824620 h 129"/>
                <a:gd name="T12" fmla="*/ 17632933 w 79"/>
                <a:gd name="T13" fmla="*/ 112063453 h 129"/>
                <a:gd name="T14" fmla="*/ 13557310 w 79"/>
                <a:gd name="T15" fmla="*/ 110630874 h 129"/>
                <a:gd name="T16" fmla="*/ 10769099 w 79"/>
                <a:gd name="T17" fmla="*/ 108687311 h 129"/>
                <a:gd name="T18" fmla="*/ 7831966 w 79"/>
                <a:gd name="T19" fmla="*/ 103298831 h 129"/>
                <a:gd name="T20" fmla="*/ 8625130 w 79"/>
                <a:gd name="T21" fmla="*/ 98718830 h 129"/>
                <a:gd name="T22" fmla="*/ 7831966 w 79"/>
                <a:gd name="T23" fmla="*/ 94847616 h 129"/>
                <a:gd name="T24" fmla="*/ 5727422 w 79"/>
                <a:gd name="T25" fmla="*/ 86020553 h 129"/>
                <a:gd name="T26" fmla="*/ 6968235 w 79"/>
                <a:gd name="T27" fmla="*/ 80678451 h 129"/>
                <a:gd name="T28" fmla="*/ 10769099 w 79"/>
                <a:gd name="T29" fmla="*/ 79495406 h 129"/>
                <a:gd name="T30" fmla="*/ 13557310 w 79"/>
                <a:gd name="T31" fmla="*/ 76745532 h 129"/>
                <a:gd name="T32" fmla="*/ 17632933 w 79"/>
                <a:gd name="T33" fmla="*/ 74108529 h 129"/>
                <a:gd name="T34" fmla="*/ 21322035 w 79"/>
                <a:gd name="T35" fmla="*/ 69549455 h 129"/>
                <a:gd name="T36" fmla="*/ 25491404 w 79"/>
                <a:gd name="T37" fmla="*/ 66777051 h 129"/>
                <a:gd name="T38" fmla="*/ 32732856 w 79"/>
                <a:gd name="T39" fmla="*/ 60637027 h 129"/>
                <a:gd name="T40" fmla="*/ 31191389 w 79"/>
                <a:gd name="T41" fmla="*/ 56057705 h 129"/>
                <a:gd name="T42" fmla="*/ 31191389 w 79"/>
                <a:gd name="T43" fmla="*/ 52598272 h 129"/>
                <a:gd name="T44" fmla="*/ 28286632 w 79"/>
                <a:gd name="T45" fmla="*/ 48724946 h 129"/>
                <a:gd name="T46" fmla="*/ 22185795 w 79"/>
                <a:gd name="T47" fmla="*/ 48050472 h 129"/>
                <a:gd name="T48" fmla="*/ 21322035 w 79"/>
                <a:gd name="T49" fmla="*/ 37346877 h 129"/>
                <a:gd name="T50" fmla="*/ 20416444 w 79"/>
                <a:gd name="T51" fmla="*/ 32566378 h 129"/>
                <a:gd name="T52" fmla="*/ 17632933 w 79"/>
                <a:gd name="T53" fmla="*/ 27986208 h 129"/>
                <a:gd name="T54" fmla="*/ 18538950 w 79"/>
                <a:gd name="T55" fmla="*/ 24610311 h 129"/>
                <a:gd name="T56" fmla="*/ 16494421 w 79"/>
                <a:gd name="T57" fmla="*/ 20041622 h 129"/>
                <a:gd name="T58" fmla="*/ 10769099 w 79"/>
                <a:gd name="T59" fmla="*/ 17278386 h 129"/>
                <a:gd name="T60" fmla="*/ 4819725 w 79"/>
                <a:gd name="T61" fmla="*/ 14664845 h 129"/>
                <a:gd name="T62" fmla="*/ 0 w 79"/>
                <a:gd name="T63" fmla="*/ 10793065 h 129"/>
                <a:gd name="T64" fmla="*/ 3643773 w 79"/>
                <a:gd name="T65" fmla="*/ 6222912 h 129"/>
                <a:gd name="T66" fmla="*/ 7831966 w 79"/>
                <a:gd name="T67" fmla="*/ 12736628 h 129"/>
                <a:gd name="T68" fmla="*/ 12691979 w 79"/>
                <a:gd name="T69" fmla="*/ 14664845 h 129"/>
                <a:gd name="T70" fmla="*/ 18538950 w 79"/>
                <a:gd name="T71" fmla="*/ 13344448 h 129"/>
                <a:gd name="T72" fmla="*/ 25491404 w 79"/>
                <a:gd name="T73" fmla="*/ 16105813 h 129"/>
                <a:gd name="T74" fmla="*/ 30043030 w 79"/>
                <a:gd name="T75" fmla="*/ 14664845 h 129"/>
                <a:gd name="T76" fmla="*/ 32732856 w 79"/>
                <a:gd name="T77" fmla="*/ 6222912 h 129"/>
                <a:gd name="T78" fmla="*/ 40562737 w 79"/>
                <a:gd name="T79" fmla="*/ 824695 h 129"/>
                <a:gd name="T80" fmla="*/ 52515734 w 79"/>
                <a:gd name="T81" fmla="*/ 1943467 h 129"/>
                <a:gd name="T82" fmla="*/ 54640508 w 79"/>
                <a:gd name="T83" fmla="*/ 6222912 h 129"/>
                <a:gd name="T84" fmla="*/ 53413372 w 79"/>
                <a:gd name="T85" fmla="*/ 11875728 h 129"/>
                <a:gd name="T86" fmla="*/ 52515734 w 79"/>
                <a:gd name="T87" fmla="*/ 18098516 h 129"/>
                <a:gd name="T88" fmla="*/ 53413372 w 79"/>
                <a:gd name="T89" fmla="*/ 21859569 h 129"/>
                <a:gd name="T90" fmla="*/ 61229495 w 79"/>
                <a:gd name="T91" fmla="*/ 27226255 h 129"/>
                <a:gd name="T92" fmla="*/ 59103320 w 79"/>
                <a:gd name="T93" fmla="*/ 31447376 h 129"/>
                <a:gd name="T94" fmla="*/ 57428975 w 79"/>
                <a:gd name="T95" fmla="*/ 35317911 h 129"/>
                <a:gd name="T96" fmla="*/ 63924226 w 79"/>
                <a:gd name="T97" fmla="*/ 48050472 h 129"/>
                <a:gd name="T98" fmla="*/ 63282650 w 79"/>
                <a:gd name="T99" fmla="*/ 59939364 h 129"/>
                <a:gd name="T100" fmla="*/ 63924226 w 79"/>
                <a:gd name="T101" fmla="*/ 64161050 h 129"/>
                <a:gd name="T102" fmla="*/ 69010018 w 79"/>
                <a:gd name="T103" fmla="*/ 68703836 h 129"/>
                <a:gd name="T104" fmla="*/ 66956938 w 79"/>
                <a:gd name="T105" fmla="*/ 72512572 h 129"/>
                <a:gd name="T106" fmla="*/ 69716698 w 79"/>
                <a:gd name="T107" fmla="*/ 76126334 h 129"/>
                <a:gd name="T108" fmla="*/ 75963007 w 79"/>
                <a:gd name="T109" fmla="*/ 85159588 h 129"/>
                <a:gd name="T110" fmla="*/ 66956938 w 79"/>
                <a:gd name="T111" fmla="*/ 97894364 h 129"/>
                <a:gd name="T112" fmla="*/ 61229495 w 79"/>
                <a:gd name="T113" fmla="*/ 104123599 h 129"/>
                <a:gd name="T114" fmla="*/ 55452817 w 79"/>
                <a:gd name="T115" fmla="*/ 107492577 h 129"/>
                <a:gd name="T116" fmla="*/ 55452817 w 79"/>
                <a:gd name="T117" fmla="*/ 110630874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9"/>
                <a:gd name="T178" fmla="*/ 0 h 129"/>
                <a:gd name="T179" fmla="*/ 79 w 79"/>
                <a:gd name="T180" fmla="*/ 129 h 12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9" h="129">
                  <a:moveTo>
                    <a:pt x="57" y="122"/>
                  </a:moveTo>
                  <a:cubicBezTo>
                    <a:pt x="55" y="123"/>
                    <a:pt x="51" y="122"/>
                    <a:pt x="48" y="123"/>
                  </a:cubicBezTo>
                  <a:cubicBezTo>
                    <a:pt x="48" y="123"/>
                    <a:pt x="47" y="123"/>
                    <a:pt x="46" y="123"/>
                  </a:cubicBezTo>
                  <a:cubicBezTo>
                    <a:pt x="43" y="124"/>
                    <a:pt x="40" y="123"/>
                    <a:pt x="38" y="124"/>
                  </a:cubicBezTo>
                  <a:cubicBezTo>
                    <a:pt x="36" y="125"/>
                    <a:pt x="35" y="125"/>
                    <a:pt x="33" y="126"/>
                  </a:cubicBezTo>
                  <a:cubicBezTo>
                    <a:pt x="33" y="126"/>
                    <a:pt x="33" y="126"/>
                    <a:pt x="33" y="126"/>
                  </a:cubicBezTo>
                  <a:cubicBezTo>
                    <a:pt x="32" y="126"/>
                    <a:pt x="33" y="127"/>
                    <a:pt x="32" y="128"/>
                  </a:cubicBezTo>
                  <a:cubicBezTo>
                    <a:pt x="32" y="128"/>
                    <a:pt x="31" y="128"/>
                    <a:pt x="31" y="128"/>
                  </a:cubicBezTo>
                  <a:cubicBezTo>
                    <a:pt x="30" y="128"/>
                    <a:pt x="30" y="127"/>
                    <a:pt x="30" y="127"/>
                  </a:cubicBezTo>
                  <a:cubicBezTo>
                    <a:pt x="28" y="126"/>
                    <a:pt x="26" y="128"/>
                    <a:pt x="25" y="129"/>
                  </a:cubicBezTo>
                  <a:cubicBezTo>
                    <a:pt x="24" y="129"/>
                    <a:pt x="23" y="129"/>
                    <a:pt x="22" y="128"/>
                  </a:cubicBezTo>
                  <a:cubicBezTo>
                    <a:pt x="21" y="128"/>
                    <a:pt x="22" y="127"/>
                    <a:pt x="21" y="127"/>
                  </a:cubicBezTo>
                  <a:cubicBezTo>
                    <a:pt x="21" y="126"/>
                    <a:pt x="19" y="126"/>
                    <a:pt x="18" y="125"/>
                  </a:cubicBezTo>
                  <a:cubicBezTo>
                    <a:pt x="18" y="125"/>
                    <a:pt x="18" y="124"/>
                    <a:pt x="18" y="124"/>
                  </a:cubicBezTo>
                  <a:cubicBezTo>
                    <a:pt x="18" y="123"/>
                    <a:pt x="17" y="122"/>
                    <a:pt x="16" y="122"/>
                  </a:cubicBezTo>
                  <a:cubicBezTo>
                    <a:pt x="16" y="122"/>
                    <a:pt x="15" y="122"/>
                    <a:pt x="14" y="122"/>
                  </a:cubicBezTo>
                  <a:cubicBezTo>
                    <a:pt x="13" y="122"/>
                    <a:pt x="13" y="122"/>
                    <a:pt x="12" y="122"/>
                  </a:cubicBezTo>
                  <a:cubicBezTo>
                    <a:pt x="12" y="121"/>
                    <a:pt x="11" y="121"/>
                    <a:pt x="11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9" y="118"/>
                    <a:pt x="9" y="116"/>
                    <a:pt x="8" y="114"/>
                  </a:cubicBezTo>
                  <a:cubicBezTo>
                    <a:pt x="7" y="113"/>
                    <a:pt x="7" y="112"/>
                    <a:pt x="8" y="110"/>
                  </a:cubicBezTo>
                  <a:cubicBezTo>
                    <a:pt x="8" y="110"/>
                    <a:pt x="8" y="109"/>
                    <a:pt x="9" y="109"/>
                  </a:cubicBezTo>
                  <a:cubicBezTo>
                    <a:pt x="9" y="108"/>
                    <a:pt x="9" y="107"/>
                    <a:pt x="9" y="107"/>
                  </a:cubicBezTo>
                  <a:cubicBezTo>
                    <a:pt x="8" y="106"/>
                    <a:pt x="8" y="106"/>
                    <a:pt x="8" y="105"/>
                  </a:cubicBezTo>
                  <a:cubicBezTo>
                    <a:pt x="6" y="103"/>
                    <a:pt x="8" y="99"/>
                    <a:pt x="6" y="96"/>
                  </a:cubicBezTo>
                  <a:cubicBezTo>
                    <a:pt x="6" y="96"/>
                    <a:pt x="6" y="96"/>
                    <a:pt x="6" y="95"/>
                  </a:cubicBezTo>
                  <a:cubicBezTo>
                    <a:pt x="6" y="93"/>
                    <a:pt x="7" y="92"/>
                    <a:pt x="7" y="90"/>
                  </a:cubicBezTo>
                  <a:cubicBezTo>
                    <a:pt x="7" y="90"/>
                    <a:pt x="7" y="89"/>
                    <a:pt x="7" y="89"/>
                  </a:cubicBezTo>
                  <a:cubicBezTo>
                    <a:pt x="7" y="89"/>
                    <a:pt x="8" y="89"/>
                    <a:pt x="9" y="89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2" y="88"/>
                    <a:pt x="12" y="88"/>
                    <a:pt x="13" y="87"/>
                  </a:cubicBezTo>
                  <a:cubicBezTo>
                    <a:pt x="13" y="86"/>
                    <a:pt x="14" y="86"/>
                    <a:pt x="14" y="85"/>
                  </a:cubicBezTo>
                  <a:cubicBezTo>
                    <a:pt x="14" y="84"/>
                    <a:pt x="15" y="84"/>
                    <a:pt x="16" y="84"/>
                  </a:cubicBezTo>
                  <a:cubicBezTo>
                    <a:pt x="17" y="83"/>
                    <a:pt x="17" y="83"/>
                    <a:pt x="18" y="82"/>
                  </a:cubicBezTo>
                  <a:cubicBezTo>
                    <a:pt x="18" y="81"/>
                    <a:pt x="18" y="80"/>
                    <a:pt x="18" y="80"/>
                  </a:cubicBezTo>
                  <a:cubicBezTo>
                    <a:pt x="19" y="78"/>
                    <a:pt x="21" y="78"/>
                    <a:pt x="22" y="77"/>
                  </a:cubicBezTo>
                  <a:cubicBezTo>
                    <a:pt x="23" y="76"/>
                    <a:pt x="24" y="76"/>
                    <a:pt x="25" y="76"/>
                  </a:cubicBezTo>
                  <a:cubicBezTo>
                    <a:pt x="26" y="75"/>
                    <a:pt x="26" y="75"/>
                    <a:pt x="26" y="74"/>
                  </a:cubicBezTo>
                  <a:cubicBezTo>
                    <a:pt x="27" y="71"/>
                    <a:pt x="28" y="69"/>
                    <a:pt x="30" y="67"/>
                  </a:cubicBezTo>
                  <a:cubicBezTo>
                    <a:pt x="31" y="66"/>
                    <a:pt x="32" y="67"/>
                    <a:pt x="34" y="67"/>
                  </a:cubicBezTo>
                  <a:cubicBezTo>
                    <a:pt x="34" y="65"/>
                    <a:pt x="34" y="64"/>
                    <a:pt x="33" y="63"/>
                  </a:cubicBezTo>
                  <a:cubicBezTo>
                    <a:pt x="33" y="62"/>
                    <a:pt x="32" y="62"/>
                    <a:pt x="32" y="62"/>
                  </a:cubicBezTo>
                  <a:cubicBezTo>
                    <a:pt x="32" y="61"/>
                    <a:pt x="32" y="60"/>
                    <a:pt x="32" y="60"/>
                  </a:cubicBezTo>
                  <a:cubicBezTo>
                    <a:pt x="33" y="59"/>
                    <a:pt x="33" y="58"/>
                    <a:pt x="32" y="58"/>
                  </a:cubicBezTo>
                  <a:cubicBezTo>
                    <a:pt x="32" y="57"/>
                    <a:pt x="31" y="57"/>
                    <a:pt x="31" y="57"/>
                  </a:cubicBezTo>
                  <a:cubicBezTo>
                    <a:pt x="31" y="55"/>
                    <a:pt x="30" y="55"/>
                    <a:pt x="29" y="54"/>
                  </a:cubicBezTo>
                  <a:cubicBezTo>
                    <a:pt x="27" y="54"/>
                    <a:pt x="25" y="54"/>
                    <a:pt x="23" y="54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1"/>
                    <a:pt x="23" y="49"/>
                    <a:pt x="22" y="47"/>
                  </a:cubicBezTo>
                  <a:cubicBezTo>
                    <a:pt x="22" y="45"/>
                    <a:pt x="22" y="43"/>
                    <a:pt x="22" y="41"/>
                  </a:cubicBezTo>
                  <a:cubicBezTo>
                    <a:pt x="22" y="40"/>
                    <a:pt x="21" y="39"/>
                    <a:pt x="21" y="38"/>
                  </a:cubicBezTo>
                  <a:cubicBezTo>
                    <a:pt x="21" y="37"/>
                    <a:pt x="21" y="37"/>
                    <a:pt x="21" y="36"/>
                  </a:cubicBezTo>
                  <a:cubicBezTo>
                    <a:pt x="20" y="35"/>
                    <a:pt x="20" y="33"/>
                    <a:pt x="20" y="32"/>
                  </a:cubicBezTo>
                  <a:cubicBezTo>
                    <a:pt x="20" y="32"/>
                    <a:pt x="19" y="32"/>
                    <a:pt x="18" y="31"/>
                  </a:cubicBezTo>
                  <a:cubicBezTo>
                    <a:pt x="18" y="30"/>
                    <a:pt x="18" y="29"/>
                    <a:pt x="18" y="28"/>
                  </a:cubicBezTo>
                  <a:cubicBezTo>
                    <a:pt x="19" y="28"/>
                    <a:pt x="19" y="28"/>
                    <a:pt x="19" y="27"/>
                  </a:cubicBezTo>
                  <a:cubicBezTo>
                    <a:pt x="19" y="26"/>
                    <a:pt x="19" y="25"/>
                    <a:pt x="18" y="23"/>
                  </a:cubicBezTo>
                  <a:cubicBezTo>
                    <a:pt x="18" y="23"/>
                    <a:pt x="18" y="22"/>
                    <a:pt x="17" y="22"/>
                  </a:cubicBezTo>
                  <a:cubicBezTo>
                    <a:pt x="16" y="21"/>
                    <a:pt x="15" y="21"/>
                    <a:pt x="13" y="21"/>
                  </a:cubicBezTo>
                  <a:cubicBezTo>
                    <a:pt x="12" y="20"/>
                    <a:pt x="12" y="19"/>
                    <a:pt x="11" y="19"/>
                  </a:cubicBezTo>
                  <a:cubicBezTo>
                    <a:pt x="10" y="18"/>
                    <a:pt x="8" y="18"/>
                    <a:pt x="7" y="17"/>
                  </a:cubicBezTo>
                  <a:cubicBezTo>
                    <a:pt x="6" y="17"/>
                    <a:pt x="5" y="16"/>
                    <a:pt x="5" y="16"/>
                  </a:cubicBezTo>
                  <a:cubicBezTo>
                    <a:pt x="3" y="15"/>
                    <a:pt x="2" y="14"/>
                    <a:pt x="1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0"/>
                    <a:pt x="0" y="8"/>
                    <a:pt x="1" y="7"/>
                  </a:cubicBezTo>
                  <a:cubicBezTo>
                    <a:pt x="2" y="7"/>
                    <a:pt x="3" y="7"/>
                    <a:pt x="4" y="7"/>
                  </a:cubicBezTo>
                  <a:cubicBezTo>
                    <a:pt x="5" y="8"/>
                    <a:pt x="6" y="8"/>
                    <a:pt x="6" y="9"/>
                  </a:cubicBezTo>
                  <a:cubicBezTo>
                    <a:pt x="7" y="11"/>
                    <a:pt x="7" y="13"/>
                    <a:pt x="8" y="14"/>
                  </a:cubicBezTo>
                  <a:cubicBezTo>
                    <a:pt x="9" y="15"/>
                    <a:pt x="9" y="16"/>
                    <a:pt x="10" y="16"/>
                  </a:cubicBezTo>
                  <a:cubicBezTo>
                    <a:pt x="11" y="17"/>
                    <a:pt x="12" y="16"/>
                    <a:pt x="13" y="16"/>
                  </a:cubicBezTo>
                  <a:cubicBezTo>
                    <a:pt x="14" y="17"/>
                    <a:pt x="16" y="17"/>
                    <a:pt x="17" y="16"/>
                  </a:cubicBezTo>
                  <a:cubicBezTo>
                    <a:pt x="18" y="16"/>
                    <a:pt x="18" y="15"/>
                    <a:pt x="19" y="15"/>
                  </a:cubicBezTo>
                  <a:cubicBezTo>
                    <a:pt x="20" y="15"/>
                    <a:pt x="22" y="15"/>
                    <a:pt x="23" y="17"/>
                  </a:cubicBezTo>
                  <a:cubicBezTo>
                    <a:pt x="24" y="18"/>
                    <a:pt x="25" y="17"/>
                    <a:pt x="26" y="18"/>
                  </a:cubicBezTo>
                  <a:cubicBezTo>
                    <a:pt x="27" y="18"/>
                    <a:pt x="28" y="18"/>
                    <a:pt x="28" y="18"/>
                  </a:cubicBezTo>
                  <a:cubicBezTo>
                    <a:pt x="29" y="17"/>
                    <a:pt x="30" y="17"/>
                    <a:pt x="31" y="16"/>
                  </a:cubicBezTo>
                  <a:cubicBezTo>
                    <a:pt x="32" y="15"/>
                    <a:pt x="33" y="15"/>
                    <a:pt x="34" y="13"/>
                  </a:cubicBezTo>
                  <a:cubicBezTo>
                    <a:pt x="34" y="11"/>
                    <a:pt x="33" y="9"/>
                    <a:pt x="34" y="7"/>
                  </a:cubicBezTo>
                  <a:cubicBezTo>
                    <a:pt x="35" y="5"/>
                    <a:pt x="36" y="3"/>
                    <a:pt x="38" y="2"/>
                  </a:cubicBezTo>
                  <a:cubicBezTo>
                    <a:pt x="39" y="2"/>
                    <a:pt x="41" y="2"/>
                    <a:pt x="42" y="1"/>
                  </a:cubicBezTo>
                  <a:cubicBezTo>
                    <a:pt x="43" y="0"/>
                    <a:pt x="45" y="0"/>
                    <a:pt x="46" y="1"/>
                  </a:cubicBezTo>
                  <a:cubicBezTo>
                    <a:pt x="49" y="2"/>
                    <a:pt x="51" y="1"/>
                    <a:pt x="54" y="2"/>
                  </a:cubicBezTo>
                  <a:cubicBezTo>
                    <a:pt x="55" y="3"/>
                    <a:pt x="56" y="4"/>
                    <a:pt x="56" y="5"/>
                  </a:cubicBezTo>
                  <a:cubicBezTo>
                    <a:pt x="57" y="6"/>
                    <a:pt x="57" y="7"/>
                    <a:pt x="56" y="7"/>
                  </a:cubicBezTo>
                  <a:cubicBezTo>
                    <a:pt x="55" y="9"/>
                    <a:pt x="55" y="11"/>
                    <a:pt x="55" y="13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5" y="13"/>
                    <a:pt x="54" y="14"/>
                    <a:pt x="54" y="14"/>
                  </a:cubicBezTo>
                  <a:cubicBezTo>
                    <a:pt x="53" y="16"/>
                    <a:pt x="54" y="18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1"/>
                    <a:pt x="53" y="23"/>
                    <a:pt x="55" y="24"/>
                  </a:cubicBezTo>
                  <a:cubicBezTo>
                    <a:pt x="56" y="25"/>
                    <a:pt x="59" y="24"/>
                    <a:pt x="60" y="26"/>
                  </a:cubicBezTo>
                  <a:cubicBezTo>
                    <a:pt x="61" y="27"/>
                    <a:pt x="63" y="28"/>
                    <a:pt x="63" y="30"/>
                  </a:cubicBezTo>
                  <a:cubicBezTo>
                    <a:pt x="64" y="31"/>
                    <a:pt x="64" y="32"/>
                    <a:pt x="63" y="33"/>
                  </a:cubicBezTo>
                  <a:cubicBezTo>
                    <a:pt x="62" y="34"/>
                    <a:pt x="62" y="34"/>
                    <a:pt x="61" y="35"/>
                  </a:cubicBezTo>
                  <a:cubicBezTo>
                    <a:pt x="61" y="35"/>
                    <a:pt x="61" y="36"/>
                    <a:pt x="60" y="36"/>
                  </a:cubicBezTo>
                  <a:cubicBezTo>
                    <a:pt x="60" y="37"/>
                    <a:pt x="59" y="38"/>
                    <a:pt x="59" y="39"/>
                  </a:cubicBezTo>
                  <a:cubicBezTo>
                    <a:pt x="59" y="40"/>
                    <a:pt x="59" y="41"/>
                    <a:pt x="59" y="42"/>
                  </a:cubicBezTo>
                  <a:cubicBezTo>
                    <a:pt x="61" y="46"/>
                    <a:pt x="65" y="49"/>
                    <a:pt x="66" y="53"/>
                  </a:cubicBezTo>
                  <a:cubicBezTo>
                    <a:pt x="67" y="56"/>
                    <a:pt x="66" y="58"/>
                    <a:pt x="65" y="60"/>
                  </a:cubicBezTo>
                  <a:cubicBezTo>
                    <a:pt x="65" y="62"/>
                    <a:pt x="65" y="64"/>
                    <a:pt x="65" y="66"/>
                  </a:cubicBezTo>
                  <a:cubicBezTo>
                    <a:pt x="65" y="67"/>
                    <a:pt x="65" y="68"/>
                    <a:pt x="65" y="69"/>
                  </a:cubicBezTo>
                  <a:cubicBezTo>
                    <a:pt x="66" y="70"/>
                    <a:pt x="66" y="70"/>
                    <a:pt x="66" y="71"/>
                  </a:cubicBezTo>
                  <a:cubicBezTo>
                    <a:pt x="67" y="72"/>
                    <a:pt x="67" y="74"/>
                    <a:pt x="68" y="75"/>
                  </a:cubicBezTo>
                  <a:cubicBezTo>
                    <a:pt x="69" y="75"/>
                    <a:pt x="70" y="75"/>
                    <a:pt x="71" y="76"/>
                  </a:cubicBezTo>
                  <a:cubicBezTo>
                    <a:pt x="71" y="76"/>
                    <a:pt x="71" y="77"/>
                    <a:pt x="71" y="78"/>
                  </a:cubicBezTo>
                  <a:cubicBezTo>
                    <a:pt x="71" y="79"/>
                    <a:pt x="69" y="79"/>
                    <a:pt x="69" y="80"/>
                  </a:cubicBezTo>
                  <a:cubicBezTo>
                    <a:pt x="69" y="81"/>
                    <a:pt x="69" y="83"/>
                    <a:pt x="70" y="84"/>
                  </a:cubicBezTo>
                  <a:cubicBezTo>
                    <a:pt x="71" y="84"/>
                    <a:pt x="72" y="84"/>
                    <a:pt x="72" y="84"/>
                  </a:cubicBezTo>
                  <a:cubicBezTo>
                    <a:pt x="74" y="86"/>
                    <a:pt x="76" y="88"/>
                    <a:pt x="79" y="89"/>
                  </a:cubicBezTo>
                  <a:cubicBezTo>
                    <a:pt x="79" y="91"/>
                    <a:pt x="79" y="93"/>
                    <a:pt x="78" y="94"/>
                  </a:cubicBezTo>
                  <a:cubicBezTo>
                    <a:pt x="76" y="98"/>
                    <a:pt x="73" y="101"/>
                    <a:pt x="71" y="105"/>
                  </a:cubicBezTo>
                  <a:cubicBezTo>
                    <a:pt x="70" y="106"/>
                    <a:pt x="70" y="107"/>
                    <a:pt x="69" y="108"/>
                  </a:cubicBezTo>
                  <a:cubicBezTo>
                    <a:pt x="68" y="109"/>
                    <a:pt x="66" y="110"/>
                    <a:pt x="65" y="112"/>
                  </a:cubicBezTo>
                  <a:cubicBezTo>
                    <a:pt x="64" y="113"/>
                    <a:pt x="64" y="114"/>
                    <a:pt x="63" y="115"/>
                  </a:cubicBezTo>
                  <a:cubicBezTo>
                    <a:pt x="62" y="116"/>
                    <a:pt x="61" y="117"/>
                    <a:pt x="60" y="118"/>
                  </a:cubicBezTo>
                  <a:cubicBezTo>
                    <a:pt x="59" y="118"/>
                    <a:pt x="58" y="119"/>
                    <a:pt x="57" y="119"/>
                  </a:cubicBezTo>
                  <a:cubicBezTo>
                    <a:pt x="57" y="120"/>
                    <a:pt x="57" y="120"/>
                    <a:pt x="57" y="121"/>
                  </a:cubicBezTo>
                  <a:lnTo>
                    <a:pt x="57" y="122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8" name="Freeform 119"/>
            <p:cNvSpPr>
              <a:spLocks/>
            </p:cNvSpPr>
            <p:nvPr/>
          </p:nvSpPr>
          <p:spPr bwMode="auto">
            <a:xfrm>
              <a:off x="6869057" y="3247228"/>
              <a:ext cx="35367" cy="20549"/>
            </a:xfrm>
            <a:custGeom>
              <a:avLst/>
              <a:gdLst>
                <a:gd name="T0" fmla="*/ 64656941 w 76"/>
                <a:gd name="T1" fmla="*/ 12122866 h 43"/>
                <a:gd name="T2" fmla="*/ 60932461 w 76"/>
                <a:gd name="T3" fmla="*/ 9470346 h 43"/>
                <a:gd name="T4" fmla="*/ 62851114 w 76"/>
                <a:gd name="T5" fmla="*/ 7609730 h 43"/>
                <a:gd name="T6" fmla="*/ 60114752 w 76"/>
                <a:gd name="T7" fmla="*/ 4369091 h 43"/>
                <a:gd name="T8" fmla="*/ 58184530 w 76"/>
                <a:gd name="T9" fmla="*/ 3239786 h 43"/>
                <a:gd name="T10" fmla="*/ 54755042 w 76"/>
                <a:gd name="T11" fmla="*/ 0 h 43"/>
                <a:gd name="T12" fmla="*/ 52223757 w 76"/>
                <a:gd name="T13" fmla="*/ 1860108 h 43"/>
                <a:gd name="T14" fmla="*/ 44959940 w 76"/>
                <a:gd name="T15" fmla="*/ 5161223 h 43"/>
                <a:gd name="T16" fmla="*/ 42185516 w 76"/>
                <a:gd name="T17" fmla="*/ 7022497 h 43"/>
                <a:gd name="T18" fmla="*/ 38487820 w 76"/>
                <a:gd name="T19" fmla="*/ 4369091 h 43"/>
                <a:gd name="T20" fmla="*/ 38487820 w 76"/>
                <a:gd name="T21" fmla="*/ 8402175 h 43"/>
                <a:gd name="T22" fmla="*/ 36855209 w 76"/>
                <a:gd name="T23" fmla="*/ 5161223 h 43"/>
                <a:gd name="T24" fmla="*/ 30398267 w 76"/>
                <a:gd name="T25" fmla="*/ 11330453 h 43"/>
                <a:gd name="T26" fmla="*/ 27797813 w 76"/>
                <a:gd name="T27" fmla="*/ 7022497 h 43"/>
                <a:gd name="T28" fmla="*/ 25065878 w 76"/>
                <a:gd name="T29" fmla="*/ 5161223 h 43"/>
                <a:gd name="T30" fmla="*/ 22441023 w 76"/>
                <a:gd name="T31" fmla="*/ 12773963 h 43"/>
                <a:gd name="T32" fmla="*/ 20511121 w 76"/>
                <a:gd name="T33" fmla="*/ 14634214 h 43"/>
                <a:gd name="T34" fmla="*/ 17911171 w 76"/>
                <a:gd name="T35" fmla="*/ 5161223 h 43"/>
                <a:gd name="T36" fmla="*/ 14534347 w 76"/>
                <a:gd name="T37" fmla="*/ 1860108 h 43"/>
                <a:gd name="T38" fmla="*/ 10642502 w 76"/>
                <a:gd name="T39" fmla="*/ 2508984 h 43"/>
                <a:gd name="T40" fmla="*/ 11802431 w 76"/>
                <a:gd name="T41" fmla="*/ 4369091 h 43"/>
                <a:gd name="T42" fmla="*/ 11802431 w 76"/>
                <a:gd name="T43" fmla="*/ 5893195 h 43"/>
                <a:gd name="T44" fmla="*/ 7286717 w 76"/>
                <a:gd name="T45" fmla="*/ 3239786 h 43"/>
                <a:gd name="T46" fmla="*/ 4518607 w 76"/>
                <a:gd name="T47" fmla="*/ 9470346 h 43"/>
                <a:gd name="T48" fmla="*/ 814565 w 76"/>
                <a:gd name="T49" fmla="*/ 12122866 h 43"/>
                <a:gd name="T50" fmla="*/ 0 w 76"/>
                <a:gd name="T51" fmla="*/ 13842148 h 43"/>
                <a:gd name="T52" fmla="*/ 6171011 w 76"/>
                <a:gd name="T53" fmla="*/ 15426147 h 43"/>
                <a:gd name="T54" fmla="*/ 12617060 w 76"/>
                <a:gd name="T55" fmla="*/ 12773963 h 43"/>
                <a:gd name="T56" fmla="*/ 13263485 w 76"/>
                <a:gd name="T57" fmla="*/ 15426147 h 43"/>
                <a:gd name="T58" fmla="*/ 15181271 w 76"/>
                <a:gd name="T59" fmla="*/ 17874011 h 43"/>
                <a:gd name="T60" fmla="*/ 3352262 w 76"/>
                <a:gd name="T61" fmla="*/ 19735327 h 43"/>
                <a:gd name="T62" fmla="*/ 6171011 w 76"/>
                <a:gd name="T63" fmla="*/ 20531245 h 43"/>
                <a:gd name="T64" fmla="*/ 11802431 w 76"/>
                <a:gd name="T65" fmla="*/ 20531245 h 43"/>
                <a:gd name="T66" fmla="*/ 14534347 w 76"/>
                <a:gd name="T67" fmla="*/ 24104407 h 43"/>
                <a:gd name="T68" fmla="*/ 15995410 w 76"/>
                <a:gd name="T69" fmla="*/ 28474633 h 43"/>
                <a:gd name="T70" fmla="*/ 9870647 w 76"/>
                <a:gd name="T71" fmla="*/ 28474633 h 43"/>
                <a:gd name="T72" fmla="*/ 12617060 w 76"/>
                <a:gd name="T73" fmla="*/ 31133610 h 43"/>
                <a:gd name="T74" fmla="*/ 17911171 w 76"/>
                <a:gd name="T75" fmla="*/ 31133610 h 43"/>
                <a:gd name="T76" fmla="*/ 30398267 w 76"/>
                <a:gd name="T77" fmla="*/ 34971703 h 43"/>
                <a:gd name="T78" fmla="*/ 33154772 w 76"/>
                <a:gd name="T79" fmla="*/ 36882039 h 43"/>
                <a:gd name="T80" fmla="*/ 38487820 w 76"/>
                <a:gd name="T81" fmla="*/ 36233498 h 43"/>
                <a:gd name="T82" fmla="*/ 46393672 w 76"/>
                <a:gd name="T83" fmla="*/ 31720857 h 43"/>
                <a:gd name="T84" fmla="*/ 51045749 w 76"/>
                <a:gd name="T85" fmla="*/ 29266792 h 43"/>
                <a:gd name="T86" fmla="*/ 60114752 w 76"/>
                <a:gd name="T87" fmla="*/ 26613378 h 43"/>
                <a:gd name="T88" fmla="*/ 68219153 w 76"/>
                <a:gd name="T89" fmla="*/ 17081927 h 43"/>
                <a:gd name="T90" fmla="*/ 67398165 w 76"/>
                <a:gd name="T91" fmla="*/ 13842148 h 43"/>
                <a:gd name="T92" fmla="*/ 65471146 w 76"/>
                <a:gd name="T93" fmla="*/ 12773963 h 4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6"/>
                <a:gd name="T142" fmla="*/ 0 h 43"/>
                <a:gd name="T143" fmla="*/ 76 w 76"/>
                <a:gd name="T144" fmla="*/ 43 h 4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6" h="43">
                  <a:moveTo>
                    <a:pt x="73" y="15"/>
                  </a:moveTo>
                  <a:cubicBezTo>
                    <a:pt x="73" y="14"/>
                    <a:pt x="72" y="14"/>
                    <a:pt x="72" y="14"/>
                  </a:cubicBezTo>
                  <a:cubicBezTo>
                    <a:pt x="72" y="13"/>
                    <a:pt x="71" y="12"/>
                    <a:pt x="71" y="12"/>
                  </a:cubicBezTo>
                  <a:cubicBezTo>
                    <a:pt x="70" y="11"/>
                    <a:pt x="69" y="12"/>
                    <a:pt x="68" y="11"/>
                  </a:cubicBezTo>
                  <a:cubicBezTo>
                    <a:pt x="67" y="10"/>
                    <a:pt x="69" y="10"/>
                    <a:pt x="70" y="1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69" y="8"/>
                    <a:pt x="68" y="8"/>
                    <a:pt x="67" y="7"/>
                  </a:cubicBezTo>
                  <a:cubicBezTo>
                    <a:pt x="67" y="7"/>
                    <a:pt x="67" y="6"/>
                    <a:pt x="67" y="5"/>
                  </a:cubicBezTo>
                  <a:cubicBezTo>
                    <a:pt x="67" y="5"/>
                    <a:pt x="68" y="4"/>
                    <a:pt x="68" y="4"/>
                  </a:cubicBezTo>
                  <a:cubicBezTo>
                    <a:pt x="67" y="3"/>
                    <a:pt x="66" y="4"/>
                    <a:pt x="65" y="4"/>
                  </a:cubicBezTo>
                  <a:cubicBezTo>
                    <a:pt x="64" y="5"/>
                    <a:pt x="63" y="4"/>
                    <a:pt x="62" y="3"/>
                  </a:cubicBezTo>
                  <a:cubicBezTo>
                    <a:pt x="62" y="2"/>
                    <a:pt x="62" y="1"/>
                    <a:pt x="61" y="0"/>
                  </a:cubicBezTo>
                  <a:cubicBezTo>
                    <a:pt x="60" y="0"/>
                    <a:pt x="59" y="0"/>
                    <a:pt x="58" y="0"/>
                  </a:cubicBezTo>
                  <a:cubicBezTo>
                    <a:pt x="58" y="1"/>
                    <a:pt x="58" y="2"/>
                    <a:pt x="58" y="2"/>
                  </a:cubicBezTo>
                  <a:cubicBezTo>
                    <a:pt x="57" y="3"/>
                    <a:pt x="57" y="4"/>
                    <a:pt x="56" y="5"/>
                  </a:cubicBezTo>
                  <a:cubicBezTo>
                    <a:pt x="54" y="7"/>
                    <a:pt x="52" y="6"/>
                    <a:pt x="50" y="6"/>
                  </a:cubicBezTo>
                  <a:cubicBezTo>
                    <a:pt x="50" y="7"/>
                    <a:pt x="49" y="7"/>
                    <a:pt x="49" y="8"/>
                  </a:cubicBezTo>
                  <a:cubicBezTo>
                    <a:pt x="48" y="9"/>
                    <a:pt x="48" y="8"/>
                    <a:pt x="47" y="8"/>
                  </a:cubicBezTo>
                  <a:cubicBezTo>
                    <a:pt x="47" y="8"/>
                    <a:pt x="46" y="8"/>
                    <a:pt x="46" y="8"/>
                  </a:cubicBezTo>
                  <a:cubicBezTo>
                    <a:pt x="46" y="6"/>
                    <a:pt x="45" y="5"/>
                    <a:pt x="43" y="5"/>
                  </a:cubicBezTo>
                  <a:cubicBezTo>
                    <a:pt x="43" y="7"/>
                    <a:pt x="43" y="8"/>
                    <a:pt x="43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10"/>
                    <a:pt x="43" y="9"/>
                    <a:pt x="43" y="9"/>
                  </a:cubicBezTo>
                  <a:cubicBezTo>
                    <a:pt x="42" y="8"/>
                    <a:pt x="42" y="7"/>
                    <a:pt x="41" y="6"/>
                  </a:cubicBezTo>
                  <a:cubicBezTo>
                    <a:pt x="39" y="5"/>
                    <a:pt x="37" y="6"/>
                    <a:pt x="35" y="7"/>
                  </a:cubicBezTo>
                  <a:cubicBezTo>
                    <a:pt x="34" y="8"/>
                    <a:pt x="34" y="11"/>
                    <a:pt x="34" y="13"/>
                  </a:cubicBezTo>
                  <a:cubicBezTo>
                    <a:pt x="33" y="13"/>
                    <a:pt x="32" y="12"/>
                    <a:pt x="32" y="11"/>
                  </a:cubicBezTo>
                  <a:cubicBezTo>
                    <a:pt x="31" y="11"/>
                    <a:pt x="31" y="9"/>
                    <a:pt x="31" y="8"/>
                  </a:cubicBezTo>
                  <a:cubicBezTo>
                    <a:pt x="31" y="7"/>
                    <a:pt x="30" y="7"/>
                    <a:pt x="29" y="6"/>
                  </a:cubicBezTo>
                  <a:cubicBezTo>
                    <a:pt x="29" y="5"/>
                    <a:pt x="28" y="6"/>
                    <a:pt x="28" y="6"/>
                  </a:cubicBezTo>
                  <a:cubicBezTo>
                    <a:pt x="27" y="8"/>
                    <a:pt x="28" y="11"/>
                    <a:pt x="28" y="13"/>
                  </a:cubicBezTo>
                  <a:cubicBezTo>
                    <a:pt x="28" y="14"/>
                    <a:pt x="26" y="14"/>
                    <a:pt x="25" y="15"/>
                  </a:cubicBezTo>
                  <a:cubicBezTo>
                    <a:pt x="25" y="16"/>
                    <a:pt x="24" y="16"/>
                    <a:pt x="24" y="17"/>
                  </a:cubicBezTo>
                  <a:cubicBezTo>
                    <a:pt x="24" y="17"/>
                    <a:pt x="23" y="17"/>
                    <a:pt x="23" y="17"/>
                  </a:cubicBezTo>
                  <a:cubicBezTo>
                    <a:pt x="22" y="14"/>
                    <a:pt x="23" y="11"/>
                    <a:pt x="22" y="8"/>
                  </a:cubicBezTo>
                  <a:cubicBezTo>
                    <a:pt x="22" y="7"/>
                    <a:pt x="21" y="6"/>
                    <a:pt x="20" y="6"/>
                  </a:cubicBezTo>
                  <a:cubicBezTo>
                    <a:pt x="20" y="6"/>
                    <a:pt x="19" y="6"/>
                    <a:pt x="19" y="6"/>
                  </a:cubicBezTo>
                  <a:cubicBezTo>
                    <a:pt x="17" y="5"/>
                    <a:pt x="16" y="4"/>
                    <a:pt x="16" y="2"/>
                  </a:cubicBezTo>
                  <a:cubicBezTo>
                    <a:pt x="15" y="1"/>
                    <a:pt x="14" y="1"/>
                    <a:pt x="12" y="1"/>
                  </a:cubicBezTo>
                  <a:cubicBezTo>
                    <a:pt x="11" y="1"/>
                    <a:pt x="12" y="2"/>
                    <a:pt x="12" y="3"/>
                  </a:cubicBezTo>
                  <a:cubicBezTo>
                    <a:pt x="12" y="3"/>
                    <a:pt x="12" y="3"/>
                    <a:pt x="13" y="3"/>
                  </a:cubicBezTo>
                  <a:cubicBezTo>
                    <a:pt x="13" y="4"/>
                    <a:pt x="12" y="4"/>
                    <a:pt x="13" y="5"/>
                  </a:cubicBezTo>
                  <a:cubicBezTo>
                    <a:pt x="14" y="5"/>
                    <a:pt x="14" y="6"/>
                    <a:pt x="14" y="7"/>
                  </a:cubicBezTo>
                  <a:cubicBezTo>
                    <a:pt x="14" y="7"/>
                    <a:pt x="13" y="7"/>
                    <a:pt x="13" y="7"/>
                  </a:cubicBezTo>
                  <a:cubicBezTo>
                    <a:pt x="11" y="6"/>
                    <a:pt x="10" y="6"/>
                    <a:pt x="9" y="5"/>
                  </a:cubicBezTo>
                  <a:cubicBezTo>
                    <a:pt x="9" y="4"/>
                    <a:pt x="8" y="4"/>
                    <a:pt x="8" y="4"/>
                  </a:cubicBezTo>
                  <a:cubicBezTo>
                    <a:pt x="7" y="5"/>
                    <a:pt x="8" y="7"/>
                    <a:pt x="7" y="8"/>
                  </a:cubicBezTo>
                  <a:cubicBezTo>
                    <a:pt x="7" y="9"/>
                    <a:pt x="6" y="10"/>
                    <a:pt x="5" y="11"/>
                  </a:cubicBezTo>
                  <a:cubicBezTo>
                    <a:pt x="5" y="12"/>
                    <a:pt x="3" y="12"/>
                    <a:pt x="3" y="12"/>
                  </a:cubicBezTo>
                  <a:cubicBezTo>
                    <a:pt x="2" y="13"/>
                    <a:pt x="2" y="14"/>
                    <a:pt x="1" y="14"/>
                  </a:cubicBezTo>
                  <a:cubicBezTo>
                    <a:pt x="1" y="14"/>
                    <a:pt x="0" y="15"/>
                    <a:pt x="0" y="15"/>
                  </a:cubicBezTo>
                  <a:cubicBezTo>
                    <a:pt x="0" y="15"/>
                    <a:pt x="0" y="15"/>
                    <a:pt x="0" y="16"/>
                  </a:cubicBezTo>
                  <a:cubicBezTo>
                    <a:pt x="1" y="16"/>
                    <a:pt x="2" y="15"/>
                    <a:pt x="3" y="16"/>
                  </a:cubicBezTo>
                  <a:cubicBezTo>
                    <a:pt x="4" y="18"/>
                    <a:pt x="5" y="19"/>
                    <a:pt x="7" y="18"/>
                  </a:cubicBezTo>
                  <a:cubicBezTo>
                    <a:pt x="8" y="17"/>
                    <a:pt x="9" y="17"/>
                    <a:pt x="10" y="16"/>
                  </a:cubicBezTo>
                  <a:cubicBezTo>
                    <a:pt x="11" y="16"/>
                    <a:pt x="12" y="15"/>
                    <a:pt x="14" y="15"/>
                  </a:cubicBezTo>
                  <a:cubicBezTo>
                    <a:pt x="15" y="15"/>
                    <a:pt x="17" y="15"/>
                    <a:pt x="19" y="15"/>
                  </a:cubicBezTo>
                  <a:cubicBezTo>
                    <a:pt x="19" y="18"/>
                    <a:pt x="16" y="17"/>
                    <a:pt x="15" y="18"/>
                  </a:cubicBezTo>
                  <a:cubicBezTo>
                    <a:pt x="15" y="18"/>
                    <a:pt x="15" y="19"/>
                    <a:pt x="15" y="19"/>
                  </a:cubicBezTo>
                  <a:cubicBezTo>
                    <a:pt x="16" y="20"/>
                    <a:pt x="17" y="20"/>
                    <a:pt x="17" y="21"/>
                  </a:cubicBezTo>
                  <a:cubicBezTo>
                    <a:pt x="13" y="21"/>
                    <a:pt x="9" y="20"/>
                    <a:pt x="6" y="21"/>
                  </a:cubicBezTo>
                  <a:cubicBezTo>
                    <a:pt x="5" y="21"/>
                    <a:pt x="4" y="22"/>
                    <a:pt x="4" y="23"/>
                  </a:cubicBezTo>
                  <a:cubicBezTo>
                    <a:pt x="4" y="23"/>
                    <a:pt x="4" y="24"/>
                    <a:pt x="4" y="24"/>
                  </a:cubicBezTo>
                  <a:cubicBezTo>
                    <a:pt x="5" y="25"/>
                    <a:pt x="6" y="25"/>
                    <a:pt x="7" y="24"/>
                  </a:cubicBezTo>
                  <a:cubicBezTo>
                    <a:pt x="7" y="24"/>
                    <a:pt x="8" y="23"/>
                    <a:pt x="9" y="23"/>
                  </a:cubicBezTo>
                  <a:cubicBezTo>
                    <a:pt x="10" y="23"/>
                    <a:pt x="13" y="22"/>
                    <a:pt x="13" y="24"/>
                  </a:cubicBezTo>
                  <a:cubicBezTo>
                    <a:pt x="13" y="25"/>
                    <a:pt x="13" y="27"/>
                    <a:pt x="14" y="27"/>
                  </a:cubicBezTo>
                  <a:cubicBezTo>
                    <a:pt x="15" y="28"/>
                    <a:pt x="16" y="27"/>
                    <a:pt x="16" y="28"/>
                  </a:cubicBezTo>
                  <a:cubicBezTo>
                    <a:pt x="17" y="29"/>
                    <a:pt x="16" y="31"/>
                    <a:pt x="17" y="32"/>
                  </a:cubicBezTo>
                  <a:cubicBezTo>
                    <a:pt x="17" y="32"/>
                    <a:pt x="18" y="33"/>
                    <a:pt x="18" y="33"/>
                  </a:cubicBezTo>
                  <a:cubicBezTo>
                    <a:pt x="17" y="33"/>
                    <a:pt x="17" y="34"/>
                    <a:pt x="16" y="34"/>
                  </a:cubicBezTo>
                  <a:cubicBezTo>
                    <a:pt x="14" y="34"/>
                    <a:pt x="13" y="33"/>
                    <a:pt x="11" y="33"/>
                  </a:cubicBezTo>
                  <a:cubicBezTo>
                    <a:pt x="10" y="34"/>
                    <a:pt x="10" y="35"/>
                    <a:pt x="11" y="36"/>
                  </a:cubicBezTo>
                  <a:cubicBezTo>
                    <a:pt x="12" y="36"/>
                    <a:pt x="13" y="36"/>
                    <a:pt x="14" y="36"/>
                  </a:cubicBezTo>
                  <a:cubicBezTo>
                    <a:pt x="15" y="35"/>
                    <a:pt x="16" y="35"/>
                    <a:pt x="17" y="35"/>
                  </a:cubicBezTo>
                  <a:cubicBezTo>
                    <a:pt x="18" y="36"/>
                    <a:pt x="19" y="36"/>
                    <a:pt x="20" y="36"/>
                  </a:cubicBezTo>
                  <a:cubicBezTo>
                    <a:pt x="22" y="37"/>
                    <a:pt x="25" y="38"/>
                    <a:pt x="28" y="39"/>
                  </a:cubicBezTo>
                  <a:cubicBezTo>
                    <a:pt x="30" y="40"/>
                    <a:pt x="32" y="40"/>
                    <a:pt x="34" y="41"/>
                  </a:cubicBezTo>
                  <a:cubicBezTo>
                    <a:pt x="34" y="41"/>
                    <a:pt x="35" y="42"/>
                    <a:pt x="36" y="42"/>
                  </a:cubicBezTo>
                  <a:cubicBezTo>
                    <a:pt x="36" y="42"/>
                    <a:pt x="37" y="42"/>
                    <a:pt x="37" y="43"/>
                  </a:cubicBezTo>
                  <a:cubicBezTo>
                    <a:pt x="39" y="43"/>
                    <a:pt x="40" y="43"/>
                    <a:pt x="42" y="43"/>
                  </a:cubicBezTo>
                  <a:cubicBezTo>
                    <a:pt x="42" y="43"/>
                    <a:pt x="43" y="42"/>
                    <a:pt x="43" y="42"/>
                  </a:cubicBezTo>
                  <a:cubicBezTo>
                    <a:pt x="44" y="40"/>
                    <a:pt x="46" y="38"/>
                    <a:pt x="48" y="38"/>
                  </a:cubicBezTo>
                  <a:cubicBezTo>
                    <a:pt x="49" y="37"/>
                    <a:pt x="50" y="37"/>
                    <a:pt x="52" y="37"/>
                  </a:cubicBezTo>
                  <a:cubicBezTo>
                    <a:pt x="53" y="37"/>
                    <a:pt x="54" y="35"/>
                    <a:pt x="55" y="35"/>
                  </a:cubicBezTo>
                  <a:cubicBezTo>
                    <a:pt x="56" y="34"/>
                    <a:pt x="56" y="34"/>
                    <a:pt x="57" y="34"/>
                  </a:cubicBezTo>
                  <a:cubicBezTo>
                    <a:pt x="59" y="33"/>
                    <a:pt x="60" y="32"/>
                    <a:pt x="62" y="31"/>
                  </a:cubicBezTo>
                  <a:cubicBezTo>
                    <a:pt x="64" y="31"/>
                    <a:pt x="66" y="32"/>
                    <a:pt x="67" y="31"/>
                  </a:cubicBezTo>
                  <a:cubicBezTo>
                    <a:pt x="69" y="29"/>
                    <a:pt x="70" y="28"/>
                    <a:pt x="71" y="26"/>
                  </a:cubicBezTo>
                  <a:cubicBezTo>
                    <a:pt x="73" y="24"/>
                    <a:pt x="76" y="23"/>
                    <a:pt x="76" y="20"/>
                  </a:cubicBezTo>
                  <a:cubicBezTo>
                    <a:pt x="76" y="20"/>
                    <a:pt x="75" y="20"/>
                    <a:pt x="75" y="20"/>
                  </a:cubicBezTo>
                  <a:cubicBezTo>
                    <a:pt x="74" y="18"/>
                    <a:pt x="75" y="17"/>
                    <a:pt x="75" y="16"/>
                  </a:cubicBezTo>
                  <a:cubicBezTo>
                    <a:pt x="75" y="16"/>
                    <a:pt x="74" y="16"/>
                    <a:pt x="74" y="16"/>
                  </a:cubicBezTo>
                  <a:cubicBezTo>
                    <a:pt x="73" y="15"/>
                    <a:pt x="73" y="15"/>
                    <a:pt x="73" y="1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9" name="Freeform 124"/>
            <p:cNvSpPr>
              <a:spLocks/>
            </p:cNvSpPr>
            <p:nvPr/>
          </p:nvSpPr>
          <p:spPr bwMode="auto">
            <a:xfrm>
              <a:off x="6987197" y="3231276"/>
              <a:ext cx="40133" cy="83547"/>
            </a:xfrm>
            <a:custGeom>
              <a:avLst/>
              <a:gdLst>
                <a:gd name="T0" fmla="*/ 75217554 w 86"/>
                <a:gd name="T1" fmla="*/ 40348290 h 173"/>
                <a:gd name="T2" fmla="*/ 69719409 w 86"/>
                <a:gd name="T3" fmla="*/ 43131028 h 173"/>
                <a:gd name="T4" fmla="*/ 64836836 w 86"/>
                <a:gd name="T5" fmla="*/ 50540003 h 173"/>
                <a:gd name="T6" fmla="*/ 64213032 w 86"/>
                <a:gd name="T7" fmla="*/ 57820947 h 173"/>
                <a:gd name="T8" fmla="*/ 62147758 w 86"/>
                <a:gd name="T9" fmla="*/ 61434590 h 173"/>
                <a:gd name="T10" fmla="*/ 51198376 w 86"/>
                <a:gd name="T11" fmla="*/ 68627425 h 173"/>
                <a:gd name="T12" fmla="*/ 46557665 w 86"/>
                <a:gd name="T13" fmla="*/ 70660839 h 173"/>
                <a:gd name="T14" fmla="*/ 41678000 w 86"/>
                <a:gd name="T15" fmla="*/ 78895022 h 173"/>
                <a:gd name="T16" fmla="*/ 39700158 w 86"/>
                <a:gd name="T17" fmla="*/ 88965477 h 173"/>
                <a:gd name="T18" fmla="*/ 41678000 w 86"/>
                <a:gd name="T19" fmla="*/ 101719373 h 173"/>
                <a:gd name="T20" fmla="*/ 49158142 w 86"/>
                <a:gd name="T21" fmla="*/ 104391551 h 173"/>
                <a:gd name="T22" fmla="*/ 51198376 w 86"/>
                <a:gd name="T23" fmla="*/ 111783206 h 173"/>
                <a:gd name="T24" fmla="*/ 34174943 w 86"/>
                <a:gd name="T25" fmla="*/ 112613960 h 173"/>
                <a:gd name="T26" fmla="*/ 49158142 w 86"/>
                <a:gd name="T27" fmla="*/ 114573114 h 173"/>
                <a:gd name="T28" fmla="*/ 43652821 w 86"/>
                <a:gd name="T29" fmla="*/ 119192597 h 173"/>
                <a:gd name="T30" fmla="*/ 36176447 w 86"/>
                <a:gd name="T31" fmla="*/ 130920503 h 173"/>
                <a:gd name="T32" fmla="*/ 34174943 w 86"/>
                <a:gd name="T33" fmla="*/ 142076059 h 173"/>
                <a:gd name="T34" fmla="*/ 26833730 w 86"/>
                <a:gd name="T35" fmla="*/ 148377878 h 173"/>
                <a:gd name="T36" fmla="*/ 22526449 w 86"/>
                <a:gd name="T37" fmla="*/ 156398788 h 173"/>
                <a:gd name="T38" fmla="*/ 12978404 w 86"/>
                <a:gd name="T39" fmla="*/ 157730801 h 173"/>
                <a:gd name="T40" fmla="*/ 12141685 w 86"/>
                <a:gd name="T41" fmla="*/ 145568424 h 173"/>
                <a:gd name="T42" fmla="*/ 7480177 w 86"/>
                <a:gd name="T43" fmla="*/ 137483443 h 173"/>
                <a:gd name="T44" fmla="*/ 1976594 w 86"/>
                <a:gd name="T45" fmla="*/ 129220809 h 173"/>
                <a:gd name="T46" fmla="*/ 0 w 86"/>
                <a:gd name="T47" fmla="*/ 116578983 h 173"/>
                <a:gd name="T48" fmla="*/ 2814470 w 86"/>
                <a:gd name="T49" fmla="*/ 110666579 h 173"/>
                <a:gd name="T50" fmla="*/ 5498241 w 86"/>
                <a:gd name="T51" fmla="*/ 100599803 h 173"/>
                <a:gd name="T52" fmla="*/ 8355956 w 86"/>
                <a:gd name="T53" fmla="*/ 90556195 h 173"/>
                <a:gd name="T54" fmla="*/ 5498241 w 86"/>
                <a:gd name="T55" fmla="*/ 86915837 h 173"/>
                <a:gd name="T56" fmla="*/ 4665681 w 86"/>
                <a:gd name="T57" fmla="*/ 66880978 h 173"/>
                <a:gd name="T58" fmla="*/ 16518345 w 86"/>
                <a:gd name="T59" fmla="*/ 60606666 h 173"/>
                <a:gd name="T60" fmla="*/ 13854457 w 86"/>
                <a:gd name="T61" fmla="*/ 53201502 h 173"/>
                <a:gd name="T62" fmla="*/ 18493317 w 86"/>
                <a:gd name="T63" fmla="*/ 36594738 h 173"/>
                <a:gd name="T64" fmla="*/ 25996218 w 86"/>
                <a:gd name="T65" fmla="*/ 31143671 h 173"/>
                <a:gd name="T66" fmla="*/ 29863716 w 86"/>
                <a:gd name="T67" fmla="*/ 20247179 h 173"/>
                <a:gd name="T68" fmla="*/ 35303472 w 86"/>
                <a:gd name="T69" fmla="*/ 10896638 h 173"/>
                <a:gd name="T70" fmla="*/ 41678000 w 86"/>
                <a:gd name="T71" fmla="*/ 6579469 h 173"/>
                <a:gd name="T72" fmla="*/ 53823854 w 86"/>
                <a:gd name="T73" fmla="*/ 0 h 173"/>
                <a:gd name="T74" fmla="*/ 59333404 w 86"/>
                <a:gd name="T75" fmla="*/ 1959136 h 173"/>
                <a:gd name="T76" fmla="*/ 68843167 w 86"/>
                <a:gd name="T77" fmla="*/ 7405204 h 173"/>
                <a:gd name="T78" fmla="*/ 75217554 w 86"/>
                <a:gd name="T79" fmla="*/ 10896638 h 173"/>
                <a:gd name="T80" fmla="*/ 75217554 w 86"/>
                <a:gd name="T81" fmla="*/ 18288407 h 173"/>
                <a:gd name="T82" fmla="*/ 77827434 w 86"/>
                <a:gd name="T83" fmla="*/ 24867926 h 173"/>
                <a:gd name="T84" fmla="*/ 79883210 w 86"/>
                <a:gd name="T85" fmla="*/ 38397616 h 17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6"/>
                <a:gd name="T130" fmla="*/ 0 h 173"/>
                <a:gd name="T131" fmla="*/ 86 w 86"/>
                <a:gd name="T132" fmla="*/ 173 h 17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6" h="173">
                  <a:moveTo>
                    <a:pt x="86" y="43"/>
                  </a:moveTo>
                  <a:cubicBezTo>
                    <a:pt x="85" y="43"/>
                    <a:pt x="85" y="43"/>
                    <a:pt x="84" y="43"/>
                  </a:cubicBezTo>
                  <a:cubicBezTo>
                    <a:pt x="83" y="43"/>
                    <a:pt x="82" y="44"/>
                    <a:pt x="81" y="44"/>
                  </a:cubicBezTo>
                  <a:cubicBezTo>
                    <a:pt x="80" y="44"/>
                    <a:pt x="78" y="44"/>
                    <a:pt x="76" y="44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46"/>
                    <a:pt x="76" y="47"/>
                    <a:pt x="75" y="47"/>
                  </a:cubicBezTo>
                  <a:cubicBezTo>
                    <a:pt x="75" y="47"/>
                    <a:pt x="75" y="47"/>
                    <a:pt x="74" y="48"/>
                  </a:cubicBezTo>
                  <a:cubicBezTo>
                    <a:pt x="74" y="49"/>
                    <a:pt x="73" y="51"/>
                    <a:pt x="72" y="51"/>
                  </a:cubicBezTo>
                  <a:cubicBezTo>
                    <a:pt x="72" y="53"/>
                    <a:pt x="71" y="54"/>
                    <a:pt x="70" y="55"/>
                  </a:cubicBezTo>
                  <a:cubicBezTo>
                    <a:pt x="70" y="55"/>
                    <a:pt x="70" y="56"/>
                    <a:pt x="69" y="56"/>
                  </a:cubicBezTo>
                  <a:cubicBezTo>
                    <a:pt x="69" y="56"/>
                    <a:pt x="69" y="57"/>
                    <a:pt x="69" y="57"/>
                  </a:cubicBezTo>
                  <a:cubicBezTo>
                    <a:pt x="70" y="59"/>
                    <a:pt x="70" y="61"/>
                    <a:pt x="69" y="63"/>
                  </a:cubicBezTo>
                  <a:cubicBezTo>
                    <a:pt x="68" y="63"/>
                    <a:pt x="68" y="64"/>
                    <a:pt x="68" y="64"/>
                  </a:cubicBezTo>
                  <a:cubicBezTo>
                    <a:pt x="68" y="64"/>
                    <a:pt x="68" y="65"/>
                    <a:pt x="68" y="65"/>
                  </a:cubicBezTo>
                  <a:cubicBezTo>
                    <a:pt x="68" y="65"/>
                    <a:pt x="67" y="66"/>
                    <a:pt x="67" y="67"/>
                  </a:cubicBezTo>
                  <a:cubicBezTo>
                    <a:pt x="65" y="69"/>
                    <a:pt x="64" y="71"/>
                    <a:pt x="61" y="72"/>
                  </a:cubicBezTo>
                  <a:cubicBezTo>
                    <a:pt x="61" y="73"/>
                    <a:pt x="60" y="73"/>
                    <a:pt x="59" y="73"/>
                  </a:cubicBezTo>
                  <a:cubicBezTo>
                    <a:pt x="58" y="74"/>
                    <a:pt x="57" y="75"/>
                    <a:pt x="55" y="75"/>
                  </a:cubicBezTo>
                  <a:cubicBezTo>
                    <a:pt x="55" y="76"/>
                    <a:pt x="54" y="76"/>
                    <a:pt x="54" y="77"/>
                  </a:cubicBezTo>
                  <a:cubicBezTo>
                    <a:pt x="53" y="77"/>
                    <a:pt x="51" y="76"/>
                    <a:pt x="50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49" y="79"/>
                    <a:pt x="48" y="79"/>
                    <a:pt x="47" y="80"/>
                  </a:cubicBezTo>
                  <a:cubicBezTo>
                    <a:pt x="47" y="81"/>
                    <a:pt x="47" y="83"/>
                    <a:pt x="47" y="84"/>
                  </a:cubicBezTo>
                  <a:cubicBezTo>
                    <a:pt x="46" y="85"/>
                    <a:pt x="45" y="85"/>
                    <a:pt x="45" y="86"/>
                  </a:cubicBezTo>
                  <a:cubicBezTo>
                    <a:pt x="44" y="88"/>
                    <a:pt x="44" y="89"/>
                    <a:pt x="44" y="91"/>
                  </a:cubicBezTo>
                  <a:cubicBezTo>
                    <a:pt x="44" y="91"/>
                    <a:pt x="44" y="92"/>
                    <a:pt x="44" y="93"/>
                  </a:cubicBezTo>
                  <a:cubicBezTo>
                    <a:pt x="43" y="94"/>
                    <a:pt x="43" y="96"/>
                    <a:pt x="43" y="97"/>
                  </a:cubicBezTo>
                  <a:cubicBezTo>
                    <a:pt x="42" y="100"/>
                    <a:pt x="42" y="102"/>
                    <a:pt x="43" y="105"/>
                  </a:cubicBezTo>
                  <a:cubicBezTo>
                    <a:pt x="43" y="106"/>
                    <a:pt x="44" y="108"/>
                    <a:pt x="44" y="110"/>
                  </a:cubicBezTo>
                  <a:cubicBezTo>
                    <a:pt x="45" y="110"/>
                    <a:pt x="45" y="111"/>
                    <a:pt x="45" y="111"/>
                  </a:cubicBezTo>
                  <a:cubicBezTo>
                    <a:pt x="46" y="111"/>
                    <a:pt x="46" y="111"/>
                    <a:pt x="47" y="111"/>
                  </a:cubicBezTo>
                  <a:cubicBezTo>
                    <a:pt x="47" y="110"/>
                    <a:pt x="48" y="110"/>
                    <a:pt x="49" y="111"/>
                  </a:cubicBezTo>
                  <a:cubicBezTo>
                    <a:pt x="50" y="112"/>
                    <a:pt x="52" y="113"/>
                    <a:pt x="53" y="114"/>
                  </a:cubicBezTo>
                  <a:cubicBezTo>
                    <a:pt x="53" y="115"/>
                    <a:pt x="54" y="116"/>
                    <a:pt x="55" y="117"/>
                  </a:cubicBezTo>
                  <a:cubicBezTo>
                    <a:pt x="56" y="118"/>
                    <a:pt x="57" y="119"/>
                    <a:pt x="56" y="120"/>
                  </a:cubicBezTo>
                  <a:cubicBezTo>
                    <a:pt x="56" y="121"/>
                    <a:pt x="56" y="122"/>
                    <a:pt x="55" y="122"/>
                  </a:cubicBezTo>
                  <a:cubicBezTo>
                    <a:pt x="55" y="122"/>
                    <a:pt x="54" y="122"/>
                    <a:pt x="53" y="122"/>
                  </a:cubicBezTo>
                  <a:cubicBezTo>
                    <a:pt x="53" y="122"/>
                    <a:pt x="53" y="123"/>
                    <a:pt x="53" y="123"/>
                  </a:cubicBezTo>
                  <a:cubicBezTo>
                    <a:pt x="48" y="123"/>
                    <a:pt x="43" y="122"/>
                    <a:pt x="37" y="123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39" y="124"/>
                    <a:pt x="40" y="124"/>
                    <a:pt x="42" y="124"/>
                  </a:cubicBezTo>
                  <a:cubicBezTo>
                    <a:pt x="46" y="124"/>
                    <a:pt x="49" y="124"/>
                    <a:pt x="53" y="125"/>
                  </a:cubicBezTo>
                  <a:cubicBezTo>
                    <a:pt x="53" y="125"/>
                    <a:pt x="53" y="126"/>
                    <a:pt x="52" y="126"/>
                  </a:cubicBezTo>
                  <a:cubicBezTo>
                    <a:pt x="51" y="127"/>
                    <a:pt x="51" y="128"/>
                    <a:pt x="50" y="129"/>
                  </a:cubicBezTo>
                  <a:cubicBezTo>
                    <a:pt x="49" y="129"/>
                    <a:pt x="48" y="129"/>
                    <a:pt x="47" y="130"/>
                  </a:cubicBezTo>
                  <a:cubicBezTo>
                    <a:pt x="45" y="131"/>
                    <a:pt x="44" y="132"/>
                    <a:pt x="42" y="133"/>
                  </a:cubicBezTo>
                  <a:cubicBezTo>
                    <a:pt x="42" y="134"/>
                    <a:pt x="41" y="134"/>
                    <a:pt x="41" y="135"/>
                  </a:cubicBezTo>
                  <a:cubicBezTo>
                    <a:pt x="40" y="138"/>
                    <a:pt x="42" y="141"/>
                    <a:pt x="39" y="143"/>
                  </a:cubicBezTo>
                  <a:cubicBezTo>
                    <a:pt x="39" y="145"/>
                    <a:pt x="39" y="147"/>
                    <a:pt x="38" y="149"/>
                  </a:cubicBezTo>
                  <a:cubicBezTo>
                    <a:pt x="38" y="150"/>
                    <a:pt x="38" y="150"/>
                    <a:pt x="38" y="150"/>
                  </a:cubicBezTo>
                  <a:cubicBezTo>
                    <a:pt x="37" y="152"/>
                    <a:pt x="38" y="154"/>
                    <a:pt x="37" y="155"/>
                  </a:cubicBezTo>
                  <a:cubicBezTo>
                    <a:pt x="36" y="157"/>
                    <a:pt x="35" y="158"/>
                    <a:pt x="35" y="160"/>
                  </a:cubicBezTo>
                  <a:cubicBezTo>
                    <a:pt x="35" y="160"/>
                    <a:pt x="34" y="161"/>
                    <a:pt x="34" y="161"/>
                  </a:cubicBezTo>
                  <a:cubicBezTo>
                    <a:pt x="32" y="161"/>
                    <a:pt x="30" y="161"/>
                    <a:pt x="29" y="162"/>
                  </a:cubicBezTo>
                  <a:cubicBezTo>
                    <a:pt x="28" y="163"/>
                    <a:pt x="28" y="163"/>
                    <a:pt x="27" y="164"/>
                  </a:cubicBezTo>
                  <a:cubicBezTo>
                    <a:pt x="26" y="164"/>
                    <a:pt x="25" y="165"/>
                    <a:pt x="25" y="166"/>
                  </a:cubicBezTo>
                  <a:cubicBezTo>
                    <a:pt x="24" y="167"/>
                    <a:pt x="25" y="169"/>
                    <a:pt x="24" y="171"/>
                  </a:cubicBezTo>
                  <a:cubicBezTo>
                    <a:pt x="23" y="172"/>
                    <a:pt x="21" y="171"/>
                    <a:pt x="20" y="172"/>
                  </a:cubicBezTo>
                  <a:cubicBezTo>
                    <a:pt x="19" y="172"/>
                    <a:pt x="17" y="171"/>
                    <a:pt x="16" y="172"/>
                  </a:cubicBezTo>
                  <a:cubicBezTo>
                    <a:pt x="15" y="173"/>
                    <a:pt x="14" y="173"/>
                    <a:pt x="14" y="172"/>
                  </a:cubicBezTo>
                  <a:cubicBezTo>
                    <a:pt x="13" y="171"/>
                    <a:pt x="13" y="169"/>
                    <a:pt x="14" y="167"/>
                  </a:cubicBezTo>
                  <a:cubicBezTo>
                    <a:pt x="14" y="166"/>
                    <a:pt x="14" y="164"/>
                    <a:pt x="14" y="164"/>
                  </a:cubicBezTo>
                  <a:cubicBezTo>
                    <a:pt x="13" y="162"/>
                    <a:pt x="14" y="161"/>
                    <a:pt x="13" y="159"/>
                  </a:cubicBezTo>
                  <a:cubicBezTo>
                    <a:pt x="12" y="158"/>
                    <a:pt x="12" y="156"/>
                    <a:pt x="11" y="155"/>
                  </a:cubicBezTo>
                  <a:cubicBezTo>
                    <a:pt x="11" y="154"/>
                    <a:pt x="11" y="154"/>
                    <a:pt x="11" y="154"/>
                  </a:cubicBezTo>
                  <a:cubicBezTo>
                    <a:pt x="10" y="153"/>
                    <a:pt x="8" y="152"/>
                    <a:pt x="8" y="150"/>
                  </a:cubicBezTo>
                  <a:cubicBezTo>
                    <a:pt x="7" y="149"/>
                    <a:pt x="6" y="148"/>
                    <a:pt x="4" y="146"/>
                  </a:cubicBezTo>
                  <a:cubicBezTo>
                    <a:pt x="4" y="145"/>
                    <a:pt x="4" y="144"/>
                    <a:pt x="4" y="143"/>
                  </a:cubicBezTo>
                  <a:cubicBezTo>
                    <a:pt x="3" y="142"/>
                    <a:pt x="2" y="142"/>
                    <a:pt x="2" y="141"/>
                  </a:cubicBezTo>
                  <a:cubicBezTo>
                    <a:pt x="2" y="140"/>
                    <a:pt x="2" y="138"/>
                    <a:pt x="2" y="137"/>
                  </a:cubicBezTo>
                  <a:cubicBezTo>
                    <a:pt x="1" y="136"/>
                    <a:pt x="1" y="136"/>
                    <a:pt x="0" y="135"/>
                  </a:cubicBezTo>
                  <a:cubicBezTo>
                    <a:pt x="0" y="132"/>
                    <a:pt x="1" y="130"/>
                    <a:pt x="0" y="127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2" y="126"/>
                    <a:pt x="2" y="126"/>
                    <a:pt x="2" y="125"/>
                  </a:cubicBezTo>
                  <a:cubicBezTo>
                    <a:pt x="3" y="123"/>
                    <a:pt x="3" y="122"/>
                    <a:pt x="3" y="121"/>
                  </a:cubicBezTo>
                  <a:cubicBezTo>
                    <a:pt x="3" y="119"/>
                    <a:pt x="5" y="118"/>
                    <a:pt x="6" y="117"/>
                  </a:cubicBezTo>
                  <a:cubicBezTo>
                    <a:pt x="8" y="116"/>
                    <a:pt x="8" y="115"/>
                    <a:pt x="7" y="114"/>
                  </a:cubicBezTo>
                  <a:cubicBezTo>
                    <a:pt x="7" y="112"/>
                    <a:pt x="6" y="111"/>
                    <a:pt x="6" y="110"/>
                  </a:cubicBezTo>
                  <a:cubicBezTo>
                    <a:pt x="5" y="108"/>
                    <a:pt x="5" y="106"/>
                    <a:pt x="6" y="105"/>
                  </a:cubicBezTo>
                  <a:cubicBezTo>
                    <a:pt x="7" y="104"/>
                    <a:pt x="9" y="103"/>
                    <a:pt x="9" y="102"/>
                  </a:cubicBezTo>
                  <a:cubicBezTo>
                    <a:pt x="9" y="101"/>
                    <a:pt x="9" y="100"/>
                    <a:pt x="9" y="99"/>
                  </a:cubicBezTo>
                  <a:cubicBezTo>
                    <a:pt x="8" y="99"/>
                    <a:pt x="8" y="98"/>
                    <a:pt x="8" y="98"/>
                  </a:cubicBezTo>
                  <a:cubicBezTo>
                    <a:pt x="8" y="97"/>
                    <a:pt x="7" y="97"/>
                    <a:pt x="7" y="97"/>
                  </a:cubicBezTo>
                  <a:cubicBezTo>
                    <a:pt x="7" y="96"/>
                    <a:pt x="6" y="96"/>
                    <a:pt x="6" y="95"/>
                  </a:cubicBezTo>
                  <a:cubicBezTo>
                    <a:pt x="5" y="93"/>
                    <a:pt x="5" y="91"/>
                    <a:pt x="5" y="88"/>
                  </a:cubicBezTo>
                  <a:cubicBezTo>
                    <a:pt x="4" y="85"/>
                    <a:pt x="5" y="81"/>
                    <a:pt x="5" y="78"/>
                  </a:cubicBezTo>
                  <a:cubicBezTo>
                    <a:pt x="5" y="76"/>
                    <a:pt x="5" y="74"/>
                    <a:pt x="5" y="73"/>
                  </a:cubicBezTo>
                  <a:cubicBezTo>
                    <a:pt x="5" y="71"/>
                    <a:pt x="6" y="70"/>
                    <a:pt x="7" y="69"/>
                  </a:cubicBezTo>
                  <a:cubicBezTo>
                    <a:pt x="8" y="67"/>
                    <a:pt x="9" y="64"/>
                    <a:pt x="12" y="65"/>
                  </a:cubicBezTo>
                  <a:cubicBezTo>
                    <a:pt x="14" y="66"/>
                    <a:pt x="16" y="67"/>
                    <a:pt x="18" y="66"/>
                  </a:cubicBezTo>
                  <a:cubicBezTo>
                    <a:pt x="18" y="66"/>
                    <a:pt x="18" y="64"/>
                    <a:pt x="18" y="64"/>
                  </a:cubicBezTo>
                  <a:cubicBezTo>
                    <a:pt x="17" y="63"/>
                    <a:pt x="16" y="63"/>
                    <a:pt x="15" y="62"/>
                  </a:cubicBezTo>
                  <a:cubicBezTo>
                    <a:pt x="14" y="61"/>
                    <a:pt x="14" y="60"/>
                    <a:pt x="15" y="58"/>
                  </a:cubicBezTo>
                  <a:cubicBezTo>
                    <a:pt x="15" y="57"/>
                    <a:pt x="16" y="56"/>
                    <a:pt x="17" y="55"/>
                  </a:cubicBezTo>
                  <a:cubicBezTo>
                    <a:pt x="18" y="52"/>
                    <a:pt x="19" y="50"/>
                    <a:pt x="20" y="47"/>
                  </a:cubicBezTo>
                  <a:cubicBezTo>
                    <a:pt x="20" y="45"/>
                    <a:pt x="20" y="43"/>
                    <a:pt x="20" y="40"/>
                  </a:cubicBezTo>
                  <a:cubicBezTo>
                    <a:pt x="20" y="39"/>
                    <a:pt x="21" y="39"/>
                    <a:pt x="22" y="39"/>
                  </a:cubicBezTo>
                  <a:cubicBezTo>
                    <a:pt x="23" y="38"/>
                    <a:pt x="25" y="37"/>
                    <a:pt x="26" y="36"/>
                  </a:cubicBezTo>
                  <a:cubicBezTo>
                    <a:pt x="27" y="36"/>
                    <a:pt x="28" y="35"/>
                    <a:pt x="28" y="34"/>
                  </a:cubicBezTo>
                  <a:cubicBezTo>
                    <a:pt x="28" y="33"/>
                    <a:pt x="29" y="33"/>
                    <a:pt x="29" y="33"/>
                  </a:cubicBezTo>
                  <a:cubicBezTo>
                    <a:pt x="30" y="31"/>
                    <a:pt x="31" y="30"/>
                    <a:pt x="31" y="29"/>
                  </a:cubicBezTo>
                  <a:cubicBezTo>
                    <a:pt x="31" y="26"/>
                    <a:pt x="31" y="24"/>
                    <a:pt x="32" y="22"/>
                  </a:cubicBezTo>
                  <a:cubicBezTo>
                    <a:pt x="32" y="21"/>
                    <a:pt x="32" y="20"/>
                    <a:pt x="33" y="19"/>
                  </a:cubicBezTo>
                  <a:cubicBezTo>
                    <a:pt x="34" y="17"/>
                    <a:pt x="34" y="14"/>
                    <a:pt x="36" y="12"/>
                  </a:cubicBezTo>
                  <a:cubicBezTo>
                    <a:pt x="37" y="12"/>
                    <a:pt x="38" y="12"/>
                    <a:pt x="38" y="12"/>
                  </a:cubicBezTo>
                  <a:cubicBezTo>
                    <a:pt x="39" y="13"/>
                    <a:pt x="40" y="14"/>
                    <a:pt x="41" y="14"/>
                  </a:cubicBezTo>
                  <a:cubicBezTo>
                    <a:pt x="41" y="15"/>
                    <a:pt x="43" y="15"/>
                    <a:pt x="43" y="14"/>
                  </a:cubicBezTo>
                  <a:cubicBezTo>
                    <a:pt x="44" y="11"/>
                    <a:pt x="42" y="7"/>
                    <a:pt x="45" y="7"/>
                  </a:cubicBezTo>
                  <a:cubicBezTo>
                    <a:pt x="49" y="6"/>
                    <a:pt x="52" y="7"/>
                    <a:pt x="55" y="9"/>
                  </a:cubicBezTo>
                  <a:cubicBezTo>
                    <a:pt x="56" y="10"/>
                    <a:pt x="57" y="10"/>
                    <a:pt x="58" y="9"/>
                  </a:cubicBezTo>
                  <a:cubicBezTo>
                    <a:pt x="58" y="6"/>
                    <a:pt x="58" y="3"/>
                    <a:pt x="58" y="0"/>
                  </a:cubicBezTo>
                  <a:cubicBezTo>
                    <a:pt x="59" y="0"/>
                    <a:pt x="60" y="0"/>
                    <a:pt x="61" y="0"/>
                  </a:cubicBezTo>
                  <a:cubicBezTo>
                    <a:pt x="61" y="1"/>
                    <a:pt x="63" y="1"/>
                    <a:pt x="63" y="1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5" y="3"/>
                    <a:pt x="66" y="4"/>
                    <a:pt x="68" y="5"/>
                  </a:cubicBezTo>
                  <a:cubicBezTo>
                    <a:pt x="68" y="5"/>
                    <a:pt x="69" y="6"/>
                    <a:pt x="70" y="6"/>
                  </a:cubicBezTo>
                  <a:cubicBezTo>
                    <a:pt x="71" y="7"/>
                    <a:pt x="73" y="7"/>
                    <a:pt x="74" y="8"/>
                  </a:cubicBezTo>
                  <a:cubicBezTo>
                    <a:pt x="75" y="8"/>
                    <a:pt x="75" y="9"/>
                    <a:pt x="76" y="10"/>
                  </a:cubicBezTo>
                  <a:cubicBezTo>
                    <a:pt x="78" y="10"/>
                    <a:pt x="79" y="10"/>
                    <a:pt x="80" y="11"/>
                  </a:cubicBezTo>
                  <a:cubicBezTo>
                    <a:pt x="81" y="11"/>
                    <a:pt x="81" y="12"/>
                    <a:pt x="81" y="12"/>
                  </a:cubicBezTo>
                  <a:cubicBezTo>
                    <a:pt x="82" y="14"/>
                    <a:pt x="82" y="15"/>
                    <a:pt x="82" y="16"/>
                  </a:cubicBezTo>
                  <a:cubicBezTo>
                    <a:pt x="82" y="17"/>
                    <a:pt x="82" y="17"/>
                    <a:pt x="81" y="17"/>
                  </a:cubicBezTo>
                  <a:cubicBezTo>
                    <a:pt x="81" y="18"/>
                    <a:pt x="81" y="19"/>
                    <a:pt x="81" y="20"/>
                  </a:cubicBezTo>
                  <a:cubicBezTo>
                    <a:pt x="82" y="21"/>
                    <a:pt x="83" y="21"/>
                    <a:pt x="83" y="21"/>
                  </a:cubicBezTo>
                  <a:cubicBezTo>
                    <a:pt x="83" y="22"/>
                    <a:pt x="83" y="24"/>
                    <a:pt x="84" y="25"/>
                  </a:cubicBezTo>
                  <a:cubicBezTo>
                    <a:pt x="84" y="26"/>
                    <a:pt x="84" y="26"/>
                    <a:pt x="84" y="27"/>
                  </a:cubicBezTo>
                  <a:cubicBezTo>
                    <a:pt x="84" y="28"/>
                    <a:pt x="85" y="29"/>
                    <a:pt x="85" y="30"/>
                  </a:cubicBezTo>
                  <a:cubicBezTo>
                    <a:pt x="85" y="32"/>
                    <a:pt x="85" y="34"/>
                    <a:pt x="85" y="36"/>
                  </a:cubicBezTo>
                  <a:cubicBezTo>
                    <a:pt x="86" y="38"/>
                    <a:pt x="86" y="40"/>
                    <a:pt x="86" y="42"/>
                  </a:cubicBezTo>
                  <a:lnTo>
                    <a:pt x="86" y="4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0" name="Freeform 125"/>
            <p:cNvSpPr>
              <a:spLocks/>
            </p:cNvSpPr>
            <p:nvPr/>
          </p:nvSpPr>
          <p:spPr bwMode="auto">
            <a:xfrm>
              <a:off x="7010525" y="3299411"/>
              <a:ext cx="3010" cy="5948"/>
            </a:xfrm>
            <a:custGeom>
              <a:avLst/>
              <a:gdLst>
                <a:gd name="T0" fmla="*/ 2234466 w 7"/>
                <a:gd name="T1" fmla="*/ 727531 h 12"/>
                <a:gd name="T2" fmla="*/ 1156064 w 7"/>
                <a:gd name="T3" fmla="*/ 1697572 h 12"/>
                <a:gd name="T4" fmla="*/ 505778 w 7"/>
                <a:gd name="T5" fmla="*/ 2243220 h 12"/>
                <a:gd name="T6" fmla="*/ 0 w 7"/>
                <a:gd name="T7" fmla="*/ 5234181 h 12"/>
                <a:gd name="T8" fmla="*/ 505778 w 7"/>
                <a:gd name="T9" fmla="*/ 6931750 h 12"/>
                <a:gd name="T10" fmla="*/ 1156064 w 7"/>
                <a:gd name="T11" fmla="*/ 9242333 h 12"/>
                <a:gd name="T12" fmla="*/ 1724631 w 7"/>
                <a:gd name="T13" fmla="*/ 9242333 h 12"/>
                <a:gd name="T14" fmla="*/ 2642432 w 7"/>
                <a:gd name="T15" fmla="*/ 6253184 h 12"/>
                <a:gd name="T16" fmla="*/ 2642432 w 7"/>
                <a:gd name="T17" fmla="*/ 4688532 h 12"/>
                <a:gd name="T18" fmla="*/ 2642432 w 7"/>
                <a:gd name="T19" fmla="*/ 4688532 h 12"/>
                <a:gd name="T20" fmla="*/ 2642432 w 7"/>
                <a:gd name="T21" fmla="*/ 2243220 h 12"/>
                <a:gd name="T22" fmla="*/ 3942014 w 7"/>
                <a:gd name="T23" fmla="*/ 727531 h 12"/>
                <a:gd name="T24" fmla="*/ 3942014 w 7"/>
                <a:gd name="T25" fmla="*/ 0 h 12"/>
                <a:gd name="T26" fmla="*/ 2234466 w 7"/>
                <a:gd name="T27" fmla="*/ 727531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"/>
                <a:gd name="T43" fmla="*/ 0 h 12"/>
                <a:gd name="T44" fmla="*/ 7 w 7"/>
                <a:gd name="T45" fmla="*/ 12 h 1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" h="12">
                  <a:moveTo>
                    <a:pt x="4" y="1"/>
                  </a:moveTo>
                  <a:cubicBezTo>
                    <a:pt x="3" y="1"/>
                    <a:pt x="3" y="1"/>
                    <a:pt x="2" y="2"/>
                  </a:cubicBezTo>
                  <a:cubicBezTo>
                    <a:pt x="2" y="2"/>
                    <a:pt x="1" y="3"/>
                    <a:pt x="1" y="3"/>
                  </a:cubicBezTo>
                  <a:cubicBezTo>
                    <a:pt x="1" y="5"/>
                    <a:pt x="0" y="6"/>
                    <a:pt x="0" y="7"/>
                  </a:cubicBezTo>
                  <a:cubicBezTo>
                    <a:pt x="1" y="8"/>
                    <a:pt x="1" y="8"/>
                    <a:pt x="1" y="9"/>
                  </a:cubicBezTo>
                  <a:cubicBezTo>
                    <a:pt x="2" y="10"/>
                    <a:pt x="1" y="11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4" y="10"/>
                    <a:pt x="4" y="9"/>
                    <a:pt x="5" y="8"/>
                  </a:cubicBezTo>
                  <a:cubicBezTo>
                    <a:pt x="6" y="8"/>
                    <a:pt x="5" y="7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4"/>
                    <a:pt x="5" y="3"/>
                  </a:cubicBezTo>
                  <a:cubicBezTo>
                    <a:pt x="6" y="2"/>
                    <a:pt x="6" y="1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6" y="0"/>
                    <a:pt x="5" y="0"/>
                    <a:pt x="4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1" name="Freeform 126"/>
            <p:cNvSpPr>
              <a:spLocks/>
            </p:cNvSpPr>
            <p:nvPr/>
          </p:nvSpPr>
          <p:spPr bwMode="auto">
            <a:xfrm>
              <a:off x="7023568" y="3294544"/>
              <a:ext cx="4264" cy="5408"/>
            </a:xfrm>
            <a:custGeom>
              <a:avLst/>
              <a:gdLst>
                <a:gd name="T0" fmla="*/ 1697572 w 9"/>
                <a:gd name="T1" fmla="*/ 6840539 h 11"/>
                <a:gd name="T2" fmla="*/ 1697572 w 9"/>
                <a:gd name="T3" fmla="*/ 10341118 h 11"/>
                <a:gd name="T4" fmla="*/ 2243220 w 9"/>
                <a:gd name="T5" fmla="*/ 10341118 h 11"/>
                <a:gd name="T6" fmla="*/ 2243220 w 9"/>
                <a:gd name="T7" fmla="*/ 6840539 h 11"/>
                <a:gd name="T8" fmla="*/ 4688532 w 9"/>
                <a:gd name="T9" fmla="*/ 4745295 h 11"/>
                <a:gd name="T10" fmla="*/ 6253179 w 9"/>
                <a:gd name="T11" fmla="*/ 4745295 h 11"/>
                <a:gd name="T12" fmla="*/ 6931749 w 9"/>
                <a:gd name="T13" fmla="*/ 849380 h 11"/>
                <a:gd name="T14" fmla="*/ 3961001 w 9"/>
                <a:gd name="T15" fmla="*/ 849380 h 11"/>
                <a:gd name="T16" fmla="*/ 0 w 9"/>
                <a:gd name="T17" fmla="*/ 3587761 h 11"/>
                <a:gd name="T18" fmla="*/ 0 w 9"/>
                <a:gd name="T19" fmla="*/ 5595820 h 11"/>
                <a:gd name="T20" fmla="*/ 727531 w 9"/>
                <a:gd name="T21" fmla="*/ 5595820 h 11"/>
                <a:gd name="T22" fmla="*/ 1697572 w 9"/>
                <a:gd name="T23" fmla="*/ 6840539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11"/>
                <a:gd name="T38" fmla="*/ 9 w 9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11">
                  <a:moveTo>
                    <a:pt x="2" y="7"/>
                  </a:moveTo>
                  <a:cubicBezTo>
                    <a:pt x="2" y="8"/>
                    <a:pt x="1" y="10"/>
                    <a:pt x="2" y="11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0"/>
                    <a:pt x="3" y="8"/>
                    <a:pt x="3" y="7"/>
                  </a:cubicBezTo>
                  <a:cubicBezTo>
                    <a:pt x="4" y="6"/>
                    <a:pt x="5" y="6"/>
                    <a:pt x="6" y="5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9" y="4"/>
                    <a:pt x="9" y="2"/>
                    <a:pt x="9" y="1"/>
                  </a:cubicBezTo>
                  <a:cubicBezTo>
                    <a:pt x="8" y="0"/>
                    <a:pt x="6" y="1"/>
                    <a:pt x="5" y="1"/>
                  </a:cubicBezTo>
                  <a:cubicBezTo>
                    <a:pt x="3" y="2"/>
                    <a:pt x="1" y="2"/>
                    <a:pt x="0" y="4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lnTo>
                    <a:pt x="2" y="7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2" name="Freeform 127"/>
            <p:cNvSpPr>
              <a:spLocks/>
            </p:cNvSpPr>
            <p:nvPr/>
          </p:nvSpPr>
          <p:spPr bwMode="auto">
            <a:xfrm>
              <a:off x="7023819" y="3293192"/>
              <a:ext cx="2508" cy="1352"/>
            </a:xfrm>
            <a:custGeom>
              <a:avLst/>
              <a:gdLst>
                <a:gd name="T0" fmla="*/ 5085394 w 5"/>
                <a:gd name="T1" fmla="*/ 0 h 3"/>
                <a:gd name="T2" fmla="*/ 3577445 w 5"/>
                <a:gd name="T3" fmla="*/ 0 h 3"/>
                <a:gd name="T4" fmla="*/ 1064436 w 5"/>
                <a:gd name="T5" fmla="*/ 0 h 3"/>
                <a:gd name="T6" fmla="*/ 0 w 5"/>
                <a:gd name="T7" fmla="*/ 2243220 h 3"/>
                <a:gd name="T8" fmla="*/ 2554647 w 5"/>
                <a:gd name="T9" fmla="*/ 2243220 h 3"/>
                <a:gd name="T10" fmla="*/ 3577445 w 5"/>
                <a:gd name="T11" fmla="*/ 2243220 h 3"/>
                <a:gd name="T12" fmla="*/ 5085394 w 5"/>
                <a:gd name="T13" fmla="*/ 727531 h 3"/>
                <a:gd name="T14" fmla="*/ 5085394 w 5"/>
                <a:gd name="T15" fmla="*/ 727531 h 3"/>
                <a:gd name="T16" fmla="*/ 5085394 w 5"/>
                <a:gd name="T17" fmla="*/ 0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3"/>
                <a:gd name="T29" fmla="*/ 5 w 5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3">
                  <a:moveTo>
                    <a:pt x="4" y="0"/>
                  </a:move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0" y="1"/>
                    <a:pt x="1" y="2"/>
                    <a:pt x="0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4" y="2"/>
                    <a:pt x="5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3" name="Freeform 129"/>
            <p:cNvSpPr>
              <a:spLocks/>
            </p:cNvSpPr>
            <p:nvPr/>
          </p:nvSpPr>
          <p:spPr bwMode="auto">
            <a:xfrm>
              <a:off x="6977917" y="3388366"/>
              <a:ext cx="6020" cy="12167"/>
            </a:xfrm>
            <a:custGeom>
              <a:avLst/>
              <a:gdLst>
                <a:gd name="T0" fmla="*/ 13281841 w 13"/>
                <a:gd name="T1" fmla="*/ 3515237 h 25"/>
                <a:gd name="T2" fmla="*/ 10957538 w 13"/>
                <a:gd name="T3" fmla="*/ 835001 h 25"/>
                <a:gd name="T4" fmla="*/ 9596174 w 13"/>
                <a:gd name="T5" fmla="*/ 0 h 25"/>
                <a:gd name="T6" fmla="*/ 979497 w 13"/>
                <a:gd name="T7" fmla="*/ 4650620 h 25"/>
                <a:gd name="T8" fmla="*/ 0 w 13"/>
                <a:gd name="T9" fmla="*/ 6629066 h 25"/>
                <a:gd name="T10" fmla="*/ 2335724 w 13"/>
                <a:gd name="T11" fmla="*/ 7460446 h 25"/>
                <a:gd name="T12" fmla="*/ 2335724 w 13"/>
                <a:gd name="T13" fmla="*/ 12117629 h 25"/>
                <a:gd name="T14" fmla="*/ 4595099 w 13"/>
                <a:gd name="T15" fmla="*/ 12953021 h 25"/>
                <a:gd name="T16" fmla="*/ 3318681 w 13"/>
                <a:gd name="T17" fmla="*/ 18442993 h 25"/>
                <a:gd name="T18" fmla="*/ 3318681 w 13"/>
                <a:gd name="T19" fmla="*/ 20413475 h 25"/>
                <a:gd name="T20" fmla="*/ 4595099 w 13"/>
                <a:gd name="T21" fmla="*/ 21138070 h 25"/>
                <a:gd name="T22" fmla="*/ 5569804 w 13"/>
                <a:gd name="T23" fmla="*/ 23108688 h 25"/>
                <a:gd name="T24" fmla="*/ 7913775 w 13"/>
                <a:gd name="T25" fmla="*/ 23108688 h 25"/>
                <a:gd name="T26" fmla="*/ 8621839 w 13"/>
                <a:gd name="T27" fmla="*/ 20413475 h 25"/>
                <a:gd name="T28" fmla="*/ 10957538 w 13"/>
                <a:gd name="T29" fmla="*/ 20413475 h 25"/>
                <a:gd name="T30" fmla="*/ 13281841 w 13"/>
                <a:gd name="T31" fmla="*/ 19578455 h 25"/>
                <a:gd name="T32" fmla="*/ 14203962 w 13"/>
                <a:gd name="T33" fmla="*/ 17606647 h 25"/>
                <a:gd name="T34" fmla="*/ 14203962 w 13"/>
                <a:gd name="T35" fmla="*/ 12953021 h 25"/>
                <a:gd name="T36" fmla="*/ 14203962 w 13"/>
                <a:gd name="T37" fmla="*/ 12117629 h 25"/>
                <a:gd name="T38" fmla="*/ 14203962 w 13"/>
                <a:gd name="T39" fmla="*/ 3515237 h 25"/>
                <a:gd name="T40" fmla="*/ 13281841 w 13"/>
                <a:gd name="T41" fmla="*/ 3515237 h 2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3"/>
                <a:gd name="T64" fmla="*/ 0 h 25"/>
                <a:gd name="T65" fmla="*/ 13 w 13"/>
                <a:gd name="T66" fmla="*/ 25 h 2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3" h="25">
                  <a:moveTo>
                    <a:pt x="12" y="4"/>
                  </a:moveTo>
                  <a:cubicBezTo>
                    <a:pt x="11" y="3"/>
                    <a:pt x="11" y="2"/>
                    <a:pt x="10" y="1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7" y="2"/>
                    <a:pt x="4" y="5"/>
                    <a:pt x="1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1" y="7"/>
                    <a:pt x="2" y="8"/>
                    <a:pt x="2" y="8"/>
                  </a:cubicBezTo>
                  <a:cubicBezTo>
                    <a:pt x="3" y="10"/>
                    <a:pt x="2" y="12"/>
                    <a:pt x="2" y="13"/>
                  </a:cubicBezTo>
                  <a:cubicBezTo>
                    <a:pt x="3" y="13"/>
                    <a:pt x="4" y="14"/>
                    <a:pt x="4" y="14"/>
                  </a:cubicBezTo>
                  <a:cubicBezTo>
                    <a:pt x="4" y="16"/>
                    <a:pt x="4" y="18"/>
                    <a:pt x="3" y="20"/>
                  </a:cubicBezTo>
                  <a:cubicBezTo>
                    <a:pt x="3" y="20"/>
                    <a:pt x="2" y="21"/>
                    <a:pt x="3" y="22"/>
                  </a:cubicBezTo>
                  <a:cubicBezTo>
                    <a:pt x="3" y="22"/>
                    <a:pt x="4" y="23"/>
                    <a:pt x="4" y="23"/>
                  </a:cubicBezTo>
                  <a:cubicBezTo>
                    <a:pt x="4" y="24"/>
                    <a:pt x="4" y="24"/>
                    <a:pt x="5" y="25"/>
                  </a:cubicBezTo>
                  <a:cubicBezTo>
                    <a:pt x="6" y="25"/>
                    <a:pt x="7" y="25"/>
                    <a:pt x="7" y="25"/>
                  </a:cubicBezTo>
                  <a:cubicBezTo>
                    <a:pt x="7" y="24"/>
                    <a:pt x="7" y="22"/>
                    <a:pt x="8" y="22"/>
                  </a:cubicBezTo>
                  <a:cubicBezTo>
                    <a:pt x="8" y="21"/>
                    <a:pt x="9" y="21"/>
                    <a:pt x="10" y="22"/>
                  </a:cubicBezTo>
                  <a:cubicBezTo>
                    <a:pt x="10" y="22"/>
                    <a:pt x="11" y="21"/>
                    <a:pt x="12" y="21"/>
                  </a:cubicBezTo>
                  <a:cubicBezTo>
                    <a:pt x="13" y="21"/>
                    <a:pt x="12" y="20"/>
                    <a:pt x="13" y="19"/>
                  </a:cubicBezTo>
                  <a:cubicBezTo>
                    <a:pt x="13" y="17"/>
                    <a:pt x="12" y="15"/>
                    <a:pt x="13" y="14"/>
                  </a:cubicBezTo>
                  <a:cubicBezTo>
                    <a:pt x="13" y="14"/>
                    <a:pt x="13" y="13"/>
                    <a:pt x="13" y="13"/>
                  </a:cubicBezTo>
                  <a:cubicBezTo>
                    <a:pt x="13" y="10"/>
                    <a:pt x="13" y="7"/>
                    <a:pt x="13" y="4"/>
                  </a:cubicBezTo>
                  <a:cubicBezTo>
                    <a:pt x="13" y="4"/>
                    <a:pt x="12" y="4"/>
                    <a:pt x="12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4" name="Freeform 133"/>
            <p:cNvSpPr>
              <a:spLocks/>
            </p:cNvSpPr>
            <p:nvPr/>
          </p:nvSpPr>
          <p:spPr bwMode="auto">
            <a:xfrm>
              <a:off x="7037865" y="3394314"/>
              <a:ext cx="2007" cy="1622"/>
            </a:xfrm>
            <a:custGeom>
              <a:avLst/>
              <a:gdLst>
                <a:gd name="T0" fmla="*/ 4450654 w 4"/>
                <a:gd name="T1" fmla="*/ 0 h 3"/>
                <a:gd name="T2" fmla="*/ 0 w 4"/>
                <a:gd name="T3" fmla="*/ 727531 h 3"/>
                <a:gd name="T4" fmla="*/ 2497529 w 4"/>
                <a:gd name="T5" fmla="*/ 2243220 h 3"/>
                <a:gd name="T6" fmla="*/ 6243820 w 4"/>
                <a:gd name="T7" fmla="*/ 1697572 h 3"/>
                <a:gd name="T8" fmla="*/ 6243820 w 4"/>
                <a:gd name="T9" fmla="*/ 0 h 3"/>
                <a:gd name="T10" fmla="*/ 4450654 w 4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2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0" y="2"/>
                    <a:pt x="0" y="2"/>
                    <a:pt x="1" y="3"/>
                  </a:cubicBezTo>
                  <a:cubicBezTo>
                    <a:pt x="2" y="3"/>
                    <a:pt x="3" y="3"/>
                    <a:pt x="3" y="2"/>
                  </a:cubicBezTo>
                  <a:cubicBezTo>
                    <a:pt x="4" y="1"/>
                    <a:pt x="3" y="1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5" name="Freeform 137"/>
            <p:cNvSpPr>
              <a:spLocks/>
            </p:cNvSpPr>
            <p:nvPr/>
          </p:nvSpPr>
          <p:spPr bwMode="auto">
            <a:xfrm>
              <a:off x="6957349" y="3394584"/>
              <a:ext cx="4515" cy="3515"/>
            </a:xfrm>
            <a:custGeom>
              <a:avLst/>
              <a:gdLst>
                <a:gd name="T0" fmla="*/ 2411948 w 10"/>
                <a:gd name="T1" fmla="*/ 1213713 h 7"/>
                <a:gd name="T2" fmla="*/ 0 w 10"/>
                <a:gd name="T3" fmla="*/ 4210842 h 7"/>
                <a:gd name="T4" fmla="*/ 0 w 10"/>
                <a:gd name="T5" fmla="*/ 5930334 h 7"/>
                <a:gd name="T6" fmla="*/ 3218622 w 10"/>
                <a:gd name="T7" fmla="*/ 10226328 h 7"/>
                <a:gd name="T8" fmla="*/ 4267293 w 10"/>
                <a:gd name="T9" fmla="*/ 10226328 h 7"/>
                <a:gd name="T10" fmla="*/ 5547481 w 10"/>
                <a:gd name="T11" fmla="*/ 7158428 h 7"/>
                <a:gd name="T12" fmla="*/ 5547481 w 10"/>
                <a:gd name="T13" fmla="*/ 4210842 h 7"/>
                <a:gd name="T14" fmla="*/ 4267293 w 10"/>
                <a:gd name="T15" fmla="*/ 2947589 h 7"/>
                <a:gd name="T16" fmla="*/ 3724571 w 10"/>
                <a:gd name="T17" fmla="*/ 1213713 h 7"/>
                <a:gd name="T18" fmla="*/ 2411948 w 10"/>
                <a:gd name="T19" fmla="*/ 1213713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7"/>
                <a:gd name="T32" fmla="*/ 10 w 1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7">
                  <a:moveTo>
                    <a:pt x="4" y="1"/>
                  </a:moveTo>
                  <a:cubicBezTo>
                    <a:pt x="3" y="2"/>
                    <a:pt x="1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2" y="4"/>
                    <a:pt x="4" y="6"/>
                    <a:pt x="5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8" y="6"/>
                    <a:pt x="9" y="6"/>
                    <a:pt x="9" y="5"/>
                  </a:cubicBezTo>
                  <a:cubicBezTo>
                    <a:pt x="10" y="4"/>
                    <a:pt x="10" y="3"/>
                    <a:pt x="9" y="3"/>
                  </a:cubicBezTo>
                  <a:cubicBezTo>
                    <a:pt x="9" y="3"/>
                    <a:pt x="8" y="3"/>
                    <a:pt x="7" y="2"/>
                  </a:cubicBezTo>
                  <a:cubicBezTo>
                    <a:pt x="7" y="2"/>
                    <a:pt x="7" y="1"/>
                    <a:pt x="6" y="1"/>
                  </a:cubicBezTo>
                  <a:cubicBezTo>
                    <a:pt x="6" y="0"/>
                    <a:pt x="5" y="0"/>
                    <a:pt x="4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6" name="Freeform 138"/>
            <p:cNvSpPr>
              <a:spLocks/>
            </p:cNvSpPr>
            <p:nvPr/>
          </p:nvSpPr>
          <p:spPr bwMode="auto">
            <a:xfrm>
              <a:off x="6962616" y="3393773"/>
              <a:ext cx="1756" cy="2163"/>
            </a:xfrm>
            <a:custGeom>
              <a:avLst/>
              <a:gdLst>
                <a:gd name="T0" fmla="*/ 1699274 w 4"/>
                <a:gd name="T1" fmla="*/ 6243820 h 4"/>
                <a:gd name="T2" fmla="*/ 418284 w 4"/>
                <a:gd name="T3" fmla="*/ 2497529 h 4"/>
                <a:gd name="T4" fmla="*/ 418284 w 4"/>
                <a:gd name="T5" fmla="*/ 4450654 h 4"/>
                <a:gd name="T6" fmla="*/ 1699274 w 4"/>
                <a:gd name="T7" fmla="*/ 9219213 h 4"/>
                <a:gd name="T8" fmla="*/ 1699274 w 4"/>
                <a:gd name="T9" fmla="*/ 624382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4" y="3"/>
                  </a:moveTo>
                  <a:cubicBezTo>
                    <a:pt x="4" y="1"/>
                    <a:pt x="2" y="0"/>
                    <a:pt x="1" y="1"/>
                  </a:cubicBezTo>
                  <a:cubicBezTo>
                    <a:pt x="1" y="1"/>
                    <a:pt x="0" y="2"/>
                    <a:pt x="1" y="2"/>
                  </a:cubicBezTo>
                  <a:cubicBezTo>
                    <a:pt x="2" y="3"/>
                    <a:pt x="3" y="3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7" name="Freeform 139"/>
            <p:cNvSpPr>
              <a:spLocks/>
            </p:cNvSpPr>
            <p:nvPr/>
          </p:nvSpPr>
          <p:spPr bwMode="auto">
            <a:xfrm>
              <a:off x="6954088" y="3398640"/>
              <a:ext cx="1505" cy="1352"/>
            </a:xfrm>
            <a:custGeom>
              <a:avLst/>
              <a:gdLst>
                <a:gd name="T0" fmla="*/ 1697572 w 3"/>
                <a:gd name="T1" fmla="*/ 727531 h 3"/>
                <a:gd name="T2" fmla="*/ 0 w 3"/>
                <a:gd name="T3" fmla="*/ 2243220 h 3"/>
                <a:gd name="T4" fmla="*/ 1697572 w 3"/>
                <a:gd name="T5" fmla="*/ 2243220 h 3"/>
                <a:gd name="T6" fmla="*/ 2243220 w 3"/>
                <a:gd name="T7" fmla="*/ 727531 h 3"/>
                <a:gd name="T8" fmla="*/ 1697572 w 3"/>
                <a:gd name="T9" fmla="*/ 72753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1" y="0"/>
                    <a:pt x="0" y="2"/>
                    <a:pt x="0" y="3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3"/>
                    <a:pt x="3" y="2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8" name="Freeform 141"/>
            <p:cNvSpPr>
              <a:spLocks/>
            </p:cNvSpPr>
            <p:nvPr/>
          </p:nvSpPr>
          <p:spPr bwMode="auto">
            <a:xfrm>
              <a:off x="6965877" y="3216405"/>
              <a:ext cx="82523" cy="83006"/>
            </a:xfrm>
            <a:custGeom>
              <a:avLst/>
              <a:gdLst>
                <a:gd name="T0" fmla="*/ 37940890 w 178"/>
                <a:gd name="T1" fmla="*/ 143114837 h 171"/>
                <a:gd name="T2" fmla="*/ 32464658 w 178"/>
                <a:gd name="T3" fmla="*/ 149910955 h 171"/>
                <a:gd name="T4" fmla="*/ 23878917 w 178"/>
                <a:gd name="T5" fmla="*/ 156325131 h 171"/>
                <a:gd name="T6" fmla="*/ 6610479 w 178"/>
                <a:gd name="T7" fmla="*/ 154260356 h 171"/>
                <a:gd name="T8" fmla="*/ 6610479 w 178"/>
                <a:gd name="T9" fmla="*/ 148041159 h 171"/>
                <a:gd name="T10" fmla="*/ 7445212 w 178"/>
                <a:gd name="T11" fmla="*/ 145201914 h 171"/>
                <a:gd name="T12" fmla="*/ 7445212 w 178"/>
                <a:gd name="T13" fmla="*/ 137545139 h 171"/>
                <a:gd name="T14" fmla="*/ 833842 w 178"/>
                <a:gd name="T15" fmla="*/ 129981657 h 171"/>
                <a:gd name="T16" fmla="*/ 833842 w 178"/>
                <a:gd name="T17" fmla="*/ 123229463 h 171"/>
                <a:gd name="T18" fmla="*/ 9414747 w 178"/>
                <a:gd name="T19" fmla="*/ 110020378 h 171"/>
                <a:gd name="T20" fmla="*/ 15597752 w 178"/>
                <a:gd name="T21" fmla="*/ 104455972 h 171"/>
                <a:gd name="T22" fmla="*/ 22214566 w 178"/>
                <a:gd name="T23" fmla="*/ 103669860 h 171"/>
                <a:gd name="T24" fmla="*/ 29661834 w 178"/>
                <a:gd name="T25" fmla="*/ 98106890 h 171"/>
                <a:gd name="T26" fmla="*/ 33293672 w 178"/>
                <a:gd name="T27" fmla="*/ 96905192 h 171"/>
                <a:gd name="T28" fmla="*/ 31326166 w 178"/>
                <a:gd name="T29" fmla="*/ 90450871 h 171"/>
                <a:gd name="T30" fmla="*/ 37940890 w 178"/>
                <a:gd name="T31" fmla="*/ 84896898 h 171"/>
                <a:gd name="T32" fmla="*/ 42584644 w 178"/>
                <a:gd name="T33" fmla="*/ 80172434 h 171"/>
                <a:gd name="T34" fmla="*/ 46938750 w 178"/>
                <a:gd name="T35" fmla="*/ 75459821 h 171"/>
                <a:gd name="T36" fmla="*/ 52416378 w 178"/>
                <a:gd name="T37" fmla="*/ 65808997 h 171"/>
                <a:gd name="T38" fmla="*/ 56343500 w 178"/>
                <a:gd name="T39" fmla="*/ 55372211 h 171"/>
                <a:gd name="T40" fmla="*/ 63790579 w 178"/>
                <a:gd name="T41" fmla="*/ 49809204 h 171"/>
                <a:gd name="T42" fmla="*/ 71958169 w 178"/>
                <a:gd name="T43" fmla="*/ 40642915 h 171"/>
                <a:gd name="T44" fmla="*/ 78558076 w 178"/>
                <a:gd name="T45" fmla="*/ 33934372 h 171"/>
                <a:gd name="T46" fmla="*/ 82913559 w 178"/>
                <a:gd name="T47" fmla="*/ 24283699 h 171"/>
                <a:gd name="T48" fmla="*/ 87712543 w 178"/>
                <a:gd name="T49" fmla="*/ 23437255 h 171"/>
                <a:gd name="T50" fmla="*/ 92328276 w 178"/>
                <a:gd name="T51" fmla="*/ 20801078 h 171"/>
                <a:gd name="T52" fmla="*/ 98666744 w 178"/>
                <a:gd name="T53" fmla="*/ 19932937 h 171"/>
                <a:gd name="T54" fmla="*/ 105958394 w 178"/>
                <a:gd name="T55" fmla="*/ 19932937 h 171"/>
                <a:gd name="T56" fmla="*/ 103310413 w 178"/>
                <a:gd name="T57" fmla="*/ 15209735 h 171"/>
                <a:gd name="T58" fmla="*/ 114542776 w 178"/>
                <a:gd name="T59" fmla="*/ 14005059 h 171"/>
                <a:gd name="T60" fmla="*/ 120854364 w 178"/>
                <a:gd name="T61" fmla="*/ 9650713 h 171"/>
                <a:gd name="T62" fmla="*/ 127467823 w 178"/>
                <a:gd name="T63" fmla="*/ 1999708 h 171"/>
                <a:gd name="T64" fmla="*/ 129156732 w 178"/>
                <a:gd name="T65" fmla="*/ 4724456 h 171"/>
                <a:gd name="T66" fmla="*/ 129156732 w 178"/>
                <a:gd name="T67" fmla="*/ 15209735 h 171"/>
                <a:gd name="T68" fmla="*/ 135773740 w 178"/>
                <a:gd name="T69" fmla="*/ 3571093 h 171"/>
                <a:gd name="T70" fmla="*/ 137807786 w 178"/>
                <a:gd name="T71" fmla="*/ 11161873 h 171"/>
                <a:gd name="T72" fmla="*/ 140482647 w 178"/>
                <a:gd name="T73" fmla="*/ 5570905 h 171"/>
                <a:gd name="T74" fmla="*/ 147928102 w 178"/>
                <a:gd name="T75" fmla="*/ 4724456 h 171"/>
                <a:gd name="T76" fmla="*/ 146740324 w 178"/>
                <a:gd name="T77" fmla="*/ 9650713 h 171"/>
                <a:gd name="T78" fmla="*/ 155993836 w 178"/>
                <a:gd name="T79" fmla="*/ 6772680 h 171"/>
                <a:gd name="T80" fmla="*/ 164312476 w 178"/>
                <a:gd name="T81" fmla="*/ 11161873 h 171"/>
                <a:gd name="T82" fmla="*/ 155993836 w 178"/>
                <a:gd name="T83" fmla="*/ 17869556 h 171"/>
                <a:gd name="T84" fmla="*/ 160852357 w 178"/>
                <a:gd name="T85" fmla="*/ 21568650 h 171"/>
                <a:gd name="T86" fmla="*/ 152217046 w 178"/>
                <a:gd name="T87" fmla="*/ 24283699 h 171"/>
                <a:gd name="T88" fmla="*/ 139295170 w 178"/>
                <a:gd name="T89" fmla="*/ 18713845 h 171"/>
                <a:gd name="T90" fmla="*/ 129156732 w 178"/>
                <a:gd name="T91" fmla="*/ 33087966 h 171"/>
                <a:gd name="T92" fmla="*/ 118202834 w 178"/>
                <a:gd name="T93" fmla="*/ 31939680 h 171"/>
                <a:gd name="T94" fmla="*/ 107932488 w 178"/>
                <a:gd name="T95" fmla="*/ 31095392 h 171"/>
                <a:gd name="T96" fmla="*/ 100480615 w 178"/>
                <a:gd name="T97" fmla="*/ 29008163 h 171"/>
                <a:gd name="T98" fmla="*/ 93190323 w 178"/>
                <a:gd name="T99" fmla="*/ 36647607 h 171"/>
                <a:gd name="T100" fmla="*/ 77435798 w 178"/>
                <a:gd name="T101" fmla="*/ 39530247 h 171"/>
                <a:gd name="T102" fmla="*/ 71124248 w 178"/>
                <a:gd name="T103" fmla="*/ 55372211 h 171"/>
                <a:gd name="T104" fmla="*/ 62693369 w 178"/>
                <a:gd name="T105" fmla="*/ 65029688 h 171"/>
                <a:gd name="T106" fmla="*/ 56343500 w 178"/>
                <a:gd name="T107" fmla="*/ 82897217 h 171"/>
                <a:gd name="T108" fmla="*/ 53541638 w 178"/>
                <a:gd name="T109" fmla="*/ 89313283 h 171"/>
                <a:gd name="T110" fmla="*/ 46938750 w 178"/>
                <a:gd name="T111" fmla="*/ 111260634 h 171"/>
                <a:gd name="T112" fmla="*/ 50865871 w 178"/>
                <a:gd name="T113" fmla="*/ 121670241 h 171"/>
                <a:gd name="T114" fmla="*/ 48898309 w 178"/>
                <a:gd name="T115" fmla="*/ 135545533 h 171"/>
                <a:gd name="T116" fmla="*/ 43418604 w 178"/>
                <a:gd name="T117" fmla="*/ 147194867 h 1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78"/>
                <a:gd name="T178" fmla="*/ 0 h 171"/>
                <a:gd name="T179" fmla="*/ 178 w 178"/>
                <a:gd name="T180" fmla="*/ 171 h 17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78" h="171">
                  <a:moveTo>
                    <a:pt x="46" y="157"/>
                  </a:moveTo>
                  <a:cubicBezTo>
                    <a:pt x="46" y="157"/>
                    <a:pt x="45" y="156"/>
                    <a:pt x="44" y="156"/>
                  </a:cubicBezTo>
                  <a:cubicBezTo>
                    <a:pt x="43" y="155"/>
                    <a:pt x="43" y="153"/>
                    <a:pt x="42" y="152"/>
                  </a:cubicBezTo>
                  <a:cubicBezTo>
                    <a:pt x="42" y="152"/>
                    <a:pt x="41" y="152"/>
                    <a:pt x="41" y="152"/>
                  </a:cubicBezTo>
                  <a:cubicBezTo>
                    <a:pt x="40" y="154"/>
                    <a:pt x="41" y="155"/>
                    <a:pt x="40" y="156"/>
                  </a:cubicBezTo>
                  <a:cubicBezTo>
                    <a:pt x="40" y="157"/>
                    <a:pt x="39" y="157"/>
                    <a:pt x="38" y="157"/>
                  </a:cubicBezTo>
                  <a:cubicBezTo>
                    <a:pt x="38" y="158"/>
                    <a:pt x="38" y="159"/>
                    <a:pt x="38" y="159"/>
                  </a:cubicBezTo>
                  <a:cubicBezTo>
                    <a:pt x="37" y="159"/>
                    <a:pt x="36" y="160"/>
                    <a:pt x="35" y="159"/>
                  </a:cubicBezTo>
                  <a:cubicBezTo>
                    <a:pt x="34" y="159"/>
                    <a:pt x="33" y="159"/>
                    <a:pt x="32" y="159"/>
                  </a:cubicBezTo>
                  <a:cubicBezTo>
                    <a:pt x="32" y="160"/>
                    <a:pt x="33" y="161"/>
                    <a:pt x="32" y="161"/>
                  </a:cubicBezTo>
                  <a:cubicBezTo>
                    <a:pt x="31" y="162"/>
                    <a:pt x="31" y="164"/>
                    <a:pt x="29" y="165"/>
                  </a:cubicBezTo>
                  <a:cubicBezTo>
                    <a:pt x="28" y="165"/>
                    <a:pt x="27" y="166"/>
                    <a:pt x="26" y="166"/>
                  </a:cubicBezTo>
                  <a:cubicBezTo>
                    <a:pt x="24" y="167"/>
                    <a:pt x="23" y="169"/>
                    <a:pt x="22" y="170"/>
                  </a:cubicBezTo>
                  <a:cubicBezTo>
                    <a:pt x="21" y="170"/>
                    <a:pt x="20" y="170"/>
                    <a:pt x="19" y="171"/>
                  </a:cubicBezTo>
                  <a:cubicBezTo>
                    <a:pt x="18" y="171"/>
                    <a:pt x="17" y="171"/>
                    <a:pt x="16" y="170"/>
                  </a:cubicBezTo>
                  <a:cubicBezTo>
                    <a:pt x="13" y="168"/>
                    <a:pt x="11" y="166"/>
                    <a:pt x="7" y="164"/>
                  </a:cubicBezTo>
                  <a:cubicBezTo>
                    <a:pt x="6" y="163"/>
                    <a:pt x="5" y="161"/>
                    <a:pt x="6" y="160"/>
                  </a:cubicBezTo>
                  <a:cubicBezTo>
                    <a:pt x="6" y="159"/>
                    <a:pt x="7" y="160"/>
                    <a:pt x="8" y="160"/>
                  </a:cubicBezTo>
                  <a:cubicBezTo>
                    <a:pt x="8" y="160"/>
                    <a:pt x="8" y="159"/>
                    <a:pt x="7" y="159"/>
                  </a:cubicBezTo>
                  <a:cubicBezTo>
                    <a:pt x="7" y="159"/>
                    <a:pt x="7" y="158"/>
                    <a:pt x="7" y="157"/>
                  </a:cubicBezTo>
                  <a:cubicBezTo>
                    <a:pt x="7" y="157"/>
                    <a:pt x="8" y="157"/>
                    <a:pt x="8" y="157"/>
                  </a:cubicBezTo>
                  <a:cubicBezTo>
                    <a:pt x="9" y="157"/>
                    <a:pt x="9" y="156"/>
                    <a:pt x="9" y="156"/>
                  </a:cubicBezTo>
                  <a:cubicBezTo>
                    <a:pt x="9" y="155"/>
                    <a:pt x="10" y="155"/>
                    <a:pt x="9" y="154"/>
                  </a:cubicBezTo>
                  <a:cubicBezTo>
                    <a:pt x="9" y="154"/>
                    <a:pt x="8" y="154"/>
                    <a:pt x="8" y="154"/>
                  </a:cubicBezTo>
                  <a:cubicBezTo>
                    <a:pt x="8" y="154"/>
                    <a:pt x="7" y="153"/>
                    <a:pt x="7" y="153"/>
                  </a:cubicBezTo>
                  <a:cubicBezTo>
                    <a:pt x="6" y="152"/>
                    <a:pt x="4" y="152"/>
                    <a:pt x="2" y="152"/>
                  </a:cubicBezTo>
                  <a:cubicBezTo>
                    <a:pt x="2" y="150"/>
                    <a:pt x="4" y="150"/>
                    <a:pt x="5" y="149"/>
                  </a:cubicBezTo>
                  <a:cubicBezTo>
                    <a:pt x="6" y="148"/>
                    <a:pt x="8" y="147"/>
                    <a:pt x="8" y="146"/>
                  </a:cubicBezTo>
                  <a:cubicBezTo>
                    <a:pt x="6" y="146"/>
                    <a:pt x="5" y="147"/>
                    <a:pt x="4" y="145"/>
                  </a:cubicBezTo>
                  <a:cubicBezTo>
                    <a:pt x="4" y="144"/>
                    <a:pt x="3" y="143"/>
                    <a:pt x="3" y="142"/>
                  </a:cubicBezTo>
                  <a:cubicBezTo>
                    <a:pt x="2" y="141"/>
                    <a:pt x="2" y="140"/>
                    <a:pt x="2" y="139"/>
                  </a:cubicBezTo>
                  <a:cubicBezTo>
                    <a:pt x="1" y="139"/>
                    <a:pt x="1" y="138"/>
                    <a:pt x="1" y="138"/>
                  </a:cubicBezTo>
                  <a:cubicBezTo>
                    <a:pt x="1" y="137"/>
                    <a:pt x="1" y="137"/>
                    <a:pt x="1" y="136"/>
                  </a:cubicBezTo>
                  <a:cubicBezTo>
                    <a:pt x="1" y="136"/>
                    <a:pt x="1" y="136"/>
                    <a:pt x="2" y="136"/>
                  </a:cubicBezTo>
                  <a:cubicBezTo>
                    <a:pt x="2" y="135"/>
                    <a:pt x="1" y="134"/>
                    <a:pt x="1" y="133"/>
                  </a:cubicBezTo>
                  <a:cubicBezTo>
                    <a:pt x="1" y="133"/>
                    <a:pt x="1" y="132"/>
                    <a:pt x="1" y="131"/>
                  </a:cubicBezTo>
                  <a:cubicBezTo>
                    <a:pt x="1" y="129"/>
                    <a:pt x="1" y="128"/>
                    <a:pt x="0" y="126"/>
                  </a:cubicBezTo>
                  <a:cubicBezTo>
                    <a:pt x="0" y="125"/>
                    <a:pt x="0" y="123"/>
                    <a:pt x="2" y="122"/>
                  </a:cubicBezTo>
                  <a:cubicBezTo>
                    <a:pt x="3" y="120"/>
                    <a:pt x="5" y="119"/>
                    <a:pt x="7" y="119"/>
                  </a:cubicBezTo>
                  <a:cubicBezTo>
                    <a:pt x="8" y="119"/>
                    <a:pt x="10" y="118"/>
                    <a:pt x="10" y="117"/>
                  </a:cubicBezTo>
                  <a:cubicBezTo>
                    <a:pt x="10" y="117"/>
                    <a:pt x="10" y="115"/>
                    <a:pt x="11" y="115"/>
                  </a:cubicBezTo>
                  <a:cubicBezTo>
                    <a:pt x="12" y="114"/>
                    <a:pt x="14" y="115"/>
                    <a:pt x="16" y="115"/>
                  </a:cubicBezTo>
                  <a:cubicBezTo>
                    <a:pt x="16" y="115"/>
                    <a:pt x="16" y="114"/>
                    <a:pt x="16" y="113"/>
                  </a:cubicBezTo>
                  <a:cubicBezTo>
                    <a:pt x="15" y="112"/>
                    <a:pt x="16" y="111"/>
                    <a:pt x="17" y="111"/>
                  </a:cubicBezTo>
                  <a:cubicBezTo>
                    <a:pt x="18" y="111"/>
                    <a:pt x="19" y="111"/>
                    <a:pt x="20" y="110"/>
                  </a:cubicBezTo>
                  <a:cubicBezTo>
                    <a:pt x="21" y="109"/>
                    <a:pt x="22" y="110"/>
                    <a:pt x="23" y="111"/>
                  </a:cubicBezTo>
                  <a:cubicBezTo>
                    <a:pt x="23" y="112"/>
                    <a:pt x="23" y="112"/>
                    <a:pt x="24" y="111"/>
                  </a:cubicBezTo>
                  <a:cubicBezTo>
                    <a:pt x="24" y="111"/>
                    <a:pt x="24" y="110"/>
                    <a:pt x="24" y="110"/>
                  </a:cubicBezTo>
                  <a:cubicBezTo>
                    <a:pt x="25" y="109"/>
                    <a:pt x="27" y="109"/>
                    <a:pt x="27" y="108"/>
                  </a:cubicBezTo>
                  <a:cubicBezTo>
                    <a:pt x="27" y="107"/>
                    <a:pt x="27" y="107"/>
                    <a:pt x="28" y="106"/>
                  </a:cubicBezTo>
                  <a:cubicBezTo>
                    <a:pt x="29" y="106"/>
                    <a:pt x="30" y="106"/>
                    <a:pt x="31" y="106"/>
                  </a:cubicBezTo>
                  <a:cubicBezTo>
                    <a:pt x="32" y="105"/>
                    <a:pt x="31" y="104"/>
                    <a:pt x="32" y="104"/>
                  </a:cubicBezTo>
                  <a:cubicBezTo>
                    <a:pt x="33" y="103"/>
                    <a:pt x="34" y="104"/>
                    <a:pt x="35" y="105"/>
                  </a:cubicBezTo>
                  <a:cubicBezTo>
                    <a:pt x="36" y="105"/>
                    <a:pt x="37" y="105"/>
                    <a:pt x="38" y="105"/>
                  </a:cubicBezTo>
                  <a:cubicBezTo>
                    <a:pt x="38" y="105"/>
                    <a:pt x="38" y="104"/>
                    <a:pt x="38" y="104"/>
                  </a:cubicBezTo>
                  <a:cubicBezTo>
                    <a:pt x="38" y="103"/>
                    <a:pt x="37" y="104"/>
                    <a:pt x="36" y="103"/>
                  </a:cubicBezTo>
                  <a:cubicBezTo>
                    <a:pt x="36" y="103"/>
                    <a:pt x="36" y="102"/>
                    <a:pt x="36" y="102"/>
                  </a:cubicBezTo>
                  <a:cubicBezTo>
                    <a:pt x="35" y="101"/>
                    <a:pt x="34" y="101"/>
                    <a:pt x="33" y="101"/>
                  </a:cubicBezTo>
                  <a:cubicBezTo>
                    <a:pt x="32" y="100"/>
                    <a:pt x="33" y="100"/>
                    <a:pt x="34" y="99"/>
                  </a:cubicBezTo>
                  <a:cubicBezTo>
                    <a:pt x="34" y="98"/>
                    <a:pt x="34" y="97"/>
                    <a:pt x="34" y="96"/>
                  </a:cubicBezTo>
                  <a:cubicBezTo>
                    <a:pt x="34" y="95"/>
                    <a:pt x="35" y="95"/>
                    <a:pt x="36" y="95"/>
                  </a:cubicBezTo>
                  <a:cubicBezTo>
                    <a:pt x="37" y="95"/>
                    <a:pt x="37" y="92"/>
                    <a:pt x="39" y="92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1"/>
                    <a:pt x="40" y="91"/>
                    <a:pt x="41" y="90"/>
                  </a:cubicBezTo>
                  <a:cubicBezTo>
                    <a:pt x="42" y="90"/>
                    <a:pt x="43" y="90"/>
                    <a:pt x="45" y="90"/>
                  </a:cubicBezTo>
                  <a:cubicBezTo>
                    <a:pt x="45" y="91"/>
                    <a:pt x="46" y="91"/>
                    <a:pt x="47" y="90"/>
                  </a:cubicBezTo>
                  <a:cubicBezTo>
                    <a:pt x="47" y="90"/>
                    <a:pt x="47" y="89"/>
                    <a:pt x="46" y="88"/>
                  </a:cubicBezTo>
                  <a:cubicBezTo>
                    <a:pt x="46" y="87"/>
                    <a:pt x="46" y="86"/>
                    <a:pt x="46" y="85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8" y="83"/>
                    <a:pt x="49" y="84"/>
                    <a:pt x="50" y="83"/>
                  </a:cubicBezTo>
                  <a:cubicBezTo>
                    <a:pt x="50" y="83"/>
                    <a:pt x="50" y="83"/>
                    <a:pt x="51" y="82"/>
                  </a:cubicBezTo>
                  <a:cubicBezTo>
                    <a:pt x="51" y="82"/>
                    <a:pt x="51" y="81"/>
                    <a:pt x="51" y="80"/>
                  </a:cubicBezTo>
                  <a:cubicBezTo>
                    <a:pt x="51" y="79"/>
                    <a:pt x="52" y="79"/>
                    <a:pt x="53" y="78"/>
                  </a:cubicBezTo>
                  <a:cubicBezTo>
                    <a:pt x="53" y="78"/>
                    <a:pt x="53" y="77"/>
                    <a:pt x="54" y="77"/>
                  </a:cubicBezTo>
                  <a:cubicBezTo>
                    <a:pt x="55" y="76"/>
                    <a:pt x="55" y="74"/>
                    <a:pt x="56" y="72"/>
                  </a:cubicBezTo>
                  <a:cubicBezTo>
                    <a:pt x="56" y="71"/>
                    <a:pt x="57" y="71"/>
                    <a:pt x="57" y="70"/>
                  </a:cubicBezTo>
                  <a:cubicBezTo>
                    <a:pt x="57" y="68"/>
                    <a:pt x="56" y="66"/>
                    <a:pt x="57" y="64"/>
                  </a:cubicBezTo>
                  <a:cubicBezTo>
                    <a:pt x="57" y="63"/>
                    <a:pt x="58" y="63"/>
                    <a:pt x="59" y="63"/>
                  </a:cubicBezTo>
                  <a:cubicBezTo>
                    <a:pt x="59" y="63"/>
                    <a:pt x="60" y="62"/>
                    <a:pt x="60" y="62"/>
                  </a:cubicBezTo>
                  <a:cubicBezTo>
                    <a:pt x="61" y="61"/>
                    <a:pt x="60" y="60"/>
                    <a:pt x="61" y="59"/>
                  </a:cubicBezTo>
                  <a:cubicBezTo>
                    <a:pt x="62" y="58"/>
                    <a:pt x="63" y="58"/>
                    <a:pt x="64" y="57"/>
                  </a:cubicBezTo>
                  <a:cubicBezTo>
                    <a:pt x="65" y="57"/>
                    <a:pt x="66" y="57"/>
                    <a:pt x="67" y="57"/>
                  </a:cubicBezTo>
                  <a:cubicBezTo>
                    <a:pt x="67" y="56"/>
                    <a:pt x="67" y="55"/>
                    <a:pt x="67" y="55"/>
                  </a:cubicBezTo>
                  <a:cubicBezTo>
                    <a:pt x="67" y="53"/>
                    <a:pt x="68" y="53"/>
                    <a:pt x="69" y="53"/>
                  </a:cubicBezTo>
                  <a:cubicBezTo>
                    <a:pt x="70" y="52"/>
                    <a:pt x="71" y="53"/>
                    <a:pt x="71" y="52"/>
                  </a:cubicBezTo>
                  <a:cubicBezTo>
                    <a:pt x="72" y="51"/>
                    <a:pt x="71" y="50"/>
                    <a:pt x="70" y="50"/>
                  </a:cubicBezTo>
                  <a:cubicBezTo>
                    <a:pt x="69" y="49"/>
                    <a:pt x="70" y="47"/>
                    <a:pt x="71" y="47"/>
                  </a:cubicBezTo>
                  <a:cubicBezTo>
                    <a:pt x="74" y="47"/>
                    <a:pt x="76" y="46"/>
                    <a:pt x="78" y="43"/>
                  </a:cubicBezTo>
                  <a:cubicBezTo>
                    <a:pt x="78" y="42"/>
                    <a:pt x="80" y="41"/>
                    <a:pt x="80" y="39"/>
                  </a:cubicBezTo>
                  <a:cubicBezTo>
                    <a:pt x="81" y="39"/>
                    <a:pt x="81" y="38"/>
                    <a:pt x="81" y="38"/>
                  </a:cubicBezTo>
                  <a:cubicBezTo>
                    <a:pt x="82" y="38"/>
                    <a:pt x="83" y="38"/>
                    <a:pt x="83" y="37"/>
                  </a:cubicBezTo>
                  <a:cubicBezTo>
                    <a:pt x="84" y="37"/>
                    <a:pt x="85" y="36"/>
                    <a:pt x="85" y="36"/>
                  </a:cubicBezTo>
                  <a:cubicBezTo>
                    <a:pt x="85" y="35"/>
                    <a:pt x="85" y="34"/>
                    <a:pt x="85" y="33"/>
                  </a:cubicBezTo>
                  <a:cubicBezTo>
                    <a:pt x="85" y="32"/>
                    <a:pt x="86" y="32"/>
                    <a:pt x="86" y="31"/>
                  </a:cubicBezTo>
                  <a:cubicBezTo>
                    <a:pt x="87" y="31"/>
                    <a:pt x="88" y="31"/>
                    <a:pt x="88" y="30"/>
                  </a:cubicBezTo>
                  <a:cubicBezTo>
                    <a:pt x="90" y="29"/>
                    <a:pt x="89" y="27"/>
                    <a:pt x="90" y="26"/>
                  </a:cubicBezTo>
                  <a:cubicBezTo>
                    <a:pt x="91" y="26"/>
                    <a:pt x="92" y="28"/>
                    <a:pt x="93" y="29"/>
                  </a:cubicBezTo>
                  <a:cubicBezTo>
                    <a:pt x="93" y="29"/>
                    <a:pt x="94" y="29"/>
                    <a:pt x="94" y="29"/>
                  </a:cubicBezTo>
                  <a:cubicBezTo>
                    <a:pt x="94" y="27"/>
                    <a:pt x="93" y="26"/>
                    <a:pt x="94" y="25"/>
                  </a:cubicBezTo>
                  <a:cubicBezTo>
                    <a:pt x="94" y="25"/>
                    <a:pt x="94" y="25"/>
                    <a:pt x="95" y="25"/>
                  </a:cubicBezTo>
                  <a:cubicBezTo>
                    <a:pt x="95" y="26"/>
                    <a:pt x="95" y="26"/>
                    <a:pt x="96" y="27"/>
                  </a:cubicBezTo>
                  <a:cubicBezTo>
                    <a:pt x="96" y="27"/>
                    <a:pt x="97" y="27"/>
                    <a:pt x="97" y="26"/>
                  </a:cubicBezTo>
                  <a:cubicBezTo>
                    <a:pt x="97" y="26"/>
                    <a:pt x="97" y="25"/>
                    <a:pt x="97" y="24"/>
                  </a:cubicBezTo>
                  <a:cubicBezTo>
                    <a:pt x="98" y="23"/>
                    <a:pt x="99" y="23"/>
                    <a:pt x="100" y="22"/>
                  </a:cubicBezTo>
                  <a:cubicBezTo>
                    <a:pt x="100" y="22"/>
                    <a:pt x="101" y="22"/>
                    <a:pt x="102" y="21"/>
                  </a:cubicBezTo>
                  <a:cubicBezTo>
                    <a:pt x="102" y="21"/>
                    <a:pt x="103" y="20"/>
                    <a:pt x="103" y="20"/>
                  </a:cubicBezTo>
                  <a:cubicBezTo>
                    <a:pt x="105" y="19"/>
                    <a:pt x="105" y="21"/>
                    <a:pt x="106" y="22"/>
                  </a:cubicBezTo>
                  <a:cubicBezTo>
                    <a:pt x="106" y="22"/>
                    <a:pt x="107" y="22"/>
                    <a:pt x="107" y="21"/>
                  </a:cubicBezTo>
                  <a:cubicBezTo>
                    <a:pt x="108" y="21"/>
                    <a:pt x="109" y="20"/>
                    <a:pt x="110" y="19"/>
                  </a:cubicBezTo>
                  <a:cubicBezTo>
                    <a:pt x="111" y="19"/>
                    <a:pt x="112" y="19"/>
                    <a:pt x="114" y="19"/>
                  </a:cubicBezTo>
                  <a:cubicBezTo>
                    <a:pt x="114" y="20"/>
                    <a:pt x="115" y="20"/>
                    <a:pt x="115" y="21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5" y="21"/>
                    <a:pt x="115" y="22"/>
                    <a:pt x="115" y="22"/>
                  </a:cubicBezTo>
                  <a:cubicBezTo>
                    <a:pt x="116" y="22"/>
                    <a:pt x="116" y="22"/>
                    <a:pt x="116" y="22"/>
                  </a:cubicBezTo>
                  <a:cubicBezTo>
                    <a:pt x="117" y="21"/>
                    <a:pt x="116" y="20"/>
                    <a:pt x="116" y="19"/>
                  </a:cubicBezTo>
                  <a:cubicBezTo>
                    <a:pt x="115" y="18"/>
                    <a:pt x="113" y="18"/>
                    <a:pt x="112" y="16"/>
                  </a:cubicBezTo>
                  <a:cubicBezTo>
                    <a:pt x="111" y="16"/>
                    <a:pt x="112" y="14"/>
                    <a:pt x="113" y="14"/>
                  </a:cubicBezTo>
                  <a:cubicBezTo>
                    <a:pt x="115" y="13"/>
                    <a:pt x="117" y="13"/>
                    <a:pt x="119" y="14"/>
                  </a:cubicBezTo>
                  <a:cubicBezTo>
                    <a:pt x="120" y="14"/>
                    <a:pt x="121" y="14"/>
                    <a:pt x="122" y="14"/>
                  </a:cubicBezTo>
                  <a:cubicBezTo>
                    <a:pt x="123" y="14"/>
                    <a:pt x="123" y="15"/>
                    <a:pt x="124" y="15"/>
                  </a:cubicBezTo>
                  <a:cubicBezTo>
                    <a:pt x="124" y="16"/>
                    <a:pt x="124" y="17"/>
                    <a:pt x="124" y="18"/>
                  </a:cubicBezTo>
                  <a:cubicBezTo>
                    <a:pt x="125" y="19"/>
                    <a:pt x="127" y="19"/>
                    <a:pt x="127" y="18"/>
                  </a:cubicBezTo>
                  <a:cubicBezTo>
                    <a:pt x="128" y="17"/>
                    <a:pt x="127" y="15"/>
                    <a:pt x="127" y="14"/>
                  </a:cubicBezTo>
                  <a:cubicBezTo>
                    <a:pt x="127" y="12"/>
                    <a:pt x="129" y="11"/>
                    <a:pt x="131" y="10"/>
                  </a:cubicBezTo>
                  <a:cubicBezTo>
                    <a:pt x="132" y="9"/>
                    <a:pt x="132" y="7"/>
                    <a:pt x="133" y="6"/>
                  </a:cubicBezTo>
                  <a:cubicBezTo>
                    <a:pt x="134" y="5"/>
                    <a:pt x="135" y="6"/>
                    <a:pt x="137" y="6"/>
                  </a:cubicBezTo>
                  <a:cubicBezTo>
                    <a:pt x="137" y="6"/>
                    <a:pt x="137" y="6"/>
                    <a:pt x="137" y="6"/>
                  </a:cubicBezTo>
                  <a:cubicBezTo>
                    <a:pt x="137" y="5"/>
                    <a:pt x="137" y="3"/>
                    <a:pt x="138" y="2"/>
                  </a:cubicBezTo>
                  <a:cubicBezTo>
                    <a:pt x="138" y="2"/>
                    <a:pt x="139" y="2"/>
                    <a:pt x="140" y="2"/>
                  </a:cubicBezTo>
                  <a:cubicBezTo>
                    <a:pt x="140" y="2"/>
                    <a:pt x="140" y="1"/>
                    <a:pt x="141" y="1"/>
                  </a:cubicBezTo>
                  <a:cubicBezTo>
                    <a:pt x="142" y="0"/>
                    <a:pt x="144" y="1"/>
                    <a:pt x="143" y="2"/>
                  </a:cubicBezTo>
                  <a:cubicBezTo>
                    <a:pt x="142" y="3"/>
                    <a:pt x="141" y="4"/>
                    <a:pt x="140" y="5"/>
                  </a:cubicBezTo>
                  <a:cubicBezTo>
                    <a:pt x="139" y="6"/>
                    <a:pt x="139" y="8"/>
                    <a:pt x="137" y="9"/>
                  </a:cubicBezTo>
                  <a:cubicBezTo>
                    <a:pt x="138" y="12"/>
                    <a:pt x="137" y="15"/>
                    <a:pt x="138" y="17"/>
                  </a:cubicBezTo>
                  <a:cubicBezTo>
                    <a:pt x="138" y="18"/>
                    <a:pt x="138" y="17"/>
                    <a:pt x="139" y="17"/>
                  </a:cubicBezTo>
                  <a:cubicBezTo>
                    <a:pt x="139" y="17"/>
                    <a:pt x="140" y="16"/>
                    <a:pt x="140" y="16"/>
                  </a:cubicBezTo>
                  <a:cubicBezTo>
                    <a:pt x="140" y="14"/>
                    <a:pt x="140" y="13"/>
                    <a:pt x="141" y="12"/>
                  </a:cubicBezTo>
                  <a:cubicBezTo>
                    <a:pt x="141" y="11"/>
                    <a:pt x="142" y="11"/>
                    <a:pt x="142" y="10"/>
                  </a:cubicBezTo>
                  <a:cubicBezTo>
                    <a:pt x="143" y="10"/>
                    <a:pt x="143" y="9"/>
                    <a:pt x="143" y="8"/>
                  </a:cubicBezTo>
                  <a:cubicBezTo>
                    <a:pt x="145" y="7"/>
                    <a:pt x="146" y="6"/>
                    <a:pt x="147" y="4"/>
                  </a:cubicBezTo>
                  <a:cubicBezTo>
                    <a:pt x="147" y="4"/>
                    <a:pt x="147" y="4"/>
                    <a:pt x="147" y="4"/>
                  </a:cubicBezTo>
                  <a:cubicBezTo>
                    <a:pt x="148" y="6"/>
                    <a:pt x="147" y="7"/>
                    <a:pt x="146" y="9"/>
                  </a:cubicBezTo>
                  <a:cubicBezTo>
                    <a:pt x="146" y="10"/>
                    <a:pt x="146" y="11"/>
                    <a:pt x="147" y="12"/>
                  </a:cubicBezTo>
                  <a:cubicBezTo>
                    <a:pt x="147" y="12"/>
                    <a:pt x="148" y="12"/>
                    <a:pt x="149" y="12"/>
                  </a:cubicBezTo>
                  <a:cubicBezTo>
                    <a:pt x="150" y="11"/>
                    <a:pt x="150" y="11"/>
                    <a:pt x="151" y="10"/>
                  </a:cubicBezTo>
                  <a:cubicBezTo>
                    <a:pt x="151" y="10"/>
                    <a:pt x="151" y="9"/>
                    <a:pt x="151" y="8"/>
                  </a:cubicBezTo>
                  <a:cubicBezTo>
                    <a:pt x="152" y="8"/>
                    <a:pt x="152" y="7"/>
                    <a:pt x="152" y="7"/>
                  </a:cubicBezTo>
                  <a:cubicBezTo>
                    <a:pt x="152" y="7"/>
                    <a:pt x="152" y="6"/>
                    <a:pt x="152" y="6"/>
                  </a:cubicBezTo>
                  <a:cubicBezTo>
                    <a:pt x="152" y="6"/>
                    <a:pt x="152" y="5"/>
                    <a:pt x="152" y="6"/>
                  </a:cubicBezTo>
                  <a:cubicBezTo>
                    <a:pt x="152" y="4"/>
                    <a:pt x="152" y="2"/>
                    <a:pt x="154" y="2"/>
                  </a:cubicBezTo>
                  <a:cubicBezTo>
                    <a:pt x="155" y="1"/>
                    <a:pt x="157" y="1"/>
                    <a:pt x="158" y="2"/>
                  </a:cubicBezTo>
                  <a:cubicBezTo>
                    <a:pt x="159" y="3"/>
                    <a:pt x="161" y="4"/>
                    <a:pt x="160" y="5"/>
                  </a:cubicBezTo>
                  <a:cubicBezTo>
                    <a:pt x="159" y="5"/>
                    <a:pt x="158" y="5"/>
                    <a:pt x="158" y="6"/>
                  </a:cubicBezTo>
                  <a:cubicBezTo>
                    <a:pt x="157" y="7"/>
                    <a:pt x="157" y="8"/>
                    <a:pt x="157" y="9"/>
                  </a:cubicBezTo>
                  <a:cubicBezTo>
                    <a:pt x="156" y="9"/>
                    <a:pt x="156" y="10"/>
                    <a:pt x="157" y="11"/>
                  </a:cubicBezTo>
                  <a:cubicBezTo>
                    <a:pt x="157" y="11"/>
                    <a:pt x="158" y="11"/>
                    <a:pt x="159" y="10"/>
                  </a:cubicBezTo>
                  <a:cubicBezTo>
                    <a:pt x="160" y="10"/>
                    <a:pt x="160" y="9"/>
                    <a:pt x="161" y="8"/>
                  </a:cubicBezTo>
                  <a:cubicBezTo>
                    <a:pt x="162" y="8"/>
                    <a:pt x="163" y="7"/>
                    <a:pt x="164" y="6"/>
                  </a:cubicBezTo>
                  <a:cubicBezTo>
                    <a:pt x="165" y="6"/>
                    <a:pt x="166" y="6"/>
                    <a:pt x="166" y="6"/>
                  </a:cubicBezTo>
                  <a:cubicBezTo>
                    <a:pt x="167" y="6"/>
                    <a:pt x="168" y="6"/>
                    <a:pt x="169" y="7"/>
                  </a:cubicBezTo>
                  <a:cubicBezTo>
                    <a:pt x="170" y="7"/>
                    <a:pt x="171" y="7"/>
                    <a:pt x="172" y="7"/>
                  </a:cubicBezTo>
                  <a:cubicBezTo>
                    <a:pt x="173" y="8"/>
                    <a:pt x="174" y="9"/>
                    <a:pt x="174" y="11"/>
                  </a:cubicBezTo>
                  <a:cubicBezTo>
                    <a:pt x="175" y="12"/>
                    <a:pt x="176" y="12"/>
                    <a:pt x="177" y="12"/>
                  </a:cubicBezTo>
                  <a:cubicBezTo>
                    <a:pt x="177" y="12"/>
                    <a:pt x="178" y="12"/>
                    <a:pt x="178" y="12"/>
                  </a:cubicBezTo>
                  <a:cubicBezTo>
                    <a:pt x="178" y="13"/>
                    <a:pt x="178" y="14"/>
                    <a:pt x="177" y="14"/>
                  </a:cubicBezTo>
                  <a:cubicBezTo>
                    <a:pt x="176" y="14"/>
                    <a:pt x="175" y="14"/>
                    <a:pt x="175" y="14"/>
                  </a:cubicBezTo>
                  <a:cubicBezTo>
                    <a:pt x="174" y="15"/>
                    <a:pt x="174" y="17"/>
                    <a:pt x="172" y="17"/>
                  </a:cubicBezTo>
                  <a:cubicBezTo>
                    <a:pt x="171" y="18"/>
                    <a:pt x="168" y="17"/>
                    <a:pt x="169" y="19"/>
                  </a:cubicBezTo>
                  <a:cubicBezTo>
                    <a:pt x="169" y="19"/>
                    <a:pt x="170" y="19"/>
                    <a:pt x="170" y="19"/>
                  </a:cubicBezTo>
                  <a:cubicBezTo>
                    <a:pt x="171" y="20"/>
                    <a:pt x="171" y="21"/>
                    <a:pt x="172" y="21"/>
                  </a:cubicBezTo>
                  <a:cubicBezTo>
                    <a:pt x="173" y="22"/>
                    <a:pt x="174" y="21"/>
                    <a:pt x="176" y="22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2" y="26"/>
                    <a:pt x="169" y="28"/>
                    <a:pt x="166" y="30"/>
                  </a:cubicBezTo>
                  <a:cubicBezTo>
                    <a:pt x="165" y="31"/>
                    <a:pt x="165" y="31"/>
                    <a:pt x="164" y="32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4" y="30"/>
                    <a:pt x="164" y="28"/>
                    <a:pt x="165" y="26"/>
                  </a:cubicBezTo>
                  <a:cubicBezTo>
                    <a:pt x="166" y="26"/>
                    <a:pt x="166" y="25"/>
                    <a:pt x="165" y="24"/>
                  </a:cubicBezTo>
                  <a:cubicBezTo>
                    <a:pt x="165" y="23"/>
                    <a:pt x="164" y="22"/>
                    <a:pt x="163" y="21"/>
                  </a:cubicBezTo>
                  <a:cubicBezTo>
                    <a:pt x="160" y="20"/>
                    <a:pt x="158" y="21"/>
                    <a:pt x="155" y="20"/>
                  </a:cubicBezTo>
                  <a:cubicBezTo>
                    <a:pt x="154" y="19"/>
                    <a:pt x="152" y="19"/>
                    <a:pt x="151" y="20"/>
                  </a:cubicBezTo>
                  <a:cubicBezTo>
                    <a:pt x="150" y="21"/>
                    <a:pt x="148" y="21"/>
                    <a:pt x="147" y="21"/>
                  </a:cubicBezTo>
                  <a:cubicBezTo>
                    <a:pt x="145" y="22"/>
                    <a:pt x="144" y="24"/>
                    <a:pt x="143" y="26"/>
                  </a:cubicBezTo>
                  <a:cubicBezTo>
                    <a:pt x="142" y="28"/>
                    <a:pt x="143" y="30"/>
                    <a:pt x="143" y="32"/>
                  </a:cubicBezTo>
                  <a:cubicBezTo>
                    <a:pt x="142" y="34"/>
                    <a:pt x="141" y="34"/>
                    <a:pt x="140" y="35"/>
                  </a:cubicBezTo>
                  <a:cubicBezTo>
                    <a:pt x="139" y="36"/>
                    <a:pt x="138" y="36"/>
                    <a:pt x="137" y="37"/>
                  </a:cubicBezTo>
                  <a:cubicBezTo>
                    <a:pt x="137" y="37"/>
                    <a:pt x="136" y="37"/>
                    <a:pt x="135" y="37"/>
                  </a:cubicBezTo>
                  <a:cubicBezTo>
                    <a:pt x="134" y="36"/>
                    <a:pt x="133" y="37"/>
                    <a:pt x="132" y="36"/>
                  </a:cubicBezTo>
                  <a:cubicBezTo>
                    <a:pt x="131" y="34"/>
                    <a:pt x="129" y="34"/>
                    <a:pt x="128" y="34"/>
                  </a:cubicBezTo>
                  <a:cubicBezTo>
                    <a:pt x="127" y="34"/>
                    <a:pt x="127" y="35"/>
                    <a:pt x="126" y="35"/>
                  </a:cubicBezTo>
                  <a:cubicBezTo>
                    <a:pt x="125" y="36"/>
                    <a:pt x="123" y="36"/>
                    <a:pt x="122" y="35"/>
                  </a:cubicBezTo>
                  <a:cubicBezTo>
                    <a:pt x="121" y="35"/>
                    <a:pt x="120" y="36"/>
                    <a:pt x="119" y="35"/>
                  </a:cubicBezTo>
                  <a:cubicBezTo>
                    <a:pt x="118" y="35"/>
                    <a:pt x="118" y="34"/>
                    <a:pt x="117" y="33"/>
                  </a:cubicBezTo>
                  <a:cubicBezTo>
                    <a:pt x="116" y="32"/>
                    <a:pt x="116" y="30"/>
                    <a:pt x="115" y="28"/>
                  </a:cubicBezTo>
                  <a:cubicBezTo>
                    <a:pt x="115" y="27"/>
                    <a:pt x="114" y="27"/>
                    <a:pt x="113" y="26"/>
                  </a:cubicBezTo>
                  <a:cubicBezTo>
                    <a:pt x="112" y="26"/>
                    <a:pt x="111" y="26"/>
                    <a:pt x="110" y="26"/>
                  </a:cubicBezTo>
                  <a:cubicBezTo>
                    <a:pt x="109" y="27"/>
                    <a:pt x="110" y="29"/>
                    <a:pt x="109" y="31"/>
                  </a:cubicBezTo>
                  <a:cubicBezTo>
                    <a:pt x="109" y="31"/>
                    <a:pt x="107" y="31"/>
                    <a:pt x="107" y="30"/>
                  </a:cubicBezTo>
                  <a:cubicBezTo>
                    <a:pt x="106" y="30"/>
                    <a:pt x="105" y="30"/>
                    <a:pt x="104" y="30"/>
                  </a:cubicBezTo>
                  <a:cubicBezTo>
                    <a:pt x="104" y="33"/>
                    <a:pt x="104" y="36"/>
                    <a:pt x="104" y="39"/>
                  </a:cubicBezTo>
                  <a:cubicBezTo>
                    <a:pt x="103" y="40"/>
                    <a:pt x="102" y="40"/>
                    <a:pt x="101" y="39"/>
                  </a:cubicBezTo>
                  <a:cubicBezTo>
                    <a:pt x="98" y="37"/>
                    <a:pt x="95" y="36"/>
                    <a:pt x="91" y="37"/>
                  </a:cubicBezTo>
                  <a:cubicBezTo>
                    <a:pt x="88" y="37"/>
                    <a:pt x="90" y="41"/>
                    <a:pt x="89" y="44"/>
                  </a:cubicBezTo>
                  <a:cubicBezTo>
                    <a:pt x="89" y="45"/>
                    <a:pt x="87" y="45"/>
                    <a:pt x="87" y="44"/>
                  </a:cubicBezTo>
                  <a:cubicBezTo>
                    <a:pt x="86" y="44"/>
                    <a:pt x="85" y="43"/>
                    <a:pt x="84" y="42"/>
                  </a:cubicBezTo>
                  <a:cubicBezTo>
                    <a:pt x="84" y="42"/>
                    <a:pt x="83" y="42"/>
                    <a:pt x="82" y="42"/>
                  </a:cubicBezTo>
                  <a:cubicBezTo>
                    <a:pt x="80" y="44"/>
                    <a:pt x="80" y="47"/>
                    <a:pt x="79" y="49"/>
                  </a:cubicBezTo>
                  <a:cubicBezTo>
                    <a:pt x="78" y="50"/>
                    <a:pt x="78" y="51"/>
                    <a:pt x="78" y="52"/>
                  </a:cubicBezTo>
                  <a:cubicBezTo>
                    <a:pt x="77" y="54"/>
                    <a:pt x="77" y="56"/>
                    <a:pt x="77" y="59"/>
                  </a:cubicBezTo>
                  <a:cubicBezTo>
                    <a:pt x="77" y="60"/>
                    <a:pt x="76" y="61"/>
                    <a:pt x="75" y="63"/>
                  </a:cubicBezTo>
                  <a:cubicBezTo>
                    <a:pt x="75" y="63"/>
                    <a:pt x="74" y="63"/>
                    <a:pt x="74" y="64"/>
                  </a:cubicBezTo>
                  <a:cubicBezTo>
                    <a:pt x="74" y="65"/>
                    <a:pt x="73" y="66"/>
                    <a:pt x="72" y="66"/>
                  </a:cubicBezTo>
                  <a:cubicBezTo>
                    <a:pt x="71" y="67"/>
                    <a:pt x="69" y="68"/>
                    <a:pt x="68" y="69"/>
                  </a:cubicBezTo>
                  <a:cubicBezTo>
                    <a:pt x="67" y="69"/>
                    <a:pt x="66" y="69"/>
                    <a:pt x="66" y="70"/>
                  </a:cubicBezTo>
                  <a:cubicBezTo>
                    <a:pt x="66" y="73"/>
                    <a:pt x="66" y="75"/>
                    <a:pt x="66" y="77"/>
                  </a:cubicBezTo>
                  <a:cubicBezTo>
                    <a:pt x="65" y="80"/>
                    <a:pt x="64" y="82"/>
                    <a:pt x="63" y="85"/>
                  </a:cubicBezTo>
                  <a:cubicBezTo>
                    <a:pt x="62" y="86"/>
                    <a:pt x="61" y="87"/>
                    <a:pt x="61" y="88"/>
                  </a:cubicBezTo>
                  <a:cubicBezTo>
                    <a:pt x="60" y="90"/>
                    <a:pt x="60" y="91"/>
                    <a:pt x="61" y="92"/>
                  </a:cubicBezTo>
                  <a:cubicBezTo>
                    <a:pt x="62" y="93"/>
                    <a:pt x="63" y="93"/>
                    <a:pt x="64" y="94"/>
                  </a:cubicBezTo>
                  <a:cubicBezTo>
                    <a:pt x="64" y="94"/>
                    <a:pt x="64" y="96"/>
                    <a:pt x="64" y="96"/>
                  </a:cubicBezTo>
                  <a:cubicBezTo>
                    <a:pt x="62" y="97"/>
                    <a:pt x="60" y="96"/>
                    <a:pt x="58" y="95"/>
                  </a:cubicBezTo>
                  <a:cubicBezTo>
                    <a:pt x="55" y="94"/>
                    <a:pt x="54" y="97"/>
                    <a:pt x="53" y="99"/>
                  </a:cubicBezTo>
                  <a:cubicBezTo>
                    <a:pt x="52" y="100"/>
                    <a:pt x="51" y="101"/>
                    <a:pt x="51" y="103"/>
                  </a:cubicBezTo>
                  <a:cubicBezTo>
                    <a:pt x="51" y="104"/>
                    <a:pt x="51" y="106"/>
                    <a:pt x="51" y="108"/>
                  </a:cubicBezTo>
                  <a:cubicBezTo>
                    <a:pt x="51" y="111"/>
                    <a:pt x="50" y="115"/>
                    <a:pt x="51" y="118"/>
                  </a:cubicBezTo>
                  <a:cubicBezTo>
                    <a:pt x="51" y="121"/>
                    <a:pt x="51" y="123"/>
                    <a:pt x="52" y="125"/>
                  </a:cubicBezTo>
                  <a:cubicBezTo>
                    <a:pt x="52" y="126"/>
                    <a:pt x="53" y="126"/>
                    <a:pt x="53" y="127"/>
                  </a:cubicBezTo>
                  <a:cubicBezTo>
                    <a:pt x="53" y="127"/>
                    <a:pt x="54" y="127"/>
                    <a:pt x="54" y="128"/>
                  </a:cubicBezTo>
                  <a:cubicBezTo>
                    <a:pt x="54" y="128"/>
                    <a:pt x="54" y="129"/>
                    <a:pt x="55" y="129"/>
                  </a:cubicBezTo>
                  <a:cubicBezTo>
                    <a:pt x="55" y="130"/>
                    <a:pt x="55" y="131"/>
                    <a:pt x="55" y="132"/>
                  </a:cubicBezTo>
                  <a:cubicBezTo>
                    <a:pt x="55" y="133"/>
                    <a:pt x="53" y="134"/>
                    <a:pt x="52" y="135"/>
                  </a:cubicBezTo>
                  <a:cubicBezTo>
                    <a:pt x="51" y="136"/>
                    <a:pt x="51" y="138"/>
                    <a:pt x="52" y="140"/>
                  </a:cubicBezTo>
                  <a:cubicBezTo>
                    <a:pt x="52" y="141"/>
                    <a:pt x="53" y="142"/>
                    <a:pt x="53" y="144"/>
                  </a:cubicBezTo>
                  <a:cubicBezTo>
                    <a:pt x="54" y="145"/>
                    <a:pt x="54" y="146"/>
                    <a:pt x="52" y="147"/>
                  </a:cubicBezTo>
                  <a:cubicBezTo>
                    <a:pt x="51" y="148"/>
                    <a:pt x="49" y="149"/>
                    <a:pt x="49" y="151"/>
                  </a:cubicBezTo>
                  <a:cubicBezTo>
                    <a:pt x="49" y="152"/>
                    <a:pt x="49" y="153"/>
                    <a:pt x="48" y="155"/>
                  </a:cubicBezTo>
                  <a:cubicBezTo>
                    <a:pt x="48" y="156"/>
                    <a:pt x="48" y="156"/>
                    <a:pt x="47" y="156"/>
                  </a:cubicBezTo>
                  <a:lnTo>
                    <a:pt x="46" y="157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9" name="Freeform 142"/>
            <p:cNvSpPr>
              <a:spLocks/>
            </p:cNvSpPr>
            <p:nvPr/>
          </p:nvSpPr>
          <p:spPr bwMode="auto">
            <a:xfrm>
              <a:off x="7019805" y="3219649"/>
              <a:ext cx="4515" cy="2163"/>
            </a:xfrm>
            <a:custGeom>
              <a:avLst/>
              <a:gdLst>
                <a:gd name="T0" fmla="*/ 8585865 w 10"/>
                <a:gd name="T1" fmla="*/ 0 h 5"/>
                <a:gd name="T2" fmla="*/ 1064436 w 10"/>
                <a:gd name="T3" fmla="*/ 1064436 h 5"/>
                <a:gd name="T4" fmla="*/ 1064436 w 10"/>
                <a:gd name="T5" fmla="*/ 3577445 h 5"/>
                <a:gd name="T6" fmla="*/ 2554647 w 10"/>
                <a:gd name="T7" fmla="*/ 5085394 h 5"/>
                <a:gd name="T8" fmla="*/ 8585865 w 10"/>
                <a:gd name="T9" fmla="*/ 3577445 h 5"/>
                <a:gd name="T10" fmla="*/ 11140513 w 10"/>
                <a:gd name="T11" fmla="*/ 0 h 5"/>
                <a:gd name="T12" fmla="*/ 11140513 w 10"/>
                <a:gd name="T13" fmla="*/ 0 h 5"/>
                <a:gd name="T14" fmla="*/ 8585865 w 10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5"/>
                <a:gd name="T26" fmla="*/ 10 w 10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5">
                  <a:moveTo>
                    <a:pt x="7" y="0"/>
                  </a:moveTo>
                  <a:cubicBezTo>
                    <a:pt x="4" y="1"/>
                    <a:pt x="3" y="1"/>
                    <a:pt x="1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4" y="5"/>
                    <a:pt x="6" y="4"/>
                    <a:pt x="7" y="3"/>
                  </a:cubicBezTo>
                  <a:cubicBezTo>
                    <a:pt x="9" y="3"/>
                    <a:pt x="10" y="2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0" name="Freeform 143"/>
            <p:cNvSpPr>
              <a:spLocks/>
            </p:cNvSpPr>
            <p:nvPr/>
          </p:nvSpPr>
          <p:spPr bwMode="auto">
            <a:xfrm>
              <a:off x="7009521" y="3225057"/>
              <a:ext cx="3010" cy="2163"/>
            </a:xfrm>
            <a:custGeom>
              <a:avLst/>
              <a:gdLst>
                <a:gd name="T0" fmla="*/ 2243220 w 6"/>
                <a:gd name="T1" fmla="*/ 0 h 4"/>
                <a:gd name="T2" fmla="*/ 727531 w 6"/>
                <a:gd name="T3" fmla="*/ 4450654 h 4"/>
                <a:gd name="T4" fmla="*/ 0 w 6"/>
                <a:gd name="T5" fmla="*/ 9219213 h 4"/>
                <a:gd name="T6" fmla="*/ 2243220 w 6"/>
                <a:gd name="T7" fmla="*/ 9219213 h 4"/>
                <a:gd name="T8" fmla="*/ 3961001 w 6"/>
                <a:gd name="T9" fmla="*/ 6243820 h 4"/>
                <a:gd name="T10" fmla="*/ 3961001 w 6"/>
                <a:gd name="T11" fmla="*/ 0 h 4"/>
                <a:gd name="T12" fmla="*/ 2243220 w 6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4"/>
                <a:gd name="T23" fmla="*/ 6 w 6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4">
                  <a:moveTo>
                    <a:pt x="3" y="0"/>
                  </a:moveTo>
                  <a:cubicBezTo>
                    <a:pt x="2" y="1"/>
                    <a:pt x="1" y="1"/>
                    <a:pt x="1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4" y="4"/>
                    <a:pt x="5" y="3"/>
                    <a:pt x="5" y="3"/>
                  </a:cubicBezTo>
                  <a:cubicBezTo>
                    <a:pt x="5" y="2"/>
                    <a:pt x="6" y="1"/>
                    <a:pt x="5" y="0"/>
                  </a:cubicBezTo>
                  <a:cubicBezTo>
                    <a:pt x="4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1" name="Freeform 144"/>
            <p:cNvSpPr>
              <a:spLocks/>
            </p:cNvSpPr>
            <p:nvPr/>
          </p:nvSpPr>
          <p:spPr bwMode="auto">
            <a:xfrm>
              <a:off x="7007765" y="3226139"/>
              <a:ext cx="1756" cy="2974"/>
            </a:xfrm>
            <a:custGeom>
              <a:avLst/>
              <a:gdLst>
                <a:gd name="T0" fmla="*/ 418284 w 4"/>
                <a:gd name="T1" fmla="*/ 1697572 h 6"/>
                <a:gd name="T2" fmla="*/ 418284 w 4"/>
                <a:gd name="T3" fmla="*/ 2970751 h 6"/>
                <a:gd name="T4" fmla="*/ 941139 w 4"/>
                <a:gd name="T5" fmla="*/ 3961001 h 6"/>
                <a:gd name="T6" fmla="*/ 1359459 w 4"/>
                <a:gd name="T7" fmla="*/ 3961001 h 6"/>
                <a:gd name="T8" fmla="*/ 1359459 w 4"/>
                <a:gd name="T9" fmla="*/ 727531 h 6"/>
                <a:gd name="T10" fmla="*/ 941139 w 4"/>
                <a:gd name="T11" fmla="*/ 727531 h 6"/>
                <a:gd name="T12" fmla="*/ 418284 w 4"/>
                <a:gd name="T13" fmla="*/ 224322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6"/>
                <a:gd name="T23" fmla="*/ 4 w 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6">
                  <a:moveTo>
                    <a:pt x="1" y="2"/>
                  </a:moveTo>
                  <a:cubicBezTo>
                    <a:pt x="1" y="3"/>
                    <a:pt x="0" y="4"/>
                    <a:pt x="1" y="4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2" y="5"/>
                    <a:pt x="3" y="6"/>
                    <a:pt x="3" y="5"/>
                  </a:cubicBezTo>
                  <a:cubicBezTo>
                    <a:pt x="4" y="4"/>
                    <a:pt x="4" y="2"/>
                    <a:pt x="3" y="1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1"/>
                    <a:pt x="1" y="2"/>
                    <a:pt x="1" y="3"/>
                  </a:cubicBezTo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2" name="Freeform 145"/>
            <p:cNvSpPr>
              <a:spLocks/>
            </p:cNvSpPr>
            <p:nvPr/>
          </p:nvSpPr>
          <p:spPr bwMode="auto">
            <a:xfrm>
              <a:off x="7003000" y="3228572"/>
              <a:ext cx="3763" cy="3515"/>
            </a:xfrm>
            <a:custGeom>
              <a:avLst/>
              <a:gdLst>
                <a:gd name="T0" fmla="*/ 5955246 w 8"/>
                <a:gd name="T1" fmla="*/ 0 h 7"/>
                <a:gd name="T2" fmla="*/ 5058432 w 8"/>
                <a:gd name="T3" fmla="*/ 0 h 7"/>
                <a:gd name="T4" fmla="*/ 5058432 w 8"/>
                <a:gd name="T5" fmla="*/ 0 h 7"/>
                <a:gd name="T6" fmla="*/ 2129866 w 8"/>
                <a:gd name="T7" fmla="*/ 1213713 h 7"/>
                <a:gd name="T8" fmla="*/ 896786 w 8"/>
                <a:gd name="T9" fmla="*/ 1213713 h 7"/>
                <a:gd name="T10" fmla="*/ 0 w 8"/>
                <a:gd name="T11" fmla="*/ 5930334 h 7"/>
                <a:gd name="T12" fmla="*/ 896786 w 8"/>
                <a:gd name="T13" fmla="*/ 8872004 h 7"/>
                <a:gd name="T14" fmla="*/ 3065115 w 8"/>
                <a:gd name="T15" fmla="*/ 8872004 h 7"/>
                <a:gd name="T16" fmla="*/ 5955246 w 8"/>
                <a:gd name="T17" fmla="*/ 7158428 h 7"/>
                <a:gd name="T18" fmla="*/ 7279645 w 8"/>
                <a:gd name="T19" fmla="*/ 4210842 h 7"/>
                <a:gd name="T20" fmla="*/ 8176458 w 8"/>
                <a:gd name="T21" fmla="*/ 0 h 7"/>
                <a:gd name="T22" fmla="*/ 5955246 w 8"/>
                <a:gd name="T23" fmla="*/ 0 h 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"/>
                <a:gd name="T37" fmla="*/ 0 h 7"/>
                <a:gd name="T38" fmla="*/ 8 w 8"/>
                <a:gd name="T39" fmla="*/ 7 h 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" h="7">
                  <a:moveTo>
                    <a:pt x="6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2" y="7"/>
                    <a:pt x="3" y="6"/>
                    <a:pt x="3" y="6"/>
                  </a:cubicBezTo>
                  <a:cubicBezTo>
                    <a:pt x="4" y="5"/>
                    <a:pt x="5" y="5"/>
                    <a:pt x="6" y="5"/>
                  </a:cubicBezTo>
                  <a:cubicBezTo>
                    <a:pt x="7" y="4"/>
                    <a:pt x="7" y="3"/>
                    <a:pt x="7" y="3"/>
                  </a:cubicBezTo>
                  <a:cubicBezTo>
                    <a:pt x="8" y="2"/>
                    <a:pt x="8" y="1"/>
                    <a:pt x="8" y="0"/>
                  </a:cubicBezTo>
                  <a:cubicBezTo>
                    <a:pt x="8" y="0"/>
                    <a:pt x="7" y="0"/>
                    <a:pt x="6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3" name="Freeform 146"/>
            <p:cNvSpPr>
              <a:spLocks/>
            </p:cNvSpPr>
            <p:nvPr/>
          </p:nvSpPr>
          <p:spPr bwMode="auto">
            <a:xfrm>
              <a:off x="6998986" y="3232087"/>
              <a:ext cx="4013" cy="4326"/>
            </a:xfrm>
            <a:custGeom>
              <a:avLst/>
              <a:gdLst>
                <a:gd name="T0" fmla="*/ 5234180 w 9"/>
                <a:gd name="T1" fmla="*/ 2243220 h 9"/>
                <a:gd name="T2" fmla="*/ 2970751 w 9"/>
                <a:gd name="T3" fmla="*/ 2243220 h 9"/>
                <a:gd name="T4" fmla="*/ 2243220 w 9"/>
                <a:gd name="T5" fmla="*/ 0 h 9"/>
                <a:gd name="T6" fmla="*/ 727531 w 9"/>
                <a:gd name="T7" fmla="*/ 0 h 9"/>
                <a:gd name="T8" fmla="*/ 727531 w 9"/>
                <a:gd name="T9" fmla="*/ 2970751 h 9"/>
                <a:gd name="T10" fmla="*/ 0 w 9"/>
                <a:gd name="T11" fmla="*/ 3961001 h 9"/>
                <a:gd name="T12" fmla="*/ 0 w 9"/>
                <a:gd name="T13" fmla="*/ 6931749 h 9"/>
                <a:gd name="T14" fmla="*/ 1697572 w 9"/>
                <a:gd name="T15" fmla="*/ 6931749 h 9"/>
                <a:gd name="T16" fmla="*/ 5234180 w 9"/>
                <a:gd name="T17" fmla="*/ 4688532 h 9"/>
                <a:gd name="T18" fmla="*/ 5234180 w 9"/>
                <a:gd name="T19" fmla="*/ 4688532 h 9"/>
                <a:gd name="T20" fmla="*/ 6253179 w 9"/>
                <a:gd name="T21" fmla="*/ 2243220 h 9"/>
                <a:gd name="T22" fmla="*/ 5234180 w 9"/>
                <a:gd name="T23" fmla="*/ 2243220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9"/>
                <a:gd name="T38" fmla="*/ 9 w 9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9">
                  <a:moveTo>
                    <a:pt x="7" y="3"/>
                  </a:moveTo>
                  <a:cubicBezTo>
                    <a:pt x="6" y="4"/>
                    <a:pt x="4" y="4"/>
                    <a:pt x="4" y="3"/>
                  </a:cubicBezTo>
                  <a:cubicBezTo>
                    <a:pt x="3" y="3"/>
                    <a:pt x="4" y="1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1"/>
                    <a:pt x="1" y="3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9"/>
                    <a:pt x="1" y="9"/>
                    <a:pt x="2" y="9"/>
                  </a:cubicBezTo>
                  <a:cubicBezTo>
                    <a:pt x="4" y="8"/>
                    <a:pt x="5" y="7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5"/>
                    <a:pt x="9" y="4"/>
                    <a:pt x="8" y="3"/>
                  </a:cubicBezTo>
                  <a:cubicBezTo>
                    <a:pt x="8" y="2"/>
                    <a:pt x="7" y="2"/>
                    <a:pt x="7" y="3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4" name="Freeform 147"/>
            <p:cNvSpPr>
              <a:spLocks/>
            </p:cNvSpPr>
            <p:nvPr/>
          </p:nvSpPr>
          <p:spPr bwMode="auto">
            <a:xfrm>
              <a:off x="6998234" y="3229653"/>
              <a:ext cx="2508" cy="2433"/>
            </a:xfrm>
            <a:custGeom>
              <a:avLst/>
              <a:gdLst>
                <a:gd name="T0" fmla="*/ 3577445 w 5"/>
                <a:gd name="T1" fmla="*/ 1064436 h 5"/>
                <a:gd name="T2" fmla="*/ 1064436 w 5"/>
                <a:gd name="T3" fmla="*/ 6131150 h 5"/>
                <a:gd name="T4" fmla="*/ 2554647 w 5"/>
                <a:gd name="T5" fmla="*/ 6131150 h 5"/>
                <a:gd name="T6" fmla="*/ 2554647 w 5"/>
                <a:gd name="T7" fmla="*/ 5085394 h 5"/>
                <a:gd name="T8" fmla="*/ 6131150 w 5"/>
                <a:gd name="T9" fmla="*/ 1064436 h 5"/>
                <a:gd name="T10" fmla="*/ 3577445 w 5"/>
                <a:gd name="T11" fmla="*/ 1064436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3" y="1"/>
                  </a:moveTo>
                  <a:cubicBezTo>
                    <a:pt x="2" y="3"/>
                    <a:pt x="0" y="4"/>
                    <a:pt x="1" y="5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4" y="4"/>
                    <a:pt x="5" y="2"/>
                    <a:pt x="5" y="1"/>
                  </a:cubicBezTo>
                  <a:cubicBezTo>
                    <a:pt x="4" y="1"/>
                    <a:pt x="3" y="0"/>
                    <a:pt x="3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5" name="Freeform 148"/>
            <p:cNvSpPr>
              <a:spLocks/>
            </p:cNvSpPr>
            <p:nvPr/>
          </p:nvSpPr>
          <p:spPr bwMode="auto">
            <a:xfrm>
              <a:off x="6994722" y="3235602"/>
              <a:ext cx="3261" cy="2163"/>
            </a:xfrm>
            <a:custGeom>
              <a:avLst/>
              <a:gdLst>
                <a:gd name="T0" fmla="*/ 7158428 w 7"/>
                <a:gd name="T1" fmla="*/ 0 h 5"/>
                <a:gd name="T2" fmla="*/ 1213713 w 7"/>
                <a:gd name="T3" fmla="*/ 5085394 h 5"/>
                <a:gd name="T4" fmla="*/ 4210842 w 7"/>
                <a:gd name="T5" fmla="*/ 5085394 h 5"/>
                <a:gd name="T6" fmla="*/ 7158428 w 7"/>
                <a:gd name="T7" fmla="*/ 3577445 h 5"/>
                <a:gd name="T8" fmla="*/ 10226328 w 7"/>
                <a:gd name="T9" fmla="*/ 3577445 h 5"/>
                <a:gd name="T10" fmla="*/ 10226328 w 7"/>
                <a:gd name="T11" fmla="*/ 1064436 h 5"/>
                <a:gd name="T12" fmla="*/ 7158428 w 7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5"/>
                <a:gd name="T23" fmla="*/ 7 w 7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5">
                  <a:moveTo>
                    <a:pt x="5" y="0"/>
                  </a:moveTo>
                  <a:cubicBezTo>
                    <a:pt x="3" y="0"/>
                    <a:pt x="0" y="2"/>
                    <a:pt x="1" y="4"/>
                  </a:cubicBezTo>
                  <a:cubicBezTo>
                    <a:pt x="2" y="5"/>
                    <a:pt x="3" y="5"/>
                    <a:pt x="3" y="4"/>
                  </a:cubicBezTo>
                  <a:cubicBezTo>
                    <a:pt x="4" y="4"/>
                    <a:pt x="4" y="3"/>
                    <a:pt x="5" y="3"/>
                  </a:cubicBezTo>
                  <a:cubicBezTo>
                    <a:pt x="5" y="3"/>
                    <a:pt x="6" y="3"/>
                    <a:pt x="7" y="3"/>
                  </a:cubicBezTo>
                  <a:cubicBezTo>
                    <a:pt x="7" y="2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6" name="Freeform 149"/>
            <p:cNvSpPr>
              <a:spLocks/>
            </p:cNvSpPr>
            <p:nvPr/>
          </p:nvSpPr>
          <p:spPr bwMode="auto">
            <a:xfrm>
              <a:off x="6976412" y="3305359"/>
              <a:ext cx="9782" cy="11626"/>
            </a:xfrm>
            <a:custGeom>
              <a:avLst/>
              <a:gdLst>
                <a:gd name="T0" fmla="*/ 12950905 w 21"/>
                <a:gd name="T1" fmla="*/ 24547147 h 24"/>
                <a:gd name="T2" fmla="*/ 5439381 w 21"/>
                <a:gd name="T3" fmla="*/ 24547147 h 24"/>
                <a:gd name="T4" fmla="*/ 5439381 w 21"/>
                <a:gd name="T5" fmla="*/ 24547147 h 24"/>
                <a:gd name="T6" fmla="*/ 5439381 w 21"/>
                <a:gd name="T7" fmla="*/ 23798965 h 24"/>
                <a:gd name="T8" fmla="*/ 4514290 w 21"/>
                <a:gd name="T9" fmla="*/ 19419101 h 24"/>
                <a:gd name="T10" fmla="*/ 0 w 21"/>
                <a:gd name="T11" fmla="*/ 15581415 h 24"/>
                <a:gd name="T12" fmla="*/ 0 w 21"/>
                <a:gd name="T13" fmla="*/ 14143705 h 24"/>
                <a:gd name="T14" fmla="*/ 959507 w 21"/>
                <a:gd name="T15" fmla="*/ 12557623 h 24"/>
                <a:gd name="T16" fmla="*/ 959507 w 21"/>
                <a:gd name="T17" fmla="*/ 8176465 h 24"/>
                <a:gd name="T18" fmla="*/ 959507 w 21"/>
                <a:gd name="T19" fmla="*/ 8176465 h 24"/>
                <a:gd name="T20" fmla="*/ 959507 w 21"/>
                <a:gd name="T21" fmla="*/ 4351850 h 24"/>
                <a:gd name="T22" fmla="*/ 10748306 w 21"/>
                <a:gd name="T23" fmla="*/ 3065439 h 24"/>
                <a:gd name="T24" fmla="*/ 11680953 w 21"/>
                <a:gd name="T25" fmla="*/ 0 h 24"/>
                <a:gd name="T26" fmla="*/ 14871980 w 21"/>
                <a:gd name="T27" fmla="*/ 0 h 24"/>
                <a:gd name="T28" fmla="*/ 16919961 w 21"/>
                <a:gd name="T29" fmla="*/ 4351850 h 24"/>
                <a:gd name="T30" fmla="*/ 16919961 w 21"/>
                <a:gd name="T31" fmla="*/ 5287420 h 24"/>
                <a:gd name="T32" fmla="*/ 22371868 w 21"/>
                <a:gd name="T33" fmla="*/ 5287420 h 24"/>
                <a:gd name="T34" fmla="*/ 22371868 w 21"/>
                <a:gd name="T35" fmla="*/ 5287420 h 24"/>
                <a:gd name="T36" fmla="*/ 22371868 w 21"/>
                <a:gd name="T37" fmla="*/ 7280415 h 24"/>
                <a:gd name="T38" fmla="*/ 20139202 w 21"/>
                <a:gd name="T39" fmla="*/ 9111497 h 24"/>
                <a:gd name="T40" fmla="*/ 20139202 w 21"/>
                <a:gd name="T41" fmla="*/ 9111497 h 24"/>
                <a:gd name="T42" fmla="*/ 19221950 w 21"/>
                <a:gd name="T43" fmla="*/ 10335640 h 24"/>
                <a:gd name="T44" fmla="*/ 17856874 w 21"/>
                <a:gd name="T45" fmla="*/ 11242634 h 24"/>
                <a:gd name="T46" fmla="*/ 16919961 w 21"/>
                <a:gd name="T47" fmla="*/ 15581415 h 24"/>
                <a:gd name="T48" fmla="*/ 14871980 w 21"/>
                <a:gd name="T49" fmla="*/ 17290978 h 24"/>
                <a:gd name="T50" fmla="*/ 13910476 w 21"/>
                <a:gd name="T51" fmla="*/ 20751062 h 24"/>
                <a:gd name="T52" fmla="*/ 13910476 w 21"/>
                <a:gd name="T53" fmla="*/ 22349417 h 24"/>
                <a:gd name="T54" fmla="*/ 14871980 w 21"/>
                <a:gd name="T55" fmla="*/ 24547147 h 24"/>
                <a:gd name="T56" fmla="*/ 12950905 w 21"/>
                <a:gd name="T57" fmla="*/ 24547147 h 2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1"/>
                <a:gd name="T88" fmla="*/ 0 h 24"/>
                <a:gd name="T89" fmla="*/ 21 w 21"/>
                <a:gd name="T90" fmla="*/ 24 h 2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1" h="24">
                  <a:moveTo>
                    <a:pt x="12" y="24"/>
                  </a:moveTo>
                  <a:cubicBezTo>
                    <a:pt x="10" y="24"/>
                    <a:pt x="8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3"/>
                    <a:pt x="5" y="23"/>
                  </a:cubicBezTo>
                  <a:cubicBezTo>
                    <a:pt x="5" y="21"/>
                    <a:pt x="5" y="20"/>
                    <a:pt x="4" y="19"/>
                  </a:cubicBezTo>
                  <a:cubicBezTo>
                    <a:pt x="3" y="17"/>
                    <a:pt x="1" y="17"/>
                    <a:pt x="0" y="15"/>
                  </a:cubicBezTo>
                  <a:cubicBezTo>
                    <a:pt x="0" y="15"/>
                    <a:pt x="0" y="14"/>
                    <a:pt x="0" y="14"/>
                  </a:cubicBezTo>
                  <a:cubicBezTo>
                    <a:pt x="1" y="13"/>
                    <a:pt x="1" y="12"/>
                    <a:pt x="1" y="12"/>
                  </a:cubicBezTo>
                  <a:cubicBezTo>
                    <a:pt x="2" y="11"/>
                    <a:pt x="2" y="9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1" y="5"/>
                    <a:pt x="1" y="4"/>
                  </a:cubicBezTo>
                  <a:cubicBezTo>
                    <a:pt x="4" y="3"/>
                    <a:pt x="7" y="5"/>
                    <a:pt x="10" y="3"/>
                  </a:cubicBezTo>
                  <a:cubicBezTo>
                    <a:pt x="11" y="2"/>
                    <a:pt x="10" y="1"/>
                    <a:pt x="11" y="0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6" y="1"/>
                    <a:pt x="15" y="3"/>
                    <a:pt x="16" y="4"/>
                  </a:cubicBezTo>
                  <a:cubicBezTo>
                    <a:pt x="16" y="4"/>
                    <a:pt x="16" y="5"/>
                    <a:pt x="16" y="5"/>
                  </a:cubicBezTo>
                  <a:cubicBezTo>
                    <a:pt x="18" y="5"/>
                    <a:pt x="19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6"/>
                    <a:pt x="21" y="7"/>
                    <a:pt x="21" y="7"/>
                  </a:cubicBezTo>
                  <a:cubicBezTo>
                    <a:pt x="20" y="7"/>
                    <a:pt x="19" y="8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10"/>
                    <a:pt x="18" y="10"/>
                  </a:cubicBezTo>
                  <a:cubicBezTo>
                    <a:pt x="18" y="10"/>
                    <a:pt x="17" y="11"/>
                    <a:pt x="17" y="11"/>
                  </a:cubicBezTo>
                  <a:cubicBezTo>
                    <a:pt x="17" y="12"/>
                    <a:pt x="17" y="14"/>
                    <a:pt x="16" y="15"/>
                  </a:cubicBezTo>
                  <a:cubicBezTo>
                    <a:pt x="15" y="16"/>
                    <a:pt x="15" y="16"/>
                    <a:pt x="14" y="17"/>
                  </a:cubicBezTo>
                  <a:cubicBezTo>
                    <a:pt x="13" y="18"/>
                    <a:pt x="13" y="19"/>
                    <a:pt x="13" y="20"/>
                  </a:cubicBezTo>
                  <a:cubicBezTo>
                    <a:pt x="12" y="21"/>
                    <a:pt x="12" y="22"/>
                    <a:pt x="13" y="22"/>
                  </a:cubicBezTo>
                  <a:cubicBezTo>
                    <a:pt x="13" y="23"/>
                    <a:pt x="14" y="24"/>
                    <a:pt x="14" y="24"/>
                  </a:cubicBezTo>
                  <a:lnTo>
                    <a:pt x="12" y="24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7" name="Freeform 150"/>
            <p:cNvSpPr>
              <a:spLocks/>
            </p:cNvSpPr>
            <p:nvPr/>
          </p:nvSpPr>
          <p:spPr bwMode="auto">
            <a:xfrm>
              <a:off x="6977164" y="3301304"/>
              <a:ext cx="8027" cy="4867"/>
            </a:xfrm>
            <a:custGeom>
              <a:avLst/>
              <a:gdLst>
                <a:gd name="T0" fmla="*/ 5234180 w 18"/>
                <a:gd name="T1" fmla="*/ 5085394 h 10"/>
                <a:gd name="T2" fmla="*/ 1697572 w 18"/>
                <a:gd name="T3" fmla="*/ 7196548 h 10"/>
                <a:gd name="T4" fmla="*/ 727531 w 18"/>
                <a:gd name="T5" fmla="*/ 12204941 h 10"/>
                <a:gd name="T6" fmla="*/ 727531 w 18"/>
                <a:gd name="T7" fmla="*/ 12204941 h 10"/>
                <a:gd name="T8" fmla="*/ 2970751 w 18"/>
                <a:gd name="T9" fmla="*/ 8585865 h 10"/>
                <a:gd name="T10" fmla="*/ 5234180 w 18"/>
                <a:gd name="T11" fmla="*/ 8585865 h 10"/>
                <a:gd name="T12" fmla="*/ 12213086 w 18"/>
                <a:gd name="T13" fmla="*/ 7196548 h 10"/>
                <a:gd name="T14" fmla="*/ 13184928 w 18"/>
                <a:gd name="T15" fmla="*/ 5085394 h 10"/>
                <a:gd name="T16" fmla="*/ 13184928 w 18"/>
                <a:gd name="T17" fmla="*/ 0 h 10"/>
                <a:gd name="T18" fmla="*/ 11620009 w 18"/>
                <a:gd name="T19" fmla="*/ 0 h 10"/>
                <a:gd name="T20" fmla="*/ 9242332 w 18"/>
                <a:gd name="T21" fmla="*/ 1064436 h 10"/>
                <a:gd name="T22" fmla="*/ 8614987 w 18"/>
                <a:gd name="T23" fmla="*/ 1064436 h 10"/>
                <a:gd name="T24" fmla="*/ 6931749 w 18"/>
                <a:gd name="T25" fmla="*/ 3577445 h 10"/>
                <a:gd name="T26" fmla="*/ 5234180 w 18"/>
                <a:gd name="T27" fmla="*/ 5085394 h 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8"/>
                <a:gd name="T43" fmla="*/ 0 h 10"/>
                <a:gd name="T44" fmla="*/ 18 w 18"/>
                <a:gd name="T45" fmla="*/ 10 h 1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8" h="10">
                  <a:moveTo>
                    <a:pt x="7" y="4"/>
                  </a:moveTo>
                  <a:cubicBezTo>
                    <a:pt x="5" y="4"/>
                    <a:pt x="4" y="5"/>
                    <a:pt x="2" y="6"/>
                  </a:cubicBezTo>
                  <a:cubicBezTo>
                    <a:pt x="0" y="7"/>
                    <a:pt x="0" y="9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9"/>
                    <a:pt x="3" y="8"/>
                    <a:pt x="4" y="7"/>
                  </a:cubicBezTo>
                  <a:cubicBezTo>
                    <a:pt x="5" y="7"/>
                    <a:pt x="6" y="7"/>
                    <a:pt x="7" y="7"/>
                  </a:cubicBezTo>
                  <a:cubicBezTo>
                    <a:pt x="10" y="6"/>
                    <a:pt x="13" y="7"/>
                    <a:pt x="16" y="6"/>
                  </a:cubicBezTo>
                  <a:cubicBezTo>
                    <a:pt x="16" y="5"/>
                    <a:pt x="17" y="5"/>
                    <a:pt x="17" y="4"/>
                  </a:cubicBezTo>
                  <a:cubicBezTo>
                    <a:pt x="18" y="3"/>
                    <a:pt x="17" y="1"/>
                    <a:pt x="17" y="0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4" y="1"/>
                    <a:pt x="13" y="0"/>
                    <a:pt x="12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0" y="2"/>
                    <a:pt x="10" y="3"/>
                    <a:pt x="9" y="3"/>
                  </a:cubicBezTo>
                  <a:cubicBezTo>
                    <a:pt x="9" y="3"/>
                    <a:pt x="8" y="4"/>
                    <a:pt x="7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8" name="Freeform 151"/>
            <p:cNvSpPr>
              <a:spLocks/>
            </p:cNvSpPr>
            <p:nvPr/>
          </p:nvSpPr>
          <p:spPr bwMode="auto">
            <a:xfrm>
              <a:off x="6983686" y="3312930"/>
              <a:ext cx="3010" cy="3245"/>
            </a:xfrm>
            <a:custGeom>
              <a:avLst/>
              <a:gdLst>
                <a:gd name="T0" fmla="*/ 2642432 w 7"/>
                <a:gd name="T1" fmla="*/ 1724631 h 7"/>
                <a:gd name="T2" fmla="*/ 1724631 w 7"/>
                <a:gd name="T3" fmla="*/ 0 h 7"/>
                <a:gd name="T4" fmla="*/ 0 w 7"/>
                <a:gd name="T5" fmla="*/ 1724631 h 7"/>
                <a:gd name="T6" fmla="*/ 0 w 7"/>
                <a:gd name="T7" fmla="*/ 2234466 h 7"/>
                <a:gd name="T8" fmla="*/ 1724631 w 7"/>
                <a:gd name="T9" fmla="*/ 3397424 h 7"/>
                <a:gd name="T10" fmla="*/ 2642432 w 7"/>
                <a:gd name="T11" fmla="*/ 3942014 h 7"/>
                <a:gd name="T12" fmla="*/ 3397424 w 7"/>
                <a:gd name="T13" fmla="*/ 1724631 h 7"/>
                <a:gd name="T14" fmla="*/ 2642432 w 7"/>
                <a:gd name="T15" fmla="*/ 1724631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7"/>
                <a:gd name="T26" fmla="*/ 7 w 7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7">
                  <a:moveTo>
                    <a:pt x="5" y="3"/>
                  </a:moveTo>
                  <a:cubicBezTo>
                    <a:pt x="5" y="2"/>
                    <a:pt x="5" y="0"/>
                    <a:pt x="3" y="0"/>
                  </a:cubicBezTo>
                  <a:cubicBezTo>
                    <a:pt x="3" y="2"/>
                    <a:pt x="1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1" y="5"/>
                    <a:pt x="2" y="6"/>
                    <a:pt x="3" y="6"/>
                  </a:cubicBezTo>
                  <a:cubicBezTo>
                    <a:pt x="3" y="7"/>
                    <a:pt x="4" y="7"/>
                    <a:pt x="5" y="7"/>
                  </a:cubicBezTo>
                  <a:cubicBezTo>
                    <a:pt x="7" y="6"/>
                    <a:pt x="6" y="4"/>
                    <a:pt x="6" y="3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9" name="Freeform 152"/>
            <p:cNvSpPr>
              <a:spLocks/>
            </p:cNvSpPr>
            <p:nvPr/>
          </p:nvSpPr>
          <p:spPr bwMode="auto">
            <a:xfrm>
              <a:off x="6986696" y="3308874"/>
              <a:ext cx="5769" cy="8111"/>
            </a:xfrm>
            <a:custGeom>
              <a:avLst/>
              <a:gdLst>
                <a:gd name="T0" fmla="*/ 3927944 w 12"/>
                <a:gd name="T1" fmla="*/ 4351847 h 16"/>
                <a:gd name="T2" fmla="*/ 1147259 w 12"/>
                <a:gd name="T3" fmla="*/ 8176458 h 16"/>
                <a:gd name="T4" fmla="*/ 2772543 w 12"/>
                <a:gd name="T5" fmla="*/ 12013775 h 16"/>
                <a:gd name="T6" fmla="*/ 5549682 w 12"/>
                <a:gd name="T7" fmla="*/ 12013775 h 16"/>
                <a:gd name="T8" fmla="*/ 8321772 w 12"/>
                <a:gd name="T9" fmla="*/ 15456858 h 16"/>
                <a:gd name="T10" fmla="*/ 9492531 w 12"/>
                <a:gd name="T11" fmla="*/ 15456858 h 16"/>
                <a:gd name="T12" fmla="*/ 13411727 w 12"/>
                <a:gd name="T13" fmla="*/ 13463332 h 16"/>
                <a:gd name="T14" fmla="*/ 13411727 w 12"/>
                <a:gd name="T15" fmla="*/ 13463332 h 16"/>
                <a:gd name="T16" fmla="*/ 13411727 w 12"/>
                <a:gd name="T17" fmla="*/ 10335629 h 16"/>
                <a:gd name="T18" fmla="*/ 13411727 w 12"/>
                <a:gd name="T19" fmla="*/ 9111496 h 16"/>
                <a:gd name="T20" fmla="*/ 15045123 w 12"/>
                <a:gd name="T21" fmla="*/ 8176458 h 16"/>
                <a:gd name="T22" fmla="*/ 15045123 w 12"/>
                <a:gd name="T23" fmla="*/ 3065115 h 16"/>
                <a:gd name="T24" fmla="*/ 10639125 w 12"/>
                <a:gd name="T25" fmla="*/ 896786 h 16"/>
                <a:gd name="T26" fmla="*/ 9492531 w 12"/>
                <a:gd name="T27" fmla="*/ 3065115 h 16"/>
                <a:gd name="T28" fmla="*/ 5549682 w 12"/>
                <a:gd name="T29" fmla="*/ 3065115 h 16"/>
                <a:gd name="T30" fmla="*/ 3927944 w 12"/>
                <a:gd name="T31" fmla="*/ 4351847 h 16"/>
                <a:gd name="T32" fmla="*/ 3927944 w 12"/>
                <a:gd name="T33" fmla="*/ 4351847 h 1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2"/>
                <a:gd name="T52" fmla="*/ 0 h 16"/>
                <a:gd name="T53" fmla="*/ 12 w 12"/>
                <a:gd name="T54" fmla="*/ 16 h 1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2" h="16">
                  <a:moveTo>
                    <a:pt x="3" y="4"/>
                  </a:moveTo>
                  <a:cubicBezTo>
                    <a:pt x="2" y="5"/>
                    <a:pt x="1" y="6"/>
                    <a:pt x="1" y="8"/>
                  </a:cubicBezTo>
                  <a:cubicBezTo>
                    <a:pt x="1" y="9"/>
                    <a:pt x="0" y="11"/>
                    <a:pt x="2" y="12"/>
                  </a:cubicBezTo>
                  <a:cubicBezTo>
                    <a:pt x="2" y="13"/>
                    <a:pt x="3" y="12"/>
                    <a:pt x="4" y="12"/>
                  </a:cubicBezTo>
                  <a:cubicBezTo>
                    <a:pt x="5" y="13"/>
                    <a:pt x="5" y="15"/>
                    <a:pt x="6" y="15"/>
                  </a:cubicBezTo>
                  <a:cubicBezTo>
                    <a:pt x="6" y="16"/>
                    <a:pt x="7" y="16"/>
                    <a:pt x="7" y="15"/>
                  </a:cubicBezTo>
                  <a:cubicBezTo>
                    <a:pt x="8" y="14"/>
                    <a:pt x="9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1" y="12"/>
                    <a:pt x="11" y="11"/>
                    <a:pt x="10" y="10"/>
                  </a:cubicBezTo>
                  <a:cubicBezTo>
                    <a:pt x="9" y="10"/>
                    <a:pt x="10" y="9"/>
                    <a:pt x="10" y="9"/>
                  </a:cubicBezTo>
                  <a:cubicBezTo>
                    <a:pt x="10" y="9"/>
                    <a:pt x="11" y="9"/>
                    <a:pt x="11" y="8"/>
                  </a:cubicBezTo>
                  <a:cubicBezTo>
                    <a:pt x="12" y="6"/>
                    <a:pt x="11" y="4"/>
                    <a:pt x="11" y="3"/>
                  </a:cubicBezTo>
                  <a:cubicBezTo>
                    <a:pt x="11" y="2"/>
                    <a:pt x="9" y="0"/>
                    <a:pt x="8" y="1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6" y="4"/>
                    <a:pt x="5" y="3"/>
                    <a:pt x="4" y="3"/>
                  </a:cubicBezTo>
                  <a:cubicBezTo>
                    <a:pt x="4" y="4"/>
                    <a:pt x="3" y="4"/>
                    <a:pt x="3" y="4"/>
                  </a:cubicBezTo>
                  <a:cubicBezTo>
                    <a:pt x="3" y="5"/>
                    <a:pt x="3" y="4"/>
                    <a:pt x="3" y="4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0" name="Freeform 153"/>
            <p:cNvSpPr>
              <a:spLocks/>
            </p:cNvSpPr>
            <p:nvPr/>
          </p:nvSpPr>
          <p:spPr bwMode="auto">
            <a:xfrm>
              <a:off x="6986696" y="3317256"/>
              <a:ext cx="3261" cy="2163"/>
            </a:xfrm>
            <a:custGeom>
              <a:avLst/>
              <a:gdLst>
                <a:gd name="T0" fmla="*/ 7158428 w 7"/>
                <a:gd name="T1" fmla="*/ 0 h 4"/>
                <a:gd name="T2" fmla="*/ 1213713 w 7"/>
                <a:gd name="T3" fmla="*/ 0 h 4"/>
                <a:gd name="T4" fmla="*/ 1213713 w 7"/>
                <a:gd name="T5" fmla="*/ 6243820 h 4"/>
                <a:gd name="T6" fmla="*/ 10226328 w 7"/>
                <a:gd name="T7" fmla="*/ 9219213 h 4"/>
                <a:gd name="T8" fmla="*/ 10226328 w 7"/>
                <a:gd name="T9" fmla="*/ 4450654 h 4"/>
                <a:gd name="T10" fmla="*/ 8872004 w 7"/>
                <a:gd name="T11" fmla="*/ 2497529 h 4"/>
                <a:gd name="T12" fmla="*/ 7158428 w 7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5" y="0"/>
                  </a:moveTo>
                  <a:cubicBezTo>
                    <a:pt x="3" y="0"/>
                    <a:pt x="2" y="0"/>
                    <a:pt x="1" y="0"/>
                  </a:cubicBezTo>
                  <a:cubicBezTo>
                    <a:pt x="1" y="1"/>
                    <a:pt x="0" y="3"/>
                    <a:pt x="1" y="3"/>
                  </a:cubicBezTo>
                  <a:cubicBezTo>
                    <a:pt x="3" y="4"/>
                    <a:pt x="5" y="3"/>
                    <a:pt x="7" y="4"/>
                  </a:cubicBezTo>
                  <a:cubicBezTo>
                    <a:pt x="7" y="3"/>
                    <a:pt x="7" y="2"/>
                    <a:pt x="7" y="2"/>
                  </a:cubicBezTo>
                  <a:cubicBezTo>
                    <a:pt x="6" y="2"/>
                    <a:pt x="7" y="1"/>
                    <a:pt x="6" y="1"/>
                  </a:cubicBezTo>
                  <a:cubicBezTo>
                    <a:pt x="7" y="0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1" name="Freeform 154"/>
            <p:cNvSpPr>
              <a:spLocks/>
            </p:cNvSpPr>
            <p:nvPr/>
          </p:nvSpPr>
          <p:spPr bwMode="auto">
            <a:xfrm>
              <a:off x="6932015" y="3337535"/>
              <a:ext cx="45400" cy="45153"/>
            </a:xfrm>
            <a:custGeom>
              <a:avLst/>
              <a:gdLst>
                <a:gd name="T0" fmla="*/ 61632271 w 98"/>
                <a:gd name="T1" fmla="*/ 8567093 h 93"/>
                <a:gd name="T2" fmla="*/ 66223908 w 98"/>
                <a:gd name="T3" fmla="*/ 12566268 h 93"/>
                <a:gd name="T4" fmla="*/ 72873048 w 98"/>
                <a:gd name="T5" fmla="*/ 15475594 h 93"/>
                <a:gd name="T6" fmla="*/ 74351032 w 98"/>
                <a:gd name="T7" fmla="*/ 16332023 h 93"/>
                <a:gd name="T8" fmla="*/ 76956485 w 98"/>
                <a:gd name="T9" fmla="*/ 17500720 h 93"/>
                <a:gd name="T10" fmla="*/ 79751697 w 98"/>
                <a:gd name="T11" fmla="*/ 19097484 h 93"/>
                <a:gd name="T12" fmla="*/ 84320329 w 98"/>
                <a:gd name="T13" fmla="*/ 18241140 h 93"/>
                <a:gd name="T14" fmla="*/ 88900124 w 98"/>
                <a:gd name="T15" fmla="*/ 21134158 h 93"/>
                <a:gd name="T16" fmla="*/ 88900124 w 98"/>
                <a:gd name="T17" fmla="*/ 22017545 h 93"/>
                <a:gd name="T18" fmla="*/ 86344530 w 98"/>
                <a:gd name="T19" fmla="*/ 25952147 h 93"/>
                <a:gd name="T20" fmla="*/ 85490754 w 98"/>
                <a:gd name="T21" fmla="*/ 30963187 h 93"/>
                <a:gd name="T22" fmla="*/ 84320329 w 98"/>
                <a:gd name="T23" fmla="*/ 35752884 h 93"/>
                <a:gd name="T24" fmla="*/ 85490754 w 98"/>
                <a:gd name="T25" fmla="*/ 37493750 h 93"/>
                <a:gd name="T26" fmla="*/ 81764282 w 98"/>
                <a:gd name="T27" fmla="*/ 39374357 h 93"/>
                <a:gd name="T28" fmla="*/ 76348757 w 98"/>
                <a:gd name="T29" fmla="*/ 45176820 h 93"/>
                <a:gd name="T30" fmla="*/ 76348757 w 98"/>
                <a:gd name="T31" fmla="*/ 47941608 h 93"/>
                <a:gd name="T32" fmla="*/ 82871648 w 98"/>
                <a:gd name="T33" fmla="*/ 52084496 h 93"/>
                <a:gd name="T34" fmla="*/ 82871648 w 98"/>
                <a:gd name="T35" fmla="*/ 52977894 h 93"/>
                <a:gd name="T36" fmla="*/ 82871648 w 98"/>
                <a:gd name="T37" fmla="*/ 54850079 h 93"/>
                <a:gd name="T38" fmla="*/ 81764282 w 98"/>
                <a:gd name="T39" fmla="*/ 61392167 h 93"/>
                <a:gd name="T40" fmla="*/ 79751697 w 98"/>
                <a:gd name="T41" fmla="*/ 63417037 h 93"/>
                <a:gd name="T42" fmla="*/ 83495895 w 98"/>
                <a:gd name="T43" fmla="*/ 69103198 h 93"/>
                <a:gd name="T44" fmla="*/ 86344530 w 98"/>
                <a:gd name="T45" fmla="*/ 71982141 h 93"/>
                <a:gd name="T46" fmla="*/ 86344530 w 98"/>
                <a:gd name="T47" fmla="*/ 75269555 h 93"/>
                <a:gd name="T48" fmla="*/ 82871648 w 98"/>
                <a:gd name="T49" fmla="*/ 78036652 h 93"/>
                <a:gd name="T50" fmla="*/ 73571667 w 98"/>
                <a:gd name="T51" fmla="*/ 81658182 h 93"/>
                <a:gd name="T52" fmla="*/ 71576883 w 98"/>
                <a:gd name="T53" fmla="*/ 78036652 h 93"/>
                <a:gd name="T54" fmla="*/ 65514012 w 98"/>
                <a:gd name="T55" fmla="*/ 76774789 h 93"/>
                <a:gd name="T56" fmla="*/ 60134448 w 98"/>
                <a:gd name="T57" fmla="*/ 78036652 h 93"/>
                <a:gd name="T58" fmla="*/ 56252782 w 98"/>
                <a:gd name="T59" fmla="*/ 86601699 h 93"/>
                <a:gd name="T60" fmla="*/ 56252782 w 98"/>
                <a:gd name="T61" fmla="*/ 87458156 h 93"/>
                <a:gd name="T62" fmla="*/ 45420413 w 98"/>
                <a:gd name="T63" fmla="*/ 89369326 h 93"/>
                <a:gd name="T64" fmla="*/ 32039417 w 98"/>
                <a:gd name="T65" fmla="*/ 85708376 h 93"/>
                <a:gd name="T66" fmla="*/ 25511585 w 98"/>
                <a:gd name="T67" fmla="*/ 83683279 h 93"/>
                <a:gd name="T68" fmla="*/ 21914982 w 98"/>
                <a:gd name="T69" fmla="*/ 79749359 h 93"/>
                <a:gd name="T70" fmla="*/ 21914982 w 98"/>
                <a:gd name="T71" fmla="*/ 78892655 h 93"/>
                <a:gd name="T72" fmla="*/ 23498567 w 98"/>
                <a:gd name="T73" fmla="*/ 71982141 h 93"/>
                <a:gd name="T74" fmla="*/ 25511585 w 98"/>
                <a:gd name="T75" fmla="*/ 65442210 h 93"/>
                <a:gd name="T76" fmla="*/ 25511585 w 98"/>
                <a:gd name="T77" fmla="*/ 49994752 h 93"/>
                <a:gd name="T78" fmla="*/ 21914982 w 98"/>
                <a:gd name="T79" fmla="*/ 47941608 h 93"/>
                <a:gd name="T80" fmla="*/ 20120367 w 98"/>
                <a:gd name="T81" fmla="*/ 45176820 h 93"/>
                <a:gd name="T82" fmla="*/ 18182009 w 98"/>
                <a:gd name="T83" fmla="*/ 40257792 h 93"/>
                <a:gd name="T84" fmla="*/ 15386778 w 98"/>
                <a:gd name="T85" fmla="*/ 37493750 h 93"/>
                <a:gd name="T86" fmla="*/ 9969094 w 98"/>
                <a:gd name="T87" fmla="*/ 35752884 h 93"/>
                <a:gd name="T88" fmla="*/ 2648625 w 98"/>
                <a:gd name="T89" fmla="*/ 34519143 h 93"/>
                <a:gd name="T90" fmla="*/ 2648625 w 98"/>
                <a:gd name="T91" fmla="*/ 31818509 h 93"/>
                <a:gd name="T92" fmla="*/ 2648625 w 98"/>
                <a:gd name="T93" fmla="*/ 29726646 h 93"/>
                <a:gd name="T94" fmla="*/ 826407 w 98"/>
                <a:gd name="T95" fmla="*/ 28833228 h 93"/>
                <a:gd name="T96" fmla="*/ 4591617 w 98"/>
                <a:gd name="T97" fmla="*/ 25952147 h 93"/>
                <a:gd name="T98" fmla="*/ 13592484 w 98"/>
                <a:gd name="T99" fmla="*/ 25276402 h 93"/>
                <a:gd name="T100" fmla="*/ 20120367 w 98"/>
                <a:gd name="T101" fmla="*/ 26808112 h 93"/>
                <a:gd name="T102" fmla="*/ 22742188 w 98"/>
                <a:gd name="T103" fmla="*/ 19097484 h 93"/>
                <a:gd name="T104" fmla="*/ 25511585 w 98"/>
                <a:gd name="T105" fmla="*/ 14251080 h 93"/>
                <a:gd name="T106" fmla="*/ 27333807 w 98"/>
                <a:gd name="T107" fmla="*/ 18241140 h 93"/>
                <a:gd name="T108" fmla="*/ 34687883 w 98"/>
                <a:gd name="T109" fmla="*/ 15475594 h 93"/>
                <a:gd name="T110" fmla="*/ 36268827 w 98"/>
                <a:gd name="T111" fmla="*/ 14251080 h 93"/>
                <a:gd name="T112" fmla="*/ 38890648 w 98"/>
                <a:gd name="T113" fmla="*/ 12566268 h 93"/>
                <a:gd name="T114" fmla="*/ 43481786 w 98"/>
                <a:gd name="T115" fmla="*/ 10685027 h 93"/>
                <a:gd name="T116" fmla="*/ 45420413 w 98"/>
                <a:gd name="T117" fmla="*/ 2918506 h 93"/>
                <a:gd name="T118" fmla="*/ 50009976 w 98"/>
                <a:gd name="T119" fmla="*/ 0 h 9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8"/>
                <a:gd name="T181" fmla="*/ 0 h 93"/>
                <a:gd name="T182" fmla="*/ 98 w 98"/>
                <a:gd name="T183" fmla="*/ 93 h 9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8" h="93">
                  <a:moveTo>
                    <a:pt x="56" y="1"/>
                  </a:moveTo>
                  <a:cubicBezTo>
                    <a:pt x="59" y="5"/>
                    <a:pt x="64" y="7"/>
                    <a:pt x="68" y="9"/>
                  </a:cubicBezTo>
                  <a:cubicBezTo>
                    <a:pt x="69" y="9"/>
                    <a:pt x="69" y="11"/>
                    <a:pt x="70" y="12"/>
                  </a:cubicBezTo>
                  <a:cubicBezTo>
                    <a:pt x="71" y="12"/>
                    <a:pt x="72" y="12"/>
                    <a:pt x="73" y="13"/>
                  </a:cubicBezTo>
                  <a:cubicBezTo>
                    <a:pt x="74" y="14"/>
                    <a:pt x="75" y="16"/>
                    <a:pt x="77" y="16"/>
                  </a:cubicBezTo>
                  <a:cubicBezTo>
                    <a:pt x="78" y="17"/>
                    <a:pt x="79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7"/>
                    <a:pt x="81" y="17"/>
                    <a:pt x="82" y="17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3" y="18"/>
                    <a:pt x="84" y="17"/>
                    <a:pt x="85" y="18"/>
                  </a:cubicBezTo>
                  <a:cubicBezTo>
                    <a:pt x="85" y="18"/>
                    <a:pt x="85" y="18"/>
                    <a:pt x="85" y="18"/>
                  </a:cubicBezTo>
                  <a:cubicBezTo>
                    <a:pt x="86" y="19"/>
                    <a:pt x="87" y="20"/>
                    <a:pt x="88" y="20"/>
                  </a:cubicBezTo>
                  <a:cubicBezTo>
                    <a:pt x="89" y="20"/>
                    <a:pt x="90" y="20"/>
                    <a:pt x="91" y="19"/>
                  </a:cubicBezTo>
                  <a:cubicBezTo>
                    <a:pt x="92" y="19"/>
                    <a:pt x="92" y="19"/>
                    <a:pt x="93" y="19"/>
                  </a:cubicBezTo>
                  <a:cubicBezTo>
                    <a:pt x="94" y="20"/>
                    <a:pt x="95" y="20"/>
                    <a:pt x="96" y="21"/>
                  </a:cubicBezTo>
                  <a:cubicBezTo>
                    <a:pt x="96" y="21"/>
                    <a:pt x="97" y="21"/>
                    <a:pt x="98" y="22"/>
                  </a:cubicBezTo>
                  <a:cubicBezTo>
                    <a:pt x="98" y="22"/>
                    <a:pt x="98" y="22"/>
                    <a:pt x="98" y="22"/>
                  </a:cubicBezTo>
                  <a:cubicBezTo>
                    <a:pt x="98" y="23"/>
                    <a:pt x="98" y="23"/>
                    <a:pt x="98" y="23"/>
                  </a:cubicBezTo>
                  <a:cubicBezTo>
                    <a:pt x="97" y="24"/>
                    <a:pt x="97" y="24"/>
                    <a:pt x="97" y="25"/>
                  </a:cubicBezTo>
                  <a:cubicBezTo>
                    <a:pt x="96" y="26"/>
                    <a:pt x="96" y="26"/>
                    <a:pt x="95" y="27"/>
                  </a:cubicBezTo>
                  <a:cubicBezTo>
                    <a:pt x="95" y="28"/>
                    <a:pt x="95" y="29"/>
                    <a:pt x="95" y="30"/>
                  </a:cubicBezTo>
                  <a:cubicBezTo>
                    <a:pt x="94" y="31"/>
                    <a:pt x="94" y="32"/>
                    <a:pt x="94" y="32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4"/>
                    <a:pt x="93" y="35"/>
                    <a:pt x="93" y="37"/>
                  </a:cubicBezTo>
                  <a:cubicBezTo>
                    <a:pt x="93" y="38"/>
                    <a:pt x="94" y="38"/>
                    <a:pt x="94" y="39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3" y="40"/>
                    <a:pt x="93" y="40"/>
                    <a:pt x="92" y="40"/>
                  </a:cubicBezTo>
                  <a:cubicBezTo>
                    <a:pt x="91" y="41"/>
                    <a:pt x="90" y="40"/>
                    <a:pt x="90" y="41"/>
                  </a:cubicBezTo>
                  <a:cubicBezTo>
                    <a:pt x="89" y="42"/>
                    <a:pt x="90" y="43"/>
                    <a:pt x="90" y="44"/>
                  </a:cubicBezTo>
                  <a:cubicBezTo>
                    <a:pt x="88" y="45"/>
                    <a:pt x="86" y="45"/>
                    <a:pt x="84" y="47"/>
                  </a:cubicBezTo>
                  <a:cubicBezTo>
                    <a:pt x="84" y="47"/>
                    <a:pt x="83" y="48"/>
                    <a:pt x="84" y="49"/>
                  </a:cubicBezTo>
                  <a:cubicBezTo>
                    <a:pt x="84" y="49"/>
                    <a:pt x="84" y="50"/>
                    <a:pt x="84" y="50"/>
                  </a:cubicBezTo>
                  <a:cubicBezTo>
                    <a:pt x="86" y="51"/>
                    <a:pt x="87" y="50"/>
                    <a:pt x="89" y="50"/>
                  </a:cubicBezTo>
                  <a:cubicBezTo>
                    <a:pt x="90" y="51"/>
                    <a:pt x="90" y="53"/>
                    <a:pt x="91" y="54"/>
                  </a:cubicBezTo>
                  <a:cubicBezTo>
                    <a:pt x="91" y="54"/>
                    <a:pt x="91" y="55"/>
                    <a:pt x="91" y="55"/>
                  </a:cubicBezTo>
                  <a:cubicBezTo>
                    <a:pt x="91" y="55"/>
                    <a:pt x="92" y="55"/>
                    <a:pt x="91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6"/>
                    <a:pt x="91" y="57"/>
                    <a:pt x="91" y="57"/>
                  </a:cubicBezTo>
                  <a:cubicBezTo>
                    <a:pt x="90" y="59"/>
                    <a:pt x="91" y="61"/>
                    <a:pt x="91" y="63"/>
                  </a:cubicBezTo>
                  <a:cubicBezTo>
                    <a:pt x="91" y="63"/>
                    <a:pt x="90" y="63"/>
                    <a:pt x="90" y="64"/>
                  </a:cubicBezTo>
                  <a:cubicBezTo>
                    <a:pt x="90" y="64"/>
                    <a:pt x="89" y="64"/>
                    <a:pt x="88" y="64"/>
                  </a:cubicBezTo>
                  <a:cubicBezTo>
                    <a:pt x="88" y="64"/>
                    <a:pt x="88" y="65"/>
                    <a:pt x="88" y="66"/>
                  </a:cubicBezTo>
                  <a:cubicBezTo>
                    <a:pt x="89" y="67"/>
                    <a:pt x="90" y="67"/>
                    <a:pt x="91" y="68"/>
                  </a:cubicBezTo>
                  <a:cubicBezTo>
                    <a:pt x="92" y="69"/>
                    <a:pt x="91" y="71"/>
                    <a:pt x="92" y="72"/>
                  </a:cubicBezTo>
                  <a:cubicBezTo>
                    <a:pt x="92" y="73"/>
                    <a:pt x="93" y="74"/>
                    <a:pt x="94" y="74"/>
                  </a:cubicBezTo>
                  <a:cubicBezTo>
                    <a:pt x="94" y="74"/>
                    <a:pt x="94" y="75"/>
                    <a:pt x="95" y="75"/>
                  </a:cubicBezTo>
                  <a:cubicBezTo>
                    <a:pt x="95" y="76"/>
                    <a:pt x="95" y="77"/>
                    <a:pt x="95" y="77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4" y="79"/>
                    <a:pt x="93" y="79"/>
                    <a:pt x="92" y="80"/>
                  </a:cubicBezTo>
                  <a:cubicBezTo>
                    <a:pt x="91" y="80"/>
                    <a:pt x="91" y="81"/>
                    <a:pt x="91" y="81"/>
                  </a:cubicBezTo>
                  <a:cubicBezTo>
                    <a:pt x="89" y="83"/>
                    <a:pt x="88" y="84"/>
                    <a:pt x="87" y="85"/>
                  </a:cubicBezTo>
                  <a:cubicBezTo>
                    <a:pt x="85" y="85"/>
                    <a:pt x="83" y="86"/>
                    <a:pt x="81" y="85"/>
                  </a:cubicBezTo>
                  <a:cubicBezTo>
                    <a:pt x="81" y="85"/>
                    <a:pt x="81" y="84"/>
                    <a:pt x="81" y="84"/>
                  </a:cubicBezTo>
                  <a:cubicBezTo>
                    <a:pt x="80" y="83"/>
                    <a:pt x="79" y="82"/>
                    <a:pt x="79" y="81"/>
                  </a:cubicBezTo>
                  <a:cubicBezTo>
                    <a:pt x="77" y="81"/>
                    <a:pt x="75" y="82"/>
                    <a:pt x="73" y="81"/>
                  </a:cubicBezTo>
                  <a:cubicBezTo>
                    <a:pt x="73" y="81"/>
                    <a:pt x="73" y="80"/>
                    <a:pt x="72" y="80"/>
                  </a:cubicBezTo>
                  <a:cubicBezTo>
                    <a:pt x="71" y="80"/>
                    <a:pt x="69" y="80"/>
                    <a:pt x="68" y="80"/>
                  </a:cubicBezTo>
                  <a:cubicBezTo>
                    <a:pt x="67" y="80"/>
                    <a:pt x="66" y="80"/>
                    <a:pt x="66" y="81"/>
                  </a:cubicBezTo>
                  <a:cubicBezTo>
                    <a:pt x="65" y="83"/>
                    <a:pt x="63" y="83"/>
                    <a:pt x="62" y="84"/>
                  </a:cubicBezTo>
                  <a:cubicBezTo>
                    <a:pt x="62" y="86"/>
                    <a:pt x="61" y="88"/>
                    <a:pt x="62" y="90"/>
                  </a:cubicBezTo>
                  <a:cubicBezTo>
                    <a:pt x="62" y="90"/>
                    <a:pt x="62" y="90"/>
                    <a:pt x="63" y="91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0" y="92"/>
                    <a:pt x="58" y="92"/>
                    <a:pt x="56" y="93"/>
                  </a:cubicBezTo>
                  <a:cubicBezTo>
                    <a:pt x="54" y="93"/>
                    <a:pt x="52" y="93"/>
                    <a:pt x="50" y="93"/>
                  </a:cubicBezTo>
                  <a:cubicBezTo>
                    <a:pt x="48" y="92"/>
                    <a:pt x="46" y="91"/>
                    <a:pt x="44" y="91"/>
                  </a:cubicBezTo>
                  <a:cubicBezTo>
                    <a:pt x="41" y="90"/>
                    <a:pt x="38" y="90"/>
                    <a:pt x="35" y="89"/>
                  </a:cubicBezTo>
                  <a:cubicBezTo>
                    <a:pt x="33" y="89"/>
                    <a:pt x="31" y="88"/>
                    <a:pt x="30" y="88"/>
                  </a:cubicBezTo>
                  <a:cubicBezTo>
                    <a:pt x="29" y="88"/>
                    <a:pt x="28" y="87"/>
                    <a:pt x="28" y="87"/>
                  </a:cubicBezTo>
                  <a:cubicBezTo>
                    <a:pt x="27" y="86"/>
                    <a:pt x="26" y="86"/>
                    <a:pt x="26" y="85"/>
                  </a:cubicBezTo>
                  <a:cubicBezTo>
                    <a:pt x="25" y="84"/>
                    <a:pt x="24" y="84"/>
                    <a:pt x="24" y="83"/>
                  </a:cubicBezTo>
                  <a:cubicBezTo>
                    <a:pt x="23" y="83"/>
                    <a:pt x="23" y="83"/>
                    <a:pt x="23" y="83"/>
                  </a:cubicBezTo>
                  <a:cubicBezTo>
                    <a:pt x="23" y="83"/>
                    <a:pt x="24" y="82"/>
                    <a:pt x="24" y="82"/>
                  </a:cubicBezTo>
                  <a:cubicBezTo>
                    <a:pt x="24" y="81"/>
                    <a:pt x="24" y="81"/>
                    <a:pt x="24" y="80"/>
                  </a:cubicBezTo>
                  <a:cubicBezTo>
                    <a:pt x="25" y="78"/>
                    <a:pt x="26" y="77"/>
                    <a:pt x="26" y="75"/>
                  </a:cubicBezTo>
                  <a:cubicBezTo>
                    <a:pt x="27" y="73"/>
                    <a:pt x="26" y="72"/>
                    <a:pt x="27" y="71"/>
                  </a:cubicBezTo>
                  <a:cubicBezTo>
                    <a:pt x="27" y="70"/>
                    <a:pt x="28" y="69"/>
                    <a:pt x="28" y="68"/>
                  </a:cubicBezTo>
                  <a:cubicBezTo>
                    <a:pt x="29" y="66"/>
                    <a:pt x="29" y="63"/>
                    <a:pt x="29" y="61"/>
                  </a:cubicBezTo>
                  <a:cubicBezTo>
                    <a:pt x="28" y="58"/>
                    <a:pt x="30" y="54"/>
                    <a:pt x="28" y="52"/>
                  </a:cubicBezTo>
                  <a:cubicBezTo>
                    <a:pt x="27" y="52"/>
                    <a:pt x="26" y="52"/>
                    <a:pt x="25" y="51"/>
                  </a:cubicBezTo>
                  <a:cubicBezTo>
                    <a:pt x="25" y="51"/>
                    <a:pt x="24" y="50"/>
                    <a:pt x="24" y="50"/>
                  </a:cubicBezTo>
                  <a:cubicBezTo>
                    <a:pt x="23" y="50"/>
                    <a:pt x="23" y="49"/>
                    <a:pt x="22" y="49"/>
                  </a:cubicBezTo>
                  <a:cubicBezTo>
                    <a:pt x="22" y="48"/>
                    <a:pt x="22" y="48"/>
                    <a:pt x="22" y="47"/>
                  </a:cubicBezTo>
                  <a:cubicBezTo>
                    <a:pt x="21" y="46"/>
                    <a:pt x="22" y="46"/>
                    <a:pt x="21" y="45"/>
                  </a:cubicBezTo>
                  <a:cubicBezTo>
                    <a:pt x="21" y="44"/>
                    <a:pt x="20" y="43"/>
                    <a:pt x="20" y="42"/>
                  </a:cubicBezTo>
                  <a:cubicBezTo>
                    <a:pt x="20" y="42"/>
                    <a:pt x="19" y="42"/>
                    <a:pt x="19" y="42"/>
                  </a:cubicBezTo>
                  <a:cubicBezTo>
                    <a:pt x="18" y="41"/>
                    <a:pt x="18" y="40"/>
                    <a:pt x="17" y="39"/>
                  </a:cubicBezTo>
                  <a:cubicBezTo>
                    <a:pt x="16" y="39"/>
                    <a:pt x="14" y="39"/>
                    <a:pt x="13" y="39"/>
                  </a:cubicBezTo>
                  <a:cubicBezTo>
                    <a:pt x="12" y="39"/>
                    <a:pt x="12" y="38"/>
                    <a:pt x="11" y="37"/>
                  </a:cubicBezTo>
                  <a:cubicBezTo>
                    <a:pt x="11" y="37"/>
                    <a:pt x="10" y="37"/>
                    <a:pt x="9" y="36"/>
                  </a:cubicBezTo>
                  <a:cubicBezTo>
                    <a:pt x="7" y="36"/>
                    <a:pt x="5" y="37"/>
                    <a:pt x="3" y="36"/>
                  </a:cubicBezTo>
                  <a:cubicBezTo>
                    <a:pt x="2" y="36"/>
                    <a:pt x="2" y="35"/>
                    <a:pt x="2" y="34"/>
                  </a:cubicBezTo>
                  <a:cubicBezTo>
                    <a:pt x="3" y="34"/>
                    <a:pt x="3" y="33"/>
                    <a:pt x="3" y="33"/>
                  </a:cubicBezTo>
                  <a:cubicBezTo>
                    <a:pt x="3" y="32"/>
                    <a:pt x="2" y="33"/>
                    <a:pt x="2" y="33"/>
                  </a:cubicBezTo>
                  <a:cubicBezTo>
                    <a:pt x="1" y="32"/>
                    <a:pt x="2" y="31"/>
                    <a:pt x="3" y="31"/>
                  </a:cubicBezTo>
                  <a:cubicBezTo>
                    <a:pt x="3" y="31"/>
                    <a:pt x="3" y="31"/>
                    <a:pt x="3" y="30"/>
                  </a:cubicBezTo>
                  <a:cubicBezTo>
                    <a:pt x="2" y="30"/>
                    <a:pt x="1" y="31"/>
                    <a:pt x="1" y="30"/>
                  </a:cubicBezTo>
                  <a:cubicBezTo>
                    <a:pt x="0" y="30"/>
                    <a:pt x="0" y="29"/>
                    <a:pt x="1" y="29"/>
                  </a:cubicBezTo>
                  <a:cubicBezTo>
                    <a:pt x="2" y="27"/>
                    <a:pt x="3" y="27"/>
                    <a:pt x="5" y="27"/>
                  </a:cubicBezTo>
                  <a:cubicBezTo>
                    <a:pt x="7" y="26"/>
                    <a:pt x="9" y="27"/>
                    <a:pt x="11" y="25"/>
                  </a:cubicBezTo>
                  <a:cubicBezTo>
                    <a:pt x="12" y="25"/>
                    <a:pt x="13" y="25"/>
                    <a:pt x="15" y="26"/>
                  </a:cubicBezTo>
                  <a:cubicBezTo>
                    <a:pt x="16" y="26"/>
                    <a:pt x="16" y="27"/>
                    <a:pt x="17" y="27"/>
                  </a:cubicBezTo>
                  <a:cubicBezTo>
                    <a:pt x="19" y="28"/>
                    <a:pt x="20" y="28"/>
                    <a:pt x="22" y="28"/>
                  </a:cubicBezTo>
                  <a:cubicBezTo>
                    <a:pt x="23" y="27"/>
                    <a:pt x="25" y="28"/>
                    <a:pt x="25" y="27"/>
                  </a:cubicBezTo>
                  <a:cubicBezTo>
                    <a:pt x="25" y="24"/>
                    <a:pt x="25" y="22"/>
                    <a:pt x="25" y="20"/>
                  </a:cubicBezTo>
                  <a:cubicBezTo>
                    <a:pt x="24" y="18"/>
                    <a:pt x="23" y="17"/>
                    <a:pt x="23" y="15"/>
                  </a:cubicBezTo>
                  <a:cubicBezTo>
                    <a:pt x="25" y="15"/>
                    <a:pt x="26" y="15"/>
                    <a:pt x="28" y="15"/>
                  </a:cubicBezTo>
                  <a:cubicBezTo>
                    <a:pt x="28" y="15"/>
                    <a:pt x="28" y="16"/>
                    <a:pt x="28" y="16"/>
                  </a:cubicBezTo>
                  <a:cubicBezTo>
                    <a:pt x="28" y="17"/>
                    <a:pt x="29" y="19"/>
                    <a:pt x="30" y="19"/>
                  </a:cubicBezTo>
                  <a:cubicBezTo>
                    <a:pt x="33" y="20"/>
                    <a:pt x="35" y="20"/>
                    <a:pt x="38" y="19"/>
                  </a:cubicBezTo>
                  <a:cubicBezTo>
                    <a:pt x="38" y="18"/>
                    <a:pt x="38" y="17"/>
                    <a:pt x="38" y="16"/>
                  </a:cubicBezTo>
                  <a:cubicBezTo>
                    <a:pt x="38" y="16"/>
                    <a:pt x="39" y="15"/>
                    <a:pt x="39" y="15"/>
                  </a:cubicBezTo>
                  <a:cubicBezTo>
                    <a:pt x="39" y="15"/>
                    <a:pt x="40" y="15"/>
                    <a:pt x="40" y="15"/>
                  </a:cubicBezTo>
                  <a:cubicBezTo>
                    <a:pt x="40" y="14"/>
                    <a:pt x="41" y="14"/>
                    <a:pt x="41" y="13"/>
                  </a:cubicBezTo>
                  <a:cubicBezTo>
                    <a:pt x="42" y="13"/>
                    <a:pt x="43" y="13"/>
                    <a:pt x="43" y="13"/>
                  </a:cubicBezTo>
                  <a:cubicBezTo>
                    <a:pt x="44" y="12"/>
                    <a:pt x="45" y="12"/>
                    <a:pt x="46" y="12"/>
                  </a:cubicBezTo>
                  <a:cubicBezTo>
                    <a:pt x="47" y="12"/>
                    <a:pt x="47" y="11"/>
                    <a:pt x="48" y="11"/>
                  </a:cubicBezTo>
                  <a:cubicBezTo>
                    <a:pt x="48" y="10"/>
                    <a:pt x="49" y="10"/>
                    <a:pt x="49" y="10"/>
                  </a:cubicBezTo>
                  <a:cubicBezTo>
                    <a:pt x="51" y="8"/>
                    <a:pt x="50" y="5"/>
                    <a:pt x="50" y="3"/>
                  </a:cubicBezTo>
                  <a:cubicBezTo>
                    <a:pt x="50" y="2"/>
                    <a:pt x="51" y="2"/>
                    <a:pt x="51" y="2"/>
                  </a:cubicBezTo>
                  <a:cubicBezTo>
                    <a:pt x="52" y="1"/>
                    <a:pt x="54" y="1"/>
                    <a:pt x="55" y="0"/>
                  </a:cubicBezTo>
                  <a:lnTo>
                    <a:pt x="56" y="1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2" name="Freeform 155"/>
            <p:cNvSpPr>
              <a:spLocks/>
            </p:cNvSpPr>
            <p:nvPr/>
          </p:nvSpPr>
          <p:spPr bwMode="auto">
            <a:xfrm>
              <a:off x="6979171" y="3378632"/>
              <a:ext cx="3762" cy="9193"/>
            </a:xfrm>
            <a:custGeom>
              <a:avLst/>
              <a:gdLst>
                <a:gd name="T0" fmla="*/ 3394577 w 8"/>
                <a:gd name="T1" fmla="*/ 11496685 h 19"/>
                <a:gd name="T2" fmla="*/ 3058782 w 8"/>
                <a:gd name="T3" fmla="*/ 865359 h 19"/>
                <a:gd name="T4" fmla="*/ 2453348 w 8"/>
                <a:gd name="T5" fmla="*/ 865359 h 19"/>
                <a:gd name="T6" fmla="*/ 2453348 w 8"/>
                <a:gd name="T7" fmla="*/ 4854159 h 19"/>
                <a:gd name="T8" fmla="*/ 941139 w 8"/>
                <a:gd name="T9" fmla="*/ 7008797 h 19"/>
                <a:gd name="T10" fmla="*/ 418284 w 8"/>
                <a:gd name="T11" fmla="*/ 7008797 h 19"/>
                <a:gd name="T12" fmla="*/ 0 w 8"/>
                <a:gd name="T13" fmla="*/ 7881242 h 19"/>
                <a:gd name="T14" fmla="*/ 0 w 8"/>
                <a:gd name="T15" fmla="*/ 9968069 h 19"/>
                <a:gd name="T16" fmla="*/ 418284 w 8"/>
                <a:gd name="T17" fmla="*/ 10840510 h 19"/>
                <a:gd name="T18" fmla="*/ 941139 w 8"/>
                <a:gd name="T19" fmla="*/ 15706817 h 19"/>
                <a:gd name="T20" fmla="*/ 1699274 w 8"/>
                <a:gd name="T21" fmla="*/ 16599778 h 19"/>
                <a:gd name="T22" fmla="*/ 2117562 w 8"/>
                <a:gd name="T23" fmla="*/ 17849252 h 19"/>
                <a:gd name="T24" fmla="*/ 2453348 w 8"/>
                <a:gd name="T25" fmla="*/ 18666092 h 19"/>
                <a:gd name="T26" fmla="*/ 3058782 w 8"/>
                <a:gd name="T27" fmla="*/ 12773055 h 19"/>
                <a:gd name="T28" fmla="*/ 3394577 w 8"/>
                <a:gd name="T29" fmla="*/ 11496685 h 1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"/>
                <a:gd name="T46" fmla="*/ 0 h 19"/>
                <a:gd name="T47" fmla="*/ 8 w 8"/>
                <a:gd name="T48" fmla="*/ 19 h 1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" h="19">
                  <a:moveTo>
                    <a:pt x="8" y="12"/>
                  </a:moveTo>
                  <a:cubicBezTo>
                    <a:pt x="8" y="8"/>
                    <a:pt x="8" y="5"/>
                    <a:pt x="7" y="1"/>
                  </a:cubicBezTo>
                  <a:cubicBezTo>
                    <a:pt x="7" y="1"/>
                    <a:pt x="7" y="0"/>
                    <a:pt x="6" y="1"/>
                  </a:cubicBezTo>
                  <a:cubicBezTo>
                    <a:pt x="6" y="2"/>
                    <a:pt x="6" y="4"/>
                    <a:pt x="6" y="5"/>
                  </a:cubicBezTo>
                  <a:cubicBezTo>
                    <a:pt x="5" y="6"/>
                    <a:pt x="3" y="6"/>
                    <a:pt x="2" y="7"/>
                  </a:cubicBezTo>
                  <a:cubicBezTo>
                    <a:pt x="2" y="7"/>
                    <a:pt x="2" y="7"/>
                    <a:pt x="1" y="7"/>
                  </a:cubicBezTo>
                  <a:cubicBezTo>
                    <a:pt x="1" y="7"/>
                    <a:pt x="0" y="8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ubicBezTo>
                    <a:pt x="0" y="10"/>
                    <a:pt x="1" y="10"/>
                    <a:pt x="1" y="11"/>
                  </a:cubicBezTo>
                  <a:cubicBezTo>
                    <a:pt x="1" y="13"/>
                    <a:pt x="1" y="14"/>
                    <a:pt x="2" y="16"/>
                  </a:cubicBezTo>
                  <a:cubicBezTo>
                    <a:pt x="2" y="17"/>
                    <a:pt x="3" y="17"/>
                    <a:pt x="4" y="17"/>
                  </a:cubicBezTo>
                  <a:cubicBezTo>
                    <a:pt x="4" y="18"/>
                    <a:pt x="4" y="18"/>
                    <a:pt x="5" y="18"/>
                  </a:cubicBezTo>
                  <a:cubicBezTo>
                    <a:pt x="5" y="19"/>
                    <a:pt x="6" y="19"/>
                    <a:pt x="6" y="19"/>
                  </a:cubicBezTo>
                  <a:cubicBezTo>
                    <a:pt x="8" y="17"/>
                    <a:pt x="7" y="15"/>
                    <a:pt x="7" y="13"/>
                  </a:cubicBezTo>
                  <a:lnTo>
                    <a:pt x="8" y="12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3" name="Freeform 156"/>
            <p:cNvSpPr>
              <a:spLocks/>
            </p:cNvSpPr>
            <p:nvPr/>
          </p:nvSpPr>
          <p:spPr bwMode="auto">
            <a:xfrm>
              <a:off x="7017046" y="3315364"/>
              <a:ext cx="9281" cy="5408"/>
            </a:xfrm>
            <a:custGeom>
              <a:avLst/>
              <a:gdLst>
                <a:gd name="T0" fmla="*/ 5927927 w 20"/>
                <a:gd name="T1" fmla="*/ 0 h 11"/>
                <a:gd name="T2" fmla="*/ 5187343 w 20"/>
                <a:gd name="T3" fmla="*/ 2007625 h 11"/>
                <a:gd name="T4" fmla="*/ 4391010 w 20"/>
                <a:gd name="T5" fmla="*/ 2007625 h 11"/>
                <a:gd name="T6" fmla="*/ 3261053 w 20"/>
                <a:gd name="T7" fmla="*/ 2894074 h 11"/>
                <a:gd name="T8" fmla="*/ 2522523 w 20"/>
                <a:gd name="T9" fmla="*/ 3587761 h 11"/>
                <a:gd name="T10" fmla="*/ 795113 w 20"/>
                <a:gd name="T11" fmla="*/ 6840539 h 11"/>
                <a:gd name="T12" fmla="*/ 0 w 20"/>
                <a:gd name="T13" fmla="*/ 8480159 h 11"/>
                <a:gd name="T14" fmla="*/ 795113 w 20"/>
                <a:gd name="T15" fmla="*/ 7630664 h 11"/>
                <a:gd name="T16" fmla="*/ 3261053 w 20"/>
                <a:gd name="T17" fmla="*/ 8480159 h 11"/>
                <a:gd name="T18" fmla="*/ 5927927 w 20"/>
                <a:gd name="T19" fmla="*/ 9698926 h 11"/>
                <a:gd name="T20" fmla="*/ 11455630 w 20"/>
                <a:gd name="T21" fmla="*/ 9698926 h 11"/>
                <a:gd name="T22" fmla="*/ 17186742 w 20"/>
                <a:gd name="T23" fmla="*/ 8480159 h 11"/>
                <a:gd name="T24" fmla="*/ 15548153 w 20"/>
                <a:gd name="T25" fmla="*/ 3587761 h 11"/>
                <a:gd name="T26" fmla="*/ 12876646 w 20"/>
                <a:gd name="T27" fmla="*/ 2894074 h 11"/>
                <a:gd name="T28" fmla="*/ 7062610 w 20"/>
                <a:gd name="T29" fmla="*/ 0 h 11"/>
                <a:gd name="T30" fmla="*/ 5927927 w 20"/>
                <a:gd name="T31" fmla="*/ 0 h 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"/>
                <a:gd name="T49" fmla="*/ 0 h 11"/>
                <a:gd name="T50" fmla="*/ 20 w 20"/>
                <a:gd name="T51" fmla="*/ 11 h 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" h="11">
                  <a:moveTo>
                    <a:pt x="7" y="0"/>
                  </a:moveTo>
                  <a:cubicBezTo>
                    <a:pt x="7" y="0"/>
                    <a:pt x="7" y="1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4"/>
                    <a:pt x="3" y="4"/>
                  </a:cubicBezTo>
                  <a:cubicBezTo>
                    <a:pt x="3" y="5"/>
                    <a:pt x="2" y="7"/>
                    <a:pt x="1" y="7"/>
                  </a:cubicBezTo>
                  <a:cubicBezTo>
                    <a:pt x="1" y="8"/>
                    <a:pt x="0" y="9"/>
                    <a:pt x="0" y="9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8"/>
                    <a:pt x="3" y="8"/>
                    <a:pt x="4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9" y="10"/>
                    <a:pt x="12" y="11"/>
                    <a:pt x="13" y="10"/>
                  </a:cubicBezTo>
                  <a:cubicBezTo>
                    <a:pt x="15" y="9"/>
                    <a:pt x="18" y="9"/>
                    <a:pt x="20" y="9"/>
                  </a:cubicBezTo>
                  <a:cubicBezTo>
                    <a:pt x="20" y="7"/>
                    <a:pt x="20" y="5"/>
                    <a:pt x="18" y="4"/>
                  </a:cubicBezTo>
                  <a:cubicBezTo>
                    <a:pt x="18" y="3"/>
                    <a:pt x="16" y="4"/>
                    <a:pt x="15" y="3"/>
                  </a:cubicBezTo>
                  <a:cubicBezTo>
                    <a:pt x="13" y="2"/>
                    <a:pt x="11" y="1"/>
                    <a:pt x="8" y="0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4" name="Freeform 158"/>
            <p:cNvSpPr>
              <a:spLocks/>
            </p:cNvSpPr>
            <p:nvPr/>
          </p:nvSpPr>
          <p:spPr bwMode="auto">
            <a:xfrm>
              <a:off x="6912701" y="3314823"/>
              <a:ext cx="16304" cy="20278"/>
            </a:xfrm>
            <a:custGeom>
              <a:avLst/>
              <a:gdLst>
                <a:gd name="T0" fmla="*/ 31121467 w 35"/>
                <a:gd name="T1" fmla="*/ 16200323 h 42"/>
                <a:gd name="T2" fmla="*/ 31121467 w 35"/>
                <a:gd name="T3" fmla="*/ 13910476 h 42"/>
                <a:gd name="T4" fmla="*/ 29866394 w 35"/>
                <a:gd name="T5" fmla="*/ 12950905 h 42"/>
                <a:gd name="T6" fmla="*/ 24012421 w 35"/>
                <a:gd name="T7" fmla="*/ 12950905 h 42"/>
                <a:gd name="T8" fmla="*/ 23090372 w 35"/>
                <a:gd name="T9" fmla="*/ 13910476 h 42"/>
                <a:gd name="T10" fmla="*/ 19046438 w 35"/>
                <a:gd name="T11" fmla="*/ 11680953 h 42"/>
                <a:gd name="T12" fmla="*/ 19046438 w 35"/>
                <a:gd name="T13" fmla="*/ 7499890 h 42"/>
                <a:gd name="T14" fmla="*/ 21891985 w 35"/>
                <a:gd name="T15" fmla="*/ 5439381 h 42"/>
                <a:gd name="T16" fmla="*/ 26195007 w 35"/>
                <a:gd name="T17" fmla="*/ 959507 h 42"/>
                <a:gd name="T18" fmla="*/ 27010987 w 35"/>
                <a:gd name="T19" fmla="*/ 0 h 42"/>
                <a:gd name="T20" fmla="*/ 21891985 w 35"/>
                <a:gd name="T21" fmla="*/ 959507 h 42"/>
                <a:gd name="T22" fmla="*/ 18156584 w 35"/>
                <a:gd name="T23" fmla="*/ 2284540 h 42"/>
                <a:gd name="T24" fmla="*/ 15979006 w 35"/>
                <a:gd name="T25" fmla="*/ 2284540 h 42"/>
                <a:gd name="T26" fmla="*/ 15153948 w 35"/>
                <a:gd name="T27" fmla="*/ 5439381 h 42"/>
                <a:gd name="T28" fmla="*/ 16884986 w 35"/>
                <a:gd name="T29" fmla="*/ 8458466 h 42"/>
                <a:gd name="T30" fmla="*/ 15979006 w 35"/>
                <a:gd name="T31" fmla="*/ 9396189 h 42"/>
                <a:gd name="T32" fmla="*/ 13123513 w 35"/>
                <a:gd name="T33" fmla="*/ 10748306 h 42"/>
                <a:gd name="T34" fmla="*/ 11767284 w 35"/>
                <a:gd name="T35" fmla="*/ 10748306 h 42"/>
                <a:gd name="T36" fmla="*/ 10125725 w 35"/>
                <a:gd name="T37" fmla="*/ 10748306 h 42"/>
                <a:gd name="T38" fmla="*/ 8031634 w 35"/>
                <a:gd name="T39" fmla="*/ 10748306 h 42"/>
                <a:gd name="T40" fmla="*/ 5856167 w 35"/>
                <a:gd name="T41" fmla="*/ 11680953 h 42"/>
                <a:gd name="T42" fmla="*/ 4962109 w 35"/>
                <a:gd name="T43" fmla="*/ 14871980 h 42"/>
                <a:gd name="T44" fmla="*/ 7120176 w 35"/>
                <a:gd name="T45" fmla="*/ 16919961 h 42"/>
                <a:gd name="T46" fmla="*/ 7120176 w 35"/>
                <a:gd name="T47" fmla="*/ 17856874 h 42"/>
                <a:gd name="T48" fmla="*/ 4962109 w 35"/>
                <a:gd name="T49" fmla="*/ 20139202 h 42"/>
                <a:gd name="T50" fmla="*/ 4962109 w 35"/>
                <a:gd name="T51" fmla="*/ 24661715 h 42"/>
                <a:gd name="T52" fmla="*/ 8031634 w 35"/>
                <a:gd name="T53" fmla="*/ 25591200 h 42"/>
                <a:gd name="T54" fmla="*/ 8031634 w 35"/>
                <a:gd name="T55" fmla="*/ 28605942 h 42"/>
                <a:gd name="T56" fmla="*/ 3761754 w 35"/>
                <a:gd name="T57" fmla="*/ 30835484 h 42"/>
                <a:gd name="T58" fmla="*/ 3761754 w 35"/>
                <a:gd name="T59" fmla="*/ 34056588 h 42"/>
                <a:gd name="T60" fmla="*/ 0 w 35"/>
                <a:gd name="T61" fmla="*/ 36341349 h 42"/>
                <a:gd name="T62" fmla="*/ 0 w 35"/>
                <a:gd name="T63" fmla="*/ 37206644 h 42"/>
                <a:gd name="T64" fmla="*/ 2092456 w 35"/>
                <a:gd name="T65" fmla="*/ 37206644 h 42"/>
                <a:gd name="T66" fmla="*/ 2092456 w 35"/>
                <a:gd name="T67" fmla="*/ 38572186 h 42"/>
                <a:gd name="T68" fmla="*/ 0 w 35"/>
                <a:gd name="T69" fmla="*/ 40285604 h 42"/>
                <a:gd name="T70" fmla="*/ 3761754 w 35"/>
                <a:gd name="T71" fmla="*/ 42516346 h 42"/>
                <a:gd name="T72" fmla="*/ 4962109 w 35"/>
                <a:gd name="T73" fmla="*/ 42516346 h 42"/>
                <a:gd name="T74" fmla="*/ 5856167 w 35"/>
                <a:gd name="T75" fmla="*/ 44800612 h 42"/>
                <a:gd name="T76" fmla="*/ 8920729 w 35"/>
                <a:gd name="T77" fmla="*/ 44800612 h 42"/>
                <a:gd name="T78" fmla="*/ 13123513 w 35"/>
                <a:gd name="T79" fmla="*/ 44800612 h 42"/>
                <a:gd name="T80" fmla="*/ 13887473 w 35"/>
                <a:gd name="T81" fmla="*/ 44800612 h 42"/>
                <a:gd name="T82" fmla="*/ 15153948 w 35"/>
                <a:gd name="T83" fmla="*/ 42516346 h 42"/>
                <a:gd name="T84" fmla="*/ 18156584 w 35"/>
                <a:gd name="T85" fmla="*/ 41556842 h 42"/>
                <a:gd name="T86" fmla="*/ 21154870 w 35"/>
                <a:gd name="T87" fmla="*/ 39491271 h 42"/>
                <a:gd name="T88" fmla="*/ 27905261 w 35"/>
                <a:gd name="T89" fmla="*/ 38572186 h 42"/>
                <a:gd name="T90" fmla="*/ 32038868 w 35"/>
                <a:gd name="T91" fmla="*/ 36341349 h 42"/>
                <a:gd name="T92" fmla="*/ 32933143 w 35"/>
                <a:gd name="T93" fmla="*/ 31768036 h 42"/>
                <a:gd name="T94" fmla="*/ 34131302 w 35"/>
                <a:gd name="T95" fmla="*/ 30110722 h 42"/>
                <a:gd name="T96" fmla="*/ 34131302 w 35"/>
                <a:gd name="T97" fmla="*/ 27811790 h 42"/>
                <a:gd name="T98" fmla="*/ 32933143 w 35"/>
                <a:gd name="T99" fmla="*/ 20139202 h 42"/>
                <a:gd name="T100" fmla="*/ 31121467 w 35"/>
                <a:gd name="T101" fmla="*/ 17856874 h 42"/>
                <a:gd name="T102" fmla="*/ 31121467 w 35"/>
                <a:gd name="T103" fmla="*/ 16200323 h 4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5"/>
                <a:gd name="T157" fmla="*/ 0 h 42"/>
                <a:gd name="T158" fmla="*/ 35 w 35"/>
                <a:gd name="T159" fmla="*/ 42 h 4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5" h="42">
                  <a:moveTo>
                    <a:pt x="31" y="15"/>
                  </a:move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0" y="12"/>
                    <a:pt x="30" y="12"/>
                  </a:cubicBezTo>
                  <a:cubicBezTo>
                    <a:pt x="28" y="12"/>
                    <a:pt x="26" y="11"/>
                    <a:pt x="24" y="12"/>
                  </a:cubicBezTo>
                  <a:cubicBezTo>
                    <a:pt x="24" y="12"/>
                    <a:pt x="23" y="13"/>
                    <a:pt x="23" y="13"/>
                  </a:cubicBezTo>
                  <a:cubicBezTo>
                    <a:pt x="22" y="14"/>
                    <a:pt x="20" y="12"/>
                    <a:pt x="19" y="11"/>
                  </a:cubicBezTo>
                  <a:cubicBezTo>
                    <a:pt x="19" y="10"/>
                    <a:pt x="19" y="8"/>
                    <a:pt x="19" y="7"/>
                  </a:cubicBezTo>
                  <a:cubicBezTo>
                    <a:pt x="20" y="6"/>
                    <a:pt x="21" y="6"/>
                    <a:pt x="22" y="5"/>
                  </a:cubicBezTo>
                  <a:cubicBezTo>
                    <a:pt x="23" y="3"/>
                    <a:pt x="25" y="2"/>
                    <a:pt x="26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3" y="0"/>
                    <a:pt x="22" y="1"/>
                  </a:cubicBezTo>
                  <a:cubicBezTo>
                    <a:pt x="20" y="1"/>
                    <a:pt x="19" y="2"/>
                    <a:pt x="18" y="2"/>
                  </a:cubicBezTo>
                  <a:cubicBezTo>
                    <a:pt x="17" y="2"/>
                    <a:pt x="17" y="2"/>
                    <a:pt x="16" y="2"/>
                  </a:cubicBezTo>
                  <a:cubicBezTo>
                    <a:pt x="15" y="3"/>
                    <a:pt x="14" y="4"/>
                    <a:pt x="15" y="5"/>
                  </a:cubicBezTo>
                  <a:cubicBezTo>
                    <a:pt x="15" y="6"/>
                    <a:pt x="18" y="6"/>
                    <a:pt x="17" y="8"/>
                  </a:cubicBezTo>
                  <a:cubicBezTo>
                    <a:pt x="17" y="8"/>
                    <a:pt x="16" y="9"/>
                    <a:pt x="16" y="9"/>
                  </a:cubicBezTo>
                  <a:cubicBezTo>
                    <a:pt x="15" y="10"/>
                    <a:pt x="14" y="9"/>
                    <a:pt x="13" y="10"/>
                  </a:cubicBezTo>
                  <a:cubicBezTo>
                    <a:pt x="13" y="10"/>
                    <a:pt x="13" y="10"/>
                    <a:pt x="12" y="10"/>
                  </a:cubicBezTo>
                  <a:cubicBezTo>
                    <a:pt x="11" y="11"/>
                    <a:pt x="10" y="10"/>
                    <a:pt x="10" y="10"/>
                  </a:cubicBezTo>
                  <a:cubicBezTo>
                    <a:pt x="9" y="9"/>
                    <a:pt x="8" y="9"/>
                    <a:pt x="8" y="10"/>
                  </a:cubicBezTo>
                  <a:cubicBezTo>
                    <a:pt x="7" y="10"/>
                    <a:pt x="6" y="10"/>
                    <a:pt x="6" y="11"/>
                  </a:cubicBezTo>
                  <a:cubicBezTo>
                    <a:pt x="5" y="12"/>
                    <a:pt x="4" y="13"/>
                    <a:pt x="5" y="14"/>
                  </a:cubicBezTo>
                  <a:cubicBezTo>
                    <a:pt x="5" y="15"/>
                    <a:pt x="6" y="15"/>
                    <a:pt x="7" y="16"/>
                  </a:cubicBezTo>
                  <a:cubicBezTo>
                    <a:pt x="7" y="16"/>
                    <a:pt x="7" y="17"/>
                    <a:pt x="7" y="17"/>
                  </a:cubicBezTo>
                  <a:cubicBezTo>
                    <a:pt x="6" y="18"/>
                    <a:pt x="5" y="18"/>
                    <a:pt x="5" y="19"/>
                  </a:cubicBezTo>
                  <a:cubicBezTo>
                    <a:pt x="4" y="20"/>
                    <a:pt x="5" y="22"/>
                    <a:pt x="5" y="23"/>
                  </a:cubicBezTo>
                  <a:cubicBezTo>
                    <a:pt x="6" y="24"/>
                    <a:pt x="7" y="23"/>
                    <a:pt x="8" y="24"/>
                  </a:cubicBezTo>
                  <a:cubicBezTo>
                    <a:pt x="8" y="25"/>
                    <a:pt x="8" y="26"/>
                    <a:pt x="8" y="27"/>
                  </a:cubicBezTo>
                  <a:cubicBezTo>
                    <a:pt x="7" y="28"/>
                    <a:pt x="5" y="28"/>
                    <a:pt x="4" y="29"/>
                  </a:cubicBezTo>
                  <a:cubicBezTo>
                    <a:pt x="4" y="30"/>
                    <a:pt x="4" y="31"/>
                    <a:pt x="4" y="32"/>
                  </a:cubicBezTo>
                  <a:cubicBezTo>
                    <a:pt x="3" y="33"/>
                    <a:pt x="2" y="33"/>
                    <a:pt x="0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" y="35"/>
                    <a:pt x="1" y="35"/>
                    <a:pt x="2" y="35"/>
                  </a:cubicBezTo>
                  <a:cubicBezTo>
                    <a:pt x="2" y="35"/>
                    <a:pt x="2" y="36"/>
                    <a:pt x="2" y="36"/>
                  </a:cubicBezTo>
                  <a:cubicBezTo>
                    <a:pt x="1" y="37"/>
                    <a:pt x="0" y="37"/>
                    <a:pt x="0" y="38"/>
                  </a:cubicBezTo>
                  <a:cubicBezTo>
                    <a:pt x="1" y="39"/>
                    <a:pt x="3" y="39"/>
                    <a:pt x="4" y="40"/>
                  </a:cubicBezTo>
                  <a:cubicBezTo>
                    <a:pt x="4" y="40"/>
                    <a:pt x="5" y="40"/>
                    <a:pt x="5" y="40"/>
                  </a:cubicBezTo>
                  <a:cubicBezTo>
                    <a:pt x="5" y="41"/>
                    <a:pt x="5" y="41"/>
                    <a:pt x="6" y="42"/>
                  </a:cubicBezTo>
                  <a:cubicBezTo>
                    <a:pt x="7" y="42"/>
                    <a:pt x="8" y="42"/>
                    <a:pt x="9" y="42"/>
                  </a:cubicBezTo>
                  <a:cubicBezTo>
                    <a:pt x="11" y="42"/>
                    <a:pt x="12" y="42"/>
                    <a:pt x="13" y="42"/>
                  </a:cubicBezTo>
                  <a:cubicBezTo>
                    <a:pt x="13" y="42"/>
                    <a:pt x="14" y="42"/>
                    <a:pt x="14" y="42"/>
                  </a:cubicBezTo>
                  <a:cubicBezTo>
                    <a:pt x="14" y="41"/>
                    <a:pt x="15" y="41"/>
                    <a:pt x="15" y="40"/>
                  </a:cubicBezTo>
                  <a:cubicBezTo>
                    <a:pt x="16" y="40"/>
                    <a:pt x="17" y="40"/>
                    <a:pt x="18" y="39"/>
                  </a:cubicBezTo>
                  <a:cubicBezTo>
                    <a:pt x="19" y="38"/>
                    <a:pt x="20" y="37"/>
                    <a:pt x="21" y="37"/>
                  </a:cubicBezTo>
                  <a:cubicBezTo>
                    <a:pt x="24" y="36"/>
                    <a:pt x="26" y="37"/>
                    <a:pt x="28" y="36"/>
                  </a:cubicBezTo>
                  <a:cubicBezTo>
                    <a:pt x="30" y="35"/>
                    <a:pt x="32" y="36"/>
                    <a:pt x="32" y="34"/>
                  </a:cubicBezTo>
                  <a:cubicBezTo>
                    <a:pt x="33" y="33"/>
                    <a:pt x="32" y="31"/>
                    <a:pt x="33" y="30"/>
                  </a:cubicBezTo>
                  <a:cubicBezTo>
                    <a:pt x="33" y="29"/>
                    <a:pt x="34" y="29"/>
                    <a:pt x="34" y="28"/>
                  </a:cubicBezTo>
                  <a:cubicBezTo>
                    <a:pt x="35" y="28"/>
                    <a:pt x="35" y="27"/>
                    <a:pt x="34" y="26"/>
                  </a:cubicBezTo>
                  <a:cubicBezTo>
                    <a:pt x="32" y="24"/>
                    <a:pt x="33" y="21"/>
                    <a:pt x="33" y="19"/>
                  </a:cubicBezTo>
                  <a:cubicBezTo>
                    <a:pt x="32" y="18"/>
                    <a:pt x="31" y="18"/>
                    <a:pt x="31" y="17"/>
                  </a:cubicBezTo>
                  <a:cubicBezTo>
                    <a:pt x="30" y="16"/>
                    <a:pt x="30" y="15"/>
                    <a:pt x="31" y="1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5" name="Freeform 159"/>
            <p:cNvSpPr>
              <a:spLocks/>
            </p:cNvSpPr>
            <p:nvPr/>
          </p:nvSpPr>
          <p:spPr bwMode="auto">
            <a:xfrm>
              <a:off x="6928002" y="3295356"/>
              <a:ext cx="27340" cy="48127"/>
            </a:xfrm>
            <a:custGeom>
              <a:avLst/>
              <a:gdLst>
                <a:gd name="T0" fmla="*/ 10256285 w 58"/>
                <a:gd name="T1" fmla="*/ 34141573 h 99"/>
                <a:gd name="T2" fmla="*/ 8419089 w 58"/>
                <a:gd name="T3" fmla="*/ 41744245 h 99"/>
                <a:gd name="T4" fmla="*/ 11099298 w 58"/>
                <a:gd name="T5" fmla="*/ 43839712 h 99"/>
                <a:gd name="T6" fmla="*/ 15809772 w 58"/>
                <a:gd name="T7" fmla="*/ 42630816 h 99"/>
                <a:gd name="T8" fmla="*/ 18668366 w 58"/>
                <a:gd name="T9" fmla="*/ 41744245 h 99"/>
                <a:gd name="T10" fmla="*/ 20728595 w 58"/>
                <a:gd name="T11" fmla="*/ 51443168 h 99"/>
                <a:gd name="T12" fmla="*/ 17826553 w 58"/>
                <a:gd name="T13" fmla="*/ 58931733 h 99"/>
                <a:gd name="T14" fmla="*/ 11099298 w 58"/>
                <a:gd name="T15" fmla="*/ 60658170 h 99"/>
                <a:gd name="T16" fmla="*/ 9629314 w 58"/>
                <a:gd name="T17" fmla="*/ 64773203 h 99"/>
                <a:gd name="T18" fmla="*/ 13126765 w 58"/>
                <a:gd name="T19" fmla="*/ 64773203 h 99"/>
                <a:gd name="T20" fmla="*/ 9629314 w 58"/>
                <a:gd name="T21" fmla="*/ 72217975 h 99"/>
                <a:gd name="T22" fmla="*/ 6693188 w 58"/>
                <a:gd name="T23" fmla="*/ 75952897 h 99"/>
                <a:gd name="T24" fmla="*/ 11099298 w 58"/>
                <a:gd name="T25" fmla="*/ 76620312 h 99"/>
                <a:gd name="T26" fmla="*/ 22745102 w 58"/>
                <a:gd name="T27" fmla="*/ 77997007 h 99"/>
                <a:gd name="T28" fmla="*/ 15171456 w 58"/>
                <a:gd name="T29" fmla="*/ 81584722 h 99"/>
                <a:gd name="T30" fmla="*/ 9629314 w 58"/>
                <a:gd name="T31" fmla="*/ 84223750 h 99"/>
                <a:gd name="T32" fmla="*/ 842205 w 58"/>
                <a:gd name="T33" fmla="*/ 93075320 h 99"/>
                <a:gd name="T34" fmla="*/ 4698972 w 58"/>
                <a:gd name="T35" fmla="*/ 93921842 h 99"/>
                <a:gd name="T36" fmla="*/ 8419089 w 58"/>
                <a:gd name="T37" fmla="*/ 91196210 h 99"/>
                <a:gd name="T38" fmla="*/ 17167291 w 58"/>
                <a:gd name="T39" fmla="*/ 91196210 h 99"/>
                <a:gd name="T40" fmla="*/ 30293989 w 58"/>
                <a:gd name="T41" fmla="*/ 87180526 h 99"/>
                <a:gd name="T42" fmla="*/ 39397061 w 58"/>
                <a:gd name="T43" fmla="*/ 86319179 h 99"/>
                <a:gd name="T44" fmla="*/ 48962370 w 58"/>
                <a:gd name="T45" fmla="*/ 84223750 h 99"/>
                <a:gd name="T46" fmla="*/ 50800890 w 58"/>
                <a:gd name="T47" fmla="*/ 77997007 h 99"/>
                <a:gd name="T48" fmla="*/ 53725471 w 58"/>
                <a:gd name="T49" fmla="*/ 72217975 h 99"/>
                <a:gd name="T50" fmla="*/ 53725471 w 58"/>
                <a:gd name="T51" fmla="*/ 65404162 h 99"/>
                <a:gd name="T52" fmla="*/ 48962370 w 58"/>
                <a:gd name="T53" fmla="*/ 63396546 h 99"/>
                <a:gd name="T54" fmla="*/ 46092287 w 58"/>
                <a:gd name="T55" fmla="*/ 63396546 h 99"/>
                <a:gd name="T56" fmla="*/ 44095942 w 58"/>
                <a:gd name="T57" fmla="*/ 58931733 h 99"/>
                <a:gd name="T58" fmla="*/ 41388483 w 58"/>
                <a:gd name="T59" fmla="*/ 50082168 h 99"/>
                <a:gd name="T60" fmla="*/ 33839926 w 58"/>
                <a:gd name="T61" fmla="*/ 42630816 h 99"/>
                <a:gd name="T62" fmla="*/ 33001657 w 58"/>
                <a:gd name="T63" fmla="*/ 38216537 h 99"/>
                <a:gd name="T64" fmla="*/ 24226044 w 58"/>
                <a:gd name="T65" fmla="*/ 28518484 h 99"/>
                <a:gd name="T66" fmla="*/ 28297664 w 58"/>
                <a:gd name="T67" fmla="*/ 20044018 h 99"/>
                <a:gd name="T68" fmla="*/ 28297664 w 58"/>
                <a:gd name="T69" fmla="*/ 15293852 h 99"/>
                <a:gd name="T70" fmla="*/ 30293989 w 58"/>
                <a:gd name="T71" fmla="*/ 14073923 h 99"/>
                <a:gd name="T72" fmla="*/ 28924670 w 58"/>
                <a:gd name="T73" fmla="*/ 11216146 h 99"/>
                <a:gd name="T74" fmla="*/ 20728595 w 58"/>
                <a:gd name="T75" fmla="*/ 11216146 h 99"/>
                <a:gd name="T76" fmla="*/ 13971507 w 58"/>
                <a:gd name="T77" fmla="*/ 9698940 h 99"/>
                <a:gd name="T78" fmla="*/ 17167291 w 58"/>
                <a:gd name="T79" fmla="*/ 6840539 h 99"/>
                <a:gd name="T80" fmla="*/ 20728595 w 58"/>
                <a:gd name="T81" fmla="*/ 849380 h 99"/>
                <a:gd name="T82" fmla="*/ 13971507 w 58"/>
                <a:gd name="T83" fmla="*/ 2007625 h 99"/>
                <a:gd name="T84" fmla="*/ 7547009 w 58"/>
                <a:gd name="T85" fmla="*/ 4745295 h 99"/>
                <a:gd name="T86" fmla="*/ 5557316 w 58"/>
                <a:gd name="T87" fmla="*/ 8480160 h 99"/>
                <a:gd name="T88" fmla="*/ 2833612 w 58"/>
                <a:gd name="T89" fmla="*/ 13226484 h 99"/>
                <a:gd name="T90" fmla="*/ 1989346 w 58"/>
                <a:gd name="T91" fmla="*/ 20044018 h 99"/>
                <a:gd name="T92" fmla="*/ 0 w 58"/>
                <a:gd name="T93" fmla="*/ 21764423 h 99"/>
                <a:gd name="T94" fmla="*/ 1989346 w 58"/>
                <a:gd name="T95" fmla="*/ 23659170 h 99"/>
                <a:gd name="T96" fmla="*/ 4698972 w 58"/>
                <a:gd name="T97" fmla="*/ 28518484 h 99"/>
                <a:gd name="T98" fmla="*/ 7547009 w 58"/>
                <a:gd name="T99" fmla="*/ 28518484 h 99"/>
                <a:gd name="T100" fmla="*/ 9629314 w 58"/>
                <a:gd name="T101" fmla="*/ 33265628 h 9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8"/>
                <a:gd name="T154" fmla="*/ 0 h 99"/>
                <a:gd name="T155" fmla="*/ 58 w 58"/>
                <a:gd name="T156" fmla="*/ 99 h 9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8" h="99">
                  <a:moveTo>
                    <a:pt x="10" y="35"/>
                  </a:moveTo>
                  <a:cubicBezTo>
                    <a:pt x="10" y="36"/>
                    <a:pt x="11" y="36"/>
                    <a:pt x="11" y="36"/>
                  </a:cubicBezTo>
                  <a:cubicBezTo>
                    <a:pt x="11" y="37"/>
                    <a:pt x="11" y="38"/>
                    <a:pt x="11" y="39"/>
                  </a:cubicBezTo>
                  <a:cubicBezTo>
                    <a:pt x="10" y="40"/>
                    <a:pt x="8" y="42"/>
                    <a:pt x="9" y="44"/>
                  </a:cubicBezTo>
                  <a:cubicBezTo>
                    <a:pt x="9" y="45"/>
                    <a:pt x="10" y="45"/>
                    <a:pt x="10" y="45"/>
                  </a:cubicBezTo>
                  <a:cubicBezTo>
                    <a:pt x="11" y="46"/>
                    <a:pt x="12" y="46"/>
                    <a:pt x="12" y="46"/>
                  </a:cubicBezTo>
                  <a:cubicBezTo>
                    <a:pt x="13" y="46"/>
                    <a:pt x="13" y="45"/>
                    <a:pt x="13" y="45"/>
                  </a:cubicBezTo>
                  <a:cubicBezTo>
                    <a:pt x="14" y="44"/>
                    <a:pt x="16" y="45"/>
                    <a:pt x="17" y="45"/>
                  </a:cubicBezTo>
                  <a:cubicBezTo>
                    <a:pt x="17" y="44"/>
                    <a:pt x="17" y="44"/>
                    <a:pt x="18" y="44"/>
                  </a:cubicBezTo>
                  <a:cubicBezTo>
                    <a:pt x="18" y="44"/>
                    <a:pt x="19" y="44"/>
                    <a:pt x="20" y="44"/>
                  </a:cubicBezTo>
                  <a:cubicBezTo>
                    <a:pt x="21" y="45"/>
                    <a:pt x="19" y="47"/>
                    <a:pt x="19" y="48"/>
                  </a:cubicBezTo>
                  <a:cubicBezTo>
                    <a:pt x="18" y="50"/>
                    <a:pt x="21" y="52"/>
                    <a:pt x="22" y="54"/>
                  </a:cubicBezTo>
                  <a:cubicBezTo>
                    <a:pt x="23" y="55"/>
                    <a:pt x="22" y="56"/>
                    <a:pt x="21" y="57"/>
                  </a:cubicBezTo>
                  <a:cubicBezTo>
                    <a:pt x="21" y="59"/>
                    <a:pt x="22" y="62"/>
                    <a:pt x="19" y="62"/>
                  </a:cubicBezTo>
                  <a:cubicBezTo>
                    <a:pt x="18" y="62"/>
                    <a:pt x="16" y="61"/>
                    <a:pt x="15" y="62"/>
                  </a:cubicBezTo>
                  <a:cubicBezTo>
                    <a:pt x="14" y="63"/>
                    <a:pt x="13" y="64"/>
                    <a:pt x="12" y="64"/>
                  </a:cubicBezTo>
                  <a:cubicBezTo>
                    <a:pt x="12" y="65"/>
                    <a:pt x="11" y="66"/>
                    <a:pt x="10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11" y="68"/>
                    <a:pt x="11" y="68"/>
                    <a:pt x="12" y="68"/>
                  </a:cubicBezTo>
                  <a:cubicBezTo>
                    <a:pt x="12" y="68"/>
                    <a:pt x="13" y="67"/>
                    <a:pt x="14" y="68"/>
                  </a:cubicBezTo>
                  <a:cubicBezTo>
                    <a:pt x="14" y="69"/>
                    <a:pt x="14" y="71"/>
                    <a:pt x="13" y="73"/>
                  </a:cubicBezTo>
                  <a:cubicBezTo>
                    <a:pt x="13" y="74"/>
                    <a:pt x="12" y="76"/>
                    <a:pt x="10" y="76"/>
                  </a:cubicBezTo>
                  <a:cubicBezTo>
                    <a:pt x="9" y="76"/>
                    <a:pt x="7" y="77"/>
                    <a:pt x="7" y="78"/>
                  </a:cubicBezTo>
                  <a:cubicBezTo>
                    <a:pt x="6" y="78"/>
                    <a:pt x="6" y="79"/>
                    <a:pt x="7" y="80"/>
                  </a:cubicBezTo>
                  <a:cubicBezTo>
                    <a:pt x="8" y="80"/>
                    <a:pt x="9" y="80"/>
                    <a:pt x="9" y="81"/>
                  </a:cubicBezTo>
                  <a:cubicBezTo>
                    <a:pt x="9" y="81"/>
                    <a:pt x="11" y="82"/>
                    <a:pt x="12" y="81"/>
                  </a:cubicBezTo>
                  <a:cubicBezTo>
                    <a:pt x="13" y="80"/>
                    <a:pt x="15" y="81"/>
                    <a:pt x="16" y="82"/>
                  </a:cubicBezTo>
                  <a:cubicBezTo>
                    <a:pt x="19" y="83"/>
                    <a:pt x="21" y="82"/>
                    <a:pt x="24" y="82"/>
                  </a:cubicBezTo>
                  <a:cubicBezTo>
                    <a:pt x="24" y="84"/>
                    <a:pt x="23" y="85"/>
                    <a:pt x="22" y="86"/>
                  </a:cubicBezTo>
                  <a:cubicBezTo>
                    <a:pt x="20" y="87"/>
                    <a:pt x="18" y="85"/>
                    <a:pt x="16" y="86"/>
                  </a:cubicBezTo>
                  <a:cubicBezTo>
                    <a:pt x="16" y="86"/>
                    <a:pt x="16" y="86"/>
                    <a:pt x="15" y="87"/>
                  </a:cubicBezTo>
                  <a:cubicBezTo>
                    <a:pt x="14" y="87"/>
                    <a:pt x="11" y="87"/>
                    <a:pt x="10" y="89"/>
                  </a:cubicBezTo>
                  <a:cubicBezTo>
                    <a:pt x="10" y="90"/>
                    <a:pt x="10" y="91"/>
                    <a:pt x="10" y="91"/>
                  </a:cubicBezTo>
                  <a:cubicBezTo>
                    <a:pt x="8" y="94"/>
                    <a:pt x="4" y="96"/>
                    <a:pt x="1" y="98"/>
                  </a:cubicBezTo>
                  <a:cubicBezTo>
                    <a:pt x="1" y="98"/>
                    <a:pt x="1" y="98"/>
                    <a:pt x="1" y="99"/>
                  </a:cubicBezTo>
                  <a:cubicBezTo>
                    <a:pt x="2" y="99"/>
                    <a:pt x="4" y="98"/>
                    <a:pt x="5" y="99"/>
                  </a:cubicBezTo>
                  <a:cubicBezTo>
                    <a:pt x="5" y="99"/>
                    <a:pt x="7" y="99"/>
                    <a:pt x="7" y="99"/>
                  </a:cubicBezTo>
                  <a:cubicBezTo>
                    <a:pt x="8" y="98"/>
                    <a:pt x="8" y="97"/>
                    <a:pt x="9" y="96"/>
                  </a:cubicBezTo>
                  <a:cubicBezTo>
                    <a:pt x="10" y="96"/>
                    <a:pt x="12" y="96"/>
                    <a:pt x="13" y="96"/>
                  </a:cubicBezTo>
                  <a:cubicBezTo>
                    <a:pt x="15" y="96"/>
                    <a:pt x="16" y="96"/>
                    <a:pt x="18" y="96"/>
                  </a:cubicBezTo>
                  <a:cubicBezTo>
                    <a:pt x="18" y="94"/>
                    <a:pt x="19" y="94"/>
                    <a:pt x="20" y="93"/>
                  </a:cubicBezTo>
                  <a:cubicBezTo>
                    <a:pt x="24" y="92"/>
                    <a:pt x="28" y="93"/>
                    <a:pt x="32" y="92"/>
                  </a:cubicBezTo>
                  <a:cubicBezTo>
                    <a:pt x="33" y="92"/>
                    <a:pt x="34" y="91"/>
                    <a:pt x="34" y="91"/>
                  </a:cubicBezTo>
                  <a:cubicBezTo>
                    <a:pt x="37" y="91"/>
                    <a:pt x="40" y="91"/>
                    <a:pt x="42" y="91"/>
                  </a:cubicBezTo>
                  <a:cubicBezTo>
                    <a:pt x="44" y="91"/>
                    <a:pt x="45" y="90"/>
                    <a:pt x="47" y="89"/>
                  </a:cubicBezTo>
                  <a:cubicBezTo>
                    <a:pt x="48" y="89"/>
                    <a:pt x="50" y="89"/>
                    <a:pt x="52" y="89"/>
                  </a:cubicBezTo>
                  <a:cubicBezTo>
                    <a:pt x="53" y="88"/>
                    <a:pt x="54" y="87"/>
                    <a:pt x="55" y="86"/>
                  </a:cubicBezTo>
                  <a:cubicBezTo>
                    <a:pt x="55" y="85"/>
                    <a:pt x="55" y="83"/>
                    <a:pt x="54" y="82"/>
                  </a:cubicBezTo>
                  <a:cubicBezTo>
                    <a:pt x="54" y="81"/>
                    <a:pt x="54" y="80"/>
                    <a:pt x="55" y="79"/>
                  </a:cubicBezTo>
                  <a:cubicBezTo>
                    <a:pt x="55" y="78"/>
                    <a:pt x="57" y="77"/>
                    <a:pt x="57" y="76"/>
                  </a:cubicBezTo>
                  <a:cubicBezTo>
                    <a:pt x="57" y="74"/>
                    <a:pt x="58" y="73"/>
                    <a:pt x="57" y="71"/>
                  </a:cubicBezTo>
                  <a:cubicBezTo>
                    <a:pt x="57" y="70"/>
                    <a:pt x="57" y="70"/>
                    <a:pt x="57" y="69"/>
                  </a:cubicBezTo>
                  <a:cubicBezTo>
                    <a:pt x="56" y="68"/>
                    <a:pt x="56" y="68"/>
                    <a:pt x="55" y="67"/>
                  </a:cubicBezTo>
                  <a:cubicBezTo>
                    <a:pt x="54" y="67"/>
                    <a:pt x="53" y="67"/>
                    <a:pt x="52" y="67"/>
                  </a:cubicBezTo>
                  <a:cubicBezTo>
                    <a:pt x="52" y="66"/>
                    <a:pt x="51" y="66"/>
                    <a:pt x="50" y="66"/>
                  </a:cubicBezTo>
                  <a:cubicBezTo>
                    <a:pt x="50" y="66"/>
                    <a:pt x="50" y="67"/>
                    <a:pt x="49" y="67"/>
                  </a:cubicBezTo>
                  <a:cubicBezTo>
                    <a:pt x="48" y="67"/>
                    <a:pt x="48" y="67"/>
                    <a:pt x="47" y="67"/>
                  </a:cubicBezTo>
                  <a:cubicBezTo>
                    <a:pt x="47" y="65"/>
                    <a:pt x="47" y="63"/>
                    <a:pt x="47" y="62"/>
                  </a:cubicBezTo>
                  <a:cubicBezTo>
                    <a:pt x="47" y="61"/>
                    <a:pt x="46" y="61"/>
                    <a:pt x="46" y="60"/>
                  </a:cubicBezTo>
                  <a:cubicBezTo>
                    <a:pt x="45" y="58"/>
                    <a:pt x="45" y="55"/>
                    <a:pt x="44" y="53"/>
                  </a:cubicBezTo>
                  <a:cubicBezTo>
                    <a:pt x="44" y="52"/>
                    <a:pt x="44" y="52"/>
                    <a:pt x="43" y="51"/>
                  </a:cubicBezTo>
                  <a:cubicBezTo>
                    <a:pt x="41" y="49"/>
                    <a:pt x="38" y="48"/>
                    <a:pt x="36" y="45"/>
                  </a:cubicBezTo>
                  <a:cubicBezTo>
                    <a:pt x="36" y="44"/>
                    <a:pt x="35" y="43"/>
                    <a:pt x="35" y="42"/>
                  </a:cubicBezTo>
                  <a:cubicBezTo>
                    <a:pt x="34" y="42"/>
                    <a:pt x="35" y="41"/>
                    <a:pt x="35" y="40"/>
                  </a:cubicBezTo>
                  <a:cubicBezTo>
                    <a:pt x="35" y="37"/>
                    <a:pt x="32" y="34"/>
                    <a:pt x="29" y="33"/>
                  </a:cubicBezTo>
                  <a:cubicBezTo>
                    <a:pt x="28" y="32"/>
                    <a:pt x="26" y="32"/>
                    <a:pt x="26" y="30"/>
                  </a:cubicBezTo>
                  <a:cubicBezTo>
                    <a:pt x="25" y="28"/>
                    <a:pt x="26" y="27"/>
                    <a:pt x="27" y="25"/>
                  </a:cubicBezTo>
                  <a:cubicBezTo>
                    <a:pt x="28" y="23"/>
                    <a:pt x="29" y="22"/>
                    <a:pt x="30" y="21"/>
                  </a:cubicBezTo>
                  <a:cubicBezTo>
                    <a:pt x="30" y="20"/>
                    <a:pt x="30" y="20"/>
                    <a:pt x="30" y="19"/>
                  </a:cubicBezTo>
                  <a:cubicBezTo>
                    <a:pt x="31" y="18"/>
                    <a:pt x="30" y="17"/>
                    <a:pt x="30" y="16"/>
                  </a:cubicBezTo>
                  <a:cubicBezTo>
                    <a:pt x="30" y="16"/>
                    <a:pt x="31" y="16"/>
                    <a:pt x="31" y="16"/>
                  </a:cubicBezTo>
                  <a:cubicBezTo>
                    <a:pt x="31" y="15"/>
                    <a:pt x="32" y="15"/>
                    <a:pt x="32" y="15"/>
                  </a:cubicBezTo>
                  <a:cubicBezTo>
                    <a:pt x="32" y="14"/>
                    <a:pt x="32" y="13"/>
                    <a:pt x="32" y="13"/>
                  </a:cubicBezTo>
                  <a:cubicBezTo>
                    <a:pt x="32" y="13"/>
                    <a:pt x="31" y="12"/>
                    <a:pt x="31" y="12"/>
                  </a:cubicBezTo>
                  <a:cubicBezTo>
                    <a:pt x="29" y="11"/>
                    <a:pt x="26" y="12"/>
                    <a:pt x="24" y="12"/>
                  </a:cubicBezTo>
                  <a:cubicBezTo>
                    <a:pt x="23" y="12"/>
                    <a:pt x="23" y="12"/>
                    <a:pt x="22" y="12"/>
                  </a:cubicBezTo>
                  <a:cubicBezTo>
                    <a:pt x="20" y="13"/>
                    <a:pt x="17" y="12"/>
                    <a:pt x="15" y="13"/>
                  </a:cubicBezTo>
                  <a:cubicBezTo>
                    <a:pt x="15" y="12"/>
                    <a:pt x="15" y="11"/>
                    <a:pt x="15" y="10"/>
                  </a:cubicBezTo>
                  <a:cubicBezTo>
                    <a:pt x="15" y="9"/>
                    <a:pt x="15" y="8"/>
                    <a:pt x="16" y="8"/>
                  </a:cubicBezTo>
                  <a:cubicBezTo>
                    <a:pt x="16" y="8"/>
                    <a:pt x="17" y="7"/>
                    <a:pt x="18" y="7"/>
                  </a:cubicBezTo>
                  <a:cubicBezTo>
                    <a:pt x="19" y="6"/>
                    <a:pt x="20" y="5"/>
                    <a:pt x="22" y="3"/>
                  </a:cubicBezTo>
                  <a:cubicBezTo>
                    <a:pt x="22" y="2"/>
                    <a:pt x="22" y="1"/>
                    <a:pt x="22" y="1"/>
                  </a:cubicBezTo>
                  <a:cubicBezTo>
                    <a:pt x="20" y="0"/>
                    <a:pt x="18" y="1"/>
                    <a:pt x="15" y="1"/>
                  </a:cubicBezTo>
                  <a:cubicBezTo>
                    <a:pt x="15" y="1"/>
                    <a:pt x="15" y="2"/>
                    <a:pt x="15" y="2"/>
                  </a:cubicBezTo>
                  <a:cubicBezTo>
                    <a:pt x="13" y="2"/>
                    <a:pt x="11" y="1"/>
                    <a:pt x="9" y="2"/>
                  </a:cubicBezTo>
                  <a:cubicBezTo>
                    <a:pt x="8" y="3"/>
                    <a:pt x="8" y="4"/>
                    <a:pt x="8" y="5"/>
                  </a:cubicBezTo>
                  <a:cubicBezTo>
                    <a:pt x="8" y="6"/>
                    <a:pt x="7" y="5"/>
                    <a:pt x="6" y="6"/>
                  </a:cubicBezTo>
                  <a:cubicBezTo>
                    <a:pt x="5" y="7"/>
                    <a:pt x="6" y="8"/>
                    <a:pt x="6" y="9"/>
                  </a:cubicBezTo>
                  <a:cubicBezTo>
                    <a:pt x="5" y="10"/>
                    <a:pt x="4" y="11"/>
                    <a:pt x="3" y="12"/>
                  </a:cubicBezTo>
                  <a:cubicBezTo>
                    <a:pt x="3" y="13"/>
                    <a:pt x="3" y="14"/>
                    <a:pt x="3" y="14"/>
                  </a:cubicBezTo>
                  <a:cubicBezTo>
                    <a:pt x="4" y="16"/>
                    <a:pt x="4" y="18"/>
                    <a:pt x="3" y="20"/>
                  </a:cubicBezTo>
                  <a:cubicBezTo>
                    <a:pt x="2" y="20"/>
                    <a:pt x="3" y="21"/>
                    <a:pt x="2" y="21"/>
                  </a:cubicBezTo>
                  <a:cubicBezTo>
                    <a:pt x="2" y="21"/>
                    <a:pt x="1" y="22"/>
                    <a:pt x="1" y="22"/>
                  </a:cubicBezTo>
                  <a:cubicBezTo>
                    <a:pt x="0" y="22"/>
                    <a:pt x="0" y="23"/>
                    <a:pt x="0" y="23"/>
                  </a:cubicBezTo>
                  <a:cubicBezTo>
                    <a:pt x="0" y="23"/>
                    <a:pt x="1" y="24"/>
                    <a:pt x="1" y="24"/>
                  </a:cubicBezTo>
                  <a:cubicBezTo>
                    <a:pt x="1" y="24"/>
                    <a:pt x="1" y="24"/>
                    <a:pt x="2" y="25"/>
                  </a:cubicBezTo>
                  <a:cubicBezTo>
                    <a:pt x="3" y="25"/>
                    <a:pt x="4" y="25"/>
                    <a:pt x="4" y="25"/>
                  </a:cubicBezTo>
                  <a:cubicBezTo>
                    <a:pt x="5" y="27"/>
                    <a:pt x="4" y="29"/>
                    <a:pt x="5" y="30"/>
                  </a:cubicBezTo>
                  <a:cubicBezTo>
                    <a:pt x="5" y="31"/>
                    <a:pt x="6" y="31"/>
                    <a:pt x="6" y="31"/>
                  </a:cubicBezTo>
                  <a:cubicBezTo>
                    <a:pt x="7" y="30"/>
                    <a:pt x="7" y="30"/>
                    <a:pt x="8" y="30"/>
                  </a:cubicBezTo>
                  <a:cubicBezTo>
                    <a:pt x="9" y="31"/>
                    <a:pt x="8" y="32"/>
                    <a:pt x="8" y="34"/>
                  </a:cubicBezTo>
                  <a:cubicBezTo>
                    <a:pt x="9" y="34"/>
                    <a:pt x="10" y="35"/>
                    <a:pt x="10" y="35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6" name="Freeform 160"/>
            <p:cNvSpPr>
              <a:spLocks/>
            </p:cNvSpPr>
            <p:nvPr/>
          </p:nvSpPr>
          <p:spPr bwMode="auto">
            <a:xfrm>
              <a:off x="6924741" y="3296707"/>
              <a:ext cx="2759" cy="3515"/>
            </a:xfrm>
            <a:custGeom>
              <a:avLst/>
              <a:gdLst>
                <a:gd name="T0" fmla="*/ 2243220 w 6"/>
                <a:gd name="T1" fmla="*/ 2129866 h 8"/>
                <a:gd name="T2" fmla="*/ 1697572 w 6"/>
                <a:gd name="T3" fmla="*/ 4351847 h 8"/>
                <a:gd name="T4" fmla="*/ 727531 w 6"/>
                <a:gd name="T5" fmla="*/ 4351847 h 8"/>
                <a:gd name="T6" fmla="*/ 0 w 6"/>
                <a:gd name="T7" fmla="*/ 5955246 h 8"/>
                <a:gd name="T8" fmla="*/ 1697572 w 6"/>
                <a:gd name="T9" fmla="*/ 8176458 h 8"/>
                <a:gd name="T10" fmla="*/ 2970751 w 6"/>
                <a:gd name="T11" fmla="*/ 7279645 h 8"/>
                <a:gd name="T12" fmla="*/ 4688532 w 6"/>
                <a:gd name="T13" fmla="*/ 5058432 h 8"/>
                <a:gd name="T14" fmla="*/ 4688532 w 6"/>
                <a:gd name="T15" fmla="*/ 896786 h 8"/>
                <a:gd name="T16" fmla="*/ 3961001 w 6"/>
                <a:gd name="T17" fmla="*/ 2129866 h 8"/>
                <a:gd name="T18" fmla="*/ 2970751 w 6"/>
                <a:gd name="T19" fmla="*/ 2129866 h 8"/>
                <a:gd name="T20" fmla="*/ 2243220 w 6"/>
                <a:gd name="T21" fmla="*/ 2129866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"/>
                <a:gd name="T34" fmla="*/ 0 h 8"/>
                <a:gd name="T35" fmla="*/ 6 w 6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" h="8">
                  <a:moveTo>
                    <a:pt x="3" y="2"/>
                  </a:moveTo>
                  <a:cubicBezTo>
                    <a:pt x="3" y="3"/>
                    <a:pt x="3" y="3"/>
                    <a:pt x="2" y="4"/>
                  </a:cubicBezTo>
                  <a:cubicBezTo>
                    <a:pt x="2" y="4"/>
                    <a:pt x="1" y="4"/>
                    <a:pt x="1" y="4"/>
                  </a:cubicBezTo>
                  <a:cubicBezTo>
                    <a:pt x="0" y="4"/>
                    <a:pt x="0" y="6"/>
                    <a:pt x="0" y="6"/>
                  </a:cubicBezTo>
                  <a:cubicBezTo>
                    <a:pt x="1" y="7"/>
                    <a:pt x="1" y="7"/>
                    <a:pt x="2" y="8"/>
                  </a:cubicBezTo>
                  <a:cubicBezTo>
                    <a:pt x="2" y="8"/>
                    <a:pt x="3" y="8"/>
                    <a:pt x="4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6" y="4"/>
                    <a:pt x="6" y="2"/>
                    <a:pt x="6" y="1"/>
                  </a:cubicBezTo>
                  <a:cubicBezTo>
                    <a:pt x="6" y="0"/>
                    <a:pt x="5" y="1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7" name="Freeform 161"/>
            <p:cNvSpPr>
              <a:spLocks/>
            </p:cNvSpPr>
            <p:nvPr/>
          </p:nvSpPr>
          <p:spPr bwMode="auto">
            <a:xfrm>
              <a:off x="6922985" y="3302656"/>
              <a:ext cx="1756" cy="2163"/>
            </a:xfrm>
            <a:custGeom>
              <a:avLst/>
              <a:gdLst>
                <a:gd name="T0" fmla="*/ 941139 w 4"/>
                <a:gd name="T1" fmla="*/ 0 h 4"/>
                <a:gd name="T2" fmla="*/ 941139 w 4"/>
                <a:gd name="T3" fmla="*/ 6243820 h 4"/>
                <a:gd name="T4" fmla="*/ 1699274 w 4"/>
                <a:gd name="T5" fmla="*/ 6243820 h 4"/>
                <a:gd name="T6" fmla="*/ 1699274 w 4"/>
                <a:gd name="T7" fmla="*/ 2497529 h 4"/>
                <a:gd name="T8" fmla="*/ 1359459 w 4"/>
                <a:gd name="T9" fmla="*/ 0 h 4"/>
                <a:gd name="T10" fmla="*/ 941139 w 4"/>
                <a:gd name="T11" fmla="*/ 0 h 4"/>
                <a:gd name="T12" fmla="*/ 941139 w 4"/>
                <a:gd name="T13" fmla="*/ 0 h 4"/>
                <a:gd name="T14" fmla="*/ 941139 w 4"/>
                <a:gd name="T15" fmla="*/ 0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4"/>
                <a:gd name="T26" fmla="*/ 4 w 4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4">
                  <a:moveTo>
                    <a:pt x="2" y="0"/>
                  </a:moveTo>
                  <a:cubicBezTo>
                    <a:pt x="1" y="1"/>
                    <a:pt x="0" y="3"/>
                    <a:pt x="2" y="3"/>
                  </a:cubicBezTo>
                  <a:cubicBezTo>
                    <a:pt x="2" y="4"/>
                    <a:pt x="3" y="4"/>
                    <a:pt x="4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1"/>
                    <a:pt x="4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8" name="Freeform 162"/>
            <p:cNvSpPr>
              <a:spLocks/>
            </p:cNvSpPr>
            <p:nvPr/>
          </p:nvSpPr>
          <p:spPr bwMode="auto">
            <a:xfrm>
              <a:off x="6926246" y="3301304"/>
              <a:ext cx="2258" cy="2433"/>
            </a:xfrm>
            <a:custGeom>
              <a:avLst/>
              <a:gdLst>
                <a:gd name="T0" fmla="*/ 5085394 w 5"/>
                <a:gd name="T1" fmla="*/ 3577445 h 5"/>
                <a:gd name="T2" fmla="*/ 3577445 w 5"/>
                <a:gd name="T3" fmla="*/ 1064436 h 5"/>
                <a:gd name="T4" fmla="*/ 2554647 w 5"/>
                <a:gd name="T5" fmla="*/ 1064436 h 5"/>
                <a:gd name="T6" fmla="*/ 0 w 5"/>
                <a:gd name="T7" fmla="*/ 2554647 h 5"/>
                <a:gd name="T8" fmla="*/ 0 w 5"/>
                <a:gd name="T9" fmla="*/ 3577445 h 5"/>
                <a:gd name="T10" fmla="*/ 5085394 w 5"/>
                <a:gd name="T11" fmla="*/ 6131150 h 5"/>
                <a:gd name="T12" fmla="*/ 6131150 w 5"/>
                <a:gd name="T13" fmla="*/ 6131150 h 5"/>
                <a:gd name="T14" fmla="*/ 6131150 w 5"/>
                <a:gd name="T15" fmla="*/ 3577445 h 5"/>
                <a:gd name="T16" fmla="*/ 5085394 w 5"/>
                <a:gd name="T17" fmla="*/ 3577445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5"/>
                <a:gd name="T29" fmla="*/ 5 w 5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5">
                  <a:moveTo>
                    <a:pt x="4" y="3"/>
                  </a:moveTo>
                  <a:cubicBezTo>
                    <a:pt x="4" y="2"/>
                    <a:pt x="4" y="1"/>
                    <a:pt x="3" y="1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4" y="5"/>
                    <a:pt x="4" y="5"/>
                    <a:pt x="5" y="5"/>
                  </a:cubicBezTo>
                  <a:cubicBezTo>
                    <a:pt x="5" y="5"/>
                    <a:pt x="5" y="4"/>
                    <a:pt x="5" y="3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9" name="Freeform 163"/>
            <p:cNvSpPr>
              <a:spLocks/>
            </p:cNvSpPr>
            <p:nvPr/>
          </p:nvSpPr>
          <p:spPr bwMode="auto">
            <a:xfrm>
              <a:off x="6937533" y="3292111"/>
              <a:ext cx="1505" cy="1893"/>
            </a:xfrm>
            <a:custGeom>
              <a:avLst/>
              <a:gdLst>
                <a:gd name="T0" fmla="*/ 941139 w 4"/>
                <a:gd name="T1" fmla="*/ 2497529 h 4"/>
                <a:gd name="T2" fmla="*/ 0 w 4"/>
                <a:gd name="T3" fmla="*/ 6243820 h 4"/>
                <a:gd name="T4" fmla="*/ 1699274 w 4"/>
                <a:gd name="T5" fmla="*/ 6243820 h 4"/>
                <a:gd name="T6" fmla="*/ 1699274 w 4"/>
                <a:gd name="T7" fmla="*/ 2497529 h 4"/>
                <a:gd name="T8" fmla="*/ 941139 w 4"/>
                <a:gd name="T9" fmla="*/ 249752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2" y="1"/>
                  </a:moveTo>
                  <a:cubicBezTo>
                    <a:pt x="0" y="0"/>
                    <a:pt x="0" y="2"/>
                    <a:pt x="0" y="3"/>
                  </a:cubicBezTo>
                  <a:cubicBezTo>
                    <a:pt x="1" y="4"/>
                    <a:pt x="3" y="4"/>
                    <a:pt x="4" y="3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1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0" name="Freeform 164"/>
            <p:cNvSpPr>
              <a:spLocks/>
            </p:cNvSpPr>
            <p:nvPr/>
          </p:nvSpPr>
          <p:spPr bwMode="auto">
            <a:xfrm>
              <a:off x="6943553" y="3284811"/>
              <a:ext cx="2257" cy="4056"/>
            </a:xfrm>
            <a:custGeom>
              <a:avLst/>
              <a:gdLst>
                <a:gd name="T0" fmla="*/ 3577445 w 5"/>
                <a:gd name="T1" fmla="*/ 0 h 8"/>
                <a:gd name="T2" fmla="*/ 0 w 5"/>
                <a:gd name="T3" fmla="*/ 4351847 h 8"/>
                <a:gd name="T4" fmla="*/ 3577445 w 5"/>
                <a:gd name="T5" fmla="*/ 8176458 h 8"/>
                <a:gd name="T6" fmla="*/ 5085394 w 5"/>
                <a:gd name="T7" fmla="*/ 8176458 h 8"/>
                <a:gd name="T8" fmla="*/ 5085394 w 5"/>
                <a:gd name="T9" fmla="*/ 4351847 h 8"/>
                <a:gd name="T10" fmla="*/ 5085394 w 5"/>
                <a:gd name="T11" fmla="*/ 0 h 8"/>
                <a:gd name="T12" fmla="*/ 3577445 w 5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8"/>
                <a:gd name="T23" fmla="*/ 5 w 5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8">
                  <a:moveTo>
                    <a:pt x="3" y="0"/>
                  </a:moveTo>
                  <a:cubicBezTo>
                    <a:pt x="1" y="0"/>
                    <a:pt x="0" y="2"/>
                    <a:pt x="0" y="4"/>
                  </a:cubicBezTo>
                  <a:cubicBezTo>
                    <a:pt x="3" y="4"/>
                    <a:pt x="2" y="6"/>
                    <a:pt x="3" y="8"/>
                  </a:cubicBezTo>
                  <a:cubicBezTo>
                    <a:pt x="3" y="8"/>
                    <a:pt x="4" y="8"/>
                    <a:pt x="4" y="8"/>
                  </a:cubicBezTo>
                  <a:cubicBezTo>
                    <a:pt x="4" y="7"/>
                    <a:pt x="4" y="5"/>
                    <a:pt x="4" y="4"/>
                  </a:cubicBezTo>
                  <a:cubicBezTo>
                    <a:pt x="5" y="3"/>
                    <a:pt x="5" y="1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1" name="Freeform 165"/>
            <p:cNvSpPr>
              <a:spLocks/>
            </p:cNvSpPr>
            <p:nvPr/>
          </p:nvSpPr>
          <p:spPr bwMode="auto">
            <a:xfrm>
              <a:off x="6921731" y="3314823"/>
              <a:ext cx="8779" cy="7300"/>
            </a:xfrm>
            <a:custGeom>
              <a:avLst/>
              <a:gdLst>
                <a:gd name="T0" fmla="*/ 11496685 w 19"/>
                <a:gd name="T1" fmla="*/ 18043546 h 15"/>
                <a:gd name="T2" fmla="*/ 13640503 w 19"/>
                <a:gd name="T3" fmla="*/ 17271725 h 15"/>
                <a:gd name="T4" fmla="*/ 15706817 w 19"/>
                <a:gd name="T5" fmla="*/ 14714756 h 15"/>
                <a:gd name="T6" fmla="*/ 18666092 w 19"/>
                <a:gd name="T7" fmla="*/ 12204942 h 15"/>
                <a:gd name="T8" fmla="*/ 18666092 w 19"/>
                <a:gd name="T9" fmla="*/ 11140514 h 15"/>
                <a:gd name="T10" fmla="*/ 16599778 w 19"/>
                <a:gd name="T11" fmla="*/ 8585866 h 15"/>
                <a:gd name="T12" fmla="*/ 12773055 w 19"/>
                <a:gd name="T13" fmla="*/ 2554647 h 15"/>
                <a:gd name="T14" fmla="*/ 11496685 w 19"/>
                <a:gd name="T15" fmla="*/ 1064436 h 15"/>
                <a:gd name="T16" fmla="*/ 8696832 w 19"/>
                <a:gd name="T17" fmla="*/ 0 h 15"/>
                <a:gd name="T18" fmla="*/ 7881242 w 19"/>
                <a:gd name="T19" fmla="*/ 0 h 15"/>
                <a:gd name="T20" fmla="*/ 7008797 w 19"/>
                <a:gd name="T21" fmla="*/ 1064436 h 15"/>
                <a:gd name="T22" fmla="*/ 2959271 w 19"/>
                <a:gd name="T23" fmla="*/ 6131151 h 15"/>
                <a:gd name="T24" fmla="*/ 0 w 19"/>
                <a:gd name="T25" fmla="*/ 8585866 h 15"/>
                <a:gd name="T26" fmla="*/ 0 w 19"/>
                <a:gd name="T27" fmla="*/ 13074693 h 15"/>
                <a:gd name="T28" fmla="*/ 3671997 w 19"/>
                <a:gd name="T29" fmla="*/ 15597639 h 15"/>
                <a:gd name="T30" fmla="*/ 4854159 w 19"/>
                <a:gd name="T31" fmla="*/ 14714756 h 15"/>
                <a:gd name="T32" fmla="*/ 10840510 w 19"/>
                <a:gd name="T33" fmla="*/ 14714756 h 15"/>
                <a:gd name="T34" fmla="*/ 11496685 w 19"/>
                <a:gd name="T35" fmla="*/ 15597639 h 15"/>
                <a:gd name="T36" fmla="*/ 11496685 w 19"/>
                <a:gd name="T37" fmla="*/ 18043546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9"/>
                <a:gd name="T58" fmla="*/ 0 h 15"/>
                <a:gd name="T59" fmla="*/ 19 w 19"/>
                <a:gd name="T60" fmla="*/ 15 h 1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9" h="15">
                  <a:moveTo>
                    <a:pt x="12" y="15"/>
                  </a:moveTo>
                  <a:cubicBezTo>
                    <a:pt x="13" y="14"/>
                    <a:pt x="14" y="15"/>
                    <a:pt x="14" y="14"/>
                  </a:cubicBezTo>
                  <a:cubicBezTo>
                    <a:pt x="15" y="14"/>
                    <a:pt x="16" y="13"/>
                    <a:pt x="16" y="12"/>
                  </a:cubicBezTo>
                  <a:cubicBezTo>
                    <a:pt x="17" y="11"/>
                    <a:pt x="18" y="11"/>
                    <a:pt x="19" y="10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8" y="8"/>
                    <a:pt x="18" y="7"/>
                    <a:pt x="17" y="7"/>
                  </a:cubicBezTo>
                  <a:cubicBezTo>
                    <a:pt x="16" y="5"/>
                    <a:pt x="15" y="4"/>
                    <a:pt x="13" y="2"/>
                  </a:cubicBezTo>
                  <a:cubicBezTo>
                    <a:pt x="13" y="2"/>
                    <a:pt x="13" y="1"/>
                    <a:pt x="12" y="1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2"/>
                    <a:pt x="4" y="3"/>
                    <a:pt x="3" y="5"/>
                  </a:cubicBezTo>
                  <a:cubicBezTo>
                    <a:pt x="2" y="6"/>
                    <a:pt x="1" y="6"/>
                    <a:pt x="0" y="7"/>
                  </a:cubicBezTo>
                  <a:cubicBezTo>
                    <a:pt x="0" y="8"/>
                    <a:pt x="0" y="10"/>
                    <a:pt x="0" y="11"/>
                  </a:cubicBezTo>
                  <a:cubicBezTo>
                    <a:pt x="1" y="12"/>
                    <a:pt x="3" y="14"/>
                    <a:pt x="4" y="13"/>
                  </a:cubicBezTo>
                  <a:cubicBezTo>
                    <a:pt x="4" y="13"/>
                    <a:pt x="5" y="12"/>
                    <a:pt x="5" y="12"/>
                  </a:cubicBezTo>
                  <a:cubicBezTo>
                    <a:pt x="7" y="11"/>
                    <a:pt x="9" y="12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lnTo>
                    <a:pt x="12" y="15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2" name="Freeform 237"/>
            <p:cNvSpPr>
              <a:spLocks/>
            </p:cNvSpPr>
            <p:nvPr/>
          </p:nvSpPr>
          <p:spPr bwMode="auto">
            <a:xfrm>
              <a:off x="7040122" y="3383499"/>
              <a:ext cx="11287" cy="9193"/>
            </a:xfrm>
            <a:custGeom>
              <a:avLst/>
              <a:gdLst>
                <a:gd name="T0" fmla="*/ 0 w 24"/>
                <a:gd name="T1" fmla="*/ 13640503 h 19"/>
                <a:gd name="T2" fmla="*/ 2226282 w 24"/>
                <a:gd name="T3" fmla="*/ 17849252 h 19"/>
                <a:gd name="T4" fmla="*/ 7280415 w 24"/>
                <a:gd name="T5" fmla="*/ 16599778 h 19"/>
                <a:gd name="T6" fmla="*/ 12557623 w 24"/>
                <a:gd name="T7" fmla="*/ 12773055 h 19"/>
                <a:gd name="T8" fmla="*/ 18521930 w 24"/>
                <a:gd name="T9" fmla="*/ 10840510 h 19"/>
                <a:gd name="T10" fmla="*/ 18521930 w 24"/>
                <a:gd name="T11" fmla="*/ 10840510 h 19"/>
                <a:gd name="T12" fmla="*/ 23798965 w 24"/>
                <a:gd name="T13" fmla="*/ 10840510 h 19"/>
                <a:gd name="T14" fmla="*/ 23798965 w 24"/>
                <a:gd name="T15" fmla="*/ 9968069 h 19"/>
                <a:gd name="T16" fmla="*/ 19419101 w 24"/>
                <a:gd name="T17" fmla="*/ 7881242 h 19"/>
                <a:gd name="T18" fmla="*/ 16353661 w 24"/>
                <a:gd name="T19" fmla="*/ 2049534 h 19"/>
                <a:gd name="T20" fmla="*/ 15581415 w 24"/>
                <a:gd name="T21" fmla="*/ 0 h 19"/>
                <a:gd name="T22" fmla="*/ 14143705 w 24"/>
                <a:gd name="T23" fmla="*/ 865359 h 19"/>
                <a:gd name="T24" fmla="*/ 11242634 w 24"/>
                <a:gd name="T25" fmla="*/ 865359 h 19"/>
                <a:gd name="T26" fmla="*/ 10335640 w 24"/>
                <a:gd name="T27" fmla="*/ 0 h 19"/>
                <a:gd name="T28" fmla="*/ 8176465 w 24"/>
                <a:gd name="T29" fmla="*/ 0 h 19"/>
                <a:gd name="T30" fmla="*/ 937382 w 24"/>
                <a:gd name="T31" fmla="*/ 2959271 h 19"/>
                <a:gd name="T32" fmla="*/ 2226282 w 24"/>
                <a:gd name="T33" fmla="*/ 7008797 h 19"/>
                <a:gd name="T34" fmla="*/ 937382 w 24"/>
                <a:gd name="T35" fmla="*/ 12773055 h 19"/>
                <a:gd name="T36" fmla="*/ 937382 w 24"/>
                <a:gd name="T37" fmla="*/ 12773055 h 19"/>
                <a:gd name="T38" fmla="*/ 0 w 24"/>
                <a:gd name="T39" fmla="*/ 13640503 h 1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4"/>
                <a:gd name="T61" fmla="*/ 0 h 19"/>
                <a:gd name="T62" fmla="*/ 24 w 24"/>
                <a:gd name="T63" fmla="*/ 19 h 1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4" h="19">
                  <a:moveTo>
                    <a:pt x="0" y="14"/>
                  </a:moveTo>
                  <a:cubicBezTo>
                    <a:pt x="1" y="16"/>
                    <a:pt x="0" y="17"/>
                    <a:pt x="2" y="18"/>
                  </a:cubicBezTo>
                  <a:cubicBezTo>
                    <a:pt x="4" y="19"/>
                    <a:pt x="6" y="18"/>
                    <a:pt x="7" y="17"/>
                  </a:cubicBezTo>
                  <a:cubicBezTo>
                    <a:pt x="9" y="16"/>
                    <a:pt x="10" y="13"/>
                    <a:pt x="12" y="13"/>
                  </a:cubicBezTo>
                  <a:cubicBezTo>
                    <a:pt x="14" y="12"/>
                    <a:pt x="16" y="13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0" y="11"/>
                    <a:pt x="22" y="12"/>
                    <a:pt x="23" y="11"/>
                  </a:cubicBezTo>
                  <a:cubicBezTo>
                    <a:pt x="23" y="11"/>
                    <a:pt x="24" y="10"/>
                    <a:pt x="23" y="10"/>
                  </a:cubicBezTo>
                  <a:cubicBezTo>
                    <a:pt x="22" y="9"/>
                    <a:pt x="20" y="9"/>
                    <a:pt x="19" y="8"/>
                  </a:cubicBezTo>
                  <a:cubicBezTo>
                    <a:pt x="17" y="6"/>
                    <a:pt x="17" y="4"/>
                    <a:pt x="16" y="2"/>
                  </a:cubicBezTo>
                  <a:cubicBezTo>
                    <a:pt x="16" y="1"/>
                    <a:pt x="16" y="1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1"/>
                    <a:pt x="12" y="2"/>
                    <a:pt x="11" y="1"/>
                  </a:cubicBezTo>
                  <a:cubicBezTo>
                    <a:pt x="11" y="1"/>
                    <a:pt x="10" y="0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6" y="2"/>
                    <a:pt x="4" y="2"/>
                    <a:pt x="1" y="3"/>
                  </a:cubicBezTo>
                  <a:cubicBezTo>
                    <a:pt x="1" y="5"/>
                    <a:pt x="2" y="6"/>
                    <a:pt x="2" y="7"/>
                  </a:cubicBezTo>
                  <a:cubicBezTo>
                    <a:pt x="2" y="9"/>
                    <a:pt x="1" y="11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lnTo>
                    <a:pt x="0" y="14"/>
                  </a:ln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3" name="Freeform 239"/>
            <p:cNvSpPr>
              <a:spLocks/>
            </p:cNvSpPr>
            <p:nvPr/>
          </p:nvSpPr>
          <p:spPr bwMode="auto">
            <a:xfrm>
              <a:off x="7040624" y="3396747"/>
              <a:ext cx="1756" cy="1352"/>
            </a:xfrm>
            <a:custGeom>
              <a:avLst/>
              <a:gdLst>
                <a:gd name="T0" fmla="*/ 1699274 w 4"/>
                <a:gd name="T1" fmla="*/ 1697572 h 3"/>
                <a:gd name="T2" fmla="*/ 1359459 w 4"/>
                <a:gd name="T3" fmla="*/ 0 h 3"/>
                <a:gd name="T4" fmla="*/ 418284 w 4"/>
                <a:gd name="T5" fmla="*/ 0 h 3"/>
                <a:gd name="T6" fmla="*/ 0 w 4"/>
                <a:gd name="T7" fmla="*/ 2243220 h 3"/>
                <a:gd name="T8" fmla="*/ 1359459 w 4"/>
                <a:gd name="T9" fmla="*/ 2243220 h 3"/>
                <a:gd name="T10" fmla="*/ 1699274 w 4"/>
                <a:gd name="T11" fmla="*/ 2243220 h 3"/>
                <a:gd name="T12" fmla="*/ 1699274 w 4"/>
                <a:gd name="T13" fmla="*/ 1697572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3"/>
                <a:gd name="T23" fmla="*/ 4 w 4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3">
                  <a:moveTo>
                    <a:pt x="4" y="2"/>
                  </a:moveTo>
                  <a:cubicBezTo>
                    <a:pt x="4" y="2"/>
                    <a:pt x="3" y="1"/>
                    <a:pt x="3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3"/>
                    <a:pt x="2" y="3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4" y="3"/>
                    <a:pt x="4" y="3"/>
                    <a:pt x="4" y="2"/>
                  </a:cubicBezTo>
                  <a:close/>
                </a:path>
              </a:pathLst>
            </a:custGeom>
            <a:solidFill>
              <a:srgbClr val="D3CFB1"/>
            </a:solidFill>
            <a:ln w="9525">
              <a:solidFill>
                <a:srgbClr val="D3CFB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4" name="Freeform 436"/>
            <p:cNvSpPr>
              <a:spLocks/>
            </p:cNvSpPr>
            <p:nvPr/>
          </p:nvSpPr>
          <p:spPr bwMode="auto">
            <a:xfrm>
              <a:off x="6992966" y="3338075"/>
              <a:ext cx="21822" cy="12708"/>
            </a:xfrm>
            <a:custGeom>
              <a:avLst/>
              <a:gdLst>
                <a:gd name="T0" fmla="*/ 45532 w 91"/>
                <a:gd name="T1" fmla="*/ 60795 h 54"/>
                <a:gd name="T2" fmla="*/ 77404 w 91"/>
                <a:gd name="T3" fmla="*/ 66322 h 54"/>
                <a:gd name="T4" fmla="*/ 100170 w 91"/>
                <a:gd name="T5" fmla="*/ 66322 h 54"/>
                <a:gd name="T6" fmla="*/ 115347 w 91"/>
                <a:gd name="T7" fmla="*/ 64940 h 54"/>
                <a:gd name="T8" fmla="*/ 138113 w 91"/>
                <a:gd name="T9" fmla="*/ 49741 h 54"/>
                <a:gd name="T10" fmla="*/ 122936 w 91"/>
                <a:gd name="T11" fmla="*/ 37306 h 54"/>
                <a:gd name="T12" fmla="*/ 100170 w 91"/>
                <a:gd name="T13" fmla="*/ 20726 h 54"/>
                <a:gd name="T14" fmla="*/ 78922 w 91"/>
                <a:gd name="T15" fmla="*/ 24871 h 54"/>
                <a:gd name="T16" fmla="*/ 72851 w 91"/>
                <a:gd name="T17" fmla="*/ 12435 h 54"/>
                <a:gd name="T18" fmla="*/ 45532 w 91"/>
                <a:gd name="T19" fmla="*/ 0 h 54"/>
                <a:gd name="T20" fmla="*/ 19730 w 91"/>
                <a:gd name="T21" fmla="*/ 15199 h 54"/>
                <a:gd name="T22" fmla="*/ 0 w 91"/>
                <a:gd name="T23" fmla="*/ 31779 h 54"/>
                <a:gd name="T24" fmla="*/ 10624 w 91"/>
                <a:gd name="T25" fmla="*/ 60795 h 54"/>
                <a:gd name="T26" fmla="*/ 36425 w 91"/>
                <a:gd name="T27" fmla="*/ 74612 h 54"/>
                <a:gd name="T28" fmla="*/ 45532 w 91"/>
                <a:gd name="T29" fmla="*/ 60795 h 5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1"/>
                <a:gd name="T46" fmla="*/ 0 h 54"/>
                <a:gd name="T47" fmla="*/ 91 w 91"/>
                <a:gd name="T48" fmla="*/ 54 h 5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1" h="54">
                  <a:moveTo>
                    <a:pt x="30" y="44"/>
                  </a:moveTo>
                  <a:lnTo>
                    <a:pt x="51" y="48"/>
                  </a:lnTo>
                  <a:lnTo>
                    <a:pt x="66" y="48"/>
                  </a:lnTo>
                  <a:lnTo>
                    <a:pt x="76" y="47"/>
                  </a:lnTo>
                  <a:lnTo>
                    <a:pt x="91" y="36"/>
                  </a:lnTo>
                  <a:lnTo>
                    <a:pt x="81" y="27"/>
                  </a:lnTo>
                  <a:lnTo>
                    <a:pt x="66" y="15"/>
                  </a:lnTo>
                  <a:lnTo>
                    <a:pt x="52" y="18"/>
                  </a:lnTo>
                  <a:lnTo>
                    <a:pt x="48" y="9"/>
                  </a:lnTo>
                  <a:lnTo>
                    <a:pt x="30" y="0"/>
                  </a:lnTo>
                  <a:lnTo>
                    <a:pt x="13" y="11"/>
                  </a:lnTo>
                  <a:lnTo>
                    <a:pt x="0" y="23"/>
                  </a:lnTo>
                  <a:lnTo>
                    <a:pt x="7" y="44"/>
                  </a:lnTo>
                  <a:lnTo>
                    <a:pt x="24" y="54"/>
                  </a:lnTo>
                  <a:lnTo>
                    <a:pt x="30" y="4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  <a:alpha val="50195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pic>
          <p:nvPicPr>
            <p:cNvPr id="1055" name="Picture 522" descr="PuceCapGem7"/>
            <p:cNvPicPr preferRelativeResize="0"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993951" y="3319003"/>
              <a:ext cx="56205" cy="586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056" name="Connecteur en arc 1104"/>
            <p:cNvCxnSpPr>
              <a:stCxn id="938" idx="1"/>
              <a:endCxn id="1058" idx="0"/>
            </p:cNvCxnSpPr>
            <p:nvPr/>
          </p:nvCxnSpPr>
          <p:spPr>
            <a:xfrm rot="10800000" flipH="1">
              <a:off x="6757370" y="3336050"/>
              <a:ext cx="205550" cy="297046"/>
            </a:xfrm>
            <a:prstGeom prst="curvedConnector4">
              <a:avLst>
                <a:gd name="adj1" fmla="val -81557"/>
                <a:gd name="adj2" fmla="val 133349"/>
              </a:avLst>
            </a:prstGeom>
            <a:ln w="28575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7" name="Connecteur droit 1056"/>
            <p:cNvCxnSpPr/>
            <p:nvPr/>
          </p:nvCxnSpPr>
          <p:spPr>
            <a:xfrm flipV="1">
              <a:off x="6959110" y="3351290"/>
              <a:ext cx="1905" cy="7620"/>
            </a:xfrm>
            <a:prstGeom prst="line">
              <a:avLst/>
            </a:prstGeom>
            <a:ln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8" name="Rectangle 1057"/>
            <p:cNvSpPr/>
            <p:nvPr/>
          </p:nvSpPr>
          <p:spPr>
            <a:xfrm>
              <a:off x="6940060" y="3336050"/>
              <a:ext cx="45719" cy="4571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cxnSp>
          <p:nvCxnSpPr>
            <p:cNvPr id="1059" name="Connecteur en arc 933"/>
            <p:cNvCxnSpPr>
              <a:stCxn id="1055" idx="2"/>
              <a:endCxn id="1058" idx="2"/>
            </p:cNvCxnSpPr>
            <p:nvPr/>
          </p:nvCxnSpPr>
          <p:spPr>
            <a:xfrm rot="5400000">
              <a:off x="6990451" y="3350166"/>
              <a:ext cx="4072" cy="59134"/>
            </a:xfrm>
            <a:prstGeom prst="curvedConnector3">
              <a:avLst>
                <a:gd name="adj1" fmla="val 754961"/>
              </a:avLst>
            </a:prstGeom>
            <a:ln w="2540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0" name="Connecteur en arc 933"/>
            <p:cNvCxnSpPr>
              <a:stCxn id="941" idx="0"/>
              <a:endCxn id="1058" idx="0"/>
            </p:cNvCxnSpPr>
            <p:nvPr/>
          </p:nvCxnSpPr>
          <p:spPr>
            <a:xfrm rot="16200000" flipV="1">
              <a:off x="7056918" y="3242052"/>
              <a:ext cx="115190" cy="303185"/>
            </a:xfrm>
            <a:prstGeom prst="curvedConnector3">
              <a:avLst>
                <a:gd name="adj1" fmla="val 146303"/>
              </a:avLst>
            </a:prstGeom>
            <a:ln w="28575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1" name="Connecteur en arc 933"/>
            <p:cNvCxnSpPr>
              <a:stCxn id="939" idx="0"/>
              <a:endCxn id="1058" idx="0"/>
            </p:cNvCxnSpPr>
            <p:nvPr/>
          </p:nvCxnSpPr>
          <p:spPr>
            <a:xfrm rot="16200000" flipV="1">
              <a:off x="7127028" y="3171943"/>
              <a:ext cx="84841" cy="413055"/>
            </a:xfrm>
            <a:prstGeom prst="curvedConnector3">
              <a:avLst>
                <a:gd name="adj1" fmla="val 243704"/>
              </a:avLst>
            </a:prstGeom>
            <a:ln w="28575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2" name="Connecteur en arc 933"/>
            <p:cNvCxnSpPr>
              <a:stCxn id="937" idx="1"/>
              <a:endCxn id="1058" idx="0"/>
            </p:cNvCxnSpPr>
            <p:nvPr/>
          </p:nvCxnSpPr>
          <p:spPr>
            <a:xfrm rot="10800000" flipH="1">
              <a:off x="6875824" y="3336051"/>
              <a:ext cx="87096" cy="119845"/>
            </a:xfrm>
            <a:prstGeom prst="curvedConnector4">
              <a:avLst>
                <a:gd name="adj1" fmla="val -115924"/>
                <a:gd name="adj2" fmla="val 138149"/>
              </a:avLst>
            </a:prstGeom>
            <a:ln w="28575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63" name="Groupe 1111"/>
          <p:cNvGrpSpPr/>
          <p:nvPr/>
        </p:nvGrpSpPr>
        <p:grpSpPr>
          <a:xfrm>
            <a:off x="2792759" y="5358071"/>
            <a:ext cx="1449181" cy="879241"/>
            <a:chOff x="53447" y="479484"/>
            <a:chExt cx="4975753" cy="3418145"/>
          </a:xfrm>
        </p:grpSpPr>
        <p:pic>
          <p:nvPicPr>
            <p:cNvPr id="1064" name="Image 1063" descr="capture1.jp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30327" y="479484"/>
              <a:ext cx="4798873" cy="3418145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noFill/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grpSp>
          <p:nvGrpSpPr>
            <p:cNvPr id="1065" name="Groupe 16"/>
            <p:cNvGrpSpPr/>
            <p:nvPr/>
          </p:nvGrpSpPr>
          <p:grpSpPr>
            <a:xfrm>
              <a:off x="53447" y="487689"/>
              <a:ext cx="200249" cy="3401794"/>
              <a:chOff x="-130605" y="624849"/>
              <a:chExt cx="200249" cy="3401794"/>
            </a:xfrm>
          </p:grpSpPr>
          <p:grpSp>
            <p:nvGrpSpPr>
              <p:cNvPr id="1066" name="Groupe 16"/>
              <p:cNvGrpSpPr>
                <a:grpSpLocks noChangeAspect="1"/>
              </p:cNvGrpSpPr>
              <p:nvPr/>
            </p:nvGrpSpPr>
            <p:grpSpPr>
              <a:xfrm>
                <a:off x="-130593" y="624856"/>
                <a:ext cx="200250" cy="180001"/>
                <a:chOff x="4947590" y="2664664"/>
                <a:chExt cx="436004" cy="391916"/>
              </a:xfrm>
            </p:grpSpPr>
            <p:sp>
              <p:nvSpPr>
                <p:cNvPr id="1131" name="Ellipse 17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32" name="Ellipse 18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33" name="Arc plein 19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1067" name="Groupe 20"/>
              <p:cNvGrpSpPr>
                <a:grpSpLocks noChangeAspect="1"/>
              </p:cNvGrpSpPr>
              <p:nvPr/>
            </p:nvGrpSpPr>
            <p:grpSpPr>
              <a:xfrm>
                <a:off x="-130593" y="1833028"/>
                <a:ext cx="200250" cy="180001"/>
                <a:chOff x="4947590" y="2664664"/>
                <a:chExt cx="436004" cy="391916"/>
              </a:xfrm>
            </p:grpSpPr>
            <p:sp>
              <p:nvSpPr>
                <p:cNvPr id="1128" name="Ellipse 1127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29" name="Ellipse 1128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30" name="Arc plein 1129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1068" name="Groupe 24"/>
              <p:cNvGrpSpPr>
                <a:grpSpLocks noChangeAspect="1"/>
              </p:cNvGrpSpPr>
              <p:nvPr/>
            </p:nvGrpSpPr>
            <p:grpSpPr>
              <a:xfrm>
                <a:off x="-130593" y="2437114"/>
                <a:ext cx="200250" cy="180001"/>
                <a:chOff x="4947590" y="2664664"/>
                <a:chExt cx="436004" cy="391916"/>
              </a:xfrm>
            </p:grpSpPr>
            <p:sp>
              <p:nvSpPr>
                <p:cNvPr id="1125" name="Ellipse 1124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26" name="Ellipse 1125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27" name="Arc plein 1126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1069" name="Groupe 28"/>
              <p:cNvGrpSpPr>
                <a:grpSpLocks noChangeAspect="1"/>
              </p:cNvGrpSpPr>
              <p:nvPr/>
            </p:nvGrpSpPr>
            <p:grpSpPr>
              <a:xfrm>
                <a:off x="-130593" y="2839838"/>
                <a:ext cx="200250" cy="180001"/>
                <a:chOff x="4947590" y="2664664"/>
                <a:chExt cx="436004" cy="391916"/>
              </a:xfrm>
            </p:grpSpPr>
            <p:sp>
              <p:nvSpPr>
                <p:cNvPr id="1122" name="Ellipse 1121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23" name="Ellipse 1122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24" name="Arc plein 1123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1070" name="Groupe 42"/>
              <p:cNvGrpSpPr>
                <a:grpSpLocks noChangeAspect="1"/>
              </p:cNvGrpSpPr>
              <p:nvPr/>
            </p:nvGrpSpPr>
            <p:grpSpPr>
              <a:xfrm>
                <a:off x="-130593" y="3041200"/>
                <a:ext cx="200250" cy="180001"/>
                <a:chOff x="4947590" y="2664664"/>
                <a:chExt cx="436004" cy="391916"/>
              </a:xfrm>
            </p:grpSpPr>
            <p:sp>
              <p:nvSpPr>
                <p:cNvPr id="1119" name="Ellipse 1118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20" name="Ellipse 1119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21" name="Arc plein 1120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1071" name="Groupe 46"/>
              <p:cNvGrpSpPr>
                <a:grpSpLocks noChangeAspect="1"/>
              </p:cNvGrpSpPr>
              <p:nvPr/>
            </p:nvGrpSpPr>
            <p:grpSpPr>
              <a:xfrm>
                <a:off x="-130593" y="3242562"/>
                <a:ext cx="200250" cy="180001"/>
                <a:chOff x="4947590" y="2664664"/>
                <a:chExt cx="436004" cy="391916"/>
              </a:xfrm>
            </p:grpSpPr>
            <p:sp>
              <p:nvSpPr>
                <p:cNvPr id="1116" name="Ellipse 1115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17" name="Ellipse 1116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18" name="Arc plein 1117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1072" name="Groupe 50"/>
              <p:cNvGrpSpPr>
                <a:grpSpLocks noChangeAspect="1"/>
              </p:cNvGrpSpPr>
              <p:nvPr/>
            </p:nvGrpSpPr>
            <p:grpSpPr>
              <a:xfrm>
                <a:off x="-130593" y="3443924"/>
                <a:ext cx="200250" cy="180001"/>
                <a:chOff x="4947590" y="2664664"/>
                <a:chExt cx="436004" cy="391916"/>
              </a:xfrm>
            </p:grpSpPr>
            <p:sp>
              <p:nvSpPr>
                <p:cNvPr id="1113" name="Ellipse 1112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14" name="Ellipse 1113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15" name="Arc plein 1114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1073" name="Groupe 54"/>
              <p:cNvGrpSpPr>
                <a:grpSpLocks noChangeAspect="1"/>
              </p:cNvGrpSpPr>
              <p:nvPr/>
            </p:nvGrpSpPr>
            <p:grpSpPr>
              <a:xfrm>
                <a:off x="-130593" y="3645286"/>
                <a:ext cx="200250" cy="180001"/>
                <a:chOff x="4947590" y="2664664"/>
                <a:chExt cx="436004" cy="391916"/>
              </a:xfrm>
            </p:grpSpPr>
            <p:sp>
              <p:nvSpPr>
                <p:cNvPr id="1110" name="Ellipse 1109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11" name="Ellipse 1110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12" name="Arc plein 1111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1074" name="Groupe 58"/>
              <p:cNvGrpSpPr>
                <a:grpSpLocks noChangeAspect="1"/>
              </p:cNvGrpSpPr>
              <p:nvPr/>
            </p:nvGrpSpPr>
            <p:grpSpPr>
              <a:xfrm>
                <a:off x="-130593" y="826218"/>
                <a:ext cx="200250" cy="180001"/>
                <a:chOff x="4947590" y="2664664"/>
                <a:chExt cx="436004" cy="391916"/>
              </a:xfrm>
            </p:grpSpPr>
            <p:sp>
              <p:nvSpPr>
                <p:cNvPr id="1107" name="Ellipse 1106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08" name="Ellipse 1107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09" name="Arc plein 1108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1075" name="Groupe 62"/>
              <p:cNvGrpSpPr>
                <a:grpSpLocks noChangeAspect="1"/>
              </p:cNvGrpSpPr>
              <p:nvPr/>
            </p:nvGrpSpPr>
            <p:grpSpPr>
              <a:xfrm>
                <a:off x="-130593" y="1228942"/>
                <a:ext cx="200250" cy="180001"/>
                <a:chOff x="4947590" y="2664664"/>
                <a:chExt cx="436004" cy="391916"/>
              </a:xfrm>
            </p:grpSpPr>
            <p:sp>
              <p:nvSpPr>
                <p:cNvPr id="1104" name="Ellipse 1103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05" name="Ellipse 1104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06" name="Arc plein 1105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1076" name="Groupe 66"/>
              <p:cNvGrpSpPr>
                <a:grpSpLocks noChangeAspect="1"/>
              </p:cNvGrpSpPr>
              <p:nvPr/>
            </p:nvGrpSpPr>
            <p:grpSpPr>
              <a:xfrm>
                <a:off x="-130593" y="1430304"/>
                <a:ext cx="200250" cy="180001"/>
                <a:chOff x="4947590" y="2664664"/>
                <a:chExt cx="436004" cy="391916"/>
              </a:xfrm>
            </p:grpSpPr>
            <p:sp>
              <p:nvSpPr>
                <p:cNvPr id="1101" name="Ellipse 1100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02" name="Ellipse 1101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03" name="Arc plein 1102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1077" name="Groupe 70"/>
              <p:cNvGrpSpPr>
                <a:grpSpLocks noChangeAspect="1"/>
              </p:cNvGrpSpPr>
              <p:nvPr/>
            </p:nvGrpSpPr>
            <p:grpSpPr>
              <a:xfrm>
                <a:off x="-130593" y="2034390"/>
                <a:ext cx="200250" cy="180001"/>
                <a:chOff x="4947590" y="2664664"/>
                <a:chExt cx="436004" cy="391916"/>
              </a:xfrm>
            </p:grpSpPr>
            <p:sp>
              <p:nvSpPr>
                <p:cNvPr id="1098" name="Ellipse 1097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099" name="Ellipse 1098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100" name="Arc plein 1099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1078" name="Groupe 74"/>
              <p:cNvGrpSpPr>
                <a:grpSpLocks noChangeAspect="1"/>
              </p:cNvGrpSpPr>
              <p:nvPr/>
            </p:nvGrpSpPr>
            <p:grpSpPr>
              <a:xfrm>
                <a:off x="-130593" y="2235752"/>
                <a:ext cx="200250" cy="180001"/>
                <a:chOff x="4947590" y="2664664"/>
                <a:chExt cx="436004" cy="391916"/>
              </a:xfrm>
            </p:grpSpPr>
            <p:sp>
              <p:nvSpPr>
                <p:cNvPr id="1095" name="Ellipse 1094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096" name="Ellipse 1095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097" name="Arc plein 1096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1079" name="Groupe 78"/>
              <p:cNvGrpSpPr>
                <a:grpSpLocks noChangeAspect="1"/>
              </p:cNvGrpSpPr>
              <p:nvPr/>
            </p:nvGrpSpPr>
            <p:grpSpPr>
              <a:xfrm>
                <a:off x="-130593" y="2638476"/>
                <a:ext cx="200250" cy="180001"/>
                <a:chOff x="4947590" y="2664664"/>
                <a:chExt cx="436004" cy="391916"/>
              </a:xfrm>
            </p:grpSpPr>
            <p:sp>
              <p:nvSpPr>
                <p:cNvPr id="1092" name="Ellipse 1091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093" name="Ellipse 1092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094" name="Arc plein 1093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1080" name="Groupe 82"/>
              <p:cNvGrpSpPr>
                <a:grpSpLocks noChangeAspect="1"/>
              </p:cNvGrpSpPr>
              <p:nvPr/>
            </p:nvGrpSpPr>
            <p:grpSpPr>
              <a:xfrm>
                <a:off x="-130593" y="3846650"/>
                <a:ext cx="200250" cy="180001"/>
                <a:chOff x="4947590" y="2664664"/>
                <a:chExt cx="436004" cy="391916"/>
              </a:xfrm>
            </p:grpSpPr>
            <p:sp>
              <p:nvSpPr>
                <p:cNvPr id="1089" name="Ellipse 1088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090" name="Ellipse 1089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091" name="Arc plein 1090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1081" name="Groupe 86"/>
              <p:cNvGrpSpPr>
                <a:grpSpLocks noChangeAspect="1"/>
              </p:cNvGrpSpPr>
              <p:nvPr/>
            </p:nvGrpSpPr>
            <p:grpSpPr>
              <a:xfrm>
                <a:off x="-130593" y="1027580"/>
                <a:ext cx="200250" cy="180001"/>
                <a:chOff x="4947590" y="2664664"/>
                <a:chExt cx="436004" cy="391916"/>
              </a:xfrm>
            </p:grpSpPr>
            <p:sp>
              <p:nvSpPr>
                <p:cNvPr id="1086" name="Ellipse 1085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087" name="Ellipse 1086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088" name="Arc plein 1087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1082" name="Groupe 94"/>
              <p:cNvGrpSpPr>
                <a:grpSpLocks noChangeAspect="1"/>
              </p:cNvGrpSpPr>
              <p:nvPr/>
            </p:nvGrpSpPr>
            <p:grpSpPr>
              <a:xfrm>
                <a:off x="-130593" y="1631666"/>
                <a:ext cx="200250" cy="180001"/>
                <a:chOff x="4947590" y="2664664"/>
                <a:chExt cx="436004" cy="391916"/>
              </a:xfrm>
            </p:grpSpPr>
            <p:sp>
              <p:nvSpPr>
                <p:cNvPr id="1083" name="Ellipse 1082"/>
                <p:cNvSpPr/>
                <p:nvPr/>
              </p:nvSpPr>
              <p:spPr>
                <a:xfrm>
                  <a:off x="5214394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084" name="Ellipse 1083"/>
                <p:cNvSpPr/>
                <p:nvPr/>
              </p:nvSpPr>
              <p:spPr>
                <a:xfrm>
                  <a:off x="4947590" y="2755214"/>
                  <a:ext cx="169200" cy="1692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085" name="Arc plein 1084"/>
                <p:cNvSpPr/>
                <p:nvPr/>
              </p:nvSpPr>
              <p:spPr>
                <a:xfrm>
                  <a:off x="4992737" y="2664664"/>
                  <a:ext cx="347808" cy="391916"/>
                </a:xfrm>
                <a:prstGeom prst="blockArc">
                  <a:avLst>
                    <a:gd name="adj1" fmla="val 10800000"/>
                    <a:gd name="adj2" fmla="val 21391900"/>
                    <a:gd name="adj3" fmla="val 23338"/>
                  </a:avLst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err="1" smtClean="0">
                    <a:solidFill>
                      <a:schemeClr val="tx2">
                        <a:lumMod val="50000"/>
                      </a:schemeClr>
                    </a:solidFill>
                  </a:endParaRPr>
                </a:p>
              </p:txBody>
            </p:sp>
          </p:grpSp>
        </p:grpSp>
      </p:grpSp>
      <p:sp>
        <p:nvSpPr>
          <p:cNvPr id="1134" name="ZoneTexte 1133"/>
          <p:cNvSpPr txBox="1"/>
          <p:nvPr/>
        </p:nvSpPr>
        <p:spPr>
          <a:xfrm>
            <a:off x="0" y="1505784"/>
            <a:ext cx="2720752" cy="1632104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marL="228600" indent="-228600" defTabSz="914342">
              <a:spcAft>
                <a:spcPts val="400"/>
              </a:spcAft>
              <a:buClr>
                <a:schemeClr val="accent5"/>
              </a:buClr>
              <a:buSzPct val="115000"/>
              <a:buFont typeface="Wingdings" pitchFamily="2" charset="2"/>
              <a:buChar char="§"/>
              <a:defRPr/>
            </a:pPr>
            <a:r>
              <a:rPr lang="fr-FR" sz="1400" dirty="0" smtClean="0"/>
              <a:t>Une équipe de transformation  dédiée à l’amélioration continue : l’ ADM </a:t>
            </a:r>
            <a:r>
              <a:rPr lang="fr-FR" sz="1400" b="1" dirty="0" smtClean="0"/>
              <a:t>Lean Office</a:t>
            </a:r>
          </a:p>
          <a:p>
            <a:pPr marL="228600" indent="-228600" defTabSz="914342">
              <a:spcAft>
                <a:spcPts val="400"/>
              </a:spcAft>
              <a:buClr>
                <a:schemeClr val="accent5"/>
              </a:buClr>
              <a:buSzPct val="115000"/>
              <a:buFont typeface="Wingdings" pitchFamily="2" charset="2"/>
              <a:buChar char="§"/>
              <a:defRPr/>
            </a:pPr>
            <a:r>
              <a:rPr lang="fr-FR" sz="1400" dirty="0" smtClean="0"/>
              <a:t>Une approche double : participatif </a:t>
            </a:r>
            <a:r>
              <a:rPr lang="fr-FR" sz="1400" dirty="0" err="1" smtClean="0"/>
              <a:t>bottom</a:t>
            </a:r>
            <a:r>
              <a:rPr lang="fr-FR" sz="1400" dirty="0" smtClean="0"/>
              <a:t>-up &amp; déploiement des bonnes pratiques</a:t>
            </a:r>
            <a:endParaRPr lang="fr-FR" sz="1400" dirty="0"/>
          </a:p>
        </p:txBody>
      </p:sp>
      <p:pic>
        <p:nvPicPr>
          <p:cNvPr id="1135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961112" y="2765896"/>
            <a:ext cx="1181364" cy="447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36" name="Image 1" descr="image00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573548" y="2229987"/>
            <a:ext cx="1467684" cy="334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37" name="Picture 1"/>
          <p:cNvPicPr>
            <a:picLocks noChangeAspect="1" noChangeArrowheads="1"/>
          </p:cNvPicPr>
          <p:nvPr/>
        </p:nvPicPr>
        <p:blipFill>
          <a:blip r:embed="rId10" cstate="screen"/>
          <a:srcRect l="60491" t="57469" r="23344" b="17176"/>
          <a:stretch>
            <a:fillRect/>
          </a:stretch>
        </p:blipFill>
        <p:spPr bwMode="auto">
          <a:xfrm>
            <a:off x="2648744" y="2552891"/>
            <a:ext cx="936104" cy="7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38" name="Image 1137" descr="20140522_091220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573066" y="1807426"/>
            <a:ext cx="776097" cy="418837"/>
          </a:xfrm>
          <a:prstGeom prst="roundRect">
            <a:avLst>
              <a:gd name="adj" fmla="val 4909"/>
            </a:avLst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39" name="Image 1138" descr="20140522_091209.jp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2723881" y="1543008"/>
            <a:ext cx="776097" cy="418837"/>
          </a:xfrm>
          <a:prstGeom prst="roundRect">
            <a:avLst>
              <a:gd name="adj" fmla="val 4909"/>
            </a:avLst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40" name="Image 1139" descr="20140704_141137.jp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2758505" y="1877254"/>
            <a:ext cx="787745" cy="425124"/>
          </a:xfrm>
          <a:prstGeom prst="roundRect">
            <a:avLst>
              <a:gd name="adj" fmla="val 4909"/>
            </a:avLst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41" name="Image 1140" descr="20140704_141145.jp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3473914" y="1469603"/>
            <a:ext cx="793887" cy="428438"/>
          </a:xfrm>
          <a:prstGeom prst="roundRect">
            <a:avLst>
              <a:gd name="adj" fmla="val 4909"/>
            </a:avLst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42" name="Picture 2"/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t="59557" r="92339" b="27646"/>
          <a:stretch>
            <a:fillRect/>
          </a:stretch>
        </p:blipFill>
        <p:spPr bwMode="auto">
          <a:xfrm>
            <a:off x="2691720" y="1390810"/>
            <a:ext cx="211079" cy="197605"/>
          </a:xfrm>
          <a:prstGeom prst="rect">
            <a:avLst/>
          </a:prstGeom>
          <a:solidFill>
            <a:srgbClr val="008AB7"/>
          </a:solidFill>
          <a:ln>
            <a:noFill/>
          </a:ln>
        </p:spPr>
      </p:pic>
      <p:sp>
        <p:nvSpPr>
          <p:cNvPr id="1143" name="Rectangle 1142"/>
          <p:cNvSpPr/>
          <p:nvPr/>
        </p:nvSpPr>
        <p:spPr>
          <a:xfrm>
            <a:off x="2910175" y="1397586"/>
            <a:ext cx="801213" cy="197605"/>
          </a:xfrm>
          <a:prstGeom prst="rect">
            <a:avLst/>
          </a:prstGeom>
          <a:solidFill>
            <a:srgbClr val="008AB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defTabSz="1279618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ADM Offices   </a:t>
            </a:r>
          </a:p>
        </p:txBody>
      </p:sp>
      <p:sp>
        <p:nvSpPr>
          <p:cNvPr id="1144" name="ZoneTexte 1143"/>
          <p:cNvSpPr txBox="1"/>
          <p:nvPr/>
        </p:nvSpPr>
        <p:spPr>
          <a:xfrm>
            <a:off x="2648744" y="5085184"/>
            <a:ext cx="1728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Capgemini ADM </a:t>
            </a:r>
            <a:r>
              <a:rPr lang="fr-FR" sz="1000" dirty="0" err="1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handbook</a:t>
            </a:r>
            <a:endParaRPr lang="fr-FR" sz="1000" dirty="0" smtClean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</p:txBody>
      </p:sp>
      <p:grpSp>
        <p:nvGrpSpPr>
          <p:cNvPr id="1145" name="Groupe 1144"/>
          <p:cNvGrpSpPr/>
          <p:nvPr/>
        </p:nvGrpSpPr>
        <p:grpSpPr>
          <a:xfrm>
            <a:off x="3641420" y="2408236"/>
            <a:ext cx="2391700" cy="2388916"/>
            <a:chOff x="3641420" y="2204864"/>
            <a:chExt cx="2391700" cy="2388916"/>
          </a:xfrm>
        </p:grpSpPr>
        <p:sp>
          <p:nvSpPr>
            <p:cNvPr id="1146" name="Freeform 3"/>
            <p:cNvSpPr>
              <a:spLocks/>
            </p:cNvSpPr>
            <p:nvPr/>
          </p:nvSpPr>
          <p:spPr bwMode="auto">
            <a:xfrm>
              <a:off x="3641420" y="2205791"/>
              <a:ext cx="1174056" cy="1172202"/>
            </a:xfrm>
            <a:custGeom>
              <a:avLst/>
              <a:gdLst/>
              <a:ahLst/>
              <a:cxnLst>
                <a:cxn ang="0">
                  <a:pos x="680" y="1264"/>
                </a:cxn>
                <a:cxn ang="0">
                  <a:pos x="0" y="1264"/>
                </a:cxn>
                <a:cxn ang="0">
                  <a:pos x="0" y="1248"/>
                </a:cxn>
                <a:cxn ang="0">
                  <a:pos x="2" y="1227"/>
                </a:cxn>
                <a:cxn ang="0">
                  <a:pos x="4" y="1207"/>
                </a:cxn>
                <a:cxn ang="0">
                  <a:pos x="5" y="1186"/>
                </a:cxn>
                <a:cxn ang="0">
                  <a:pos x="86" y="825"/>
                </a:cxn>
                <a:cxn ang="0">
                  <a:pos x="277" y="490"/>
                </a:cxn>
                <a:cxn ang="0">
                  <a:pos x="545" y="234"/>
                </a:cxn>
                <a:cxn ang="0">
                  <a:pos x="920" y="52"/>
                </a:cxn>
                <a:cxn ang="0">
                  <a:pos x="1207" y="1"/>
                </a:cxn>
                <a:cxn ang="0">
                  <a:pos x="1234" y="1"/>
                </a:cxn>
                <a:cxn ang="0">
                  <a:pos x="1265" y="0"/>
                </a:cxn>
                <a:cxn ang="0">
                  <a:pos x="1266" y="677"/>
                </a:cxn>
                <a:cxn ang="0">
                  <a:pos x="1239" y="680"/>
                </a:cxn>
                <a:cxn ang="0">
                  <a:pos x="1073" y="718"/>
                </a:cxn>
                <a:cxn ang="0">
                  <a:pos x="968" y="771"/>
                </a:cxn>
                <a:cxn ang="0">
                  <a:pos x="862" y="853"/>
                </a:cxn>
                <a:cxn ang="0">
                  <a:pos x="769" y="969"/>
                </a:cxn>
                <a:cxn ang="0">
                  <a:pos x="701" y="1125"/>
                </a:cxn>
                <a:cxn ang="0">
                  <a:pos x="682" y="1230"/>
                </a:cxn>
                <a:cxn ang="0">
                  <a:pos x="680" y="1248"/>
                </a:cxn>
                <a:cxn ang="0">
                  <a:pos x="680" y="1264"/>
                </a:cxn>
              </a:cxnLst>
              <a:rect l="0" t="0" r="r" b="b"/>
              <a:pathLst>
                <a:path w="1266" h="1264">
                  <a:moveTo>
                    <a:pt x="680" y="1264"/>
                  </a:moveTo>
                  <a:lnTo>
                    <a:pt x="0" y="1264"/>
                  </a:lnTo>
                  <a:lnTo>
                    <a:pt x="0" y="1248"/>
                  </a:lnTo>
                  <a:lnTo>
                    <a:pt x="2" y="1227"/>
                  </a:lnTo>
                  <a:lnTo>
                    <a:pt x="4" y="1207"/>
                  </a:lnTo>
                  <a:lnTo>
                    <a:pt x="5" y="1186"/>
                  </a:lnTo>
                  <a:cubicBezTo>
                    <a:pt x="19" y="1122"/>
                    <a:pt x="20" y="982"/>
                    <a:pt x="86" y="825"/>
                  </a:cubicBezTo>
                  <a:cubicBezTo>
                    <a:pt x="152" y="668"/>
                    <a:pt x="200" y="588"/>
                    <a:pt x="277" y="490"/>
                  </a:cubicBezTo>
                  <a:cubicBezTo>
                    <a:pt x="353" y="392"/>
                    <a:pt x="442" y="306"/>
                    <a:pt x="545" y="234"/>
                  </a:cubicBezTo>
                  <a:cubicBezTo>
                    <a:pt x="648" y="162"/>
                    <a:pt x="770" y="96"/>
                    <a:pt x="920" y="52"/>
                  </a:cubicBezTo>
                  <a:cubicBezTo>
                    <a:pt x="1070" y="8"/>
                    <a:pt x="1155" y="9"/>
                    <a:pt x="1207" y="1"/>
                  </a:cubicBezTo>
                  <a:lnTo>
                    <a:pt x="1234" y="1"/>
                  </a:lnTo>
                  <a:lnTo>
                    <a:pt x="1265" y="0"/>
                  </a:lnTo>
                  <a:lnTo>
                    <a:pt x="1266" y="677"/>
                  </a:lnTo>
                  <a:lnTo>
                    <a:pt x="1239" y="680"/>
                  </a:lnTo>
                  <a:cubicBezTo>
                    <a:pt x="1207" y="687"/>
                    <a:pt x="1131" y="692"/>
                    <a:pt x="1073" y="718"/>
                  </a:cubicBezTo>
                  <a:cubicBezTo>
                    <a:pt x="1015" y="744"/>
                    <a:pt x="1004" y="748"/>
                    <a:pt x="968" y="771"/>
                  </a:cubicBezTo>
                  <a:cubicBezTo>
                    <a:pt x="932" y="794"/>
                    <a:pt x="892" y="821"/>
                    <a:pt x="862" y="853"/>
                  </a:cubicBezTo>
                  <a:cubicBezTo>
                    <a:pt x="832" y="885"/>
                    <a:pt x="781" y="948"/>
                    <a:pt x="769" y="969"/>
                  </a:cubicBezTo>
                  <a:cubicBezTo>
                    <a:pt x="757" y="993"/>
                    <a:pt x="719" y="1048"/>
                    <a:pt x="701" y="1125"/>
                  </a:cubicBezTo>
                  <a:cubicBezTo>
                    <a:pt x="683" y="1202"/>
                    <a:pt x="685" y="1209"/>
                    <a:pt x="682" y="1230"/>
                  </a:cubicBezTo>
                  <a:lnTo>
                    <a:pt x="680" y="1248"/>
                  </a:lnTo>
                  <a:lnTo>
                    <a:pt x="680" y="126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noAutofit/>
            </a:bodyPr>
            <a:lstStyle/>
            <a:p>
              <a:pPr algn="ctr"/>
              <a:endParaRPr lang="fr-FR" sz="1200"/>
            </a:p>
          </p:txBody>
        </p:sp>
        <p:sp>
          <p:nvSpPr>
            <p:cNvPr id="1147" name="Freeform 4"/>
            <p:cNvSpPr>
              <a:spLocks/>
            </p:cNvSpPr>
            <p:nvPr/>
          </p:nvSpPr>
          <p:spPr bwMode="auto">
            <a:xfrm rot="5400000">
              <a:off x="4859990" y="2205791"/>
              <a:ext cx="1174056" cy="1172202"/>
            </a:xfrm>
            <a:custGeom>
              <a:avLst/>
              <a:gdLst/>
              <a:ahLst/>
              <a:cxnLst>
                <a:cxn ang="0">
                  <a:pos x="680" y="1264"/>
                </a:cxn>
                <a:cxn ang="0">
                  <a:pos x="0" y="1264"/>
                </a:cxn>
                <a:cxn ang="0">
                  <a:pos x="0" y="1248"/>
                </a:cxn>
                <a:cxn ang="0">
                  <a:pos x="2" y="1227"/>
                </a:cxn>
                <a:cxn ang="0">
                  <a:pos x="4" y="1207"/>
                </a:cxn>
                <a:cxn ang="0">
                  <a:pos x="5" y="1186"/>
                </a:cxn>
                <a:cxn ang="0">
                  <a:pos x="86" y="825"/>
                </a:cxn>
                <a:cxn ang="0">
                  <a:pos x="277" y="490"/>
                </a:cxn>
                <a:cxn ang="0">
                  <a:pos x="545" y="234"/>
                </a:cxn>
                <a:cxn ang="0">
                  <a:pos x="920" y="52"/>
                </a:cxn>
                <a:cxn ang="0">
                  <a:pos x="1207" y="1"/>
                </a:cxn>
                <a:cxn ang="0">
                  <a:pos x="1234" y="1"/>
                </a:cxn>
                <a:cxn ang="0">
                  <a:pos x="1265" y="0"/>
                </a:cxn>
                <a:cxn ang="0">
                  <a:pos x="1266" y="677"/>
                </a:cxn>
                <a:cxn ang="0">
                  <a:pos x="1239" y="680"/>
                </a:cxn>
                <a:cxn ang="0">
                  <a:pos x="1073" y="718"/>
                </a:cxn>
                <a:cxn ang="0">
                  <a:pos x="968" y="771"/>
                </a:cxn>
                <a:cxn ang="0">
                  <a:pos x="862" y="853"/>
                </a:cxn>
                <a:cxn ang="0">
                  <a:pos x="769" y="969"/>
                </a:cxn>
                <a:cxn ang="0">
                  <a:pos x="701" y="1125"/>
                </a:cxn>
                <a:cxn ang="0">
                  <a:pos x="682" y="1230"/>
                </a:cxn>
                <a:cxn ang="0">
                  <a:pos x="680" y="1248"/>
                </a:cxn>
                <a:cxn ang="0">
                  <a:pos x="680" y="1264"/>
                </a:cxn>
              </a:cxnLst>
              <a:rect l="0" t="0" r="r" b="b"/>
              <a:pathLst>
                <a:path w="1266" h="1264">
                  <a:moveTo>
                    <a:pt x="680" y="1264"/>
                  </a:moveTo>
                  <a:lnTo>
                    <a:pt x="0" y="1264"/>
                  </a:lnTo>
                  <a:lnTo>
                    <a:pt x="0" y="1248"/>
                  </a:lnTo>
                  <a:lnTo>
                    <a:pt x="2" y="1227"/>
                  </a:lnTo>
                  <a:lnTo>
                    <a:pt x="4" y="1207"/>
                  </a:lnTo>
                  <a:lnTo>
                    <a:pt x="5" y="1186"/>
                  </a:lnTo>
                  <a:cubicBezTo>
                    <a:pt x="19" y="1122"/>
                    <a:pt x="20" y="982"/>
                    <a:pt x="86" y="825"/>
                  </a:cubicBezTo>
                  <a:cubicBezTo>
                    <a:pt x="152" y="668"/>
                    <a:pt x="200" y="588"/>
                    <a:pt x="277" y="490"/>
                  </a:cubicBezTo>
                  <a:cubicBezTo>
                    <a:pt x="353" y="392"/>
                    <a:pt x="442" y="306"/>
                    <a:pt x="545" y="234"/>
                  </a:cubicBezTo>
                  <a:cubicBezTo>
                    <a:pt x="648" y="162"/>
                    <a:pt x="770" y="96"/>
                    <a:pt x="920" y="52"/>
                  </a:cubicBezTo>
                  <a:cubicBezTo>
                    <a:pt x="1070" y="8"/>
                    <a:pt x="1155" y="9"/>
                    <a:pt x="1207" y="1"/>
                  </a:cubicBezTo>
                  <a:lnTo>
                    <a:pt x="1234" y="1"/>
                  </a:lnTo>
                  <a:lnTo>
                    <a:pt x="1265" y="0"/>
                  </a:lnTo>
                  <a:lnTo>
                    <a:pt x="1266" y="677"/>
                  </a:lnTo>
                  <a:lnTo>
                    <a:pt x="1239" y="680"/>
                  </a:lnTo>
                  <a:cubicBezTo>
                    <a:pt x="1207" y="687"/>
                    <a:pt x="1131" y="692"/>
                    <a:pt x="1073" y="718"/>
                  </a:cubicBezTo>
                  <a:cubicBezTo>
                    <a:pt x="1015" y="744"/>
                    <a:pt x="1004" y="748"/>
                    <a:pt x="968" y="771"/>
                  </a:cubicBezTo>
                  <a:cubicBezTo>
                    <a:pt x="932" y="794"/>
                    <a:pt x="892" y="821"/>
                    <a:pt x="862" y="853"/>
                  </a:cubicBezTo>
                  <a:cubicBezTo>
                    <a:pt x="832" y="885"/>
                    <a:pt x="781" y="948"/>
                    <a:pt x="769" y="969"/>
                  </a:cubicBezTo>
                  <a:cubicBezTo>
                    <a:pt x="757" y="993"/>
                    <a:pt x="719" y="1048"/>
                    <a:pt x="701" y="1125"/>
                  </a:cubicBezTo>
                  <a:cubicBezTo>
                    <a:pt x="683" y="1202"/>
                    <a:pt x="685" y="1209"/>
                    <a:pt x="682" y="1230"/>
                  </a:cubicBezTo>
                  <a:lnTo>
                    <a:pt x="680" y="1248"/>
                  </a:lnTo>
                  <a:lnTo>
                    <a:pt x="680" y="1264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noAutofit/>
            </a:bodyPr>
            <a:lstStyle/>
            <a:p>
              <a:pPr algn="ctr"/>
              <a:endParaRPr lang="fr-FR" sz="1200"/>
            </a:p>
          </p:txBody>
        </p:sp>
        <p:sp>
          <p:nvSpPr>
            <p:cNvPr id="1148" name="Oval 7"/>
            <p:cNvSpPr>
              <a:spLocks noChangeArrowheads="1"/>
            </p:cNvSpPr>
            <p:nvPr/>
          </p:nvSpPr>
          <p:spPr bwMode="auto">
            <a:xfrm>
              <a:off x="4316549" y="2879991"/>
              <a:ext cx="1044224" cy="1044224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lumMod val="75000"/>
                    <a:shade val="30000"/>
                    <a:satMod val="115000"/>
                  </a:schemeClr>
                </a:gs>
                <a:gs pos="50000">
                  <a:schemeClr val="accent5">
                    <a:lumMod val="75000"/>
                    <a:shade val="67500"/>
                    <a:satMod val="115000"/>
                  </a:schemeClr>
                </a:gs>
                <a:gs pos="100000">
                  <a:schemeClr val="accent5">
                    <a:lumMod val="75000"/>
                    <a:shade val="100000"/>
                    <a:satMod val="11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36000" tIns="36000" rIns="36000" bIns="36000" anchor="ctr">
              <a:noAutofit/>
            </a:bodyPr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Besoins clients</a:t>
              </a:r>
            </a:p>
          </p:txBody>
        </p:sp>
        <p:sp>
          <p:nvSpPr>
            <p:cNvPr id="1149" name="Text Box 9"/>
            <p:cNvSpPr txBox="1">
              <a:spLocks noChangeArrowheads="1"/>
            </p:cNvSpPr>
            <p:nvPr/>
          </p:nvSpPr>
          <p:spPr bwMode="auto">
            <a:xfrm rot="2700000">
              <a:off x="4702733" y="2784740"/>
              <a:ext cx="1103980" cy="4313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anchor="ctr" anchorCtr="1">
              <a:prstTxWarp prst="textArchUp">
                <a:avLst/>
              </a:prstTxWarp>
              <a:noAutofit/>
            </a:bodyPr>
            <a:lstStyle/>
            <a:p>
              <a:pPr algn="ctr" eaLnBrk="0" hangingPunct="0"/>
              <a:r>
                <a:rPr lang="en-US" sz="1200" dirty="0" smtClean="0">
                  <a:solidFill>
                    <a:schemeClr val="bg1"/>
                  </a:solidFill>
                  <a:ea typeface="Apple LiGothic Medium" charset="-120"/>
                </a:rPr>
                <a:t>RH</a:t>
              </a:r>
              <a:br>
                <a:rPr lang="en-US" sz="1200" dirty="0" smtClean="0">
                  <a:solidFill>
                    <a:schemeClr val="bg1"/>
                  </a:solidFill>
                  <a:ea typeface="Apple LiGothic Medium" charset="-120"/>
                </a:rPr>
              </a:br>
              <a:r>
                <a:rPr lang="en-US" sz="1200" dirty="0" smtClean="0">
                  <a:solidFill>
                    <a:schemeClr val="bg1"/>
                  </a:solidFill>
                  <a:ea typeface="Apple LiGothic Medium" charset="-120"/>
                </a:rPr>
                <a:t>et </a:t>
              </a:r>
              <a:r>
                <a:rPr lang="en-US" sz="1200" dirty="0" err="1">
                  <a:solidFill>
                    <a:schemeClr val="bg1"/>
                  </a:solidFill>
                  <a:ea typeface="Apple LiGothic Medium" charset="-120"/>
                </a:rPr>
                <a:t>compétences</a:t>
              </a:r>
              <a:endParaRPr lang="en-US" sz="1200" dirty="0">
                <a:solidFill>
                  <a:schemeClr val="bg1"/>
                </a:solidFill>
                <a:ea typeface="Apple LiGothic Medium" charset="-120"/>
              </a:endParaRPr>
            </a:p>
          </p:txBody>
        </p:sp>
        <p:sp>
          <p:nvSpPr>
            <p:cNvPr id="1150" name="Text Box 9"/>
            <p:cNvSpPr txBox="1">
              <a:spLocks noChangeArrowheads="1"/>
            </p:cNvSpPr>
            <p:nvPr/>
          </p:nvSpPr>
          <p:spPr bwMode="auto">
            <a:xfrm rot="18900000">
              <a:off x="3903889" y="2813561"/>
              <a:ext cx="1103980" cy="5015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anchor="ctr" anchorCtr="1">
              <a:prstTxWarp prst="textArchUp">
                <a:avLst/>
              </a:prstTxWarp>
              <a:noAutofit/>
            </a:bodyPr>
            <a:lstStyle/>
            <a:p>
              <a:pPr algn="ctr" eaLnBrk="0" hangingPunct="0"/>
              <a:r>
                <a:rPr lang="en-US" sz="1200" dirty="0" err="1" smtClean="0">
                  <a:solidFill>
                    <a:schemeClr val="bg1"/>
                  </a:solidFill>
                  <a:ea typeface="Apple LiGothic Medium" charset="-120"/>
                </a:rPr>
                <a:t>Amélioration</a:t>
              </a:r>
              <a:r>
                <a:rPr lang="en-US" sz="1200" dirty="0" smtClean="0">
                  <a:solidFill>
                    <a:schemeClr val="bg1"/>
                  </a:solidFill>
                  <a:ea typeface="Apple LiGothic Medium" charset="-120"/>
                </a:rPr>
                <a:t/>
              </a:r>
              <a:br>
                <a:rPr lang="en-US" sz="1200" dirty="0" smtClean="0">
                  <a:solidFill>
                    <a:schemeClr val="bg1"/>
                  </a:solidFill>
                  <a:ea typeface="Apple LiGothic Medium" charset="-120"/>
                </a:rPr>
              </a:br>
              <a:r>
                <a:rPr lang="en-US" sz="1200" dirty="0" smtClean="0">
                  <a:solidFill>
                    <a:schemeClr val="bg1"/>
                  </a:solidFill>
                  <a:ea typeface="Apple LiGothic Medium" charset="-120"/>
                </a:rPr>
                <a:t>continue</a:t>
              </a:r>
              <a:endParaRPr lang="en-US" sz="1200" dirty="0">
                <a:solidFill>
                  <a:schemeClr val="bg1"/>
                </a:solidFill>
                <a:ea typeface="Apple LiGothic Medium" charset="-120"/>
              </a:endParaRPr>
            </a:p>
          </p:txBody>
        </p:sp>
        <p:sp>
          <p:nvSpPr>
            <p:cNvPr id="1151" name="Freeform 6"/>
            <p:cNvSpPr>
              <a:spLocks/>
            </p:cNvSpPr>
            <p:nvPr/>
          </p:nvSpPr>
          <p:spPr bwMode="auto">
            <a:xfrm rot="16200000" flipV="1">
              <a:off x="4859990" y="3420651"/>
              <a:ext cx="1174057" cy="1172202"/>
            </a:xfrm>
            <a:custGeom>
              <a:avLst/>
              <a:gdLst/>
              <a:ahLst/>
              <a:cxnLst>
                <a:cxn ang="0">
                  <a:pos x="680" y="1264"/>
                </a:cxn>
                <a:cxn ang="0">
                  <a:pos x="0" y="1264"/>
                </a:cxn>
                <a:cxn ang="0">
                  <a:pos x="0" y="1248"/>
                </a:cxn>
                <a:cxn ang="0">
                  <a:pos x="2" y="1227"/>
                </a:cxn>
                <a:cxn ang="0">
                  <a:pos x="4" y="1207"/>
                </a:cxn>
                <a:cxn ang="0">
                  <a:pos x="5" y="1186"/>
                </a:cxn>
                <a:cxn ang="0">
                  <a:pos x="86" y="825"/>
                </a:cxn>
                <a:cxn ang="0">
                  <a:pos x="277" y="490"/>
                </a:cxn>
                <a:cxn ang="0">
                  <a:pos x="545" y="234"/>
                </a:cxn>
                <a:cxn ang="0">
                  <a:pos x="920" y="52"/>
                </a:cxn>
                <a:cxn ang="0">
                  <a:pos x="1207" y="1"/>
                </a:cxn>
                <a:cxn ang="0">
                  <a:pos x="1234" y="1"/>
                </a:cxn>
                <a:cxn ang="0">
                  <a:pos x="1265" y="0"/>
                </a:cxn>
                <a:cxn ang="0">
                  <a:pos x="1266" y="677"/>
                </a:cxn>
                <a:cxn ang="0">
                  <a:pos x="1239" y="680"/>
                </a:cxn>
                <a:cxn ang="0">
                  <a:pos x="1073" y="718"/>
                </a:cxn>
                <a:cxn ang="0">
                  <a:pos x="968" y="771"/>
                </a:cxn>
                <a:cxn ang="0">
                  <a:pos x="862" y="853"/>
                </a:cxn>
                <a:cxn ang="0">
                  <a:pos x="769" y="969"/>
                </a:cxn>
                <a:cxn ang="0">
                  <a:pos x="701" y="1125"/>
                </a:cxn>
                <a:cxn ang="0">
                  <a:pos x="682" y="1230"/>
                </a:cxn>
                <a:cxn ang="0">
                  <a:pos x="680" y="1248"/>
                </a:cxn>
                <a:cxn ang="0">
                  <a:pos x="680" y="1264"/>
                </a:cxn>
              </a:cxnLst>
              <a:rect l="0" t="0" r="r" b="b"/>
              <a:pathLst>
                <a:path w="1266" h="1264">
                  <a:moveTo>
                    <a:pt x="680" y="1264"/>
                  </a:moveTo>
                  <a:lnTo>
                    <a:pt x="0" y="1264"/>
                  </a:lnTo>
                  <a:lnTo>
                    <a:pt x="0" y="1248"/>
                  </a:lnTo>
                  <a:lnTo>
                    <a:pt x="2" y="1227"/>
                  </a:lnTo>
                  <a:lnTo>
                    <a:pt x="4" y="1207"/>
                  </a:lnTo>
                  <a:lnTo>
                    <a:pt x="5" y="1186"/>
                  </a:lnTo>
                  <a:cubicBezTo>
                    <a:pt x="19" y="1122"/>
                    <a:pt x="20" y="982"/>
                    <a:pt x="86" y="825"/>
                  </a:cubicBezTo>
                  <a:cubicBezTo>
                    <a:pt x="152" y="668"/>
                    <a:pt x="200" y="588"/>
                    <a:pt x="277" y="490"/>
                  </a:cubicBezTo>
                  <a:cubicBezTo>
                    <a:pt x="353" y="392"/>
                    <a:pt x="442" y="306"/>
                    <a:pt x="545" y="234"/>
                  </a:cubicBezTo>
                  <a:cubicBezTo>
                    <a:pt x="648" y="162"/>
                    <a:pt x="770" y="96"/>
                    <a:pt x="920" y="52"/>
                  </a:cubicBezTo>
                  <a:cubicBezTo>
                    <a:pt x="1070" y="8"/>
                    <a:pt x="1155" y="9"/>
                    <a:pt x="1207" y="1"/>
                  </a:cubicBezTo>
                  <a:lnTo>
                    <a:pt x="1234" y="1"/>
                  </a:lnTo>
                  <a:lnTo>
                    <a:pt x="1265" y="0"/>
                  </a:lnTo>
                  <a:lnTo>
                    <a:pt x="1266" y="677"/>
                  </a:lnTo>
                  <a:lnTo>
                    <a:pt x="1239" y="680"/>
                  </a:lnTo>
                  <a:cubicBezTo>
                    <a:pt x="1207" y="687"/>
                    <a:pt x="1131" y="692"/>
                    <a:pt x="1073" y="718"/>
                  </a:cubicBezTo>
                  <a:cubicBezTo>
                    <a:pt x="1015" y="744"/>
                    <a:pt x="1004" y="748"/>
                    <a:pt x="968" y="771"/>
                  </a:cubicBezTo>
                  <a:cubicBezTo>
                    <a:pt x="932" y="794"/>
                    <a:pt x="892" y="821"/>
                    <a:pt x="862" y="853"/>
                  </a:cubicBezTo>
                  <a:cubicBezTo>
                    <a:pt x="832" y="885"/>
                    <a:pt x="781" y="948"/>
                    <a:pt x="769" y="969"/>
                  </a:cubicBezTo>
                  <a:cubicBezTo>
                    <a:pt x="757" y="993"/>
                    <a:pt x="719" y="1048"/>
                    <a:pt x="701" y="1125"/>
                  </a:cubicBezTo>
                  <a:cubicBezTo>
                    <a:pt x="683" y="1202"/>
                    <a:pt x="685" y="1209"/>
                    <a:pt x="682" y="1230"/>
                  </a:cubicBezTo>
                  <a:lnTo>
                    <a:pt x="680" y="1248"/>
                  </a:lnTo>
                  <a:lnTo>
                    <a:pt x="680" y="1264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noAutofit/>
            </a:bodyPr>
            <a:lstStyle/>
            <a:p>
              <a:pPr algn="ctr"/>
              <a:endParaRPr lang="fr-FR" sz="1200"/>
            </a:p>
          </p:txBody>
        </p:sp>
        <p:sp>
          <p:nvSpPr>
            <p:cNvPr id="1152" name="Text Box 9"/>
            <p:cNvSpPr txBox="1">
              <a:spLocks noChangeArrowheads="1"/>
            </p:cNvSpPr>
            <p:nvPr/>
          </p:nvSpPr>
          <p:spPr bwMode="auto">
            <a:xfrm rot="18703865">
              <a:off x="4528055" y="3403797"/>
              <a:ext cx="1281582" cy="634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anchor="ctr" anchorCtr="1">
              <a:prstTxWarp prst="textArchDown">
                <a:avLst/>
              </a:prstTxWarp>
              <a:noAutofit/>
            </a:bodyPr>
            <a:lstStyle/>
            <a:p>
              <a:pPr algn="ctr" eaLnBrk="0" hangingPunct="0"/>
              <a:r>
                <a:rPr lang="en-US" sz="1200" dirty="0">
                  <a:solidFill>
                    <a:schemeClr val="bg1"/>
                  </a:solidFill>
                  <a:ea typeface="Apple LiGothic Medium" charset="-120"/>
                </a:rPr>
                <a:t>Pilotage </a:t>
              </a:r>
              <a:r>
                <a:rPr lang="en-US" sz="1200" dirty="0" smtClean="0">
                  <a:solidFill>
                    <a:schemeClr val="bg1"/>
                  </a:solidFill>
                  <a:ea typeface="Apple LiGothic Medium" charset="-120"/>
                </a:rPr>
                <a:t/>
              </a:r>
              <a:br>
                <a:rPr lang="en-US" sz="1200" dirty="0" smtClean="0">
                  <a:solidFill>
                    <a:schemeClr val="bg1"/>
                  </a:solidFill>
                  <a:ea typeface="Apple LiGothic Medium" charset="-120"/>
                </a:rPr>
              </a:br>
              <a:r>
                <a:rPr lang="en-US" sz="1200" dirty="0" smtClean="0">
                  <a:solidFill>
                    <a:schemeClr val="bg1"/>
                  </a:solidFill>
                  <a:ea typeface="Apple LiGothic Medium" charset="-120"/>
                </a:rPr>
                <a:t>&amp; </a:t>
              </a:r>
              <a:r>
                <a:rPr lang="en-US" sz="1200" dirty="0" err="1">
                  <a:solidFill>
                    <a:schemeClr val="bg1"/>
                  </a:solidFill>
                  <a:ea typeface="Apple LiGothic Medium" charset="-120"/>
                </a:rPr>
                <a:t>Gouvernance</a:t>
              </a:r>
              <a:endParaRPr lang="en-US" sz="1200" dirty="0">
                <a:solidFill>
                  <a:schemeClr val="bg1"/>
                </a:solidFill>
                <a:ea typeface="Apple LiGothic Medium" charset="-120"/>
              </a:endParaRPr>
            </a:p>
          </p:txBody>
        </p:sp>
        <p:sp>
          <p:nvSpPr>
            <p:cNvPr id="1153" name="Freeform 5"/>
            <p:cNvSpPr>
              <a:spLocks/>
            </p:cNvSpPr>
            <p:nvPr/>
          </p:nvSpPr>
          <p:spPr bwMode="auto">
            <a:xfrm flipV="1">
              <a:off x="3641420" y="3420651"/>
              <a:ext cx="1174056" cy="1172202"/>
            </a:xfrm>
            <a:custGeom>
              <a:avLst/>
              <a:gdLst/>
              <a:ahLst/>
              <a:cxnLst>
                <a:cxn ang="0">
                  <a:pos x="680" y="1264"/>
                </a:cxn>
                <a:cxn ang="0">
                  <a:pos x="0" y="1264"/>
                </a:cxn>
                <a:cxn ang="0">
                  <a:pos x="0" y="1248"/>
                </a:cxn>
                <a:cxn ang="0">
                  <a:pos x="2" y="1227"/>
                </a:cxn>
                <a:cxn ang="0">
                  <a:pos x="4" y="1207"/>
                </a:cxn>
                <a:cxn ang="0">
                  <a:pos x="5" y="1186"/>
                </a:cxn>
                <a:cxn ang="0">
                  <a:pos x="86" y="825"/>
                </a:cxn>
                <a:cxn ang="0">
                  <a:pos x="277" y="490"/>
                </a:cxn>
                <a:cxn ang="0">
                  <a:pos x="545" y="234"/>
                </a:cxn>
                <a:cxn ang="0">
                  <a:pos x="920" y="52"/>
                </a:cxn>
                <a:cxn ang="0">
                  <a:pos x="1207" y="1"/>
                </a:cxn>
                <a:cxn ang="0">
                  <a:pos x="1234" y="1"/>
                </a:cxn>
                <a:cxn ang="0">
                  <a:pos x="1265" y="0"/>
                </a:cxn>
                <a:cxn ang="0">
                  <a:pos x="1266" y="677"/>
                </a:cxn>
                <a:cxn ang="0">
                  <a:pos x="1239" y="680"/>
                </a:cxn>
                <a:cxn ang="0">
                  <a:pos x="1073" y="718"/>
                </a:cxn>
                <a:cxn ang="0">
                  <a:pos x="968" y="771"/>
                </a:cxn>
                <a:cxn ang="0">
                  <a:pos x="862" y="853"/>
                </a:cxn>
                <a:cxn ang="0">
                  <a:pos x="769" y="969"/>
                </a:cxn>
                <a:cxn ang="0">
                  <a:pos x="701" y="1125"/>
                </a:cxn>
                <a:cxn ang="0">
                  <a:pos x="682" y="1230"/>
                </a:cxn>
                <a:cxn ang="0">
                  <a:pos x="680" y="1248"/>
                </a:cxn>
                <a:cxn ang="0">
                  <a:pos x="680" y="1264"/>
                </a:cxn>
              </a:cxnLst>
              <a:rect l="0" t="0" r="r" b="b"/>
              <a:pathLst>
                <a:path w="1266" h="1264">
                  <a:moveTo>
                    <a:pt x="680" y="1264"/>
                  </a:moveTo>
                  <a:lnTo>
                    <a:pt x="0" y="1264"/>
                  </a:lnTo>
                  <a:lnTo>
                    <a:pt x="0" y="1248"/>
                  </a:lnTo>
                  <a:lnTo>
                    <a:pt x="2" y="1227"/>
                  </a:lnTo>
                  <a:lnTo>
                    <a:pt x="4" y="1207"/>
                  </a:lnTo>
                  <a:lnTo>
                    <a:pt x="5" y="1186"/>
                  </a:lnTo>
                  <a:cubicBezTo>
                    <a:pt x="19" y="1122"/>
                    <a:pt x="20" y="982"/>
                    <a:pt x="86" y="825"/>
                  </a:cubicBezTo>
                  <a:cubicBezTo>
                    <a:pt x="152" y="668"/>
                    <a:pt x="200" y="588"/>
                    <a:pt x="277" y="490"/>
                  </a:cubicBezTo>
                  <a:cubicBezTo>
                    <a:pt x="353" y="392"/>
                    <a:pt x="442" y="306"/>
                    <a:pt x="545" y="234"/>
                  </a:cubicBezTo>
                  <a:cubicBezTo>
                    <a:pt x="648" y="162"/>
                    <a:pt x="770" y="96"/>
                    <a:pt x="920" y="52"/>
                  </a:cubicBezTo>
                  <a:cubicBezTo>
                    <a:pt x="1070" y="8"/>
                    <a:pt x="1155" y="9"/>
                    <a:pt x="1207" y="1"/>
                  </a:cubicBezTo>
                  <a:lnTo>
                    <a:pt x="1234" y="1"/>
                  </a:lnTo>
                  <a:lnTo>
                    <a:pt x="1265" y="0"/>
                  </a:lnTo>
                  <a:lnTo>
                    <a:pt x="1266" y="677"/>
                  </a:lnTo>
                  <a:lnTo>
                    <a:pt x="1239" y="680"/>
                  </a:lnTo>
                  <a:cubicBezTo>
                    <a:pt x="1207" y="687"/>
                    <a:pt x="1131" y="692"/>
                    <a:pt x="1073" y="718"/>
                  </a:cubicBezTo>
                  <a:cubicBezTo>
                    <a:pt x="1015" y="744"/>
                    <a:pt x="1004" y="748"/>
                    <a:pt x="968" y="771"/>
                  </a:cubicBezTo>
                  <a:cubicBezTo>
                    <a:pt x="932" y="794"/>
                    <a:pt x="892" y="821"/>
                    <a:pt x="862" y="853"/>
                  </a:cubicBezTo>
                  <a:cubicBezTo>
                    <a:pt x="832" y="885"/>
                    <a:pt x="781" y="948"/>
                    <a:pt x="769" y="969"/>
                  </a:cubicBezTo>
                  <a:cubicBezTo>
                    <a:pt x="757" y="993"/>
                    <a:pt x="719" y="1048"/>
                    <a:pt x="701" y="1125"/>
                  </a:cubicBezTo>
                  <a:cubicBezTo>
                    <a:pt x="683" y="1202"/>
                    <a:pt x="685" y="1209"/>
                    <a:pt x="682" y="1230"/>
                  </a:cubicBezTo>
                  <a:lnTo>
                    <a:pt x="680" y="1248"/>
                  </a:lnTo>
                  <a:lnTo>
                    <a:pt x="680" y="1264"/>
                  </a:lnTo>
                  <a:close/>
                </a:path>
              </a:pathLst>
            </a:custGeom>
            <a:solidFill>
              <a:schemeClr val="accent3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noAutofit/>
            </a:bodyPr>
            <a:lstStyle/>
            <a:p>
              <a:pPr algn="ctr"/>
              <a:endParaRPr lang="fr-FR" sz="1200"/>
            </a:p>
          </p:txBody>
        </p:sp>
        <p:sp>
          <p:nvSpPr>
            <p:cNvPr id="1154" name="Text Box 9"/>
            <p:cNvSpPr txBox="1">
              <a:spLocks noChangeArrowheads="1"/>
            </p:cNvSpPr>
            <p:nvPr/>
          </p:nvSpPr>
          <p:spPr bwMode="auto">
            <a:xfrm rot="2700000">
              <a:off x="4039153" y="3422747"/>
              <a:ext cx="1103980" cy="5937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anchor="ctr" anchorCtr="1">
              <a:prstTxWarp prst="textArchDown">
                <a:avLst/>
              </a:prstTxWarp>
              <a:noAutofit/>
            </a:bodyPr>
            <a:lstStyle/>
            <a:p>
              <a:pPr algn="ctr" eaLnBrk="0" hangingPunct="0">
                <a:lnSpc>
                  <a:spcPct val="90000"/>
                </a:lnSpc>
              </a:pPr>
              <a:r>
                <a:rPr lang="en-US" sz="1200" dirty="0" err="1" smtClean="0">
                  <a:solidFill>
                    <a:schemeClr val="bg1"/>
                  </a:solidFill>
                  <a:ea typeface="Apple LiGothic Medium" charset="-120"/>
                </a:rPr>
                <a:t>Outils</a:t>
              </a:r>
              <a:r>
                <a:rPr lang="en-US" sz="1200" dirty="0" smtClean="0">
                  <a:solidFill>
                    <a:schemeClr val="bg1"/>
                  </a:solidFill>
                  <a:ea typeface="Apple LiGothic Medium" charset="-120"/>
                </a:rPr>
                <a:t>,</a:t>
              </a:r>
              <a:br>
                <a:rPr lang="en-US" sz="1200" dirty="0" smtClean="0">
                  <a:solidFill>
                    <a:schemeClr val="bg1"/>
                  </a:solidFill>
                  <a:ea typeface="Apple LiGothic Medium" charset="-120"/>
                </a:rPr>
              </a:br>
              <a:r>
                <a:rPr lang="en-US" sz="1200" dirty="0" smtClean="0">
                  <a:solidFill>
                    <a:schemeClr val="bg1"/>
                  </a:solidFill>
                  <a:ea typeface="Apple LiGothic Medium" charset="-120"/>
                </a:rPr>
                <a:t>process</a:t>
              </a:r>
              <a:br>
                <a:rPr lang="en-US" sz="1200" dirty="0" smtClean="0">
                  <a:solidFill>
                    <a:schemeClr val="bg1"/>
                  </a:solidFill>
                  <a:ea typeface="Apple LiGothic Medium" charset="-120"/>
                </a:rPr>
              </a:br>
              <a:r>
                <a:rPr lang="en-US" sz="1200" dirty="0" smtClean="0">
                  <a:solidFill>
                    <a:schemeClr val="bg1"/>
                  </a:solidFill>
                  <a:ea typeface="Apple LiGothic Medium" charset="-120"/>
                </a:rPr>
                <a:t>et </a:t>
              </a:r>
              <a:r>
                <a:rPr lang="en-US" sz="1200" dirty="0" err="1">
                  <a:solidFill>
                    <a:schemeClr val="bg1"/>
                  </a:solidFill>
                  <a:ea typeface="Apple LiGothic Medium" charset="-120"/>
                </a:rPr>
                <a:t>méthodes</a:t>
              </a:r>
              <a:endParaRPr lang="en-US" sz="1200" dirty="0">
                <a:solidFill>
                  <a:schemeClr val="bg1"/>
                </a:solidFill>
                <a:ea typeface="Apple LiGothic Medium" charset="-120"/>
              </a:endParaRPr>
            </a:p>
            <a:p>
              <a:pPr algn="ctr" eaLnBrk="0" hangingPunct="0">
                <a:lnSpc>
                  <a:spcPct val="90000"/>
                </a:lnSpc>
              </a:pPr>
              <a:endParaRPr lang="en-US" sz="1200" dirty="0">
                <a:solidFill>
                  <a:schemeClr val="bg1"/>
                </a:solidFill>
                <a:ea typeface="Apple LiGothic Medium" charset="-120"/>
              </a:endParaRPr>
            </a:p>
          </p:txBody>
        </p:sp>
      </p:grpSp>
      <p:pic>
        <p:nvPicPr>
          <p:cNvPr id="1155" name="Image 1154" descr="itil.jpg"/>
          <p:cNvPicPr>
            <a:picLocks noChangeAspect="1"/>
          </p:cNvPicPr>
          <p:nvPr/>
        </p:nvPicPr>
        <p:blipFill>
          <a:blip r:embed="rId16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72880" y="5323451"/>
            <a:ext cx="360040" cy="181354"/>
          </a:xfrm>
          <a:prstGeom prst="rect">
            <a:avLst/>
          </a:prstGeom>
        </p:spPr>
      </p:pic>
      <p:sp>
        <p:nvSpPr>
          <p:cNvPr id="1156" name="ZoneTexte 1155"/>
          <p:cNvSpPr txBox="1"/>
          <p:nvPr/>
        </p:nvSpPr>
        <p:spPr>
          <a:xfrm>
            <a:off x="4930696" y="5301208"/>
            <a:ext cx="670376" cy="8771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fr-FR" sz="1200" dirty="0" smtClean="0">
                <a:solidFill>
                  <a:schemeClr val="tx2">
                    <a:lumMod val="50000"/>
                  </a:schemeClr>
                </a:solidFill>
              </a:rPr>
              <a:t>Perf.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fr-FR" sz="1200" dirty="0" smtClean="0">
                <a:solidFill>
                  <a:schemeClr val="tx2">
                    <a:lumMod val="50000"/>
                  </a:schemeClr>
                </a:solidFill>
              </a:rPr>
              <a:t>Qualité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fr-FR" sz="1200" dirty="0" smtClean="0">
                <a:solidFill>
                  <a:schemeClr val="tx2">
                    <a:lumMod val="50000"/>
                  </a:schemeClr>
                </a:solidFill>
              </a:rPr>
              <a:t>Délai</a:t>
            </a:r>
          </a:p>
        </p:txBody>
      </p:sp>
      <p:sp>
        <p:nvSpPr>
          <p:cNvPr id="1157" name="ZoneTexte 1156"/>
          <p:cNvSpPr txBox="1"/>
          <p:nvPr/>
        </p:nvSpPr>
        <p:spPr>
          <a:xfrm>
            <a:off x="5908270" y="4913001"/>
            <a:ext cx="9232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600"/>
              </a:spcBef>
            </a:pPr>
            <a:r>
              <a:rPr lang="fr-FR" sz="1200" dirty="0" smtClean="0">
                <a:solidFill>
                  <a:schemeClr val="tx2">
                    <a:lumMod val="50000"/>
                  </a:schemeClr>
                </a:solidFill>
              </a:rPr>
              <a:t>AM       AD</a:t>
            </a:r>
          </a:p>
        </p:txBody>
      </p:sp>
      <p:sp>
        <p:nvSpPr>
          <p:cNvPr id="1158" name="Triangle isocèle 1157"/>
          <p:cNvSpPr/>
          <p:nvPr/>
        </p:nvSpPr>
        <p:spPr>
          <a:xfrm rot="10800000">
            <a:off x="6446379" y="5129025"/>
            <a:ext cx="360040" cy="72008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59" name="Triangle isocèle 1158"/>
          <p:cNvSpPr/>
          <p:nvPr/>
        </p:nvSpPr>
        <p:spPr>
          <a:xfrm rot="10800000">
            <a:off x="5942323" y="5129025"/>
            <a:ext cx="360040" cy="72008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60" name="Triangle isocèle 1159"/>
          <p:cNvSpPr/>
          <p:nvPr/>
        </p:nvSpPr>
        <p:spPr>
          <a:xfrm rot="5400000">
            <a:off x="5466947" y="5435333"/>
            <a:ext cx="196241" cy="72008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61" name="Triangle isocèle 1160"/>
          <p:cNvSpPr/>
          <p:nvPr/>
        </p:nvSpPr>
        <p:spPr>
          <a:xfrm rot="5400000">
            <a:off x="5466947" y="5733256"/>
            <a:ext cx="196241" cy="72008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62" name="Triangle isocèle 1161"/>
          <p:cNvSpPr/>
          <p:nvPr/>
        </p:nvSpPr>
        <p:spPr>
          <a:xfrm rot="5400000">
            <a:off x="5466947" y="6031179"/>
            <a:ext cx="196241" cy="72008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63" name="Rectangle à coins arrondis 1162"/>
          <p:cNvSpPr/>
          <p:nvPr/>
        </p:nvSpPr>
        <p:spPr>
          <a:xfrm>
            <a:off x="6249144" y="3933056"/>
            <a:ext cx="576064" cy="720080"/>
          </a:xfrm>
          <a:prstGeom prst="roundRect">
            <a:avLst>
              <a:gd name="adj" fmla="val 20044"/>
            </a:avLst>
          </a:prstGeom>
          <a:solidFill>
            <a:schemeClr val="accent5"/>
          </a:solidFill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lIns="0" rIns="0" rtlCol="0" anchor="ctr"/>
          <a:lstStyle/>
          <a:p>
            <a:pPr algn="ctr"/>
            <a:r>
              <a:rPr lang="fr-FR" sz="1000" dirty="0" err="1" smtClean="0">
                <a:solidFill>
                  <a:schemeClr val="bg1"/>
                </a:solidFill>
              </a:rPr>
              <a:t>Otace</a:t>
            </a:r>
            <a:endParaRPr lang="fr-FR" sz="1200" dirty="0" smtClean="0">
              <a:solidFill>
                <a:schemeClr val="bg1"/>
              </a:solidFill>
            </a:endParaRPr>
          </a:p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8,x</a:t>
            </a:r>
          </a:p>
          <a:p>
            <a:pPr algn="ctr"/>
            <a:endParaRPr lang="fr-FR" sz="400" b="1" dirty="0" smtClean="0">
              <a:solidFill>
                <a:schemeClr val="bg1"/>
              </a:solidFill>
            </a:endParaRPr>
          </a:p>
          <a:p>
            <a:pPr algn="ctr"/>
            <a:r>
              <a:rPr lang="fr-FR" sz="1200" b="1" dirty="0" smtClean="0">
                <a:solidFill>
                  <a:schemeClr val="bg1"/>
                </a:solidFill>
              </a:rPr>
              <a:t>10</a:t>
            </a:r>
          </a:p>
        </p:txBody>
      </p:sp>
      <p:cxnSp>
        <p:nvCxnSpPr>
          <p:cNvPr id="1164" name="Connecteur droit 1163"/>
          <p:cNvCxnSpPr/>
          <p:nvPr/>
        </p:nvCxnSpPr>
        <p:spPr>
          <a:xfrm flipV="1">
            <a:off x="6321152" y="4332008"/>
            <a:ext cx="432048" cy="72008"/>
          </a:xfrm>
          <a:prstGeom prst="line">
            <a:avLst/>
          </a:prstGeom>
          <a:ln w="2857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Faciliter une </a:t>
            </a:r>
            <a:r>
              <a:rPr lang="fr-FR" b="1" dirty="0" smtClean="0"/>
              <a:t>transformation sans crise </a:t>
            </a:r>
            <a:r>
              <a:rPr lang="fr-FR" dirty="0" smtClean="0"/>
              <a:t>pour nos clients est au cœur de notre démarche d’industrialisation</a:t>
            </a:r>
            <a:endParaRPr lang="fr-FR" dirty="0"/>
          </a:p>
        </p:txBody>
      </p:sp>
      <p:grpSp>
        <p:nvGrpSpPr>
          <p:cNvPr id="95" name="Groupe 3"/>
          <p:cNvGrpSpPr/>
          <p:nvPr/>
        </p:nvGrpSpPr>
        <p:grpSpPr>
          <a:xfrm>
            <a:off x="9066842" y="116632"/>
            <a:ext cx="638686" cy="652351"/>
            <a:chOff x="8129925" y="-49568"/>
            <a:chExt cx="726244" cy="741782"/>
          </a:xfrm>
        </p:grpSpPr>
        <p:sp>
          <p:nvSpPr>
            <p:cNvPr id="96" name="Freeform 792"/>
            <p:cNvSpPr>
              <a:spLocks/>
            </p:cNvSpPr>
            <p:nvPr/>
          </p:nvSpPr>
          <p:spPr bwMode="auto">
            <a:xfrm>
              <a:off x="8192063" y="354335"/>
              <a:ext cx="664106" cy="337879"/>
            </a:xfrm>
            <a:custGeom>
              <a:avLst/>
              <a:gdLst/>
              <a:ahLst/>
              <a:cxnLst>
                <a:cxn ang="0">
                  <a:pos x="0" y="104"/>
                </a:cxn>
                <a:cxn ang="0">
                  <a:pos x="169" y="104"/>
                </a:cxn>
                <a:cxn ang="0">
                  <a:pos x="198" y="21"/>
                </a:cxn>
                <a:cxn ang="0">
                  <a:pos x="183" y="2"/>
                </a:cxn>
                <a:cxn ang="0">
                  <a:pos x="53" y="2"/>
                </a:cxn>
                <a:cxn ang="0">
                  <a:pos x="27" y="23"/>
                </a:cxn>
                <a:cxn ang="0">
                  <a:pos x="0" y="104"/>
                </a:cxn>
              </a:cxnLst>
              <a:rect l="0" t="0" r="r" b="b"/>
              <a:pathLst>
                <a:path w="204" h="104">
                  <a:moveTo>
                    <a:pt x="0" y="104"/>
                  </a:moveTo>
                  <a:cubicBezTo>
                    <a:pt x="169" y="104"/>
                    <a:pt x="169" y="104"/>
                    <a:pt x="169" y="104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8" y="21"/>
                    <a:pt x="204" y="4"/>
                    <a:pt x="183" y="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2"/>
                    <a:pt x="36" y="0"/>
                    <a:pt x="27" y="23"/>
                  </a:cubicBezTo>
                  <a:cubicBezTo>
                    <a:pt x="18" y="47"/>
                    <a:pt x="0" y="104"/>
                    <a:pt x="0" y="104"/>
                  </a:cubicBezTo>
                  <a:close/>
                </a:path>
              </a:pathLst>
            </a:custGeom>
            <a:noFill/>
            <a:ln w="19050" cap="flat" cmpd="sng" algn="ctr">
              <a:solidFill>
                <a:srgbClr val="998C85">
                  <a:lumMod val="40000"/>
                  <a:lumOff val="60000"/>
                </a:srgbClr>
              </a:solidFill>
              <a:prstDash val="solid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 794"/>
            <p:cNvSpPr>
              <a:spLocks/>
            </p:cNvSpPr>
            <p:nvPr/>
          </p:nvSpPr>
          <p:spPr bwMode="auto">
            <a:xfrm>
              <a:off x="8129925" y="210638"/>
              <a:ext cx="170881" cy="446622"/>
            </a:xfrm>
            <a:custGeom>
              <a:avLst/>
              <a:gdLst/>
              <a:ahLst/>
              <a:cxnLst>
                <a:cxn ang="0">
                  <a:pos x="53" y="2"/>
                </a:cxn>
                <a:cxn ang="0">
                  <a:pos x="8" y="137"/>
                </a:cxn>
                <a:cxn ang="0">
                  <a:pos x="1" y="119"/>
                </a:cxn>
                <a:cxn ang="0">
                  <a:pos x="1" y="14"/>
                </a:cxn>
                <a:cxn ang="0">
                  <a:pos x="10" y="0"/>
                </a:cxn>
                <a:cxn ang="0">
                  <a:pos x="53" y="2"/>
                </a:cxn>
              </a:cxnLst>
              <a:rect l="0" t="0" r="r" b="b"/>
              <a:pathLst>
                <a:path w="53" h="137">
                  <a:moveTo>
                    <a:pt x="53" y="2"/>
                  </a:moveTo>
                  <a:cubicBezTo>
                    <a:pt x="8" y="137"/>
                    <a:pt x="8" y="137"/>
                    <a:pt x="8" y="137"/>
                  </a:cubicBezTo>
                  <a:cubicBezTo>
                    <a:pt x="8" y="137"/>
                    <a:pt x="1" y="131"/>
                    <a:pt x="1" y="119"/>
                  </a:cubicBezTo>
                  <a:cubicBezTo>
                    <a:pt x="1" y="107"/>
                    <a:pt x="1" y="14"/>
                    <a:pt x="1" y="14"/>
                  </a:cubicBezTo>
                  <a:cubicBezTo>
                    <a:pt x="1" y="14"/>
                    <a:pt x="0" y="0"/>
                    <a:pt x="10" y="0"/>
                  </a:cubicBezTo>
                  <a:cubicBezTo>
                    <a:pt x="21" y="0"/>
                    <a:pt x="53" y="2"/>
                    <a:pt x="53" y="2"/>
                  </a:cubicBezTo>
                  <a:close/>
                </a:path>
              </a:pathLst>
            </a:custGeom>
            <a:noFill/>
            <a:ln w="19050" cap="flat" cmpd="sng" algn="ctr">
              <a:solidFill>
                <a:srgbClr val="998C85">
                  <a:lumMod val="40000"/>
                  <a:lumOff val="60000"/>
                </a:srgbClr>
              </a:solidFill>
              <a:prstDash val="solid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Freeform 795"/>
            <p:cNvSpPr>
              <a:spLocks/>
            </p:cNvSpPr>
            <p:nvPr/>
          </p:nvSpPr>
          <p:spPr bwMode="auto">
            <a:xfrm>
              <a:off x="8324108" y="-49568"/>
              <a:ext cx="400017" cy="372831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28" y="0"/>
                </a:cxn>
                <a:cxn ang="0">
                  <a:pos x="100" y="20"/>
                </a:cxn>
                <a:cxn ang="0">
                  <a:pos x="103" y="81"/>
                </a:cxn>
                <a:cxn ang="0">
                  <a:pos x="97" y="94"/>
                </a:cxn>
              </a:cxnLst>
              <a:rect l="0" t="0" r="r" b="b"/>
              <a:pathLst>
                <a:path w="103" h="96">
                  <a:moveTo>
                    <a:pt x="0" y="96"/>
                  </a:moveTo>
                  <a:lnTo>
                    <a:pt x="28" y="0"/>
                  </a:lnTo>
                  <a:lnTo>
                    <a:pt x="100" y="20"/>
                  </a:lnTo>
                  <a:lnTo>
                    <a:pt x="103" y="81"/>
                  </a:lnTo>
                  <a:lnTo>
                    <a:pt x="97" y="94"/>
                  </a:lnTo>
                </a:path>
              </a:pathLst>
            </a:custGeom>
            <a:noFill/>
            <a:ln w="19050" cap="flat" cmpd="sng" algn="ctr">
              <a:solidFill>
                <a:srgbClr val="998C85">
                  <a:lumMod val="40000"/>
                  <a:lumOff val="60000"/>
                </a:srgbClr>
              </a:solidFill>
              <a:prstDash val="solid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Freeform 796"/>
            <p:cNvSpPr>
              <a:spLocks/>
            </p:cNvSpPr>
            <p:nvPr/>
          </p:nvSpPr>
          <p:spPr bwMode="auto">
            <a:xfrm>
              <a:off x="8638682" y="28105"/>
              <a:ext cx="85440" cy="236904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0" y="15"/>
                </a:cxn>
                <a:cxn ang="0">
                  <a:pos x="22" y="61"/>
                </a:cxn>
              </a:cxnLst>
              <a:rect l="0" t="0" r="r" b="b"/>
              <a:pathLst>
                <a:path w="22" h="61">
                  <a:moveTo>
                    <a:pt x="19" y="0"/>
                  </a:moveTo>
                  <a:lnTo>
                    <a:pt x="0" y="15"/>
                  </a:lnTo>
                  <a:lnTo>
                    <a:pt x="22" y="61"/>
                  </a:lnTo>
                </a:path>
              </a:pathLst>
            </a:custGeom>
            <a:noFill/>
            <a:ln w="19050" cap="flat" cmpd="sng" algn="ctr">
              <a:solidFill>
                <a:srgbClr val="998C85">
                  <a:lumMod val="40000"/>
                  <a:lumOff val="60000"/>
                </a:srgbClr>
              </a:solidFill>
              <a:prstDash val="solid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Line 797"/>
            <p:cNvSpPr>
              <a:spLocks noChangeShapeType="1"/>
            </p:cNvSpPr>
            <p:nvPr/>
          </p:nvSpPr>
          <p:spPr bwMode="auto">
            <a:xfrm>
              <a:off x="8448384" y="47525"/>
              <a:ext cx="147579" cy="38837"/>
            </a:xfrm>
            <a:prstGeom prst="line">
              <a:avLst/>
            </a:prstGeom>
            <a:noFill/>
            <a:ln w="12700" cap="flat" cmpd="sng" algn="ctr">
              <a:solidFill>
                <a:srgbClr val="998C85">
                  <a:lumMod val="40000"/>
                  <a:lumOff val="60000"/>
                </a:srgbClr>
              </a:solidFill>
              <a:prstDash val="solid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Line 798"/>
            <p:cNvSpPr>
              <a:spLocks noChangeShapeType="1"/>
            </p:cNvSpPr>
            <p:nvPr/>
          </p:nvSpPr>
          <p:spPr bwMode="auto">
            <a:xfrm>
              <a:off x="8440617" y="98011"/>
              <a:ext cx="143696" cy="38837"/>
            </a:xfrm>
            <a:prstGeom prst="line">
              <a:avLst/>
            </a:prstGeom>
            <a:noFill/>
            <a:ln w="12700" cap="flat" cmpd="sng" algn="ctr">
              <a:solidFill>
                <a:srgbClr val="998C85">
                  <a:lumMod val="40000"/>
                  <a:lumOff val="60000"/>
                </a:srgbClr>
              </a:solidFill>
              <a:prstDash val="solid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Line 799"/>
            <p:cNvSpPr>
              <a:spLocks noChangeShapeType="1"/>
            </p:cNvSpPr>
            <p:nvPr/>
          </p:nvSpPr>
          <p:spPr bwMode="auto">
            <a:xfrm>
              <a:off x="8425082" y="152382"/>
              <a:ext cx="143696" cy="38837"/>
            </a:xfrm>
            <a:prstGeom prst="line">
              <a:avLst/>
            </a:prstGeom>
            <a:noFill/>
            <a:ln w="12700" cap="flat" cmpd="sng" algn="ctr">
              <a:solidFill>
                <a:srgbClr val="998C85">
                  <a:lumMod val="40000"/>
                  <a:lumOff val="60000"/>
                </a:srgbClr>
              </a:solidFill>
              <a:prstDash val="solid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Line 800"/>
            <p:cNvSpPr>
              <a:spLocks noChangeShapeType="1"/>
            </p:cNvSpPr>
            <p:nvPr/>
          </p:nvSpPr>
          <p:spPr bwMode="auto">
            <a:xfrm>
              <a:off x="8405663" y="202871"/>
              <a:ext cx="147579" cy="38837"/>
            </a:xfrm>
            <a:prstGeom prst="line">
              <a:avLst/>
            </a:prstGeom>
            <a:noFill/>
            <a:ln w="12700" cap="flat" cmpd="sng" algn="ctr">
              <a:solidFill>
                <a:srgbClr val="998C85">
                  <a:lumMod val="40000"/>
                  <a:lumOff val="60000"/>
                </a:srgbClr>
              </a:solidFill>
              <a:prstDash val="solid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Line 801"/>
            <p:cNvSpPr>
              <a:spLocks noChangeShapeType="1"/>
            </p:cNvSpPr>
            <p:nvPr/>
          </p:nvSpPr>
          <p:spPr bwMode="auto">
            <a:xfrm>
              <a:off x="8397896" y="253357"/>
              <a:ext cx="147579" cy="42721"/>
            </a:xfrm>
            <a:prstGeom prst="line">
              <a:avLst/>
            </a:prstGeom>
            <a:noFill/>
            <a:ln w="12700" cap="flat" cmpd="sng" algn="ctr">
              <a:solidFill>
                <a:srgbClr val="998C85">
                  <a:lumMod val="40000"/>
                  <a:lumOff val="60000"/>
                </a:srgbClr>
              </a:solidFill>
              <a:prstDash val="solid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Freeform 554"/>
            <p:cNvSpPr>
              <a:spLocks/>
            </p:cNvSpPr>
            <p:nvPr/>
          </p:nvSpPr>
          <p:spPr bwMode="auto">
            <a:xfrm>
              <a:off x="8405641" y="466660"/>
              <a:ext cx="222688" cy="145759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33" y="38"/>
                </a:cxn>
                <a:cxn ang="0">
                  <a:pos x="52" y="58"/>
                </a:cxn>
                <a:cxn ang="0">
                  <a:pos x="110" y="0"/>
                </a:cxn>
              </a:cxnLst>
              <a:rect l="0" t="0" r="r" b="b"/>
              <a:pathLst>
                <a:path w="110" h="72">
                  <a:moveTo>
                    <a:pt x="0" y="72"/>
                  </a:moveTo>
                  <a:lnTo>
                    <a:pt x="33" y="38"/>
                  </a:lnTo>
                  <a:lnTo>
                    <a:pt x="52" y="58"/>
                  </a:lnTo>
                  <a:lnTo>
                    <a:pt x="110" y="0"/>
                  </a:lnTo>
                </a:path>
              </a:pathLst>
            </a:custGeom>
            <a:noFill/>
            <a:ln w="19050" cap="flat" cmpd="sng" algn="ctr">
              <a:solidFill>
                <a:srgbClr val="998C85">
                  <a:lumMod val="40000"/>
                  <a:lumOff val="60000"/>
                </a:srgbClr>
              </a:solidFill>
              <a:prstDash val="solid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Freeform 555"/>
            <p:cNvSpPr>
              <a:spLocks/>
            </p:cNvSpPr>
            <p:nvPr/>
          </p:nvSpPr>
          <p:spPr bwMode="auto">
            <a:xfrm>
              <a:off x="8591889" y="448441"/>
              <a:ext cx="62758" cy="6680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1" y="0"/>
                </a:cxn>
                <a:cxn ang="0">
                  <a:pos x="31" y="33"/>
                </a:cxn>
              </a:cxnLst>
              <a:rect l="0" t="0" r="r" b="b"/>
              <a:pathLst>
                <a:path w="31" h="33">
                  <a:moveTo>
                    <a:pt x="0" y="0"/>
                  </a:moveTo>
                  <a:lnTo>
                    <a:pt x="31" y="0"/>
                  </a:lnTo>
                  <a:lnTo>
                    <a:pt x="31" y="33"/>
                  </a:lnTo>
                </a:path>
              </a:pathLst>
            </a:custGeom>
            <a:noFill/>
            <a:ln w="19050" cap="flat" cmpd="sng" algn="ctr">
              <a:solidFill>
                <a:srgbClr val="998C85">
                  <a:lumMod val="40000"/>
                  <a:lumOff val="60000"/>
                </a:srgbClr>
              </a:solidFill>
              <a:prstDash val="solid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7" name="Freeform 95"/>
          <p:cNvSpPr>
            <a:spLocks noEditPoints="1"/>
          </p:cNvSpPr>
          <p:nvPr/>
        </p:nvSpPr>
        <p:spPr bwMode="auto">
          <a:xfrm rot="5820681">
            <a:off x="8709662" y="257094"/>
            <a:ext cx="498120" cy="441880"/>
          </a:xfrm>
          <a:custGeom>
            <a:avLst/>
            <a:gdLst/>
            <a:ahLst/>
            <a:cxnLst>
              <a:cxn ang="0">
                <a:pos x="301" y="238"/>
              </a:cxn>
              <a:cxn ang="0">
                <a:pos x="319" y="143"/>
              </a:cxn>
              <a:cxn ang="0">
                <a:pos x="259" y="38"/>
              </a:cxn>
              <a:cxn ang="0">
                <a:pos x="142" y="5"/>
              </a:cxn>
              <a:cxn ang="0">
                <a:pos x="37" y="65"/>
              </a:cxn>
              <a:cxn ang="0">
                <a:pos x="5" y="182"/>
              </a:cxn>
              <a:cxn ang="0">
                <a:pos x="64" y="287"/>
              </a:cxn>
              <a:cxn ang="0">
                <a:pos x="181" y="320"/>
              </a:cxn>
              <a:cxn ang="0">
                <a:pos x="269" y="279"/>
              </a:cxn>
              <a:cxn ang="0">
                <a:pos x="428" y="410"/>
              </a:cxn>
              <a:cxn ang="0">
                <a:pos x="465" y="406"/>
              </a:cxn>
              <a:cxn ang="0">
                <a:pos x="460" y="369"/>
              </a:cxn>
              <a:cxn ang="0">
                <a:pos x="301" y="238"/>
              </a:cxn>
              <a:cxn ang="0">
                <a:pos x="251" y="232"/>
              </a:cxn>
              <a:cxn ang="0">
                <a:pos x="176" y="275"/>
              </a:cxn>
              <a:cxn ang="0">
                <a:pos x="92" y="252"/>
              </a:cxn>
              <a:cxn ang="0">
                <a:pos x="50" y="176"/>
              </a:cxn>
              <a:cxn ang="0">
                <a:pos x="73" y="93"/>
              </a:cxn>
              <a:cxn ang="0">
                <a:pos x="148" y="50"/>
              </a:cxn>
              <a:cxn ang="0">
                <a:pos x="231" y="73"/>
              </a:cxn>
              <a:cxn ang="0">
                <a:pos x="274" y="149"/>
              </a:cxn>
              <a:cxn ang="0">
                <a:pos x="251" y="232"/>
              </a:cxn>
            </a:cxnLst>
            <a:rect l="0" t="0" r="r" b="b"/>
            <a:pathLst>
              <a:path w="474" h="419">
                <a:moveTo>
                  <a:pt x="301" y="238"/>
                </a:moveTo>
                <a:cubicBezTo>
                  <a:pt x="317" y="208"/>
                  <a:pt x="323" y="175"/>
                  <a:pt x="319" y="143"/>
                </a:cubicBezTo>
                <a:cubicBezTo>
                  <a:pt x="314" y="103"/>
                  <a:pt x="294" y="65"/>
                  <a:pt x="259" y="38"/>
                </a:cubicBezTo>
                <a:cubicBezTo>
                  <a:pt x="225" y="11"/>
                  <a:pt x="183" y="0"/>
                  <a:pt x="142" y="5"/>
                </a:cubicBezTo>
                <a:cubicBezTo>
                  <a:pt x="102" y="10"/>
                  <a:pt x="64" y="31"/>
                  <a:pt x="37" y="65"/>
                </a:cubicBezTo>
                <a:cubicBezTo>
                  <a:pt x="10" y="100"/>
                  <a:pt x="0" y="142"/>
                  <a:pt x="5" y="182"/>
                </a:cubicBezTo>
                <a:cubicBezTo>
                  <a:pt x="10" y="222"/>
                  <a:pt x="30" y="261"/>
                  <a:pt x="64" y="287"/>
                </a:cubicBezTo>
                <a:cubicBezTo>
                  <a:pt x="99" y="314"/>
                  <a:pt x="141" y="325"/>
                  <a:pt x="181" y="320"/>
                </a:cubicBezTo>
                <a:cubicBezTo>
                  <a:pt x="213" y="316"/>
                  <a:pt x="244" y="302"/>
                  <a:pt x="269" y="279"/>
                </a:cubicBezTo>
                <a:cubicBezTo>
                  <a:pt x="428" y="410"/>
                  <a:pt x="428" y="410"/>
                  <a:pt x="428" y="410"/>
                </a:cubicBezTo>
                <a:cubicBezTo>
                  <a:pt x="439" y="419"/>
                  <a:pt x="456" y="417"/>
                  <a:pt x="465" y="406"/>
                </a:cubicBezTo>
                <a:cubicBezTo>
                  <a:pt x="474" y="394"/>
                  <a:pt x="472" y="377"/>
                  <a:pt x="460" y="369"/>
                </a:cubicBezTo>
                <a:lnTo>
                  <a:pt x="301" y="238"/>
                </a:lnTo>
                <a:close/>
                <a:moveTo>
                  <a:pt x="251" y="232"/>
                </a:moveTo>
                <a:cubicBezTo>
                  <a:pt x="232" y="257"/>
                  <a:pt x="205" y="271"/>
                  <a:pt x="176" y="275"/>
                </a:cubicBezTo>
                <a:cubicBezTo>
                  <a:pt x="147" y="278"/>
                  <a:pt x="117" y="271"/>
                  <a:pt x="92" y="252"/>
                </a:cubicBezTo>
                <a:cubicBezTo>
                  <a:pt x="68" y="232"/>
                  <a:pt x="53" y="205"/>
                  <a:pt x="50" y="176"/>
                </a:cubicBezTo>
                <a:cubicBezTo>
                  <a:pt x="46" y="148"/>
                  <a:pt x="53" y="118"/>
                  <a:pt x="73" y="93"/>
                </a:cubicBezTo>
                <a:cubicBezTo>
                  <a:pt x="92" y="68"/>
                  <a:pt x="119" y="54"/>
                  <a:pt x="148" y="50"/>
                </a:cubicBezTo>
                <a:cubicBezTo>
                  <a:pt x="177" y="47"/>
                  <a:pt x="207" y="54"/>
                  <a:pt x="231" y="73"/>
                </a:cubicBezTo>
                <a:cubicBezTo>
                  <a:pt x="256" y="93"/>
                  <a:pt x="270" y="120"/>
                  <a:pt x="274" y="149"/>
                </a:cubicBezTo>
                <a:cubicBezTo>
                  <a:pt x="278" y="177"/>
                  <a:pt x="270" y="207"/>
                  <a:pt x="251" y="232"/>
                </a:cubicBezTo>
                <a:close/>
              </a:path>
            </a:pathLst>
          </a:custGeom>
          <a:solidFill>
            <a:sysClr val="window" lastClr="FFFFFF"/>
          </a:solidFill>
          <a:ln w="19050" cap="rnd">
            <a:solidFill>
              <a:srgbClr val="998C85">
                <a:lumMod val="60000"/>
                <a:lumOff val="40000"/>
              </a:srgbClr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pic>
        <p:nvPicPr>
          <p:cNvPr id="108" name="Picture 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4910633" y="2745920"/>
            <a:ext cx="1698551" cy="1151479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09" name="Picture 1" descr="image00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84588" y="4672590"/>
            <a:ext cx="900543" cy="71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0" name="Rectangle 109"/>
          <p:cNvSpPr/>
          <p:nvPr/>
        </p:nvSpPr>
        <p:spPr>
          <a:xfrm>
            <a:off x="7257256" y="1867599"/>
            <a:ext cx="2648744" cy="646331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pPr marL="228600" indent="-228600" defTabSz="914342">
              <a:spcAft>
                <a:spcPts val="400"/>
              </a:spcAft>
              <a:buClr>
                <a:schemeClr val="accent5"/>
              </a:buClr>
              <a:buSzPct val="115000"/>
              <a:buFont typeface="Wingdings" pitchFamily="2" charset="2"/>
              <a:buChar char="§"/>
              <a:defRPr/>
            </a:pPr>
            <a:r>
              <a:rPr lang="fr-FR" sz="1200" b="1" dirty="0" smtClean="0"/>
              <a:t>Prendre du </a:t>
            </a:r>
            <a:r>
              <a:rPr lang="fr-FR" sz="1200" b="1" dirty="0"/>
              <a:t>recul </a:t>
            </a:r>
            <a:r>
              <a:rPr lang="fr-FR" sz="1200" dirty="0"/>
              <a:t>: voix du client et journée d’innovation / retours </a:t>
            </a:r>
            <a:r>
              <a:rPr lang="fr-FR" sz="1200" dirty="0" smtClean="0"/>
              <a:t>sur expérience</a:t>
            </a:r>
            <a:endParaRPr lang="fr-FR" sz="1200" dirty="0"/>
          </a:p>
        </p:txBody>
      </p:sp>
      <p:pic>
        <p:nvPicPr>
          <p:cNvPr id="111" name="Picture 2"/>
          <p:cNvPicPr>
            <a:picLocks noChangeAspect="1" noChangeArrowheads="1"/>
          </p:cNvPicPr>
          <p:nvPr/>
        </p:nvPicPr>
        <p:blipFill>
          <a:blip r:embed="rId5" cstate="print"/>
          <a:srcRect b="26144"/>
          <a:stretch>
            <a:fillRect/>
          </a:stretch>
        </p:blipFill>
        <p:spPr bwMode="auto">
          <a:xfrm>
            <a:off x="200688" y="2425078"/>
            <a:ext cx="1856712" cy="1080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" name="Image 1" descr="image00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4904" y="2243462"/>
            <a:ext cx="1728192" cy="28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" name="Rectangle 112"/>
          <p:cNvSpPr/>
          <p:nvPr/>
        </p:nvSpPr>
        <p:spPr>
          <a:xfrm>
            <a:off x="4232920" y="1844824"/>
            <a:ext cx="30293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defTabSz="914342">
              <a:spcAft>
                <a:spcPts val="400"/>
              </a:spcAft>
              <a:buClr>
                <a:schemeClr val="accent5"/>
              </a:buClr>
              <a:buSzPct val="115000"/>
              <a:buFont typeface="Wingdings" pitchFamily="2" charset="2"/>
              <a:buChar char="§"/>
              <a:defRPr/>
            </a:pPr>
            <a:r>
              <a:rPr lang="fr-FR" sz="1200" dirty="0" smtClean="0"/>
              <a:t>Générer </a:t>
            </a:r>
            <a:r>
              <a:rPr lang="fr-FR" sz="1200" b="1" dirty="0"/>
              <a:t>l’amélioration continue et la transformation des modes de travail </a:t>
            </a:r>
            <a:r>
              <a:rPr lang="fr-FR" sz="1200" dirty="0"/>
              <a:t>(transparence, pilotage)</a:t>
            </a:r>
          </a:p>
        </p:txBody>
      </p:sp>
      <p:pic>
        <p:nvPicPr>
          <p:cNvPr id="114" name="Picture 2"/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4664968" y="5085184"/>
            <a:ext cx="1184961" cy="798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5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342098" y="2965323"/>
            <a:ext cx="1643350" cy="10919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6" name="ZoneTexte 115"/>
          <p:cNvSpPr txBox="1"/>
          <p:nvPr/>
        </p:nvSpPr>
        <p:spPr>
          <a:xfrm>
            <a:off x="7447522" y="2748813"/>
            <a:ext cx="5693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dirty="0" smtClean="0"/>
              <a:t>Kano</a:t>
            </a:r>
          </a:p>
        </p:txBody>
      </p:sp>
      <p:sp>
        <p:nvSpPr>
          <p:cNvPr id="117" name="ZoneTexte 116"/>
          <p:cNvSpPr txBox="1"/>
          <p:nvPr/>
        </p:nvSpPr>
        <p:spPr>
          <a:xfrm>
            <a:off x="6033120" y="4042064"/>
            <a:ext cx="10679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dirty="0" smtClean="0"/>
              <a:t>S’améliorer</a:t>
            </a:r>
          </a:p>
          <a:p>
            <a:r>
              <a:rPr lang="fr-FR" sz="1200" b="1" dirty="0" smtClean="0"/>
              <a:t>A3 </a:t>
            </a:r>
            <a:r>
              <a:rPr lang="fr-FR" sz="1200" b="1" dirty="0" err="1" smtClean="0"/>
              <a:t>Thinking</a:t>
            </a:r>
            <a:endParaRPr lang="fr-FR" sz="1200" b="1" dirty="0" smtClean="0"/>
          </a:p>
        </p:txBody>
      </p:sp>
      <p:sp>
        <p:nvSpPr>
          <p:cNvPr id="118" name="ZoneTexte 117"/>
          <p:cNvSpPr txBox="1"/>
          <p:nvPr/>
        </p:nvSpPr>
        <p:spPr>
          <a:xfrm>
            <a:off x="4431536" y="2492896"/>
            <a:ext cx="27746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200" b="1" dirty="0" smtClean="0"/>
              <a:t>« </a:t>
            </a:r>
            <a:r>
              <a:rPr lang="fr-FR" sz="1200" b="1" dirty="0" err="1" smtClean="0"/>
              <a:t>Make</a:t>
            </a:r>
            <a:r>
              <a:rPr lang="fr-FR" sz="1200" b="1" dirty="0" smtClean="0"/>
              <a:t> It Visual » </a:t>
            </a:r>
            <a:r>
              <a:rPr lang="fr-FR" sz="1200" b="1" dirty="0" err="1" smtClean="0"/>
              <a:t>Kanban</a:t>
            </a:r>
            <a:r>
              <a:rPr lang="fr-FR" sz="1200" b="1" dirty="0" smtClean="0"/>
              <a:t> &amp; Alertes</a:t>
            </a:r>
          </a:p>
        </p:txBody>
      </p:sp>
      <p:sp>
        <p:nvSpPr>
          <p:cNvPr id="119" name="ZoneTexte 118"/>
          <p:cNvSpPr txBox="1"/>
          <p:nvPr/>
        </p:nvSpPr>
        <p:spPr>
          <a:xfrm>
            <a:off x="4994792" y="4797152"/>
            <a:ext cx="7809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dirty="0" smtClean="0"/>
              <a:t>Mesurer</a:t>
            </a:r>
          </a:p>
        </p:txBody>
      </p:sp>
      <p:pic>
        <p:nvPicPr>
          <p:cNvPr id="120" name="Picture 1"/>
          <p:cNvPicPr>
            <a:picLocks noChangeAspect="1" noChangeArrowheads="1"/>
          </p:cNvPicPr>
          <p:nvPr/>
        </p:nvPicPr>
        <p:blipFill>
          <a:blip r:embed="rId9" cstate="print"/>
          <a:srcRect l="21775" t="33758" r="29054" b="22514"/>
          <a:stretch>
            <a:fillRect/>
          </a:stretch>
        </p:blipFill>
        <p:spPr bwMode="auto">
          <a:xfrm>
            <a:off x="9070985" y="2761120"/>
            <a:ext cx="687755" cy="343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1" name="ZoneTexte 120"/>
          <p:cNvSpPr txBox="1"/>
          <p:nvPr/>
        </p:nvSpPr>
        <p:spPr>
          <a:xfrm>
            <a:off x="8265368" y="3193168"/>
            <a:ext cx="16626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200" b="1" dirty="0" smtClean="0"/>
              <a:t>Retour d’</a:t>
            </a:r>
            <a:r>
              <a:rPr lang="fr-FR" sz="1200" b="1" dirty="0" err="1" smtClean="0"/>
              <a:t>experience</a:t>
            </a:r>
            <a:endParaRPr lang="fr-FR" sz="1200" b="1" dirty="0" smtClean="0"/>
          </a:p>
          <a:p>
            <a:pPr algn="r"/>
            <a:r>
              <a:rPr lang="fr-FR" sz="1200" b="1" dirty="0" smtClean="0"/>
              <a:t>innovation</a:t>
            </a:r>
          </a:p>
        </p:txBody>
      </p:sp>
      <p:pic>
        <p:nvPicPr>
          <p:cNvPr id="122" name="Picture 10" descr="D:\Users\vraoult\Documents\My Received Files\lab1.jpg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265729" y="3625216"/>
            <a:ext cx="495432" cy="312904"/>
          </a:xfrm>
          <a:prstGeom prst="rect">
            <a:avLst/>
          </a:prstGeom>
          <a:noFill/>
        </p:spPr>
      </p:pic>
      <p:sp>
        <p:nvSpPr>
          <p:cNvPr id="123" name="ZoneTexte 122"/>
          <p:cNvSpPr txBox="1"/>
          <p:nvPr/>
        </p:nvSpPr>
        <p:spPr>
          <a:xfrm>
            <a:off x="4520953" y="5949280"/>
            <a:ext cx="2664296" cy="3600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tIns="0" bIns="0" rtlCol="0" anchor="ctr" anchorCtr="0">
            <a:noAutofit/>
          </a:bodyPr>
          <a:lstStyle/>
          <a:p>
            <a:pPr algn="ctr"/>
            <a:r>
              <a:rPr lang="fr-FR" sz="1200" b="1" i="1" dirty="0" smtClean="0">
                <a:solidFill>
                  <a:schemeClr val="bg1"/>
                </a:solidFill>
              </a:rPr>
              <a:t>En incluant nos équipes et les équipes client dans la démarche</a:t>
            </a:r>
          </a:p>
        </p:txBody>
      </p:sp>
      <p:pic>
        <p:nvPicPr>
          <p:cNvPr id="124" name="Picture 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739620" y="3826040"/>
            <a:ext cx="1277459" cy="884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5" name="ZoneTexte 124"/>
          <p:cNvSpPr txBox="1"/>
          <p:nvPr/>
        </p:nvSpPr>
        <p:spPr>
          <a:xfrm>
            <a:off x="228600" y="1905000"/>
            <a:ext cx="18357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200" b="1" dirty="0" smtClean="0"/>
              <a:t>Analyse du patrimoine</a:t>
            </a:r>
          </a:p>
        </p:txBody>
      </p:sp>
      <p:sp>
        <p:nvSpPr>
          <p:cNvPr id="126" name="ZoneTexte 125"/>
          <p:cNvSpPr txBox="1"/>
          <p:nvPr/>
        </p:nvSpPr>
        <p:spPr>
          <a:xfrm>
            <a:off x="625483" y="3810000"/>
            <a:ext cx="12795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200" b="1" dirty="0" smtClean="0"/>
              <a:t>Modèles cibles</a:t>
            </a:r>
          </a:p>
        </p:txBody>
      </p:sp>
      <p:sp>
        <p:nvSpPr>
          <p:cNvPr id="127" name="Arrondir un rectangle avec un coin diagonal 126"/>
          <p:cNvSpPr/>
          <p:nvPr/>
        </p:nvSpPr>
        <p:spPr>
          <a:xfrm>
            <a:off x="128464" y="1412776"/>
            <a:ext cx="2016224" cy="432048"/>
          </a:xfrm>
          <a:prstGeom prst="round2Diag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i="1" dirty="0" smtClean="0">
                <a:solidFill>
                  <a:schemeClr val="bg1"/>
                </a:solidFill>
              </a:rPr>
              <a:t>Designer</a:t>
            </a:r>
          </a:p>
        </p:txBody>
      </p:sp>
      <p:sp>
        <p:nvSpPr>
          <p:cNvPr id="128" name="Arrondir un rectangle avec un coin diagonal 127"/>
          <p:cNvSpPr/>
          <p:nvPr/>
        </p:nvSpPr>
        <p:spPr>
          <a:xfrm>
            <a:off x="2288704" y="1412776"/>
            <a:ext cx="1944216" cy="432048"/>
          </a:xfrm>
          <a:prstGeom prst="round2Diag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i="1" dirty="0" smtClean="0">
                <a:solidFill>
                  <a:schemeClr val="bg1"/>
                </a:solidFill>
              </a:rPr>
              <a:t>Initialiser</a:t>
            </a:r>
          </a:p>
        </p:txBody>
      </p:sp>
      <p:sp>
        <p:nvSpPr>
          <p:cNvPr id="129" name="Arrondir un rectangle avec un coin diagonal 128"/>
          <p:cNvSpPr/>
          <p:nvPr/>
        </p:nvSpPr>
        <p:spPr>
          <a:xfrm>
            <a:off x="4376936" y="1412776"/>
            <a:ext cx="2880320" cy="432048"/>
          </a:xfrm>
          <a:prstGeom prst="round2Diag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i="1" dirty="0" smtClean="0">
                <a:solidFill>
                  <a:schemeClr val="bg1"/>
                </a:solidFill>
              </a:rPr>
              <a:t>Transformer</a:t>
            </a:r>
          </a:p>
        </p:txBody>
      </p:sp>
      <p:sp>
        <p:nvSpPr>
          <p:cNvPr id="130" name="ZoneTexte 129"/>
          <p:cNvSpPr txBox="1"/>
          <p:nvPr/>
        </p:nvSpPr>
        <p:spPr>
          <a:xfrm>
            <a:off x="2288704" y="1844825"/>
            <a:ext cx="2016223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/>
              <a:t>La transition :</a:t>
            </a:r>
          </a:p>
          <a:p>
            <a:pPr marL="182563" indent="-182563">
              <a:buClr>
                <a:schemeClr val="accent5"/>
              </a:buClr>
              <a:buFont typeface="Wingdings" pitchFamily="2" charset="2"/>
              <a:buChar char="§"/>
            </a:pPr>
            <a:r>
              <a:rPr lang="fr-FR" sz="1200" dirty="0" smtClean="0"/>
              <a:t>Un processus structuré</a:t>
            </a:r>
          </a:p>
          <a:p>
            <a:pPr marL="182563" indent="-182563">
              <a:buClr>
                <a:schemeClr val="accent5"/>
              </a:buClr>
              <a:buFont typeface="Wingdings" pitchFamily="2" charset="2"/>
              <a:buChar char="§"/>
            </a:pPr>
            <a:endParaRPr lang="fr-FR" sz="1200" dirty="0" smtClean="0"/>
          </a:p>
          <a:p>
            <a:pPr marL="182563" indent="-182563">
              <a:buClr>
                <a:schemeClr val="accent5"/>
              </a:buClr>
              <a:buFont typeface="Wingdings" pitchFamily="2" charset="2"/>
              <a:buChar char="§"/>
            </a:pPr>
            <a:endParaRPr lang="fr-FR" sz="1200" dirty="0" smtClean="0"/>
          </a:p>
          <a:p>
            <a:pPr marL="182563" indent="-182563">
              <a:buClr>
                <a:schemeClr val="accent5"/>
              </a:buClr>
              <a:buFont typeface="Wingdings" pitchFamily="2" charset="2"/>
              <a:buChar char="§"/>
            </a:pPr>
            <a:endParaRPr lang="fr-FR" sz="1200" dirty="0" smtClean="0"/>
          </a:p>
          <a:p>
            <a:pPr marL="182563" indent="-182563">
              <a:buClr>
                <a:schemeClr val="accent5"/>
              </a:buClr>
              <a:buFont typeface="Wingdings" pitchFamily="2" charset="2"/>
              <a:buChar char="§"/>
            </a:pPr>
            <a:endParaRPr lang="fr-FR" sz="1200" dirty="0" smtClean="0"/>
          </a:p>
          <a:p>
            <a:pPr marL="182563" indent="-182563">
              <a:buClr>
                <a:schemeClr val="accent5"/>
              </a:buClr>
              <a:buFont typeface="Wingdings" pitchFamily="2" charset="2"/>
              <a:buChar char="§"/>
            </a:pPr>
            <a:endParaRPr lang="fr-FR" sz="1200" dirty="0" smtClean="0"/>
          </a:p>
          <a:p>
            <a:pPr marL="182563" indent="-182563">
              <a:buClr>
                <a:schemeClr val="accent5"/>
              </a:buClr>
              <a:buFont typeface="Wingdings" pitchFamily="2" charset="2"/>
              <a:buChar char="§"/>
            </a:pPr>
            <a:endParaRPr lang="fr-FR" sz="1200" dirty="0" smtClean="0"/>
          </a:p>
          <a:p>
            <a:pPr marL="182563" indent="-182563">
              <a:buClr>
                <a:schemeClr val="accent5"/>
              </a:buClr>
              <a:buFont typeface="Wingdings" pitchFamily="2" charset="2"/>
              <a:buChar char="§"/>
            </a:pPr>
            <a:r>
              <a:rPr lang="fr-FR" sz="1200" dirty="0" smtClean="0"/>
              <a:t>Des équipes dédiées</a:t>
            </a:r>
          </a:p>
          <a:p>
            <a:pPr marL="182563" indent="-182563">
              <a:buClr>
                <a:schemeClr val="accent5"/>
              </a:buClr>
              <a:buFont typeface="Wingdings" pitchFamily="2" charset="2"/>
              <a:buChar char="§"/>
            </a:pPr>
            <a:endParaRPr lang="fr-FR" sz="1200" dirty="0" smtClean="0"/>
          </a:p>
          <a:p>
            <a:pPr marL="182563" indent="-182563">
              <a:buClr>
                <a:schemeClr val="accent5"/>
              </a:buClr>
              <a:buFont typeface="Wingdings" pitchFamily="2" charset="2"/>
              <a:buChar char="§"/>
            </a:pPr>
            <a:r>
              <a:rPr lang="fr-FR" sz="1200" dirty="0" smtClean="0"/>
              <a:t>Des outils  éprouvés : analyse du portefeuille, priorisation, transparence  de l’avancement, …</a:t>
            </a:r>
          </a:p>
          <a:p>
            <a:pPr marL="182563" indent="-182563">
              <a:buClr>
                <a:schemeClr val="accent5"/>
              </a:buClr>
              <a:buFont typeface="Wingdings" pitchFamily="2" charset="2"/>
              <a:buChar char="§"/>
            </a:pPr>
            <a:endParaRPr lang="fr-FR" sz="1200" dirty="0" smtClean="0"/>
          </a:p>
          <a:p>
            <a:pPr marL="182563" indent="-182563" defTabSz="914342">
              <a:spcAft>
                <a:spcPts val="400"/>
              </a:spcAft>
              <a:buClr>
                <a:schemeClr val="accent5"/>
              </a:buClr>
              <a:buSzPct val="115000"/>
              <a:buFont typeface="Wingdings" pitchFamily="2" charset="2"/>
              <a:buChar char="§"/>
              <a:defRPr/>
            </a:pPr>
            <a:r>
              <a:rPr lang="fr-FR" sz="1200" dirty="0" smtClean="0"/>
              <a:t>Un focus sur l’initialisation de la base de connaissance : Application </a:t>
            </a:r>
            <a:r>
              <a:rPr lang="fr-FR" sz="1200" dirty="0" err="1" smtClean="0"/>
              <a:t>Overview</a:t>
            </a:r>
            <a:r>
              <a:rPr lang="fr-FR" sz="1200" dirty="0" smtClean="0"/>
              <a:t> Documents, académie, …</a:t>
            </a:r>
          </a:p>
        </p:txBody>
      </p:sp>
      <p:sp>
        <p:nvSpPr>
          <p:cNvPr id="131" name="Arrondir un rectangle avec un coin diagonal 130"/>
          <p:cNvSpPr/>
          <p:nvPr/>
        </p:nvSpPr>
        <p:spPr>
          <a:xfrm>
            <a:off x="7401272" y="1412776"/>
            <a:ext cx="2360712" cy="432048"/>
          </a:xfrm>
          <a:prstGeom prst="round2Diag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i="1" dirty="0" smtClean="0">
                <a:solidFill>
                  <a:schemeClr val="bg1"/>
                </a:solidFill>
              </a:rPr>
              <a:t>Aller plus loin</a:t>
            </a:r>
          </a:p>
        </p:txBody>
      </p:sp>
      <p:sp>
        <p:nvSpPr>
          <p:cNvPr id="132" name="Rectangle 131"/>
          <p:cNvSpPr/>
          <p:nvPr/>
        </p:nvSpPr>
        <p:spPr>
          <a:xfrm>
            <a:off x="7401272" y="4366845"/>
            <a:ext cx="25047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defTabSz="914342">
              <a:spcAft>
                <a:spcPts val="400"/>
              </a:spcAft>
              <a:buClr>
                <a:schemeClr val="accent5"/>
              </a:buClr>
              <a:buSzPct val="115000"/>
              <a:buFont typeface="Wingdings" pitchFamily="2" charset="2"/>
              <a:buChar char="§"/>
              <a:defRPr/>
            </a:pPr>
            <a:r>
              <a:rPr lang="fr-FR" sz="1200" dirty="0" smtClean="0"/>
              <a:t>Des processus IT aux </a:t>
            </a:r>
            <a:r>
              <a:rPr lang="fr-FR" sz="1200" b="1" dirty="0" smtClean="0"/>
              <a:t>processus métiers </a:t>
            </a:r>
            <a:r>
              <a:rPr lang="fr-FR" sz="1200" dirty="0" smtClean="0"/>
              <a:t>: Business </a:t>
            </a:r>
            <a:r>
              <a:rPr lang="fr-FR" sz="1200" dirty="0" err="1" smtClean="0"/>
              <a:t>Process</a:t>
            </a:r>
            <a:r>
              <a:rPr lang="fr-FR" sz="1200" dirty="0" smtClean="0"/>
              <a:t> Focus (Smart </a:t>
            </a:r>
            <a:r>
              <a:rPr lang="fr-FR" sz="1200" dirty="0" err="1" smtClean="0"/>
              <a:t>KPIs</a:t>
            </a:r>
            <a:r>
              <a:rPr lang="fr-FR" sz="1200" dirty="0" smtClean="0"/>
              <a:t>)</a:t>
            </a:r>
            <a:endParaRPr lang="fr-FR" sz="1200" dirty="0"/>
          </a:p>
        </p:txBody>
      </p:sp>
      <p:sp>
        <p:nvSpPr>
          <p:cNvPr id="133" name="ZoneTexte 132"/>
          <p:cNvSpPr txBox="1"/>
          <p:nvPr/>
        </p:nvSpPr>
        <p:spPr>
          <a:xfrm>
            <a:off x="5961112" y="5445224"/>
            <a:ext cx="10081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/>
              <a:t>Gommer la distance</a:t>
            </a:r>
          </a:p>
        </p:txBody>
      </p:sp>
      <p:pic>
        <p:nvPicPr>
          <p:cNvPr id="134" name="Picture 2"/>
          <p:cNvPicPr>
            <a:picLocks noChangeAspect="1" noChangeArrowheads="1"/>
          </p:cNvPicPr>
          <p:nvPr/>
        </p:nvPicPr>
        <p:blipFill>
          <a:blip r:embed="rId12" cstate="print"/>
          <a:srcRect b="29436"/>
          <a:stretch>
            <a:fillRect/>
          </a:stretch>
        </p:blipFill>
        <p:spPr bwMode="auto">
          <a:xfrm>
            <a:off x="7473280" y="5136566"/>
            <a:ext cx="2376264" cy="884721"/>
          </a:xfrm>
          <a:prstGeom prst="rect">
            <a:avLst/>
          </a:prstGeom>
          <a:noFill/>
          <a:ln>
            <a:noFill/>
          </a:ln>
        </p:spPr>
      </p:pic>
      <p:pic>
        <p:nvPicPr>
          <p:cNvPr id="135" name="Picture 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57200" y="4147592"/>
            <a:ext cx="1489984" cy="1872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6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432720" y="2348880"/>
            <a:ext cx="1783084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p5rQUZbU22mWSKdDzEb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b3HR6noECQDGLqXMg.J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b3HR6noECQDGLqXMg.J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PZg0_tAkK5kowsHX3QP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PZg0_tAkK5kowsHX3QP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PZg0_tAkK5kowsHX3Q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PZg0_tAkK5kowsHX3QP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0nS0DjDUaB_jcXhXkO1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uDCfuBwkyizTdRCRqwc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2jwk1pIEqNQSe4KlIeK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4TE7wRwke9_DVZ2d1FD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0nS0DjDUaB_jcXhXkO1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uDCfuBwkyizTdRCRqwc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2jwk1pIEqNQSe4KlIeK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4TE7wRwke9_DVZ2d1F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apgemini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Capgemini New Colors">
      <a:dk1>
        <a:srgbClr val="00234B"/>
      </a:dk1>
      <a:lt1>
        <a:sysClr val="window" lastClr="FFFFFF"/>
      </a:lt1>
      <a:dk2>
        <a:srgbClr val="9F958F"/>
      </a:dk2>
      <a:lt2>
        <a:srgbClr val="B1B3B4"/>
      </a:lt2>
      <a:accent1>
        <a:srgbClr val="FECC26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007299"/>
      </a:hlink>
      <a:folHlink>
        <a:srgbClr val="BA006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igital_Lab_v1.0</Template>
  <TotalTime>524</TotalTime>
  <Words>616</Words>
  <Application>Microsoft Office PowerPoint</Application>
  <PresentationFormat>Format A4 (210 x 297 mm)</PresentationFormat>
  <Paragraphs>184</Paragraphs>
  <Slides>6</Slides>
  <Notes>6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9" baseType="lpstr">
      <vt:lpstr>ppt_Template_Capgemini</vt:lpstr>
      <vt:lpstr>Closing slides</vt:lpstr>
      <vt:lpstr>think-cell Slide</vt:lpstr>
      <vt:lpstr>ADM Center Application Development &amp; Maintenance Présentation synthétique</vt:lpstr>
      <vt:lpstr>ADM Center France &gt; Une organisation unique pour répondre aux enjeux de performance et de transformation</vt:lpstr>
      <vt:lpstr>Des compétences couvrant les principales technologies du marchéNouvelles technologies, ERP, BI, …</vt:lpstr>
      <vt:lpstr>Une déclinaison de l’ADM par secteur au travers de nos références en France</vt:lpstr>
      <vt:lpstr>L’investissement dans le système de production permet de proposer à nos clients les meilleures pratiques ADM</vt:lpstr>
      <vt:lpstr>Faciliter une transformation sans crise pour nos clients est au cœur de notre démarche d’industrialisation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synthétique</dc:title>
  <dc:subject>ADM Center</dc:subject>
  <dc:creator>Capgemini</dc:creator>
  <cp:lastModifiedBy>abellina</cp:lastModifiedBy>
  <cp:revision>80</cp:revision>
  <dcterms:created xsi:type="dcterms:W3CDTF">2014-06-05T12:04:12Z</dcterms:created>
  <dcterms:modified xsi:type="dcterms:W3CDTF">2015-07-20T07:42:15Z</dcterms:modified>
</cp:coreProperties>
</file>